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2.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3.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notesSlides/notesSlide4.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5.xml" ContentType="application/vnd.openxmlformats-officedocument.presentationml.tags+xml"/>
  <Override PartName="/ppt/tags/tag126.xml" ContentType="application/vnd.openxmlformats-officedocument.presentationml.tags+xml"/>
  <Override PartName="/ppt/notesSlides/notesSlide5.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82"/>
  </p:notesMasterIdLst>
  <p:sldIdLst>
    <p:sldId id="258" r:id="rId5"/>
    <p:sldId id="259" r:id="rId6"/>
    <p:sldId id="261" r:id="rId7"/>
    <p:sldId id="262" r:id="rId8"/>
    <p:sldId id="335" r:id="rId9"/>
    <p:sldId id="269" r:id="rId10"/>
    <p:sldId id="311" r:id="rId11"/>
    <p:sldId id="287" r:id="rId12"/>
    <p:sldId id="268" r:id="rId13"/>
    <p:sldId id="264" r:id="rId14"/>
    <p:sldId id="288" r:id="rId15"/>
    <p:sldId id="308" r:id="rId16"/>
    <p:sldId id="305" r:id="rId17"/>
    <p:sldId id="333" r:id="rId18"/>
    <p:sldId id="310" r:id="rId19"/>
    <p:sldId id="334" r:id="rId20"/>
    <p:sldId id="270" r:id="rId21"/>
    <p:sldId id="312" r:id="rId22"/>
    <p:sldId id="332" r:id="rId23"/>
    <p:sldId id="324" r:id="rId24"/>
    <p:sldId id="266" r:id="rId25"/>
    <p:sldId id="263" r:id="rId26"/>
    <p:sldId id="267" r:id="rId27"/>
    <p:sldId id="271" r:id="rId28"/>
    <p:sldId id="273" r:id="rId29"/>
    <p:sldId id="317" r:id="rId30"/>
    <p:sldId id="338" r:id="rId31"/>
    <p:sldId id="339" r:id="rId32"/>
    <p:sldId id="274" r:id="rId33"/>
    <p:sldId id="275" r:id="rId34"/>
    <p:sldId id="276" r:id="rId35"/>
    <p:sldId id="277" r:id="rId36"/>
    <p:sldId id="294" r:id="rId37"/>
    <p:sldId id="278" r:id="rId38"/>
    <p:sldId id="279" r:id="rId39"/>
    <p:sldId id="281" r:id="rId40"/>
    <p:sldId id="283" r:id="rId41"/>
    <p:sldId id="284" r:id="rId42"/>
    <p:sldId id="285" r:id="rId43"/>
    <p:sldId id="286" r:id="rId44"/>
    <p:sldId id="289" r:id="rId45"/>
    <p:sldId id="290" r:id="rId46"/>
    <p:sldId id="291" r:id="rId47"/>
    <p:sldId id="292" r:id="rId48"/>
    <p:sldId id="295" r:id="rId49"/>
    <p:sldId id="293" r:id="rId50"/>
    <p:sldId id="340" r:id="rId51"/>
    <p:sldId id="341" r:id="rId52"/>
    <p:sldId id="296" r:id="rId53"/>
    <p:sldId id="297" r:id="rId54"/>
    <p:sldId id="298" r:id="rId55"/>
    <p:sldId id="299" r:id="rId56"/>
    <p:sldId id="300" r:id="rId57"/>
    <p:sldId id="301" r:id="rId58"/>
    <p:sldId id="302" r:id="rId59"/>
    <p:sldId id="303" r:id="rId60"/>
    <p:sldId id="304" r:id="rId61"/>
    <p:sldId id="306" r:id="rId62"/>
    <p:sldId id="307" r:id="rId63"/>
    <p:sldId id="309" r:id="rId64"/>
    <p:sldId id="313" r:id="rId65"/>
    <p:sldId id="314" r:id="rId66"/>
    <p:sldId id="315" r:id="rId67"/>
    <p:sldId id="316" r:id="rId68"/>
    <p:sldId id="318" r:id="rId69"/>
    <p:sldId id="319" r:id="rId70"/>
    <p:sldId id="320" r:id="rId71"/>
    <p:sldId id="321" r:id="rId72"/>
    <p:sldId id="322" r:id="rId73"/>
    <p:sldId id="323" r:id="rId74"/>
    <p:sldId id="325" r:id="rId75"/>
    <p:sldId id="326" r:id="rId76"/>
    <p:sldId id="327" r:id="rId77"/>
    <p:sldId id="328" r:id="rId78"/>
    <p:sldId id="329" r:id="rId79"/>
    <p:sldId id="330" r:id="rId80"/>
    <p:sldId id="331" r:id="rId81"/>
  </p:sldIdLst>
  <p:sldSz cx="12841288" cy="7223125"/>
  <p:notesSz cx="6858000" cy="9144000"/>
  <p:custDataLst>
    <p:tags r:id="rId8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67676"/>
    <a:srgbClr val="494A4C"/>
    <a:srgbClr val="41B5E8"/>
    <a:srgbClr val="0A3E56"/>
    <a:srgbClr val="B2B2B2"/>
    <a:srgbClr val="DDDDDD"/>
    <a:srgbClr val="0070C0"/>
    <a:srgbClr val="58595B"/>
    <a:srgbClr val="C8C8C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56" autoAdjust="0"/>
    <p:restoredTop sz="94660"/>
  </p:normalViewPr>
  <p:slideViewPr>
    <p:cSldViewPr snapToGrid="0">
      <p:cViewPr varScale="1">
        <p:scale>
          <a:sx n="71" d="100"/>
          <a:sy n="71" d="100"/>
        </p:scale>
        <p:origin x="468"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notesMaster" Target="notesMasters/notesMaster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eries 1</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dPt>
          <c:dPt>
            <c:idx val="1"/>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c:spPr>
          </c:dPt>
          <c:dPt>
            <c:idx val="2"/>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c:spPr>
          </c:dPt>
          <c:dPt>
            <c:idx val="3"/>
            <c:bubble3D val="0"/>
            <c:spPr>
              <a:gradFill rotWithShape="1">
                <a:gsLst>
                  <a:gs pos="0">
                    <a:schemeClr val="accent1">
                      <a:lumMod val="60000"/>
                      <a:shade val="51000"/>
                      <a:satMod val="130000"/>
                    </a:schemeClr>
                  </a:gs>
                  <a:gs pos="80000">
                    <a:schemeClr val="accent1">
                      <a:lumMod val="60000"/>
                      <a:shade val="93000"/>
                      <a:satMod val="130000"/>
                    </a:schemeClr>
                  </a:gs>
                  <a:gs pos="100000">
                    <a:schemeClr val="accent1">
                      <a:lumMod val="60000"/>
                      <a:shade val="94000"/>
                      <a:satMod val="135000"/>
                    </a:schemeClr>
                  </a:gs>
                </a:gsLst>
                <a:lin ang="16200000" scaled="0"/>
              </a:gradFill>
              <a:ln>
                <a:noFill/>
              </a:ln>
              <a:effectLst>
                <a:outerShdw blurRad="40000" dist="23000" dir="5400000" rotWithShape="0">
                  <a:srgbClr val="000000">
                    <a:alpha val="35000"/>
                  </a:srgbClr>
                </a:outerShdw>
              </a:effectLst>
            </c:spPr>
          </c:dPt>
          <c:cat>
            <c:strRef>
              <c:f>Sheet1!$A$2:$A$5</c:f>
              <c:strCache>
                <c:ptCount val="4"/>
                <c:pt idx="0">
                  <c:v>Q1</c:v>
                </c:pt>
                <c:pt idx="1">
                  <c:v>Q2</c:v>
                </c:pt>
                <c:pt idx="2">
                  <c:v>Q3</c:v>
                </c:pt>
                <c:pt idx="3">
                  <c:v>Q4</c:v>
                </c:pt>
              </c:strCache>
            </c:strRef>
          </c:cat>
          <c:val>
            <c:numRef>
              <c:f>Sheet1!$B$2:$B$5</c:f>
              <c:numCache>
                <c:formatCode>General</c:formatCode>
                <c:ptCount val="4"/>
                <c:pt idx="0">
                  <c:v>4.3</c:v>
                </c:pt>
                <c:pt idx="1">
                  <c:v>2.5</c:v>
                </c:pt>
                <c:pt idx="2">
                  <c:v>3.5</c:v>
                </c:pt>
                <c:pt idx="3">
                  <c:v>4.5</c:v>
                </c:pt>
              </c:numCache>
            </c:numRef>
          </c:val>
        </c:ser>
        <c:ser>
          <c:idx val="1"/>
          <c:order val="1"/>
          <c:tx>
            <c:strRef>
              <c:f>Sheet1!$C$1</c:f>
              <c:strCache>
                <c:ptCount val="1"/>
                <c:pt idx="0">
                  <c:v>Series 2</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dPt>
          <c:dPt>
            <c:idx val="1"/>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c:spPr>
          </c:dPt>
          <c:dPt>
            <c:idx val="2"/>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c:spPr>
          </c:dPt>
          <c:dPt>
            <c:idx val="3"/>
            <c:bubble3D val="0"/>
            <c:spPr>
              <a:gradFill rotWithShape="1">
                <a:gsLst>
                  <a:gs pos="0">
                    <a:schemeClr val="accent1">
                      <a:lumMod val="60000"/>
                      <a:shade val="51000"/>
                      <a:satMod val="130000"/>
                    </a:schemeClr>
                  </a:gs>
                  <a:gs pos="80000">
                    <a:schemeClr val="accent1">
                      <a:lumMod val="60000"/>
                      <a:shade val="93000"/>
                      <a:satMod val="130000"/>
                    </a:schemeClr>
                  </a:gs>
                  <a:gs pos="100000">
                    <a:schemeClr val="accent1">
                      <a:lumMod val="60000"/>
                      <a:shade val="94000"/>
                      <a:satMod val="135000"/>
                    </a:schemeClr>
                  </a:gs>
                </a:gsLst>
                <a:lin ang="16200000" scaled="0"/>
              </a:gradFill>
              <a:ln>
                <a:noFill/>
              </a:ln>
              <a:effectLst>
                <a:outerShdw blurRad="40000" dist="23000" dir="5400000" rotWithShape="0">
                  <a:srgbClr val="000000">
                    <a:alpha val="35000"/>
                  </a:srgbClr>
                </a:outerShdw>
              </a:effectLst>
            </c:spPr>
          </c:dPt>
          <c:cat>
            <c:strRef>
              <c:f>Sheet1!$A$2:$A$5</c:f>
              <c:strCache>
                <c:ptCount val="4"/>
                <c:pt idx="0">
                  <c:v>Q1</c:v>
                </c:pt>
                <c:pt idx="1">
                  <c:v>Q2</c:v>
                </c:pt>
                <c:pt idx="2">
                  <c:v>Q3</c:v>
                </c:pt>
                <c:pt idx="3">
                  <c:v>Q4</c:v>
                </c:pt>
              </c:strCache>
            </c:strRef>
          </c:cat>
          <c:val>
            <c:numRef>
              <c:f>Sheet1!$C$2:$C$5</c:f>
              <c:numCache>
                <c:formatCode>General</c:formatCode>
                <c:ptCount val="4"/>
                <c:pt idx="0">
                  <c:v>2.4</c:v>
                </c:pt>
                <c:pt idx="1">
                  <c:v>4.4000000000000004</c:v>
                </c:pt>
                <c:pt idx="2">
                  <c:v>1.8</c:v>
                </c:pt>
                <c:pt idx="3">
                  <c:v>2.8</c:v>
                </c:pt>
              </c:numCache>
            </c:numRef>
          </c:val>
        </c:ser>
        <c:ser>
          <c:idx val="2"/>
          <c:order val="2"/>
          <c:tx>
            <c:strRef>
              <c:f>Sheet1!$D$1</c:f>
              <c:strCache>
                <c:ptCount val="1"/>
                <c:pt idx="0">
                  <c:v>Series 3</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dPt>
          <c:dPt>
            <c:idx val="1"/>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c:spPr>
          </c:dPt>
          <c:dPt>
            <c:idx val="2"/>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c:spPr>
          </c:dPt>
          <c:dPt>
            <c:idx val="3"/>
            <c:bubble3D val="0"/>
            <c:spPr>
              <a:gradFill rotWithShape="1">
                <a:gsLst>
                  <a:gs pos="0">
                    <a:schemeClr val="accent1">
                      <a:lumMod val="60000"/>
                      <a:shade val="51000"/>
                      <a:satMod val="130000"/>
                    </a:schemeClr>
                  </a:gs>
                  <a:gs pos="80000">
                    <a:schemeClr val="accent1">
                      <a:lumMod val="60000"/>
                      <a:shade val="93000"/>
                      <a:satMod val="130000"/>
                    </a:schemeClr>
                  </a:gs>
                  <a:gs pos="100000">
                    <a:schemeClr val="accent1">
                      <a:lumMod val="60000"/>
                      <a:shade val="94000"/>
                      <a:satMod val="135000"/>
                    </a:schemeClr>
                  </a:gs>
                </a:gsLst>
                <a:lin ang="16200000" scaled="0"/>
              </a:gradFill>
              <a:ln>
                <a:noFill/>
              </a:ln>
              <a:effectLst>
                <a:outerShdw blurRad="40000" dist="23000" dir="5400000" rotWithShape="0">
                  <a:srgbClr val="000000">
                    <a:alpha val="35000"/>
                  </a:srgbClr>
                </a:outerShdw>
              </a:effectLst>
            </c:spPr>
          </c:dPt>
          <c:cat>
            <c:strRef>
              <c:f>Sheet1!$A$2:$A$5</c:f>
              <c:strCache>
                <c:ptCount val="4"/>
                <c:pt idx="0">
                  <c:v>Q1</c:v>
                </c:pt>
                <c:pt idx="1">
                  <c:v>Q2</c:v>
                </c:pt>
                <c:pt idx="2">
                  <c:v>Q3</c:v>
                </c:pt>
                <c:pt idx="3">
                  <c:v>Q4</c:v>
                </c:pt>
              </c:strCache>
            </c:strRef>
          </c:cat>
          <c:val>
            <c:numRef>
              <c:f>Sheet1!$D$2:$D$5</c:f>
              <c:numCache>
                <c:formatCode>General</c:formatCode>
                <c:ptCount val="4"/>
                <c:pt idx="0">
                  <c:v>2</c:v>
                </c:pt>
                <c:pt idx="1">
                  <c:v>2</c:v>
                </c:pt>
                <c:pt idx="2">
                  <c:v>3</c:v>
                </c:pt>
                <c:pt idx="3">
                  <c:v>5</c:v>
                </c:pt>
              </c:numCache>
            </c:numRef>
          </c:val>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numRef>
              <c:f>Sheet1!$A$2:$A$3</c:f>
              <c:numCache>
                <c:formatCode>m/d/yy</c:formatCode>
                <c:ptCount val="2"/>
                <c:pt idx="0">
                  <c:v>37377</c:v>
                </c:pt>
                <c:pt idx="1">
                  <c:v>37408</c:v>
                </c:pt>
              </c:numCache>
            </c:numRef>
          </c:cat>
          <c:val>
            <c:numRef>
              <c:f>Sheet1!$B$2:$B$3</c:f>
              <c:numCache>
                <c:formatCode>General</c:formatCode>
                <c:ptCount val="2"/>
                <c:pt idx="0">
                  <c:v>32</c:v>
                </c:pt>
                <c:pt idx="1">
                  <c:v>32</c:v>
                </c:pt>
              </c:numCache>
            </c:numRef>
          </c:val>
        </c:ser>
        <c:ser>
          <c:idx val="1"/>
          <c:order val="1"/>
          <c:tx>
            <c:strRef>
              <c:f>Sheet1!$C$1</c:f>
              <c:strCache>
                <c:ptCount val="1"/>
                <c:pt idx="0">
                  <c:v>Series 3</c:v>
                </c:pt>
              </c:strCache>
            </c:strRef>
          </c:tx>
          <c:spPr>
            <a:solidFill>
              <a:schemeClr val="accent3"/>
            </a:solidFill>
            <a:ln>
              <a:noFill/>
            </a:ln>
            <a:effectLst/>
          </c:spPr>
          <c:invertIfNegative val="0"/>
          <c:cat>
            <c:numRef>
              <c:f>Sheet1!$A$2:$A$3</c:f>
              <c:numCache>
                <c:formatCode>m/d/yy</c:formatCode>
                <c:ptCount val="2"/>
                <c:pt idx="0">
                  <c:v>37377</c:v>
                </c:pt>
                <c:pt idx="1">
                  <c:v>37408</c:v>
                </c:pt>
              </c:numCache>
            </c:numRef>
          </c:cat>
          <c:val>
            <c:numRef>
              <c:f>Sheet1!$C$2:$C$3</c:f>
              <c:numCache>
                <c:formatCode>General</c:formatCode>
                <c:ptCount val="2"/>
                <c:pt idx="0">
                  <c:v>25</c:v>
                </c:pt>
                <c:pt idx="1">
                  <c:v>45</c:v>
                </c:pt>
              </c:numCache>
            </c:numRef>
          </c:val>
        </c:ser>
        <c:ser>
          <c:idx val="2"/>
          <c:order val="2"/>
          <c:tx>
            <c:strRef>
              <c:f>Sheet1!$D$1</c:f>
              <c:strCache>
                <c:ptCount val="1"/>
                <c:pt idx="0">
                  <c:v>Series 2</c:v>
                </c:pt>
              </c:strCache>
            </c:strRef>
          </c:tx>
          <c:spPr>
            <a:solidFill>
              <a:schemeClr val="accent5"/>
            </a:solidFill>
            <a:ln>
              <a:noFill/>
            </a:ln>
            <a:effectLst/>
          </c:spPr>
          <c:invertIfNegative val="0"/>
          <c:cat>
            <c:numRef>
              <c:f>Sheet1!$A$2:$A$3</c:f>
              <c:numCache>
                <c:formatCode>m/d/yy</c:formatCode>
                <c:ptCount val="2"/>
                <c:pt idx="0">
                  <c:v>37377</c:v>
                </c:pt>
                <c:pt idx="1">
                  <c:v>37408</c:v>
                </c:pt>
              </c:numCache>
            </c:numRef>
          </c:cat>
          <c:val>
            <c:numRef>
              <c:f>Sheet1!$D$2:$D$3</c:f>
              <c:numCache>
                <c:formatCode>General</c:formatCode>
                <c:ptCount val="2"/>
                <c:pt idx="0">
                  <c:v>22</c:v>
                </c:pt>
                <c:pt idx="1">
                  <c:v>12</c:v>
                </c:pt>
              </c:numCache>
            </c:numRef>
          </c:val>
        </c:ser>
        <c:ser>
          <c:idx val="3"/>
          <c:order val="3"/>
          <c:tx>
            <c:strRef>
              <c:f>Sheet1!$E$1</c:f>
              <c:strCache>
                <c:ptCount val="1"/>
                <c:pt idx="0">
                  <c:v>Series 4</c:v>
                </c:pt>
              </c:strCache>
            </c:strRef>
          </c:tx>
          <c:spPr>
            <a:solidFill>
              <a:schemeClr val="accent1">
                <a:lumMod val="60000"/>
              </a:schemeClr>
            </a:solidFill>
            <a:ln>
              <a:noFill/>
            </a:ln>
            <a:effectLst/>
          </c:spPr>
          <c:invertIfNegative val="0"/>
          <c:cat>
            <c:numRef>
              <c:f>Sheet1!$A$2:$A$3</c:f>
              <c:numCache>
                <c:formatCode>m/d/yy</c:formatCode>
                <c:ptCount val="2"/>
                <c:pt idx="0">
                  <c:v>37377</c:v>
                </c:pt>
                <c:pt idx="1">
                  <c:v>37408</c:v>
                </c:pt>
              </c:numCache>
            </c:numRef>
          </c:cat>
          <c:val>
            <c:numRef>
              <c:f>Sheet1!$E$2:$E$3</c:f>
              <c:numCache>
                <c:formatCode>General</c:formatCode>
                <c:ptCount val="2"/>
                <c:pt idx="0">
                  <c:v>18</c:v>
                </c:pt>
                <c:pt idx="1">
                  <c:v>12</c:v>
                </c:pt>
              </c:numCache>
            </c:numRef>
          </c:val>
        </c:ser>
        <c:dLbls>
          <c:showLegendKey val="0"/>
          <c:showVal val="0"/>
          <c:showCatName val="0"/>
          <c:showSerName val="0"/>
          <c:showPercent val="0"/>
          <c:showBubbleSize val="0"/>
        </c:dLbls>
        <c:gapWidth val="150"/>
        <c:axId val="806023112"/>
        <c:axId val="806024680"/>
      </c:barChart>
      <c:dateAx>
        <c:axId val="806023112"/>
        <c:scaling>
          <c:orientation val="minMax"/>
        </c:scaling>
        <c:delete val="0"/>
        <c:axPos val="b"/>
        <c:numFmt formatCode="m/d/yyyy" sourceLinked="0"/>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0" spcFirstLastPara="1" vertOverflow="ellipsis" wrap="square" anchor="ctr" anchorCtr="1"/>
          <a:lstStyle/>
          <a:p>
            <a:pPr>
              <a:defRPr sz="1200" b="0" i="0" u="none" strike="noStrike" kern="1200" baseline="0">
                <a:solidFill>
                  <a:schemeClr val="tx1"/>
                </a:solidFill>
                <a:latin typeface="Lato Light"/>
                <a:ea typeface="+mn-ea"/>
                <a:cs typeface="Lato Light"/>
              </a:defRPr>
            </a:pPr>
            <a:endParaRPr lang="en-US"/>
          </a:p>
        </c:txPr>
        <c:crossAx val="806024680"/>
        <c:crosses val="autoZero"/>
        <c:auto val="1"/>
        <c:lblOffset val="100"/>
        <c:baseTimeUnit val="months"/>
      </c:dateAx>
      <c:valAx>
        <c:axId val="806024680"/>
        <c:scaling>
          <c:orientation val="minMax"/>
          <c:max val="50"/>
        </c:scaling>
        <c:delete val="0"/>
        <c:axPos val="l"/>
        <c:majorGridlines>
          <c:spPr>
            <a:ln w="9525" cap="flat" cmpd="sng" algn="ctr">
              <a:solidFill>
                <a:schemeClr val="tx1">
                  <a:tint val="75000"/>
                  <a:shade val="95000"/>
                  <a:satMod val="105000"/>
                </a:schemeClr>
              </a:solidFill>
              <a:prstDash val="solid"/>
              <a:round/>
            </a:ln>
            <a:effectLst/>
          </c:spPr>
        </c:majorGridlines>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100" b="0" i="0" u="none" strike="noStrike" kern="1200" baseline="0">
                <a:solidFill>
                  <a:schemeClr val="tx1"/>
                </a:solidFill>
                <a:latin typeface="Lato Light"/>
                <a:ea typeface="+mn-ea"/>
                <a:cs typeface="Lato Light"/>
              </a:defRPr>
            </a:pPr>
            <a:endParaRPr lang="en-US"/>
          </a:p>
        </c:txPr>
        <c:crossAx val="806023112"/>
        <c:crosses val="autoZero"/>
        <c:crossBetween val="between"/>
      </c:valAx>
      <c:spPr>
        <a:noFill/>
        <a:ln>
          <a:noFill/>
        </a:ln>
        <a:effectLst/>
      </c:spPr>
    </c:plotArea>
    <c:plotVisOnly val="1"/>
    <c:dispBlanksAs val="zero"/>
    <c:showDLblsOverMax val="0"/>
  </c:chart>
  <c:spPr>
    <a:noFill/>
    <a:ln w="9525" cap="flat" cmpd="sng" algn="ctr">
      <a:noFill/>
      <a:prstDash val="solid"/>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8C041B-CB01-4ADE-9D6B-A384075140F0}" type="datetimeFigureOut">
              <a:rPr lang="en-US" smtClean="0"/>
              <a:t>9/2/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339A58A-883B-4CB2-97DE-6ACA67F034C8}" type="slidenum">
              <a:rPr lang="en-US" smtClean="0"/>
              <a:t>‹#›</a:t>
            </a:fld>
            <a:endParaRPr lang="en-US"/>
          </a:p>
        </p:txBody>
      </p:sp>
    </p:spTree>
    <p:extLst>
      <p:ext uri="{BB962C8B-B14F-4D97-AF65-F5344CB8AC3E}">
        <p14:creationId xmlns:p14="http://schemas.microsoft.com/office/powerpoint/2010/main" val="11960316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2"/>
          <p:cNvSpPr>
            <a:spLocks noGrp="1" noRot="1" noChangeAspect="1" noChangeArrowheads="1" noTextEdit="1"/>
          </p:cNvSpPr>
          <p:nvPr>
            <p:ph type="sldImg"/>
          </p:nvPr>
        </p:nvSpPr>
        <p:spPr bwMode="auto">
          <a:xfrm>
            <a:off x="-847725" y="207963"/>
            <a:ext cx="8553450" cy="4811712"/>
          </a:xfrm>
          <a:noFill/>
          <a:ln>
            <a:solidFill>
              <a:srgbClr val="000000"/>
            </a:solidFill>
            <a:miter lim="800000"/>
            <a:headEnd/>
            <a:tailEnd/>
          </a:ln>
        </p:spPr>
      </p:sp>
      <p:sp>
        <p:nvSpPr>
          <p:cNvPr id="6349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noProof="1" smtClean="0"/>
          </a:p>
        </p:txBody>
      </p:sp>
    </p:spTree>
    <p:extLst>
      <p:ext uri="{BB962C8B-B14F-4D97-AF65-F5344CB8AC3E}">
        <p14:creationId xmlns:p14="http://schemas.microsoft.com/office/powerpoint/2010/main" val="42370524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a:spLocks noGrp="1" noRot="1" noChangeAspect="1" noChangeArrowheads="1" noTextEdit="1"/>
          </p:cNvSpPr>
          <p:nvPr>
            <p:ph type="sldImg"/>
          </p:nvPr>
        </p:nvSpPr>
        <p:spPr>
          <a:xfrm>
            <a:off x="-847725" y="207963"/>
            <a:ext cx="8553450" cy="4811712"/>
          </a:xfrm>
          <a:ln/>
        </p:spPr>
      </p:sp>
      <p:sp>
        <p:nvSpPr>
          <p:cNvPr id="131075" name="Rectangle 3"/>
          <p:cNvSpPr>
            <a:spLocks noGrp="1" noChangeArrowheads="1"/>
          </p:cNvSpPr>
          <p:nvPr>
            <p:ph type="body" idx="1"/>
          </p:nvPr>
        </p:nvSpPr>
        <p:spPr>
          <a:noFill/>
          <a:ln/>
        </p:spPr>
        <p:txBody>
          <a:bodyPr/>
          <a:lstStyle/>
          <a:p>
            <a:endParaRPr lang="en-CA" noProof="1" smtClean="0"/>
          </a:p>
        </p:txBody>
      </p:sp>
    </p:spTree>
    <p:extLst>
      <p:ext uri="{BB962C8B-B14F-4D97-AF65-F5344CB8AC3E}">
        <p14:creationId xmlns:p14="http://schemas.microsoft.com/office/powerpoint/2010/main" val="918926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7" name="Rectangle 2"/>
          <p:cNvSpPr>
            <a:spLocks noGrp="1" noRot="1" noChangeAspect="1" noChangeArrowheads="1" noTextEdit="1"/>
          </p:cNvSpPr>
          <p:nvPr>
            <p:ph type="sldImg"/>
          </p:nvPr>
        </p:nvSpPr>
        <p:spPr bwMode="auto">
          <a:xfrm>
            <a:off x="-847725" y="207963"/>
            <a:ext cx="8553450" cy="4811712"/>
          </a:xfrm>
          <a:noFill/>
          <a:ln>
            <a:solidFill>
              <a:srgbClr val="000000"/>
            </a:solidFill>
            <a:miter lim="800000"/>
            <a:headEnd/>
            <a:tailEnd/>
          </a:ln>
        </p:spPr>
      </p:sp>
      <p:sp>
        <p:nvSpPr>
          <p:cNvPr id="14745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HK" smtClean="0"/>
          </a:p>
        </p:txBody>
      </p:sp>
    </p:spTree>
    <p:extLst>
      <p:ext uri="{BB962C8B-B14F-4D97-AF65-F5344CB8AC3E}">
        <p14:creationId xmlns:p14="http://schemas.microsoft.com/office/powerpoint/2010/main" val="3597080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
        <p:cNvGrpSpPr/>
        <p:nvPr/>
      </p:nvGrpSpPr>
      <p:grpSpPr>
        <a:xfrm>
          <a:off x="0" y="0"/>
          <a:ext cx="0" cy="0"/>
          <a:chOff x="0" y="0"/>
          <a:chExt cx="0" cy="0"/>
        </a:xfrm>
      </p:grpSpPr>
      <p:sp>
        <p:nvSpPr>
          <p:cNvPr id="144" name="Shape 144"/>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45" name="Shape 145"/>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rtl="0">
              <a:spcBef>
                <a:spcPts val="0"/>
              </a:spcBef>
              <a:buNone/>
            </a:pPr>
            <a:endParaRPr/>
          </a:p>
        </p:txBody>
      </p:sp>
    </p:spTree>
    <p:extLst>
      <p:ext uri="{BB962C8B-B14F-4D97-AF65-F5344CB8AC3E}">
        <p14:creationId xmlns:p14="http://schemas.microsoft.com/office/powerpoint/2010/main" val="26075276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Rectangle 2"/>
          <p:cNvSpPr>
            <a:spLocks noGrp="1" noRot="1" noChangeAspect="1" noChangeArrowheads="1" noTextEdit="1"/>
          </p:cNvSpPr>
          <p:nvPr>
            <p:ph type="sldImg"/>
          </p:nvPr>
        </p:nvSpPr>
        <p:spPr bwMode="auto">
          <a:xfrm>
            <a:off x="-847725" y="207963"/>
            <a:ext cx="8553450" cy="4811712"/>
          </a:xfrm>
          <a:noFill/>
          <a:ln>
            <a:solidFill>
              <a:srgbClr val="000000"/>
            </a:solidFill>
            <a:miter lim="800000"/>
            <a:headEnd/>
            <a:tailEnd/>
          </a:ln>
        </p:spPr>
      </p:sp>
      <p:sp>
        <p:nvSpPr>
          <p:cNvPr id="6758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noProof="1" smtClean="0"/>
          </a:p>
        </p:txBody>
      </p:sp>
    </p:spTree>
    <p:extLst>
      <p:ext uri="{BB962C8B-B14F-4D97-AF65-F5344CB8AC3E}">
        <p14:creationId xmlns:p14="http://schemas.microsoft.com/office/powerpoint/2010/main" val="6194537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2.png"/><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611490" y="2990455"/>
            <a:ext cx="6030682" cy="621106"/>
          </a:xfrm>
          <a:prstGeom prst="rect">
            <a:avLst/>
          </a:prstGeom>
        </p:spPr>
        <p:txBody>
          <a:bodyPr lIns="0" tIns="45720" rIns="0" bIns="45720" anchor="b" anchorCtr="0">
            <a:normAutofit/>
          </a:bodyPr>
          <a:lstStyle>
            <a:lvl1pPr algn="ctr">
              <a:defRPr sz="2800" b="1">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611557" y="3611561"/>
            <a:ext cx="6030548" cy="567868"/>
          </a:xfrm>
          <a:prstGeom prst="rect">
            <a:avLst/>
          </a:prstGeom>
        </p:spPr>
        <p:txBody>
          <a:bodyPr lIns="0" rIns="0">
            <a:normAutofit/>
          </a:bodyPr>
          <a:lstStyle>
            <a:lvl1pPr marL="0" indent="0" algn="ctr">
              <a:buNone/>
              <a:defRPr sz="2400">
                <a:solidFill>
                  <a:schemeClr val="accent5"/>
                </a:solidFill>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smtClean="0"/>
              <a:t>Click to edit Master subtitle style</a:t>
            </a:r>
            <a:endParaRPr lang="en-US" dirty="0"/>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4193" r="5758"/>
          <a:stretch/>
        </p:blipFill>
        <p:spPr>
          <a:xfrm flipH="1">
            <a:off x="-92598" y="-1"/>
            <a:ext cx="6504973" cy="7223125"/>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39865" y="5266481"/>
            <a:ext cx="1773932" cy="1336284"/>
          </a:xfrm>
          <a:prstGeom prst="rect">
            <a:avLst/>
          </a:prstGeom>
        </p:spPr>
      </p:pic>
      <p:pic>
        <p:nvPicPr>
          <p:cNvPr id="20" name="Picture 1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238407" y="696023"/>
            <a:ext cx="2776848" cy="1065861"/>
          </a:xfrm>
          <a:prstGeom prst="rect">
            <a:avLst/>
          </a:prstGeom>
        </p:spPr>
      </p:pic>
    </p:spTree>
    <p:extLst>
      <p:ext uri="{BB962C8B-B14F-4D97-AF65-F5344CB8AC3E}">
        <p14:creationId xmlns:p14="http://schemas.microsoft.com/office/powerpoint/2010/main" val="17046382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Title">
    <p:spTree>
      <p:nvGrpSpPr>
        <p:cNvPr id="1" name=""/>
        <p:cNvGrpSpPr/>
        <p:nvPr/>
      </p:nvGrpSpPr>
      <p:grpSpPr>
        <a:xfrm>
          <a:off x="0" y="0"/>
          <a:ext cx="0" cy="0"/>
          <a:chOff x="0" y="0"/>
          <a:chExt cx="0" cy="0"/>
        </a:xfrm>
      </p:grpSpPr>
      <p:sp>
        <p:nvSpPr>
          <p:cNvPr id="2" name="Title 1"/>
          <p:cNvSpPr>
            <a:spLocks noGrp="1"/>
          </p:cNvSpPr>
          <p:nvPr>
            <p:ph type="ctrTitle"/>
          </p:nvPr>
        </p:nvSpPr>
        <p:spPr>
          <a:xfrm>
            <a:off x="1042002" y="4276791"/>
            <a:ext cx="10601594" cy="621106"/>
          </a:xfrm>
          <a:prstGeom prst="rect">
            <a:avLst/>
          </a:prstGeom>
        </p:spPr>
        <p:txBody>
          <a:bodyPr lIns="0" tIns="45720" rIns="0" bIns="45720" anchor="b" anchorCtr="0">
            <a:normAutofit/>
          </a:bodyPr>
          <a:lstStyle>
            <a:lvl1pPr algn="l">
              <a:defRPr sz="2800" b="1">
                <a:solidFill>
                  <a:schemeClr val="tx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042002" y="4897897"/>
            <a:ext cx="10601358" cy="567868"/>
          </a:xfrm>
          <a:prstGeom prst="rect">
            <a:avLst/>
          </a:prstGeom>
        </p:spPr>
        <p:txBody>
          <a:bodyPr lIns="0" rIns="0">
            <a:normAutofit/>
          </a:bodyPr>
          <a:lstStyle>
            <a:lvl1pPr marL="0" indent="0" algn="l">
              <a:buNone/>
              <a:defRPr sz="2400">
                <a:solidFill>
                  <a:schemeClr val="accent5"/>
                </a:solidFill>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smtClean="0"/>
              <a:t>Click to edit Master subtitle style</a:t>
            </a:r>
            <a:endParaRPr lang="en-US" dirty="0"/>
          </a:p>
        </p:txBody>
      </p:sp>
      <p:pic>
        <p:nvPicPr>
          <p:cNvPr id="20" name="Pictur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1413" y="696023"/>
            <a:ext cx="2830836" cy="1065861"/>
          </a:xfrm>
          <a:prstGeom prst="rect">
            <a:avLst/>
          </a:prstGeom>
        </p:spPr>
      </p:pic>
      <p:pic>
        <p:nvPicPr>
          <p:cNvPr id="5" name="Picture 4"/>
          <p:cNvPicPr>
            <a:picLocks noChangeAspect="1"/>
          </p:cNvPicPr>
          <p:nvPr userDrawn="1"/>
        </p:nvPicPr>
        <p:blipFill rotWithShape="1">
          <a:blip r:embed="rId3" cstate="print">
            <a:extLst>
              <a:ext uri="{BEBA8EAE-BF5A-486C-A8C5-ECC9F3942E4B}">
                <a14:imgProps xmlns:a14="http://schemas.microsoft.com/office/drawing/2010/main">
                  <a14:imgLayer r:embed="rId4">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4960" t="24356" r="4960" b="41531"/>
          <a:stretch/>
        </p:blipFill>
        <p:spPr>
          <a:xfrm>
            <a:off x="0" y="0"/>
            <a:ext cx="12841288" cy="3470031"/>
          </a:xfrm>
          <a:prstGeom prst="rect">
            <a:avLst/>
          </a:prstGeom>
        </p:spPr>
      </p:pic>
      <p:pic>
        <p:nvPicPr>
          <p:cNvPr id="8" name="Picture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62132" y="5689446"/>
            <a:ext cx="2070793" cy="794850"/>
          </a:xfrm>
          <a:prstGeom prst="rect">
            <a:avLst/>
          </a:prstGeom>
        </p:spPr>
      </p:pic>
      <p:pic>
        <p:nvPicPr>
          <p:cNvPr id="13" name="Picture 12"/>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11042249" y="2119830"/>
            <a:ext cx="1634085" cy="1230939"/>
          </a:xfrm>
          <a:prstGeom prst="rect">
            <a:avLst/>
          </a:prstGeom>
        </p:spPr>
      </p:pic>
    </p:spTree>
    <p:extLst>
      <p:ext uri="{BB962C8B-B14F-4D97-AF65-F5344CB8AC3E}">
        <p14:creationId xmlns:p14="http://schemas.microsoft.com/office/powerpoint/2010/main" val="6310192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1_Section Title">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BEBA8EAE-BF5A-486C-A8C5-ECC9F3942E4B}">
                <a14:imgProps xmlns:a14="http://schemas.microsoft.com/office/drawing/2010/main">
                  <a14:imgLayer r:embed="rId3">
                    <a14:imgEffect>
                      <a14:colorTemperature colorTemp="4700"/>
                    </a14:imgEffect>
                    <a14:imgEffect>
                      <a14:brightnessContrast bright="-20000" contrast="-40000"/>
                    </a14:imgEffect>
                  </a14:imgLayer>
                </a14:imgProps>
              </a:ext>
              <a:ext uri="{28A0092B-C50C-407E-A947-70E740481C1C}">
                <a14:useLocalDpi xmlns:a14="http://schemas.microsoft.com/office/drawing/2010/main" val="0"/>
              </a:ext>
            </a:extLst>
          </a:blip>
          <a:srcRect l="15979" t="24355" r="4960" b="13593"/>
          <a:stretch/>
        </p:blipFill>
        <p:spPr>
          <a:xfrm>
            <a:off x="-60960" y="-2031"/>
            <a:ext cx="12902248" cy="7225791"/>
          </a:xfrm>
          <a:prstGeom prst="rect">
            <a:avLst/>
          </a:prstGeom>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385248" y="5902806"/>
            <a:ext cx="2070793" cy="794850"/>
          </a:xfrm>
          <a:prstGeom prst="rect">
            <a:avLst/>
          </a:prstGeom>
        </p:spPr>
      </p:pic>
      <p:pic>
        <p:nvPicPr>
          <p:cNvPr id="13" name="Picture 12"/>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5603602" y="472342"/>
            <a:ext cx="1634085" cy="1230939"/>
          </a:xfrm>
          <a:prstGeom prst="rect">
            <a:avLst/>
          </a:prstGeom>
        </p:spPr>
      </p:pic>
      <p:sp>
        <p:nvSpPr>
          <p:cNvPr id="2" name="Title 1"/>
          <p:cNvSpPr>
            <a:spLocks noGrp="1"/>
          </p:cNvSpPr>
          <p:nvPr>
            <p:ph type="ctrTitle" hasCustomPrompt="1"/>
          </p:nvPr>
        </p:nvSpPr>
        <p:spPr>
          <a:xfrm>
            <a:off x="1199932" y="3218626"/>
            <a:ext cx="10601594" cy="621106"/>
          </a:xfrm>
          <a:prstGeom prst="rect">
            <a:avLst/>
          </a:prstGeom>
          <a:noFill/>
        </p:spPr>
        <p:txBody>
          <a:bodyPr lIns="0" tIns="45720" rIns="0" bIns="45720" anchor="b" anchorCtr="0">
            <a:normAutofit/>
          </a:bodyPr>
          <a:lstStyle>
            <a:lvl1pPr algn="ctr">
              <a:defRPr sz="2800" b="1">
                <a:solidFill>
                  <a:schemeClr val="bg2"/>
                </a:solidFill>
              </a:defRPr>
            </a:lvl1pPr>
          </a:lstStyle>
          <a:p>
            <a:r>
              <a:rPr lang="en-US" dirty="0" smtClean="0"/>
              <a:t>header</a:t>
            </a:r>
            <a:endParaRPr lang="en-US" dirty="0"/>
          </a:p>
        </p:txBody>
      </p:sp>
      <p:sp>
        <p:nvSpPr>
          <p:cNvPr id="3" name="Subtitle 2"/>
          <p:cNvSpPr>
            <a:spLocks noGrp="1"/>
          </p:cNvSpPr>
          <p:nvPr>
            <p:ph type="subTitle" idx="1"/>
          </p:nvPr>
        </p:nvSpPr>
        <p:spPr>
          <a:xfrm>
            <a:off x="1200050" y="3839732"/>
            <a:ext cx="10601358" cy="567868"/>
          </a:xfrm>
          <a:prstGeom prst="rect">
            <a:avLst/>
          </a:prstGeom>
        </p:spPr>
        <p:txBody>
          <a:bodyPr lIns="0" rIns="0">
            <a:normAutofit/>
          </a:bodyPr>
          <a:lstStyle>
            <a:lvl1pPr marL="0" indent="0" algn="ctr">
              <a:buNone/>
              <a:defRPr sz="2400">
                <a:solidFill>
                  <a:schemeClr val="bg2"/>
                </a:solidFill>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92393210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dirty="0"/>
          </a:p>
        </p:txBody>
      </p:sp>
    </p:spTree>
    <p:extLst>
      <p:ext uri="{BB962C8B-B14F-4D97-AF65-F5344CB8AC3E}">
        <p14:creationId xmlns:p14="http://schemas.microsoft.com/office/powerpoint/2010/main" val="316595564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ast Page Log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01096" y="1261641"/>
            <a:ext cx="6239096" cy="4699844"/>
          </a:xfrm>
          <a:prstGeom prst="rect">
            <a:avLst/>
          </a:prstGeom>
        </p:spPr>
      </p:pic>
    </p:spTree>
    <p:extLst>
      <p:ext uri="{BB962C8B-B14F-4D97-AF65-F5344CB8AC3E}">
        <p14:creationId xmlns:p14="http://schemas.microsoft.com/office/powerpoint/2010/main" val="12700243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Blank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6167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 name="Rectangle 4"/>
          <p:cNvSpPr/>
          <p:nvPr userDrawn="1"/>
        </p:nvSpPr>
        <p:spPr>
          <a:xfrm>
            <a:off x="0" y="448865"/>
            <a:ext cx="12841288" cy="347241"/>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dirty="0" smtClean="0">
              <a:solidFill>
                <a:schemeClr val="tx1"/>
              </a:solidFill>
            </a:endParaRPr>
          </a:p>
        </p:txBody>
      </p:sp>
      <p:sp>
        <p:nvSpPr>
          <p:cNvPr id="22" name="Slide title"/>
          <p:cNvSpPr>
            <a:spLocks noGrp="1" noChangeArrowheads="1"/>
          </p:cNvSpPr>
          <p:nvPr>
            <p:ph type="title"/>
          </p:nvPr>
        </p:nvSpPr>
        <p:spPr bwMode="gray">
          <a:xfrm>
            <a:off x="3998230" y="376264"/>
            <a:ext cx="4844828" cy="492443"/>
          </a:xfrm>
          <a:prstGeom prst="rect">
            <a:avLst/>
          </a:prstGeom>
          <a:solidFill>
            <a:schemeClr val="accent2"/>
          </a:solidFill>
          <a:ln w="9525">
            <a:noFill/>
            <a:miter lim="800000"/>
            <a:headEnd/>
            <a:tailEnd/>
          </a:ln>
          <a:effectLst/>
        </p:spPr>
        <p:txBody>
          <a:bodyPr vert="horz" wrap="square" lIns="91440" tIns="91440" rIns="91440" bIns="91440" numCol="1" anchor="ctr" anchorCtr="0" compatLnSpc="1">
            <a:prstTxWarp prst="textNoShape">
              <a:avLst/>
            </a:prstTxWarp>
            <a:spAutoFit/>
          </a:bodyPr>
          <a:lstStyle/>
          <a:p>
            <a:pPr lvl="0"/>
            <a:endParaRPr lang="en-CA" noProof="1" smtClean="0"/>
          </a:p>
        </p:txBody>
      </p:sp>
      <p:sp>
        <p:nvSpPr>
          <p:cNvPr id="11" name="Text Placeholder 10"/>
          <p:cNvSpPr>
            <a:spLocks noGrp="1"/>
          </p:cNvSpPr>
          <p:nvPr>
            <p:ph type="body" idx="1"/>
            <p:custDataLst>
              <p:tags r:id="rId9"/>
            </p:custDataLst>
          </p:nvPr>
        </p:nvSpPr>
        <p:spPr>
          <a:xfrm>
            <a:off x="325844" y="1355586"/>
            <a:ext cx="12189600" cy="4929467"/>
          </a:xfrm>
          <a:prstGeom prst="rect">
            <a:avLst/>
          </a:prstGeom>
        </p:spPr>
        <p:txBody>
          <a:bodyPr vert="horz" lIns="91440" tIns="45720" rIns="91440" bIns="45720" rtlCol="0" anchor="t" anchorCtr="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5" name="SlideNumber"/>
          <p:cNvSpPr/>
          <p:nvPr/>
        </p:nvSpPr>
        <p:spPr>
          <a:xfrm>
            <a:off x="11962768" y="6598170"/>
            <a:ext cx="552676" cy="373264"/>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2400" b="1" baseline="0" smtClean="0">
                <a:solidFill>
                  <a:schemeClr val="accent5"/>
                </a:solidFill>
                <a:latin typeface="+mj-lt"/>
              </a:rPr>
              <a:pPr algn="r"/>
              <a:t>‹#›</a:t>
            </a:fld>
            <a:endParaRPr lang="fr-FR" sz="2400" b="1" dirty="0" smtClean="0">
              <a:solidFill>
                <a:schemeClr val="accent5"/>
              </a:solidFill>
              <a:latin typeface="+mj-lt"/>
            </a:endParaRPr>
          </a:p>
        </p:txBody>
      </p:sp>
      <p:pic>
        <p:nvPicPr>
          <p:cNvPr id="9" name="Picture 8"/>
          <p:cNvPicPr>
            <a:picLocks noChangeAspect="1"/>
          </p:cNvPicPr>
          <p:nvPr userDrawn="1"/>
        </p:nvPicPr>
        <p:blipFill rotWithShape="1">
          <a:blip r:embed="rId10" cstate="print">
            <a:extLst>
              <a:ext uri="{28A0092B-C50C-407E-A947-70E740481C1C}">
                <a14:useLocalDpi xmlns:a14="http://schemas.microsoft.com/office/drawing/2010/main" val="0"/>
              </a:ext>
            </a:extLst>
          </a:blip>
          <a:srcRect b="27102"/>
          <a:stretch/>
        </p:blipFill>
        <p:spPr>
          <a:xfrm>
            <a:off x="5887914" y="6492261"/>
            <a:ext cx="1065460" cy="585082"/>
          </a:xfrm>
          <a:prstGeom prst="rect">
            <a:avLst/>
          </a:prstGeom>
        </p:spPr>
      </p:pic>
      <p:pic>
        <p:nvPicPr>
          <p:cNvPr id="3" name="Picture 2"/>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55012" y="6497840"/>
            <a:ext cx="1495223" cy="573924"/>
          </a:xfrm>
          <a:prstGeom prst="rect">
            <a:avLst/>
          </a:prstGeom>
        </p:spPr>
      </p:pic>
      <p:sp>
        <p:nvSpPr>
          <p:cNvPr id="4" name="Rectangle 3"/>
          <p:cNvSpPr/>
          <p:nvPr userDrawn="1"/>
        </p:nvSpPr>
        <p:spPr>
          <a:xfrm>
            <a:off x="1760789" y="6486127"/>
            <a:ext cx="3193176" cy="59735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lang="en-US" sz="1200" dirty="0" smtClean="0">
                <a:solidFill>
                  <a:schemeClr val="tx1"/>
                </a:solidFill>
              </a:rPr>
              <a:t>Proprietary</a:t>
            </a:r>
            <a:r>
              <a:rPr lang="en-US" sz="1200" baseline="0" dirty="0" smtClean="0">
                <a:solidFill>
                  <a:schemeClr val="tx1"/>
                </a:solidFill>
              </a:rPr>
              <a:t> and Confidential</a:t>
            </a:r>
            <a:endParaRPr lang="en-US" sz="1200" dirty="0" smtClean="0">
              <a:solidFill>
                <a:schemeClr val="tx1"/>
              </a:solidFill>
            </a:endParaRPr>
          </a:p>
        </p:txBody>
      </p:sp>
    </p:spTree>
    <p:custDataLst>
      <p:tags r:id="rId8"/>
    </p:custDataLst>
    <p:extLst>
      <p:ext uri="{BB962C8B-B14F-4D97-AF65-F5344CB8AC3E}">
        <p14:creationId xmlns:p14="http://schemas.microsoft.com/office/powerpoint/2010/main" val="601067926"/>
      </p:ext>
    </p:extLst>
  </p:cSld>
  <p:clrMap bg1="lt1" tx1="dk1" bg2="lt2" tx2="dk2" accent1="accent1" accent2="accent2" accent3="accent3" accent4="accent4" accent5="accent5" accent6="accent6" hlink="hlink" folHlink="folHlink"/>
  <p:sldLayoutIdLst>
    <p:sldLayoutId id="2147483661" r:id="rId1"/>
    <p:sldLayoutId id="2147483665" r:id="rId2"/>
    <p:sldLayoutId id="2147483666" r:id="rId3"/>
    <p:sldLayoutId id="2147483662" r:id="rId4"/>
    <p:sldLayoutId id="2147483663" r:id="rId5"/>
    <p:sldLayoutId id="2147483664" r:id="rId6"/>
  </p:sldLayoutIdLst>
  <p:timing>
    <p:tnLst>
      <p:par>
        <p:cTn id="1" dur="indefinite" restart="never" nodeType="tmRoot"/>
      </p:par>
    </p:tnLst>
  </p:timing>
  <p:txStyles>
    <p:titleStyle>
      <a:lvl1pPr algn="ctr" defTabSz="981334" rtl="0" eaLnBrk="1" latinLnBrk="0" hangingPunct="1">
        <a:spcBef>
          <a:spcPct val="0"/>
        </a:spcBef>
        <a:buNone/>
        <a:defRPr sz="2000" kern="1200" cap="all" baseline="0">
          <a:solidFill>
            <a:schemeClr val="accent5"/>
          </a:solidFill>
          <a:latin typeface="+mj-lt"/>
          <a:ea typeface="+mj-ea"/>
          <a:cs typeface="+mj-cs"/>
        </a:defRPr>
      </a:lvl1pPr>
    </p:titleStyle>
    <p:body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81334" rtl="0" eaLnBrk="1" latinLnBrk="0" hangingPunct="1">
        <a:defRPr sz="1800" kern="1200">
          <a:solidFill>
            <a:schemeClr val="tx1"/>
          </a:solidFill>
          <a:latin typeface="+mn-lt"/>
          <a:ea typeface="+mn-ea"/>
          <a:cs typeface="+mn-cs"/>
        </a:defRPr>
      </a:lvl1pPr>
      <a:lvl2pPr marL="490667" algn="l" defTabSz="981334" rtl="0" eaLnBrk="1" latinLnBrk="0" hangingPunct="1">
        <a:defRPr sz="1900" kern="1200">
          <a:solidFill>
            <a:schemeClr val="tx1"/>
          </a:solidFill>
          <a:latin typeface="+mn-lt"/>
          <a:ea typeface="+mn-ea"/>
          <a:cs typeface="+mn-cs"/>
        </a:defRPr>
      </a:lvl2pPr>
      <a:lvl3pPr marL="981334" algn="l" defTabSz="981334" rtl="0" eaLnBrk="1" latinLnBrk="0" hangingPunct="1">
        <a:defRPr sz="1900" kern="1200">
          <a:solidFill>
            <a:schemeClr val="tx1"/>
          </a:solidFill>
          <a:latin typeface="+mn-lt"/>
          <a:ea typeface="+mn-ea"/>
          <a:cs typeface="+mn-cs"/>
        </a:defRPr>
      </a:lvl3pPr>
      <a:lvl4pPr marL="1472001" algn="l" defTabSz="981334" rtl="0" eaLnBrk="1" latinLnBrk="0" hangingPunct="1">
        <a:defRPr sz="1900" kern="1200">
          <a:solidFill>
            <a:schemeClr val="tx1"/>
          </a:solidFill>
          <a:latin typeface="+mn-lt"/>
          <a:ea typeface="+mn-ea"/>
          <a:cs typeface="+mn-cs"/>
        </a:defRPr>
      </a:lvl4pPr>
      <a:lvl5pPr marL="1962668" algn="l" defTabSz="981334" rtl="0" eaLnBrk="1" latinLnBrk="0" hangingPunct="1">
        <a:defRPr sz="1900" kern="1200">
          <a:solidFill>
            <a:schemeClr val="tx1"/>
          </a:solidFill>
          <a:latin typeface="+mn-lt"/>
          <a:ea typeface="+mn-ea"/>
          <a:cs typeface="+mn-cs"/>
        </a:defRPr>
      </a:lvl5pPr>
      <a:lvl6pPr marL="2453335" algn="l" defTabSz="981334" rtl="0" eaLnBrk="1" latinLnBrk="0" hangingPunct="1">
        <a:defRPr sz="1900" kern="1200">
          <a:solidFill>
            <a:schemeClr val="tx1"/>
          </a:solidFill>
          <a:latin typeface="+mn-lt"/>
          <a:ea typeface="+mn-ea"/>
          <a:cs typeface="+mn-cs"/>
        </a:defRPr>
      </a:lvl6pPr>
      <a:lvl7pPr marL="2944002" algn="l" defTabSz="981334" rtl="0" eaLnBrk="1" latinLnBrk="0" hangingPunct="1">
        <a:defRPr sz="1900" kern="1200">
          <a:solidFill>
            <a:schemeClr val="tx1"/>
          </a:solidFill>
          <a:latin typeface="+mn-lt"/>
          <a:ea typeface="+mn-ea"/>
          <a:cs typeface="+mn-cs"/>
        </a:defRPr>
      </a:lvl7pPr>
      <a:lvl8pPr marL="3434669" algn="l" defTabSz="981334" rtl="0" eaLnBrk="1" latinLnBrk="0" hangingPunct="1">
        <a:defRPr sz="1900" kern="1200">
          <a:solidFill>
            <a:schemeClr val="tx1"/>
          </a:solidFill>
          <a:latin typeface="+mn-lt"/>
          <a:ea typeface="+mn-ea"/>
          <a:cs typeface="+mn-cs"/>
        </a:defRPr>
      </a:lvl8pPr>
      <a:lvl9pPr marL="3925336" algn="l" defTabSz="98133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4.xml"/><Relationship Id="rId5" Type="http://schemas.openxmlformats.org/officeDocument/2006/relationships/tags" Target="../tags/tag18.xml"/><Relationship Id="rId4" Type="http://schemas.openxmlformats.org/officeDocument/2006/relationships/tags" Target="../tags/tag17.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0.xml"/><Relationship Id="rId1" Type="http://schemas.openxmlformats.org/officeDocument/2006/relationships/tags" Target="../tags/tag19.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1.png"/><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8.png"/><Relationship Id="rId4"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slideLayout" Target="../slideLayouts/slideLayout4.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4" Type="http://schemas.openxmlformats.org/officeDocument/2006/relationships/tags" Target="../tags/tag29.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9.jp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8.png"/><Relationship Id="rId5" Type="http://schemas.openxmlformats.org/officeDocument/2006/relationships/slideLayout" Target="../slideLayouts/slideLayout4.xml"/><Relationship Id="rId4" Type="http://schemas.openxmlformats.org/officeDocument/2006/relationships/tags" Target="../tags/tag7.xml"/></Relationships>
</file>

<file path=ppt/slides/_rels/slide2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8.png"/><Relationship Id="rId5" Type="http://schemas.openxmlformats.org/officeDocument/2006/relationships/slideLayout" Target="../slideLayouts/slideLayout4.xml"/><Relationship Id="rId4" Type="http://schemas.openxmlformats.org/officeDocument/2006/relationships/tags" Target="../tags/tag3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slideLayout" Target="../slideLayouts/slideLayout4.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s/_rels/slide24.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9.xml"/></Relationships>
</file>

<file path=ppt/slides/_rels/slide26.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slideLayout" Target="../slideLayouts/slideLayout4.xml"/><Relationship Id="rId4" Type="http://schemas.openxmlformats.org/officeDocument/2006/relationships/tags" Target="../tags/tag53.xml"/><Relationship Id="rId9" Type="http://schemas.openxmlformats.org/officeDocument/2006/relationships/tags" Target="../tags/tag58.xml"/></Relationships>
</file>

<file path=ppt/slides/_rels/slide27.xml.rels><?xml version="1.0" encoding="UTF-8" standalone="yes"?>
<Relationships xmlns="http://schemas.openxmlformats.org/package/2006/relationships"><Relationship Id="rId13" Type="http://schemas.openxmlformats.org/officeDocument/2006/relationships/image" Target="../media/image17.gif"/><Relationship Id="rId18" Type="http://schemas.openxmlformats.org/officeDocument/2006/relationships/image" Target="../media/image22.png"/><Relationship Id="rId26" Type="http://schemas.openxmlformats.org/officeDocument/2006/relationships/image" Target="../media/image30.gif"/><Relationship Id="rId39" Type="http://schemas.openxmlformats.org/officeDocument/2006/relationships/image" Target="../media/image43.png"/><Relationship Id="rId3" Type="http://schemas.openxmlformats.org/officeDocument/2006/relationships/tags" Target="../tags/tag60.xml"/><Relationship Id="rId21" Type="http://schemas.openxmlformats.org/officeDocument/2006/relationships/image" Target="../media/image25.png"/><Relationship Id="rId34" Type="http://schemas.openxmlformats.org/officeDocument/2006/relationships/image" Target="../media/image38.png"/><Relationship Id="rId42" Type="http://schemas.openxmlformats.org/officeDocument/2006/relationships/image" Target="../media/image46.png"/><Relationship Id="rId47" Type="http://schemas.openxmlformats.org/officeDocument/2006/relationships/image" Target="../media/image51.png"/><Relationship Id="rId50" Type="http://schemas.openxmlformats.org/officeDocument/2006/relationships/image" Target="../media/image54.png"/><Relationship Id="rId7" Type="http://schemas.openxmlformats.org/officeDocument/2006/relationships/slideLayout" Target="../slideLayouts/slideLayout4.xml"/><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png"/><Relationship Id="rId33" Type="http://schemas.openxmlformats.org/officeDocument/2006/relationships/image" Target="../media/image37.png"/><Relationship Id="rId38" Type="http://schemas.openxmlformats.org/officeDocument/2006/relationships/image" Target="../media/image42.gif"/><Relationship Id="rId46" Type="http://schemas.openxmlformats.org/officeDocument/2006/relationships/image" Target="../media/image50.png"/><Relationship Id="rId2" Type="http://schemas.openxmlformats.org/officeDocument/2006/relationships/tags" Target="../tags/tag59.xml"/><Relationship Id="rId16" Type="http://schemas.openxmlformats.org/officeDocument/2006/relationships/image" Target="../media/image20.png"/><Relationship Id="rId20" Type="http://schemas.openxmlformats.org/officeDocument/2006/relationships/image" Target="../media/image24.png"/><Relationship Id="rId29" Type="http://schemas.openxmlformats.org/officeDocument/2006/relationships/image" Target="../media/image33.png"/><Relationship Id="rId41" Type="http://schemas.openxmlformats.org/officeDocument/2006/relationships/image" Target="../media/image45.gif"/><Relationship Id="rId1" Type="http://schemas.openxmlformats.org/officeDocument/2006/relationships/vmlDrawing" Target="../drawings/vmlDrawing1.vml"/><Relationship Id="rId6" Type="http://schemas.openxmlformats.org/officeDocument/2006/relationships/tags" Target="../tags/tag63.xml"/><Relationship Id="rId11" Type="http://schemas.openxmlformats.org/officeDocument/2006/relationships/image" Target="../media/image15.png"/><Relationship Id="rId24" Type="http://schemas.openxmlformats.org/officeDocument/2006/relationships/image" Target="../media/image28.gif"/><Relationship Id="rId32" Type="http://schemas.openxmlformats.org/officeDocument/2006/relationships/image" Target="../media/image36.png"/><Relationship Id="rId37" Type="http://schemas.openxmlformats.org/officeDocument/2006/relationships/image" Target="../media/image41.png"/><Relationship Id="rId40" Type="http://schemas.openxmlformats.org/officeDocument/2006/relationships/image" Target="../media/image44.png"/><Relationship Id="rId45" Type="http://schemas.openxmlformats.org/officeDocument/2006/relationships/image" Target="../media/image49.png"/><Relationship Id="rId5" Type="http://schemas.openxmlformats.org/officeDocument/2006/relationships/tags" Target="../tags/tag62.xml"/><Relationship Id="rId15" Type="http://schemas.openxmlformats.org/officeDocument/2006/relationships/image" Target="../media/image19.png"/><Relationship Id="rId23" Type="http://schemas.openxmlformats.org/officeDocument/2006/relationships/image" Target="../media/image27.png"/><Relationship Id="rId28" Type="http://schemas.openxmlformats.org/officeDocument/2006/relationships/image" Target="../media/image32.gif"/><Relationship Id="rId36" Type="http://schemas.openxmlformats.org/officeDocument/2006/relationships/image" Target="../media/image40.png"/><Relationship Id="rId49" Type="http://schemas.openxmlformats.org/officeDocument/2006/relationships/image" Target="../media/image53.png"/><Relationship Id="rId10" Type="http://schemas.openxmlformats.org/officeDocument/2006/relationships/image" Target="../media/image14.png"/><Relationship Id="rId19" Type="http://schemas.openxmlformats.org/officeDocument/2006/relationships/image" Target="../media/image23.png"/><Relationship Id="rId31" Type="http://schemas.openxmlformats.org/officeDocument/2006/relationships/image" Target="../media/image35.png"/><Relationship Id="rId44" Type="http://schemas.openxmlformats.org/officeDocument/2006/relationships/image" Target="../media/image48.png"/><Relationship Id="rId4" Type="http://schemas.openxmlformats.org/officeDocument/2006/relationships/tags" Target="../tags/tag61.xml"/><Relationship Id="rId9" Type="http://schemas.openxmlformats.org/officeDocument/2006/relationships/image" Target="../media/image13.emf"/><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image" Target="../media/image31.png"/><Relationship Id="rId30" Type="http://schemas.openxmlformats.org/officeDocument/2006/relationships/image" Target="../media/image34.png"/><Relationship Id="rId35" Type="http://schemas.openxmlformats.org/officeDocument/2006/relationships/image" Target="../media/image39.png"/><Relationship Id="rId43" Type="http://schemas.openxmlformats.org/officeDocument/2006/relationships/image" Target="../media/image47.png"/><Relationship Id="rId48" Type="http://schemas.openxmlformats.org/officeDocument/2006/relationships/image" Target="../media/image52.png"/><Relationship Id="rId8" Type="http://schemas.openxmlformats.org/officeDocument/2006/relationships/oleObject" Target="../embeddings/oleObject1.bin"/><Relationship Id="rId51" Type="http://schemas.openxmlformats.org/officeDocument/2006/relationships/image" Target="../media/image55.png"/></Relationships>
</file>

<file path=ppt/slides/_rels/slide28.xml.rels><?xml version="1.0" encoding="UTF-8" standalone="yes"?>
<Relationships xmlns="http://schemas.openxmlformats.org/package/2006/relationships"><Relationship Id="rId13" Type="http://schemas.openxmlformats.org/officeDocument/2006/relationships/image" Target="../media/image63.png"/><Relationship Id="rId18" Type="http://schemas.openxmlformats.org/officeDocument/2006/relationships/image" Target="../media/image68.png"/><Relationship Id="rId26" Type="http://schemas.openxmlformats.org/officeDocument/2006/relationships/image" Target="../media/image76.gif"/><Relationship Id="rId39" Type="http://schemas.openxmlformats.org/officeDocument/2006/relationships/image" Target="../media/image89.png"/><Relationship Id="rId3" Type="http://schemas.openxmlformats.org/officeDocument/2006/relationships/slideLayout" Target="../slideLayouts/slideLayout4.xml"/><Relationship Id="rId21" Type="http://schemas.openxmlformats.org/officeDocument/2006/relationships/image" Target="../media/image71.png"/><Relationship Id="rId34" Type="http://schemas.openxmlformats.org/officeDocument/2006/relationships/image" Target="../media/image84.png"/><Relationship Id="rId42" Type="http://schemas.openxmlformats.org/officeDocument/2006/relationships/image" Target="../media/image92.png"/><Relationship Id="rId47" Type="http://schemas.openxmlformats.org/officeDocument/2006/relationships/image" Target="../media/image97.png"/><Relationship Id="rId50" Type="http://schemas.openxmlformats.org/officeDocument/2006/relationships/image" Target="../media/image100.png"/><Relationship Id="rId7" Type="http://schemas.openxmlformats.org/officeDocument/2006/relationships/image" Target="../media/image57.gif"/><Relationship Id="rId12" Type="http://schemas.openxmlformats.org/officeDocument/2006/relationships/image" Target="../media/image62.png"/><Relationship Id="rId17" Type="http://schemas.openxmlformats.org/officeDocument/2006/relationships/image" Target="../media/image67.png"/><Relationship Id="rId25" Type="http://schemas.openxmlformats.org/officeDocument/2006/relationships/image" Target="../media/image75.png"/><Relationship Id="rId33" Type="http://schemas.openxmlformats.org/officeDocument/2006/relationships/image" Target="../media/image83.png"/><Relationship Id="rId38" Type="http://schemas.openxmlformats.org/officeDocument/2006/relationships/image" Target="../media/image88.png"/><Relationship Id="rId46" Type="http://schemas.openxmlformats.org/officeDocument/2006/relationships/image" Target="../media/image96.png"/><Relationship Id="rId2" Type="http://schemas.openxmlformats.org/officeDocument/2006/relationships/tags" Target="../tags/tag64.xml"/><Relationship Id="rId16" Type="http://schemas.openxmlformats.org/officeDocument/2006/relationships/image" Target="../media/image66.png"/><Relationship Id="rId20" Type="http://schemas.openxmlformats.org/officeDocument/2006/relationships/image" Target="../media/image70.png"/><Relationship Id="rId29" Type="http://schemas.openxmlformats.org/officeDocument/2006/relationships/image" Target="../media/image79.png"/><Relationship Id="rId41" Type="http://schemas.openxmlformats.org/officeDocument/2006/relationships/image" Target="../media/image91.gif"/><Relationship Id="rId1" Type="http://schemas.openxmlformats.org/officeDocument/2006/relationships/vmlDrawing" Target="../drawings/vmlDrawing2.vml"/><Relationship Id="rId6" Type="http://schemas.openxmlformats.org/officeDocument/2006/relationships/image" Target="../media/image56.gif"/><Relationship Id="rId11" Type="http://schemas.openxmlformats.org/officeDocument/2006/relationships/image" Target="../media/image61.gif"/><Relationship Id="rId24" Type="http://schemas.openxmlformats.org/officeDocument/2006/relationships/image" Target="../media/image74.gif"/><Relationship Id="rId32" Type="http://schemas.openxmlformats.org/officeDocument/2006/relationships/image" Target="../media/image82.png"/><Relationship Id="rId37" Type="http://schemas.openxmlformats.org/officeDocument/2006/relationships/image" Target="../media/image87.png"/><Relationship Id="rId40" Type="http://schemas.openxmlformats.org/officeDocument/2006/relationships/image" Target="../media/image90.png"/><Relationship Id="rId45" Type="http://schemas.openxmlformats.org/officeDocument/2006/relationships/image" Target="../media/image95.png"/><Relationship Id="rId5" Type="http://schemas.openxmlformats.org/officeDocument/2006/relationships/image" Target="../media/image13.emf"/><Relationship Id="rId15" Type="http://schemas.openxmlformats.org/officeDocument/2006/relationships/image" Target="../media/image65.png"/><Relationship Id="rId23" Type="http://schemas.openxmlformats.org/officeDocument/2006/relationships/image" Target="../media/image73.png"/><Relationship Id="rId28" Type="http://schemas.openxmlformats.org/officeDocument/2006/relationships/image" Target="../media/image78.png"/><Relationship Id="rId36" Type="http://schemas.openxmlformats.org/officeDocument/2006/relationships/image" Target="../media/image86.gif"/><Relationship Id="rId49" Type="http://schemas.openxmlformats.org/officeDocument/2006/relationships/image" Target="../media/image99.png"/><Relationship Id="rId10" Type="http://schemas.openxmlformats.org/officeDocument/2006/relationships/image" Target="../media/image60.png"/><Relationship Id="rId19" Type="http://schemas.openxmlformats.org/officeDocument/2006/relationships/image" Target="../media/image69.png"/><Relationship Id="rId31" Type="http://schemas.openxmlformats.org/officeDocument/2006/relationships/image" Target="../media/image81.png"/><Relationship Id="rId44" Type="http://schemas.openxmlformats.org/officeDocument/2006/relationships/image" Target="../media/image94.gif"/><Relationship Id="rId4" Type="http://schemas.openxmlformats.org/officeDocument/2006/relationships/oleObject" Target="../embeddings/oleObject2.bin"/><Relationship Id="rId9" Type="http://schemas.openxmlformats.org/officeDocument/2006/relationships/image" Target="../media/image59.png"/><Relationship Id="rId14" Type="http://schemas.openxmlformats.org/officeDocument/2006/relationships/image" Target="../media/image64.png"/><Relationship Id="rId22" Type="http://schemas.openxmlformats.org/officeDocument/2006/relationships/image" Target="../media/image72.png"/><Relationship Id="rId27" Type="http://schemas.openxmlformats.org/officeDocument/2006/relationships/image" Target="../media/image77.png"/><Relationship Id="rId30" Type="http://schemas.openxmlformats.org/officeDocument/2006/relationships/image" Target="../media/image80.png"/><Relationship Id="rId35" Type="http://schemas.openxmlformats.org/officeDocument/2006/relationships/image" Target="../media/image85.gif"/><Relationship Id="rId43" Type="http://schemas.openxmlformats.org/officeDocument/2006/relationships/image" Target="../media/image93.png"/><Relationship Id="rId48" Type="http://schemas.openxmlformats.org/officeDocument/2006/relationships/image" Target="../media/image98.png"/><Relationship Id="rId8" Type="http://schemas.openxmlformats.org/officeDocument/2006/relationships/image" Target="../media/image58.png"/><Relationship Id="rId51" Type="http://schemas.openxmlformats.org/officeDocument/2006/relationships/image" Target="../media/image101.png"/></Relationships>
</file>

<file path=ppt/slides/_rels/slide29.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8.png"/><Relationship Id="rId5" Type="http://schemas.openxmlformats.org/officeDocument/2006/relationships/slideLayout" Target="../slideLayouts/slideLayout4.xml"/><Relationship Id="rId4" Type="http://schemas.openxmlformats.org/officeDocument/2006/relationships/tags" Target="../tags/tag68.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30.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slideLayout" Target="../slideLayouts/slideLayout4.xml"/><Relationship Id="rId5" Type="http://schemas.openxmlformats.org/officeDocument/2006/relationships/tags" Target="../tags/tag73.xml"/><Relationship Id="rId4" Type="http://schemas.openxmlformats.org/officeDocument/2006/relationships/tags" Target="../tags/tag72.xml"/></Relationships>
</file>

<file path=ppt/slides/_rels/slide31.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notesSlide" Target="../notesSlides/notesSlide1.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Layout" Target="../slideLayouts/slideLayout4.xml"/><Relationship Id="rId5" Type="http://schemas.openxmlformats.org/officeDocument/2006/relationships/tags" Target="../tags/tag78.xml"/><Relationship Id="rId4" Type="http://schemas.openxmlformats.org/officeDocument/2006/relationships/tags" Target="../tags/tag77.xml"/></Relationships>
</file>

<file path=ppt/slides/_rels/slide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image" Target="../media/image102.png"/><Relationship Id="rId5" Type="http://schemas.openxmlformats.org/officeDocument/2006/relationships/tags" Target="../tags/tag83.xml"/><Relationship Id="rId10" Type="http://schemas.openxmlformats.org/officeDocument/2006/relationships/notesSlide" Target="../notesSlides/notesSlide2.xml"/><Relationship Id="rId4" Type="http://schemas.openxmlformats.org/officeDocument/2006/relationships/tags" Target="../tags/tag82.xml"/><Relationship Id="rId9"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8.xml"/><Relationship Id="rId1" Type="http://schemas.openxmlformats.org/officeDocument/2006/relationships/tags" Target="../tags/tag87.xml"/><Relationship Id="rId4" Type="http://schemas.openxmlformats.org/officeDocument/2006/relationships/notesSlide" Target="../notesSlides/notesSlide3.xml"/></Relationships>
</file>

<file path=ppt/slides/_rels/slide35.xml.rels><?xml version="1.0" encoding="UTF-8" standalone="yes"?>
<Relationships xmlns="http://schemas.openxmlformats.org/package/2006/relationships"><Relationship Id="rId8" Type="http://schemas.openxmlformats.org/officeDocument/2006/relationships/tags" Target="../tags/tag96.xml"/><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slideLayout" Target="../slideLayouts/slideLayout4.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0" Type="http://schemas.openxmlformats.org/officeDocument/2006/relationships/tags" Target="../tags/tag98.xml"/><Relationship Id="rId4" Type="http://schemas.openxmlformats.org/officeDocument/2006/relationships/tags" Target="../tags/tag92.xml"/><Relationship Id="rId9" Type="http://schemas.openxmlformats.org/officeDocument/2006/relationships/tags" Target="../tags/tag97.xml"/></Relationships>
</file>

<file path=ppt/slides/_rels/slide3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4.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37.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08.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notesSlide" Target="../notesSlides/notesSlide4.xml"/><Relationship Id="rId5" Type="http://schemas.openxmlformats.org/officeDocument/2006/relationships/slideLayout" Target="../slideLayouts/slideLayout4.xml"/><Relationship Id="rId4" Type="http://schemas.openxmlformats.org/officeDocument/2006/relationships/tags" Target="../tags/tag103.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5.xml"/><Relationship Id="rId1" Type="http://schemas.openxmlformats.org/officeDocument/2006/relationships/tags" Target="../tags/tag10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slideLayout" Target="../slideLayouts/slideLayout4.xml"/><Relationship Id="rId4" Type="http://schemas.openxmlformats.org/officeDocument/2006/relationships/tags" Target="../tags/tag10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tags" Target="../tags/tag110.xml"/><Relationship Id="rId4"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slideLayout" Target="../slideLayouts/slideLayout4.xml"/><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tags" Target="../tags/tag124.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tags" Target="../tags/tag117.xml"/><Relationship Id="rId10" Type="http://schemas.openxmlformats.org/officeDocument/2006/relationships/tags" Target="../tags/tag122.xml"/><Relationship Id="rId4" Type="http://schemas.openxmlformats.org/officeDocument/2006/relationships/tags" Target="../tags/tag116.xml"/><Relationship Id="rId9" Type="http://schemas.openxmlformats.org/officeDocument/2006/relationships/tags" Target="../tags/tag121.xml"/><Relationship Id="rId14" Type="http://schemas.openxmlformats.org/officeDocument/2006/relationships/chart" Target="../charts/char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6.xml"/><Relationship Id="rId1" Type="http://schemas.openxmlformats.org/officeDocument/2006/relationships/tags" Target="../tags/tag125.xml"/><Relationship Id="rId4" Type="http://schemas.openxmlformats.org/officeDocument/2006/relationships/notesSlide" Target="../notesSlides/notesSlide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tags" Target="../tags/tag129.xml"/><Relationship Id="rId7" Type="http://schemas.openxmlformats.org/officeDocument/2006/relationships/image" Target="../media/image109.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slideLayout" Target="../slideLayouts/slideLayout4.xml"/><Relationship Id="rId5" Type="http://schemas.openxmlformats.org/officeDocument/2006/relationships/tags" Target="../tags/tag131.xml"/><Relationship Id="rId10" Type="http://schemas.openxmlformats.org/officeDocument/2006/relationships/image" Target="../media/image8.png"/><Relationship Id="rId4" Type="http://schemas.openxmlformats.org/officeDocument/2006/relationships/tags" Target="../tags/tag130.xml"/><Relationship Id="rId9" Type="http://schemas.openxmlformats.org/officeDocument/2006/relationships/image" Target="../media/image11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4"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tags" Target="../tags/tag135.xml"/><Relationship Id="rId5" Type="http://schemas.openxmlformats.org/officeDocument/2006/relationships/slideLayout" Target="../slideLayouts/slideLayout4.xml"/><Relationship Id="rId4" Type="http://schemas.openxmlformats.org/officeDocument/2006/relationships/tags" Target="../tags/tag138.xml"/></Relationships>
</file>

<file path=ppt/slides/_rels/slide5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39.xml"/></Relationships>
</file>

<file path=ppt/slides/_rels/slide54.xml.rels><?xml version="1.0" encoding="UTF-8" standalone="yes"?>
<Relationships xmlns="http://schemas.openxmlformats.org/package/2006/relationships"><Relationship Id="rId8" Type="http://schemas.openxmlformats.org/officeDocument/2006/relationships/tags" Target="../tags/tag147.xml"/><Relationship Id="rId3" Type="http://schemas.openxmlformats.org/officeDocument/2006/relationships/tags" Target="../tags/tag142.xml"/><Relationship Id="rId7" Type="http://schemas.openxmlformats.org/officeDocument/2006/relationships/tags" Target="../tags/tag146.xml"/><Relationship Id="rId12" Type="http://schemas.openxmlformats.org/officeDocument/2006/relationships/slideLayout" Target="../slideLayouts/slideLayout4.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tags" Target="../tags/tag150.xml"/><Relationship Id="rId5" Type="http://schemas.openxmlformats.org/officeDocument/2006/relationships/tags" Target="../tags/tag144.xml"/><Relationship Id="rId10" Type="http://schemas.openxmlformats.org/officeDocument/2006/relationships/tags" Target="../tags/tag149.xml"/><Relationship Id="rId4" Type="http://schemas.openxmlformats.org/officeDocument/2006/relationships/tags" Target="../tags/tag143.xml"/><Relationship Id="rId9" Type="http://schemas.openxmlformats.org/officeDocument/2006/relationships/tags" Target="../tags/tag148.xml"/></Relationships>
</file>

<file path=ppt/slides/_rels/slide55.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153.xml"/><Relationship Id="rId7" Type="http://schemas.openxmlformats.org/officeDocument/2006/relationships/tags" Target="../tags/tag157.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5" Type="http://schemas.openxmlformats.org/officeDocument/2006/relationships/tags" Target="../tags/tag155.xml"/><Relationship Id="rId4" Type="http://schemas.openxmlformats.org/officeDocument/2006/relationships/tags" Target="../tags/tag154.xml"/></Relationships>
</file>

<file path=ppt/slides/_rels/slide56.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18" Type="http://schemas.openxmlformats.org/officeDocument/2006/relationships/tags" Target="../tags/tag175.xml"/><Relationship Id="rId3" Type="http://schemas.openxmlformats.org/officeDocument/2006/relationships/tags" Target="../tags/tag160.xml"/><Relationship Id="rId21" Type="http://schemas.openxmlformats.org/officeDocument/2006/relationships/tags" Target="../tags/tag178.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tags" Target="../tags/tag174.xml"/><Relationship Id="rId25" Type="http://schemas.openxmlformats.org/officeDocument/2006/relationships/slideLayout" Target="../slideLayouts/slideLayout4.xml"/><Relationship Id="rId2" Type="http://schemas.openxmlformats.org/officeDocument/2006/relationships/tags" Target="../tags/tag159.xml"/><Relationship Id="rId16" Type="http://schemas.openxmlformats.org/officeDocument/2006/relationships/tags" Target="../tags/tag173.xml"/><Relationship Id="rId20" Type="http://schemas.openxmlformats.org/officeDocument/2006/relationships/tags" Target="../tags/tag177.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24" Type="http://schemas.openxmlformats.org/officeDocument/2006/relationships/tags" Target="../tags/tag181.xml"/><Relationship Id="rId5" Type="http://schemas.openxmlformats.org/officeDocument/2006/relationships/tags" Target="../tags/tag162.xml"/><Relationship Id="rId15" Type="http://schemas.openxmlformats.org/officeDocument/2006/relationships/tags" Target="../tags/tag172.xml"/><Relationship Id="rId23" Type="http://schemas.openxmlformats.org/officeDocument/2006/relationships/tags" Target="../tags/tag180.xml"/><Relationship Id="rId10" Type="http://schemas.openxmlformats.org/officeDocument/2006/relationships/tags" Target="../tags/tag167.xml"/><Relationship Id="rId19" Type="http://schemas.openxmlformats.org/officeDocument/2006/relationships/tags" Target="../tags/tag176.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tags" Target="../tags/tag171.xml"/><Relationship Id="rId22" Type="http://schemas.openxmlformats.org/officeDocument/2006/relationships/tags" Target="../tags/tag179.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82.xml"/></Relationships>
</file>

<file path=ppt/slides/_rels/slide58.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slideLayout" Target="../slideLayouts/slideLayout4.xml"/><Relationship Id="rId4" Type="http://schemas.openxmlformats.org/officeDocument/2006/relationships/tags" Target="../tags/tag186.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8.xml"/><Relationship Id="rId1" Type="http://schemas.openxmlformats.org/officeDocument/2006/relationships/tags" Target="../tags/tag187.xml"/></Relationships>
</file>

<file path=ppt/slides/_rels/slide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slideLayout" Target="../slideLayouts/slideLayout4.xml"/><Relationship Id="rId4" Type="http://schemas.openxmlformats.org/officeDocument/2006/relationships/tags" Target="../tags/tag192.xml"/></Relationships>
</file>

<file path=ppt/slides/_rels/slide61.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5" Type="http://schemas.openxmlformats.org/officeDocument/2006/relationships/tags" Target="../tags/tag197.xml"/><Relationship Id="rId10" Type="http://schemas.openxmlformats.org/officeDocument/2006/relationships/slideLayout" Target="../slideLayouts/slideLayout4.xml"/><Relationship Id="rId4" Type="http://schemas.openxmlformats.org/officeDocument/2006/relationships/tags" Target="../tags/tag196.xml"/><Relationship Id="rId9" Type="http://schemas.openxmlformats.org/officeDocument/2006/relationships/tags" Target="../tags/tag201.xml"/></Relationships>
</file>

<file path=ppt/slides/_rels/slide62.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tags" Target="../tags/tag214.xml"/><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tags" Target="../tags/tag213.xml"/><Relationship Id="rId17" Type="http://schemas.openxmlformats.org/officeDocument/2006/relationships/slideLayout" Target="../slideLayouts/slideLayout4.xml"/><Relationship Id="rId2" Type="http://schemas.openxmlformats.org/officeDocument/2006/relationships/tags" Target="../tags/tag203.xml"/><Relationship Id="rId16" Type="http://schemas.openxmlformats.org/officeDocument/2006/relationships/tags" Target="../tags/tag217.xml"/><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tags" Target="../tags/tag212.xml"/><Relationship Id="rId5" Type="http://schemas.openxmlformats.org/officeDocument/2006/relationships/tags" Target="../tags/tag206.xml"/><Relationship Id="rId15" Type="http://schemas.openxmlformats.org/officeDocument/2006/relationships/tags" Target="../tags/tag216.xml"/><Relationship Id="rId10" Type="http://schemas.openxmlformats.org/officeDocument/2006/relationships/tags" Target="../tags/tag211.xml"/><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tags" Target="../tags/tag215.xml"/></Relationships>
</file>

<file path=ppt/slides/_rels/slide63.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tags" Target="../tags/tag230.xml"/><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tags" Target="../tags/tag229.xml"/><Relationship Id="rId2" Type="http://schemas.openxmlformats.org/officeDocument/2006/relationships/tags" Target="../tags/tag219.xml"/><Relationship Id="rId16" Type="http://schemas.openxmlformats.org/officeDocument/2006/relationships/slideLayout" Target="../slideLayouts/slideLayout4.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tags" Target="../tags/tag228.xml"/><Relationship Id="rId5" Type="http://schemas.openxmlformats.org/officeDocument/2006/relationships/tags" Target="../tags/tag222.xml"/><Relationship Id="rId15" Type="http://schemas.openxmlformats.org/officeDocument/2006/relationships/tags" Target="../tags/tag232.xml"/><Relationship Id="rId10" Type="http://schemas.openxmlformats.org/officeDocument/2006/relationships/tags" Target="../tags/tag227.xml"/><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tags" Target="../tags/tag231.xml"/></Relationships>
</file>

<file path=ppt/slides/_rels/slide6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33.xml"/></Relationships>
</file>

<file path=ppt/slides/_rels/slide65.xml.rels><?xml version="1.0" encoding="UTF-8" standalone="yes"?>
<Relationships xmlns="http://schemas.openxmlformats.org/package/2006/relationships"><Relationship Id="rId8" Type="http://schemas.openxmlformats.org/officeDocument/2006/relationships/tags" Target="../tags/tag241.xml"/><Relationship Id="rId13" Type="http://schemas.openxmlformats.org/officeDocument/2006/relationships/tags" Target="../tags/tag246.xml"/><Relationship Id="rId18" Type="http://schemas.openxmlformats.org/officeDocument/2006/relationships/tags" Target="../tags/tag251.xml"/><Relationship Id="rId3" Type="http://schemas.openxmlformats.org/officeDocument/2006/relationships/tags" Target="../tags/tag236.xml"/><Relationship Id="rId7" Type="http://schemas.openxmlformats.org/officeDocument/2006/relationships/tags" Target="../tags/tag240.xml"/><Relationship Id="rId12" Type="http://schemas.openxmlformats.org/officeDocument/2006/relationships/tags" Target="../tags/tag245.xml"/><Relationship Id="rId17" Type="http://schemas.openxmlformats.org/officeDocument/2006/relationships/tags" Target="../tags/tag250.xml"/><Relationship Id="rId2" Type="http://schemas.openxmlformats.org/officeDocument/2006/relationships/tags" Target="../tags/tag235.xml"/><Relationship Id="rId16" Type="http://schemas.openxmlformats.org/officeDocument/2006/relationships/tags" Target="../tags/tag249.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tags" Target="../tags/tag244.xml"/><Relationship Id="rId5" Type="http://schemas.openxmlformats.org/officeDocument/2006/relationships/tags" Target="../tags/tag238.xml"/><Relationship Id="rId15" Type="http://schemas.openxmlformats.org/officeDocument/2006/relationships/tags" Target="../tags/tag248.xml"/><Relationship Id="rId10" Type="http://schemas.openxmlformats.org/officeDocument/2006/relationships/tags" Target="../tags/tag243.xml"/><Relationship Id="rId19" Type="http://schemas.openxmlformats.org/officeDocument/2006/relationships/slideLayout" Target="../slideLayouts/slideLayout4.xml"/><Relationship Id="rId4" Type="http://schemas.openxmlformats.org/officeDocument/2006/relationships/tags" Target="../tags/tag237.xml"/><Relationship Id="rId9" Type="http://schemas.openxmlformats.org/officeDocument/2006/relationships/tags" Target="../tags/tag242.xml"/><Relationship Id="rId14" Type="http://schemas.openxmlformats.org/officeDocument/2006/relationships/tags" Target="../tags/tag247.xml"/></Relationships>
</file>

<file path=ppt/slides/_rels/slide6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52.xml"/></Relationships>
</file>

<file path=ppt/slides/_rels/slide6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53.xml"/></Relationships>
</file>

<file path=ppt/slides/_rels/slide6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54.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3" Type="http://schemas.openxmlformats.org/officeDocument/2006/relationships/tags" Target="../tags/tag257.xml"/><Relationship Id="rId2" Type="http://schemas.openxmlformats.org/officeDocument/2006/relationships/tags" Target="../tags/tag256.xml"/><Relationship Id="rId1" Type="http://schemas.openxmlformats.org/officeDocument/2006/relationships/tags" Target="../tags/tag255.xml"/><Relationship Id="rId5" Type="http://schemas.openxmlformats.org/officeDocument/2006/relationships/slideLayout" Target="../slideLayouts/slideLayout4.xml"/><Relationship Id="rId4" Type="http://schemas.openxmlformats.org/officeDocument/2006/relationships/tags" Target="../tags/tag258.xml"/></Relationships>
</file>

<file path=ppt/slides/_rels/slide74.xml.rels><?xml version="1.0" encoding="UTF-8" standalone="yes"?>
<Relationships xmlns="http://schemas.openxmlformats.org/package/2006/relationships"><Relationship Id="rId3" Type="http://schemas.openxmlformats.org/officeDocument/2006/relationships/tags" Target="../tags/tag261.xml"/><Relationship Id="rId2" Type="http://schemas.openxmlformats.org/officeDocument/2006/relationships/tags" Target="../tags/tag260.xml"/><Relationship Id="rId1" Type="http://schemas.openxmlformats.org/officeDocument/2006/relationships/tags" Target="../tags/tag259.xml"/><Relationship Id="rId5" Type="http://schemas.openxmlformats.org/officeDocument/2006/relationships/slideLayout" Target="../slideLayouts/slideLayout4.xml"/><Relationship Id="rId4" Type="http://schemas.openxmlformats.org/officeDocument/2006/relationships/tags" Target="../tags/tag262.xml"/></Relationships>
</file>

<file path=ppt/slides/_rels/slide75.xml.rels><?xml version="1.0" encoding="UTF-8" standalone="yes"?>
<Relationships xmlns="http://schemas.openxmlformats.org/package/2006/relationships"><Relationship Id="rId3" Type="http://schemas.openxmlformats.org/officeDocument/2006/relationships/tags" Target="../tags/tag265.xml"/><Relationship Id="rId7" Type="http://schemas.openxmlformats.org/officeDocument/2006/relationships/slideLayout" Target="../slideLayouts/slideLayout4.xml"/><Relationship Id="rId2" Type="http://schemas.openxmlformats.org/officeDocument/2006/relationships/tags" Target="../tags/tag264.xml"/><Relationship Id="rId1" Type="http://schemas.openxmlformats.org/officeDocument/2006/relationships/tags" Target="../tags/tag263.xml"/><Relationship Id="rId6" Type="http://schemas.openxmlformats.org/officeDocument/2006/relationships/tags" Target="../tags/tag268.xml"/><Relationship Id="rId5" Type="http://schemas.openxmlformats.org/officeDocument/2006/relationships/tags" Target="../tags/tag267.xml"/><Relationship Id="rId4" Type="http://schemas.openxmlformats.org/officeDocument/2006/relationships/tags" Target="../tags/tag266.xml"/></Relationships>
</file>

<file path=ppt/slides/_rels/slide7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69.xml"/></Relationships>
</file>

<file path=ppt/slides/_rels/slide77.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tags" Target="../tags/tag282.xml"/><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tags" Target="../tags/tag281.xml"/><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tags" Target="../tags/tag280.xml"/><Relationship Id="rId5" Type="http://schemas.openxmlformats.org/officeDocument/2006/relationships/tags" Target="../tags/tag274.xml"/><Relationship Id="rId15" Type="http://schemas.openxmlformats.org/officeDocument/2006/relationships/slideLayout" Target="../slideLayouts/slideLayout4.xml"/><Relationship Id="rId10" Type="http://schemas.openxmlformats.org/officeDocument/2006/relationships/tags" Target="../tags/tag279.xm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9.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smtClean="0"/>
              <a:t>Presentation Title: </a:t>
            </a:r>
            <a:r>
              <a:rPr lang="en-US" dirty="0" err="1" smtClean="0"/>
              <a:t>Roboto</a:t>
            </a:r>
            <a:r>
              <a:rPr lang="en-US" dirty="0" smtClean="0"/>
              <a:t> 25pt</a:t>
            </a:r>
            <a:endParaRPr lang="en-US" dirty="0"/>
          </a:p>
        </p:txBody>
      </p:sp>
      <p:sp>
        <p:nvSpPr>
          <p:cNvPr id="3" name="Subtitle 2"/>
          <p:cNvSpPr>
            <a:spLocks noGrp="1"/>
          </p:cNvSpPr>
          <p:nvPr>
            <p:ph type="subTitle" idx="1"/>
          </p:nvPr>
        </p:nvSpPr>
        <p:spPr/>
        <p:txBody>
          <a:bodyPr/>
          <a:lstStyle/>
          <a:p>
            <a:r>
              <a:rPr lang="en-US" dirty="0" smtClean="0"/>
              <a:t>Sub title: Robto24pt</a:t>
            </a:r>
            <a:endParaRPr lang="en-US" dirty="0"/>
          </a:p>
        </p:txBody>
      </p:sp>
      <p:sp>
        <p:nvSpPr>
          <p:cNvPr id="4" name="BainBulletsConfiguration" hidden="1"/>
          <p:cNvSpPr txBox="1"/>
          <p:nvPr/>
        </p:nvSpPr>
        <p:spPr>
          <a:xfrm>
            <a:off x="1712288" y="12323"/>
            <a:ext cx="8626466" cy="107722"/>
          </a:xfrm>
          <a:prstGeom prst="rect">
            <a:avLst/>
          </a:prstGeom>
          <a:noFill/>
        </p:spPr>
        <p:txBody>
          <a:bodyPr vert="horz" wrap="square" lIns="44365" rIns="44365" rtlCol="0">
            <a:spAutoFit/>
          </a:bodyPr>
          <a:lstStyle/>
          <a:p>
            <a:endParaRPr lang="en-US" sz="100" dirty="0" err="1">
              <a:solidFill>
                <a:srgbClr val="FFFFFF"/>
              </a:solidFill>
            </a:endParaRPr>
          </a:p>
        </p:txBody>
      </p:sp>
      <p:sp>
        <p:nvSpPr>
          <p:cNvPr id="7" name="Rectangle 6"/>
          <p:cNvSpPr/>
          <p:nvPr/>
        </p:nvSpPr>
        <p:spPr>
          <a:xfrm>
            <a:off x="6718681" y="1921168"/>
            <a:ext cx="1419670" cy="246979"/>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4352" tIns="44352" rIns="44352" bIns="44352" rtlCol="0" anchor="ctr"/>
          <a:lstStyle/>
          <a:p>
            <a:pPr algn="ctr"/>
            <a:r>
              <a:rPr lang="en-US" sz="1164" dirty="0" smtClean="0">
                <a:solidFill>
                  <a:schemeClr val="tx2"/>
                </a:solidFill>
              </a:rPr>
              <a:t>Client Name</a:t>
            </a:r>
            <a:endParaRPr lang="en-US" sz="1164" dirty="0">
              <a:solidFill>
                <a:schemeClr val="tx2"/>
              </a:solidFill>
            </a:endParaRPr>
          </a:p>
        </p:txBody>
      </p:sp>
      <p:cxnSp>
        <p:nvCxnSpPr>
          <p:cNvPr id="8" name="Straight Arrow Connector 7"/>
          <p:cNvCxnSpPr>
            <a:stCxn id="7" idx="0"/>
          </p:cNvCxnSpPr>
          <p:nvPr/>
        </p:nvCxnSpPr>
        <p:spPr>
          <a:xfrm rot="5400000" flipH="1" flipV="1">
            <a:off x="7452320" y="1310140"/>
            <a:ext cx="587224" cy="634832"/>
          </a:xfrm>
          <a:prstGeom prst="bentConnector2">
            <a:avLst/>
          </a:prstGeom>
          <a:ln w="19050">
            <a:solidFill>
              <a:srgbClr val="CC0000"/>
            </a:solidFill>
            <a:headEnd type="triangl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523753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15068" y="4025371"/>
            <a:ext cx="11811153" cy="200027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8375" tIns="64186" rIns="128375" bIns="64186" rtlCol="0" anchor="ctr"/>
          <a:lstStyle/>
          <a:p>
            <a:pPr algn="ctr"/>
            <a:endParaRPr lang="en-US" sz="948"/>
          </a:p>
        </p:txBody>
      </p:sp>
      <p:sp>
        <p:nvSpPr>
          <p:cNvPr id="9" name="Subtitle 2"/>
          <p:cNvSpPr txBox="1">
            <a:spLocks/>
          </p:cNvSpPr>
          <p:nvPr/>
        </p:nvSpPr>
        <p:spPr>
          <a:xfrm>
            <a:off x="987981" y="4000060"/>
            <a:ext cx="777344" cy="1525073"/>
          </a:xfrm>
          <a:prstGeom prst="rect">
            <a:avLst/>
          </a:prstGeom>
        </p:spPr>
        <p:txBody>
          <a:bodyPr vert="horz" lIns="128375" tIns="64186" rIns="128375" bIns="64186"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0111" b="1" dirty="0">
                <a:solidFill>
                  <a:schemeClr val="bg1"/>
                </a:solidFill>
                <a:cs typeface="Roboto Light"/>
              </a:rPr>
              <a:t>“</a:t>
            </a:r>
          </a:p>
        </p:txBody>
      </p:sp>
      <p:sp>
        <p:nvSpPr>
          <p:cNvPr id="10" name="Subtitle 2"/>
          <p:cNvSpPr txBox="1">
            <a:spLocks/>
          </p:cNvSpPr>
          <p:nvPr/>
        </p:nvSpPr>
        <p:spPr>
          <a:xfrm>
            <a:off x="1544398" y="4362974"/>
            <a:ext cx="9752494" cy="1187037"/>
          </a:xfrm>
          <a:prstGeom prst="rect">
            <a:avLst/>
          </a:prstGeom>
        </p:spPr>
        <p:txBody>
          <a:bodyPr vert="horz" lIns="128375" tIns="64186" rIns="128375" bIns="64186"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791" dirty="0">
                <a:solidFill>
                  <a:schemeClr val="bg1"/>
                </a:solidFill>
                <a:latin typeface="Roboto Light"/>
                <a:cs typeface="Roboto Light"/>
              </a:rPr>
              <a:t>Before jumping right into solving a problem, we should step back and invest time and effort to improve our understanding of it.</a:t>
            </a:r>
          </a:p>
        </p:txBody>
      </p:sp>
      <p:sp>
        <p:nvSpPr>
          <p:cNvPr id="11" name="Subtitle 2"/>
          <p:cNvSpPr txBox="1">
            <a:spLocks/>
          </p:cNvSpPr>
          <p:nvPr/>
        </p:nvSpPr>
        <p:spPr>
          <a:xfrm>
            <a:off x="11096967" y="4938500"/>
            <a:ext cx="756342" cy="1160293"/>
          </a:xfrm>
          <a:prstGeom prst="rect">
            <a:avLst/>
          </a:prstGeom>
        </p:spPr>
        <p:txBody>
          <a:bodyPr vert="horz" lIns="128375" tIns="64186" rIns="128375" bIns="64186"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0111" b="1" dirty="0">
                <a:solidFill>
                  <a:schemeClr val="bg1"/>
                </a:solidFill>
                <a:cs typeface="Roboto Light"/>
              </a:rPr>
              <a:t>”</a:t>
            </a:r>
          </a:p>
        </p:txBody>
      </p:sp>
      <p:sp>
        <p:nvSpPr>
          <p:cNvPr id="12" name="Title 20"/>
          <p:cNvSpPr txBox="1">
            <a:spLocks/>
          </p:cNvSpPr>
          <p:nvPr/>
        </p:nvSpPr>
        <p:spPr>
          <a:xfrm>
            <a:off x="919041" y="1332467"/>
            <a:ext cx="10998773" cy="2185545"/>
          </a:xfrm>
          <a:prstGeom prst="rect">
            <a:avLst/>
          </a:prstGeom>
        </p:spPr>
        <p:txBody>
          <a:bodyPr vert="horz" wrap="square" lIns="128402" tIns="64201" rIns="128402" bIns="64201" numCol="2" spcCol="548640" rtlCol="0" anchor="ctr">
            <a:no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30000"/>
              </a:lnSpc>
            </a:pPr>
            <a:r>
              <a:rPr lang="fr-FR" sz="1474" dirty="0">
                <a:solidFill>
                  <a:schemeClr val="tx1"/>
                </a:solidFill>
                <a:latin typeface="Roboto Regular" pitchFamily="2" charset="0"/>
                <a:ea typeface="Roboto Regular" pitchFamily="2" charset="0"/>
                <a:cs typeface="Roboto Light"/>
              </a:rPr>
              <a:t>Entrepreneur  It </a:t>
            </a:r>
            <a:r>
              <a:rPr lang="fr-FR" sz="1474" dirty="0" err="1">
                <a:solidFill>
                  <a:schemeClr val="tx1"/>
                </a:solidFill>
                <a:latin typeface="Roboto Regular" pitchFamily="2" charset="0"/>
                <a:ea typeface="Roboto Regular" pitchFamily="2" charset="0"/>
                <a:cs typeface="Roboto Light"/>
              </a:rPr>
              <a:t>is</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defined</a:t>
            </a:r>
            <a:r>
              <a:rPr lang="fr-FR" sz="1474" dirty="0">
                <a:solidFill>
                  <a:schemeClr val="tx1"/>
                </a:solidFill>
                <a:latin typeface="Roboto Regular" pitchFamily="2" charset="0"/>
                <a:ea typeface="Roboto Regular" pitchFamily="2" charset="0"/>
                <a:cs typeface="Roboto Light"/>
              </a:rPr>
              <a:t> as an </a:t>
            </a:r>
            <a:r>
              <a:rPr lang="fr-FR" sz="1474" dirty="0" err="1">
                <a:solidFill>
                  <a:schemeClr val="tx1"/>
                </a:solidFill>
                <a:latin typeface="Roboto Regular" pitchFamily="2" charset="0"/>
                <a:ea typeface="Roboto Regular" pitchFamily="2" charset="0"/>
                <a:cs typeface="Roboto Light"/>
              </a:rPr>
              <a:t>individual</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who</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organizes</a:t>
            </a:r>
            <a:r>
              <a:rPr lang="fr-FR" sz="1474" dirty="0">
                <a:solidFill>
                  <a:schemeClr val="tx1"/>
                </a:solidFill>
                <a:latin typeface="Roboto Regular" pitchFamily="2" charset="0"/>
                <a:ea typeface="Roboto Regular" pitchFamily="2" charset="0"/>
                <a:cs typeface="Roboto Light"/>
              </a:rPr>
              <a:t> or </a:t>
            </a:r>
            <a:r>
              <a:rPr lang="fr-FR" sz="1474" dirty="0" err="1">
                <a:solidFill>
                  <a:schemeClr val="tx1"/>
                </a:solidFill>
                <a:latin typeface="Roboto Regular" pitchFamily="2" charset="0"/>
                <a:ea typeface="Roboto Regular" pitchFamily="2" charset="0"/>
                <a:cs typeface="Roboto Light"/>
              </a:rPr>
              <a:t>operates</a:t>
            </a:r>
            <a:r>
              <a:rPr lang="fr-FR" sz="1474" dirty="0">
                <a:solidFill>
                  <a:schemeClr val="tx1"/>
                </a:solidFill>
                <a:latin typeface="Roboto Regular" pitchFamily="2" charset="0"/>
                <a:ea typeface="Roboto Regular" pitchFamily="2" charset="0"/>
                <a:cs typeface="Roboto Light"/>
              </a:rPr>
              <a:t> a business or businesses. </a:t>
            </a:r>
            <a:r>
              <a:rPr lang="fr-FR" sz="1474" dirty="0" err="1">
                <a:solidFill>
                  <a:schemeClr val="tx1"/>
                </a:solidFill>
                <a:latin typeface="Roboto Regular" pitchFamily="2" charset="0"/>
                <a:ea typeface="Roboto Regular" pitchFamily="2" charset="0"/>
                <a:cs typeface="Roboto Light"/>
              </a:rPr>
              <a:t>Credit</a:t>
            </a:r>
            <a:r>
              <a:rPr lang="fr-FR" sz="1474" dirty="0">
                <a:solidFill>
                  <a:schemeClr val="tx1"/>
                </a:solidFill>
                <a:latin typeface="Roboto Regular" pitchFamily="2" charset="0"/>
                <a:ea typeface="Roboto Regular" pitchFamily="2" charset="0"/>
                <a:cs typeface="Roboto Light"/>
              </a:rPr>
              <a:t> for </a:t>
            </a:r>
            <a:r>
              <a:rPr lang="fr-FR" sz="1474" dirty="0" err="1">
                <a:solidFill>
                  <a:schemeClr val="tx1"/>
                </a:solidFill>
                <a:latin typeface="Roboto Regular" pitchFamily="2" charset="0"/>
                <a:ea typeface="Roboto Regular" pitchFamily="2" charset="0"/>
                <a:cs typeface="Roboto Light"/>
              </a:rPr>
              <a:t>coining</a:t>
            </a:r>
            <a:r>
              <a:rPr lang="fr-FR" sz="1474" dirty="0">
                <a:solidFill>
                  <a:schemeClr val="tx1"/>
                </a:solidFill>
                <a:latin typeface="Roboto Regular" pitchFamily="2" charset="0"/>
                <a:ea typeface="Roboto Regular" pitchFamily="2" charset="0"/>
                <a:cs typeface="Roboto Light"/>
              </a:rPr>
              <a:t> the </a:t>
            </a:r>
            <a:r>
              <a:rPr lang="fr-FR" sz="1474" dirty="0" err="1">
                <a:solidFill>
                  <a:schemeClr val="tx1"/>
                </a:solidFill>
                <a:latin typeface="Roboto Regular" pitchFamily="2" charset="0"/>
                <a:ea typeface="Roboto Regular" pitchFamily="2" charset="0"/>
                <a:cs typeface="Roboto Light"/>
              </a:rPr>
              <a:t>term</a:t>
            </a:r>
            <a:r>
              <a:rPr lang="fr-FR" sz="1474" dirty="0">
                <a:solidFill>
                  <a:schemeClr val="tx1"/>
                </a:solidFill>
                <a:latin typeface="Roboto Regular" pitchFamily="2" charset="0"/>
                <a:ea typeface="Roboto Regular" pitchFamily="2" charset="0"/>
                <a:cs typeface="Roboto Light"/>
              </a:rPr>
              <a:t> entrepreneur </a:t>
            </a:r>
            <a:r>
              <a:rPr lang="fr-FR" sz="1474" dirty="0" err="1">
                <a:solidFill>
                  <a:schemeClr val="tx1"/>
                </a:solidFill>
                <a:latin typeface="Roboto Regular" pitchFamily="2" charset="0"/>
                <a:ea typeface="Roboto Regular" pitchFamily="2" charset="0"/>
                <a:cs typeface="Roboto Light"/>
              </a:rPr>
              <a:t>generally</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goes</a:t>
            </a:r>
            <a:r>
              <a:rPr lang="fr-FR" sz="1474" dirty="0">
                <a:solidFill>
                  <a:schemeClr val="tx1"/>
                </a:solidFill>
                <a:latin typeface="Roboto Regular" pitchFamily="2" charset="0"/>
                <a:ea typeface="Roboto Regular" pitchFamily="2" charset="0"/>
                <a:cs typeface="Roboto Light"/>
              </a:rPr>
              <a:t> to the French </a:t>
            </a:r>
            <a:r>
              <a:rPr lang="fr-FR" sz="1474" dirty="0" err="1">
                <a:solidFill>
                  <a:schemeClr val="tx1"/>
                </a:solidFill>
                <a:latin typeface="Roboto Regular" pitchFamily="2" charset="0"/>
                <a:ea typeface="Roboto Regular" pitchFamily="2" charset="0"/>
                <a:cs typeface="Roboto Light"/>
              </a:rPr>
              <a:t>economist</a:t>
            </a:r>
            <a:r>
              <a:rPr lang="fr-FR" sz="1474" dirty="0">
                <a:solidFill>
                  <a:schemeClr val="tx1"/>
                </a:solidFill>
                <a:latin typeface="Roboto Regular" pitchFamily="2" charset="0"/>
                <a:ea typeface="Roboto Regular" pitchFamily="2" charset="0"/>
                <a:cs typeface="Roboto Light"/>
              </a:rPr>
              <a:t> Jean-Baptiste Say, but in </a:t>
            </a:r>
            <a:r>
              <a:rPr lang="fr-FR" sz="1474" dirty="0" err="1">
                <a:solidFill>
                  <a:schemeClr val="tx1"/>
                </a:solidFill>
                <a:latin typeface="Roboto Regular" pitchFamily="2" charset="0"/>
                <a:ea typeface="Roboto Regular" pitchFamily="2" charset="0"/>
                <a:cs typeface="Roboto Light"/>
              </a:rPr>
              <a:t>fact</a:t>
            </a:r>
            <a:r>
              <a:rPr lang="fr-FR" sz="1474" dirty="0">
                <a:solidFill>
                  <a:schemeClr val="tx1"/>
                </a:solidFill>
                <a:latin typeface="Roboto Regular" pitchFamily="2" charset="0"/>
                <a:ea typeface="Roboto Regular" pitchFamily="2" charset="0"/>
                <a:cs typeface="Roboto Light"/>
              </a:rPr>
              <a:t> the Irish-French </a:t>
            </a:r>
            <a:r>
              <a:rPr lang="fr-FR" sz="1474" dirty="0" err="1">
                <a:solidFill>
                  <a:schemeClr val="tx1"/>
                </a:solidFill>
                <a:latin typeface="Roboto Regular" pitchFamily="2" charset="0"/>
                <a:ea typeface="Roboto Regular" pitchFamily="2" charset="0"/>
                <a:cs typeface="Roboto Light"/>
              </a:rPr>
              <a:t>economist</a:t>
            </a:r>
            <a:r>
              <a:rPr lang="fr-FR" sz="1474" dirty="0">
                <a:solidFill>
                  <a:schemeClr val="tx1"/>
                </a:solidFill>
                <a:latin typeface="Roboto Regular" pitchFamily="2" charset="0"/>
                <a:ea typeface="Roboto Regular" pitchFamily="2" charset="0"/>
                <a:cs typeface="Roboto Light"/>
              </a:rPr>
              <a:t> Richard Cantillon </a:t>
            </a:r>
            <a:r>
              <a:rPr lang="fr-FR" sz="1474" dirty="0" err="1">
                <a:solidFill>
                  <a:schemeClr val="tx1"/>
                </a:solidFill>
                <a:latin typeface="Roboto Regular" pitchFamily="2" charset="0"/>
                <a:ea typeface="Roboto Regular" pitchFamily="2" charset="0"/>
                <a:cs typeface="Roboto Light"/>
              </a:rPr>
              <a:t>defined</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it</a:t>
            </a:r>
            <a:r>
              <a:rPr lang="fr-FR" sz="1474" dirty="0">
                <a:solidFill>
                  <a:schemeClr val="tx1"/>
                </a:solidFill>
                <a:latin typeface="Roboto Regular" pitchFamily="2" charset="0"/>
                <a:ea typeface="Roboto Regular" pitchFamily="2" charset="0"/>
                <a:cs typeface="Roboto Light"/>
              </a:rPr>
              <a:t> first in </a:t>
            </a:r>
            <a:r>
              <a:rPr lang="fr-FR" sz="1474" dirty="0" err="1">
                <a:solidFill>
                  <a:schemeClr val="tx1"/>
                </a:solidFill>
                <a:latin typeface="Roboto Regular" pitchFamily="2" charset="0"/>
                <a:ea typeface="Roboto Regular" pitchFamily="2" charset="0"/>
                <a:cs typeface="Roboto Light"/>
              </a:rPr>
              <a:t>his</a:t>
            </a:r>
            <a:r>
              <a:rPr lang="fr-FR" sz="1474" dirty="0">
                <a:solidFill>
                  <a:schemeClr val="tx1"/>
                </a:solidFill>
                <a:latin typeface="Roboto Regular" pitchFamily="2" charset="0"/>
                <a:ea typeface="Roboto Regular" pitchFamily="2" charset="0"/>
                <a:cs typeface="Roboto Light"/>
              </a:rPr>
              <a:t> Essai sur la Nature du Commerce en Général, or </a:t>
            </a:r>
            <a:r>
              <a:rPr lang="fr-FR" sz="1474" dirty="0" err="1">
                <a:solidFill>
                  <a:schemeClr val="tx1"/>
                </a:solidFill>
                <a:latin typeface="Roboto Regular" pitchFamily="2" charset="0"/>
                <a:ea typeface="Roboto Regular" pitchFamily="2" charset="0"/>
                <a:cs typeface="Roboto Light"/>
              </a:rPr>
              <a:t>Essay</a:t>
            </a:r>
            <a:r>
              <a:rPr lang="fr-FR" sz="1474" dirty="0">
                <a:solidFill>
                  <a:schemeClr val="tx1"/>
                </a:solidFill>
                <a:latin typeface="Roboto Regular" pitchFamily="2" charset="0"/>
                <a:ea typeface="Roboto Regular" pitchFamily="2" charset="0"/>
                <a:cs typeface="Roboto Light"/>
              </a:rPr>
              <a:t> on </a:t>
            </a:r>
            <a:r>
              <a:rPr lang="fr-FR" sz="1474" dirty="0" err="1">
                <a:solidFill>
                  <a:schemeClr val="tx1"/>
                </a:solidFill>
                <a:latin typeface="Roboto Regular" pitchFamily="2" charset="0"/>
                <a:ea typeface="Roboto Regular" pitchFamily="2" charset="0"/>
                <a:cs typeface="Roboto Light"/>
              </a:rPr>
              <a:t>theNature</a:t>
            </a:r>
            <a:r>
              <a:rPr lang="fr-FR" sz="1474" dirty="0">
                <a:solidFill>
                  <a:schemeClr val="tx1"/>
                </a:solidFill>
                <a:latin typeface="Roboto Regular" pitchFamily="2" charset="0"/>
                <a:ea typeface="Roboto Regular" pitchFamily="2" charset="0"/>
                <a:cs typeface="Roboto Light"/>
              </a:rPr>
              <a:t> of Trade in General, a book William Stanley Jevons </a:t>
            </a:r>
            <a:r>
              <a:rPr lang="fr-FR" sz="1474" dirty="0" err="1">
                <a:solidFill>
                  <a:schemeClr val="tx1"/>
                </a:solidFill>
                <a:latin typeface="Roboto Regular" pitchFamily="2" charset="0"/>
                <a:ea typeface="Roboto Regular" pitchFamily="2" charset="0"/>
                <a:cs typeface="Roboto Light"/>
              </a:rPr>
              <a:t>considered</a:t>
            </a:r>
            <a:r>
              <a:rPr lang="fr-FR" sz="1474" dirty="0">
                <a:solidFill>
                  <a:schemeClr val="tx1"/>
                </a:solidFill>
                <a:latin typeface="Roboto Regular" pitchFamily="2" charset="0"/>
                <a:ea typeface="Roboto Regular" pitchFamily="2" charset="0"/>
                <a:cs typeface="Roboto Light"/>
              </a:rPr>
              <a:t> the "</a:t>
            </a:r>
            <a:r>
              <a:rPr lang="fr-FR" sz="1474" dirty="0" err="1">
                <a:solidFill>
                  <a:schemeClr val="tx1"/>
                </a:solidFill>
                <a:latin typeface="Roboto Regular" pitchFamily="2" charset="0"/>
                <a:ea typeface="Roboto Regular" pitchFamily="2" charset="0"/>
                <a:cs typeface="Roboto Light"/>
              </a:rPr>
              <a:t>cradle</a:t>
            </a:r>
            <a:r>
              <a:rPr lang="fr-FR" sz="1474" dirty="0">
                <a:solidFill>
                  <a:schemeClr val="tx1"/>
                </a:solidFill>
                <a:latin typeface="Roboto Regular" pitchFamily="2" charset="0"/>
                <a:ea typeface="Roboto Regular" pitchFamily="2" charset="0"/>
                <a:cs typeface="Roboto Light"/>
              </a:rPr>
              <a:t> of </a:t>
            </a:r>
            <a:r>
              <a:rPr lang="fr-FR" sz="1474" dirty="0" err="1">
                <a:solidFill>
                  <a:schemeClr val="tx1"/>
                </a:solidFill>
                <a:latin typeface="Roboto Regular" pitchFamily="2" charset="0"/>
                <a:ea typeface="Roboto Regular" pitchFamily="2" charset="0"/>
                <a:cs typeface="Roboto Light"/>
              </a:rPr>
              <a:t>political</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economy</a:t>
            </a:r>
            <a:r>
              <a:rPr lang="fr-FR" sz="1474" dirty="0">
                <a:solidFill>
                  <a:schemeClr val="tx1"/>
                </a:solidFill>
                <a:latin typeface="Roboto Regular" pitchFamily="2" charset="0"/>
                <a:ea typeface="Roboto Regular" pitchFamily="2" charset="0"/>
                <a:cs typeface="Roboto Light"/>
              </a:rPr>
              <a:t>” Cantillon </a:t>
            </a:r>
            <a:r>
              <a:rPr lang="fr-FR" sz="1474" dirty="0" err="1">
                <a:solidFill>
                  <a:schemeClr val="tx1"/>
                </a:solidFill>
                <a:latin typeface="Roboto Regular" pitchFamily="2" charset="0"/>
                <a:ea typeface="Roboto Regular" pitchFamily="2" charset="0"/>
                <a:cs typeface="Roboto Light"/>
              </a:rPr>
              <a:t>used</a:t>
            </a:r>
            <a:r>
              <a:rPr lang="fr-FR" sz="1474" dirty="0">
                <a:solidFill>
                  <a:schemeClr val="tx1"/>
                </a:solidFill>
                <a:latin typeface="Roboto Regular" pitchFamily="2" charset="0"/>
                <a:ea typeface="Roboto Regular" pitchFamily="2" charset="0"/>
                <a:cs typeface="Roboto Light"/>
              </a:rPr>
              <a:t> the </a:t>
            </a:r>
            <a:r>
              <a:rPr lang="fr-FR" sz="1474" dirty="0" err="1">
                <a:solidFill>
                  <a:schemeClr val="tx1"/>
                </a:solidFill>
                <a:latin typeface="Roboto Regular" pitchFamily="2" charset="0"/>
                <a:ea typeface="Roboto Regular" pitchFamily="2" charset="0"/>
                <a:cs typeface="Roboto Light"/>
              </a:rPr>
              <a:t>term</a:t>
            </a:r>
            <a:r>
              <a:rPr lang="fr-FR" sz="1474" dirty="0">
                <a:solidFill>
                  <a:schemeClr val="tx1"/>
                </a:solidFill>
                <a:latin typeface="Roboto Regular" pitchFamily="2" charset="0"/>
                <a:ea typeface="Roboto Regular" pitchFamily="2" charset="0"/>
                <a:cs typeface="Roboto Light"/>
              </a:rPr>
              <a:t> </a:t>
            </a:r>
            <a:r>
              <a:rPr lang="fr-FR" sz="1474" dirty="0" err="1" smtClean="0">
                <a:solidFill>
                  <a:schemeClr val="tx1"/>
                </a:solidFill>
                <a:latin typeface="Roboto Regular" pitchFamily="2" charset="0"/>
                <a:ea typeface="Roboto Regular" pitchFamily="2" charset="0"/>
                <a:cs typeface="Roboto Light"/>
              </a:rPr>
              <a:t>Biographer</a:t>
            </a:r>
            <a:r>
              <a:rPr lang="fr-FR" sz="1474" dirty="0" smtClean="0">
                <a:solidFill>
                  <a:schemeClr val="tx1"/>
                </a:solidFill>
                <a:latin typeface="Roboto Regular" pitchFamily="2" charset="0"/>
                <a:ea typeface="Roboto Regular" pitchFamily="2" charset="0"/>
                <a:cs typeface="Roboto Light"/>
              </a:rPr>
              <a:t> </a:t>
            </a:r>
            <a:r>
              <a:rPr lang="fr-FR" sz="1474" dirty="0">
                <a:solidFill>
                  <a:schemeClr val="tx1"/>
                </a:solidFill>
                <a:latin typeface="Roboto Regular" pitchFamily="2" charset="0"/>
                <a:ea typeface="Roboto Regular" pitchFamily="2" charset="0"/>
                <a:cs typeface="Roboto Light"/>
              </a:rPr>
              <a:t>Anthony </a:t>
            </a:r>
            <a:r>
              <a:rPr lang="fr-FR" sz="1474" dirty="0" err="1">
                <a:solidFill>
                  <a:schemeClr val="tx1"/>
                </a:solidFill>
                <a:latin typeface="Roboto Regular" pitchFamily="2" charset="0"/>
                <a:ea typeface="Roboto Regular" pitchFamily="2" charset="0"/>
                <a:cs typeface="Roboto Light"/>
              </a:rPr>
              <a:t>Breer</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noted</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that</a:t>
            </a:r>
            <a:r>
              <a:rPr lang="fr-FR" sz="1474" dirty="0">
                <a:solidFill>
                  <a:schemeClr val="tx1"/>
                </a:solidFill>
                <a:latin typeface="Roboto Regular" pitchFamily="2" charset="0"/>
                <a:ea typeface="Roboto Regular" pitchFamily="2" charset="0"/>
                <a:cs typeface="Roboto Light"/>
              </a:rPr>
              <a:t> Cantillon </a:t>
            </a:r>
            <a:r>
              <a:rPr lang="fr-FR" sz="1474" dirty="0" err="1">
                <a:solidFill>
                  <a:schemeClr val="tx1"/>
                </a:solidFill>
                <a:latin typeface="Roboto Regular" pitchFamily="2" charset="0"/>
                <a:ea typeface="Roboto Regular" pitchFamily="2" charset="0"/>
                <a:cs typeface="Roboto Light"/>
              </a:rPr>
              <a:t>saw</a:t>
            </a:r>
            <a:r>
              <a:rPr lang="fr-FR" sz="1474" dirty="0">
                <a:solidFill>
                  <a:schemeClr val="tx1"/>
                </a:solidFill>
                <a:latin typeface="Roboto Regular" pitchFamily="2" charset="0"/>
                <a:ea typeface="Roboto Regular" pitchFamily="2" charset="0"/>
                <a:cs typeface="Roboto Light"/>
              </a:rPr>
              <a:t> the entrepreneur as a </a:t>
            </a:r>
            <a:r>
              <a:rPr lang="fr-FR" sz="1474" dirty="0" err="1">
                <a:solidFill>
                  <a:schemeClr val="tx1"/>
                </a:solidFill>
                <a:latin typeface="Roboto Regular" pitchFamily="2" charset="0"/>
                <a:ea typeface="Roboto Regular" pitchFamily="2" charset="0"/>
                <a:cs typeface="Roboto Light"/>
              </a:rPr>
              <a:t>risk-taker</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while</a:t>
            </a:r>
            <a:r>
              <a:rPr lang="fr-FR" sz="1474" dirty="0">
                <a:solidFill>
                  <a:schemeClr val="tx1"/>
                </a:solidFill>
                <a:latin typeface="Roboto Regular" pitchFamily="2" charset="0"/>
                <a:ea typeface="Roboto Regular" pitchFamily="2" charset="0"/>
                <a:cs typeface="Roboto Light"/>
              </a:rPr>
              <a:t> Say </a:t>
            </a:r>
            <a:r>
              <a:rPr lang="fr-FR" sz="1474" dirty="0" err="1">
                <a:solidFill>
                  <a:schemeClr val="tx1"/>
                </a:solidFill>
                <a:latin typeface="Roboto Regular" pitchFamily="2" charset="0"/>
                <a:ea typeface="Roboto Regular" pitchFamily="2" charset="0"/>
                <a:cs typeface="Roboto Light"/>
              </a:rPr>
              <a:t>considered</a:t>
            </a:r>
            <a:r>
              <a:rPr lang="fr-FR" sz="1474" dirty="0">
                <a:solidFill>
                  <a:schemeClr val="tx1"/>
                </a:solidFill>
                <a:latin typeface="Roboto Regular" pitchFamily="2" charset="0"/>
                <a:ea typeface="Roboto Regular" pitchFamily="2" charset="0"/>
                <a:cs typeface="Roboto Light"/>
              </a:rPr>
              <a:t> the entrepreneur a "</a:t>
            </a:r>
            <a:r>
              <a:rPr lang="fr-FR" sz="1474" dirty="0" err="1">
                <a:solidFill>
                  <a:schemeClr val="tx1"/>
                </a:solidFill>
                <a:latin typeface="Roboto Regular" pitchFamily="2" charset="0"/>
                <a:ea typeface="Roboto Regular" pitchFamily="2" charset="0"/>
                <a:cs typeface="Roboto Light"/>
              </a:rPr>
              <a:t>planner</a:t>
            </a:r>
            <a:r>
              <a:rPr lang="fr-FR" sz="1474" dirty="0">
                <a:solidFill>
                  <a:schemeClr val="tx1"/>
                </a:solidFill>
                <a:latin typeface="Roboto Regular" pitchFamily="2" charset="0"/>
                <a:ea typeface="Roboto Regular" pitchFamily="2" charset="0"/>
                <a:cs typeface="Roboto Light"/>
              </a:rPr>
              <a:t>".  Cantillon </a:t>
            </a:r>
            <a:r>
              <a:rPr lang="fr-FR" sz="1474" dirty="0" err="1">
                <a:solidFill>
                  <a:schemeClr val="tx1"/>
                </a:solidFill>
                <a:latin typeface="Roboto Regular" pitchFamily="2" charset="0"/>
                <a:ea typeface="Roboto Regular" pitchFamily="2" charset="0"/>
                <a:cs typeface="Roboto Light"/>
              </a:rPr>
              <a:t>defined</a:t>
            </a:r>
            <a:r>
              <a:rPr lang="fr-FR" sz="1474" dirty="0">
                <a:solidFill>
                  <a:schemeClr val="tx1"/>
                </a:solidFill>
                <a:latin typeface="Roboto Regular" pitchFamily="2" charset="0"/>
                <a:ea typeface="Roboto Regular" pitchFamily="2" charset="0"/>
                <a:cs typeface="Roboto Light"/>
              </a:rPr>
              <a:t> the </a:t>
            </a:r>
            <a:r>
              <a:rPr lang="fr-FR" sz="1474" dirty="0" err="1">
                <a:solidFill>
                  <a:schemeClr val="tx1"/>
                </a:solidFill>
                <a:latin typeface="Roboto Regular" pitchFamily="2" charset="0"/>
                <a:ea typeface="Roboto Regular" pitchFamily="2" charset="0"/>
                <a:cs typeface="Roboto Light"/>
              </a:rPr>
              <a:t>term</a:t>
            </a:r>
            <a:r>
              <a:rPr lang="fr-FR" sz="1474" dirty="0">
                <a:solidFill>
                  <a:schemeClr val="tx1"/>
                </a:solidFill>
                <a:latin typeface="Roboto Regular" pitchFamily="2" charset="0"/>
                <a:ea typeface="Roboto Regular" pitchFamily="2" charset="0"/>
                <a:cs typeface="Roboto Light"/>
              </a:rPr>
              <a:t> as a </a:t>
            </a:r>
            <a:r>
              <a:rPr lang="fr-FR" sz="1474" dirty="0" err="1">
                <a:solidFill>
                  <a:schemeClr val="tx1"/>
                </a:solidFill>
                <a:latin typeface="Roboto Regular" pitchFamily="2" charset="0"/>
                <a:ea typeface="Roboto Regular" pitchFamily="2" charset="0"/>
                <a:cs typeface="Roboto Light"/>
              </a:rPr>
              <a:t>person</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who</a:t>
            </a:r>
            <a:r>
              <a:rPr lang="fr-FR" sz="1474" dirty="0">
                <a:solidFill>
                  <a:schemeClr val="tx1"/>
                </a:solidFill>
                <a:latin typeface="Roboto Regular" pitchFamily="2" charset="0"/>
                <a:ea typeface="Roboto Regular" pitchFamily="2" charset="0"/>
                <a:cs typeface="Roboto Light"/>
              </a:rPr>
              <a:t> pays a certain </a:t>
            </a:r>
            <a:r>
              <a:rPr lang="fr-FR" sz="1474" dirty="0" err="1">
                <a:solidFill>
                  <a:schemeClr val="tx1"/>
                </a:solidFill>
                <a:latin typeface="Roboto Regular" pitchFamily="2" charset="0"/>
                <a:ea typeface="Roboto Regular" pitchFamily="2" charset="0"/>
                <a:cs typeface="Roboto Light"/>
              </a:rPr>
              <a:t>price</a:t>
            </a:r>
            <a:r>
              <a:rPr lang="fr-FR" sz="1474" dirty="0">
                <a:solidFill>
                  <a:schemeClr val="tx1"/>
                </a:solidFill>
                <a:latin typeface="Roboto Regular" pitchFamily="2" charset="0"/>
                <a:ea typeface="Roboto Regular" pitchFamily="2" charset="0"/>
                <a:cs typeface="Roboto Light"/>
              </a:rPr>
              <a:t> for a </a:t>
            </a:r>
            <a:r>
              <a:rPr lang="fr-FR" sz="1474" dirty="0" err="1">
                <a:solidFill>
                  <a:schemeClr val="tx1"/>
                </a:solidFill>
                <a:latin typeface="Roboto Regular" pitchFamily="2" charset="0"/>
                <a:ea typeface="Roboto Regular" pitchFamily="2" charset="0"/>
                <a:cs typeface="Roboto Light"/>
              </a:rPr>
              <a:t>product</a:t>
            </a:r>
            <a:r>
              <a:rPr lang="fr-FR" sz="1474" dirty="0">
                <a:solidFill>
                  <a:schemeClr val="tx1"/>
                </a:solidFill>
                <a:latin typeface="Roboto Regular" pitchFamily="2" charset="0"/>
                <a:ea typeface="Roboto Regular" pitchFamily="2" charset="0"/>
                <a:cs typeface="Roboto Light"/>
              </a:rPr>
              <a:t> and </a:t>
            </a:r>
            <a:r>
              <a:rPr lang="fr-FR" sz="1474" dirty="0" err="1">
                <a:solidFill>
                  <a:schemeClr val="tx1"/>
                </a:solidFill>
                <a:latin typeface="Roboto Regular" pitchFamily="2" charset="0"/>
                <a:ea typeface="Roboto Regular" pitchFamily="2" charset="0"/>
                <a:cs typeface="Roboto Light"/>
              </a:rPr>
              <a:t>resells</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it</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at</a:t>
            </a:r>
            <a:r>
              <a:rPr lang="fr-FR" sz="1474" dirty="0">
                <a:solidFill>
                  <a:schemeClr val="tx1"/>
                </a:solidFill>
                <a:latin typeface="Roboto Regular" pitchFamily="2" charset="0"/>
                <a:ea typeface="Roboto Regular" pitchFamily="2" charset="0"/>
                <a:cs typeface="Roboto Light"/>
              </a:rPr>
              <a:t> an </a:t>
            </a:r>
            <a:r>
              <a:rPr lang="fr-FR" sz="1474" dirty="0" err="1">
                <a:solidFill>
                  <a:schemeClr val="tx1"/>
                </a:solidFill>
                <a:latin typeface="Roboto Regular" pitchFamily="2" charset="0"/>
                <a:ea typeface="Roboto Regular" pitchFamily="2" charset="0"/>
                <a:cs typeface="Roboto Light"/>
              </a:rPr>
              <a:t>uncertain</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price</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making</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decisions</a:t>
            </a:r>
            <a:r>
              <a:rPr lang="fr-FR" sz="1474" dirty="0">
                <a:solidFill>
                  <a:schemeClr val="tx1"/>
                </a:solidFill>
                <a:latin typeface="Roboto Regular" pitchFamily="2" charset="0"/>
                <a:ea typeface="Roboto Regular" pitchFamily="2" charset="0"/>
                <a:cs typeface="Roboto Light"/>
              </a:rPr>
              <a:t> about </a:t>
            </a:r>
            <a:r>
              <a:rPr lang="fr-FR" sz="1474" dirty="0" err="1">
                <a:solidFill>
                  <a:schemeClr val="tx1"/>
                </a:solidFill>
                <a:latin typeface="Roboto Regular" pitchFamily="2" charset="0"/>
                <a:ea typeface="Roboto Regular" pitchFamily="2" charset="0"/>
                <a:cs typeface="Roboto Light"/>
              </a:rPr>
              <a:t>obtaining</a:t>
            </a:r>
            <a:r>
              <a:rPr lang="fr-FR" sz="1474" dirty="0">
                <a:solidFill>
                  <a:schemeClr val="tx1"/>
                </a:solidFill>
                <a:latin typeface="Roboto Regular" pitchFamily="2" charset="0"/>
                <a:ea typeface="Roboto Regular" pitchFamily="2" charset="0"/>
                <a:cs typeface="Roboto Light"/>
              </a:rPr>
              <a:t> and </a:t>
            </a:r>
            <a:r>
              <a:rPr lang="fr-FR" sz="1474" dirty="0" err="1">
                <a:solidFill>
                  <a:schemeClr val="tx1"/>
                </a:solidFill>
                <a:latin typeface="Roboto Regular" pitchFamily="2" charset="0"/>
                <a:ea typeface="Roboto Regular" pitchFamily="2" charset="0"/>
                <a:cs typeface="Roboto Light"/>
              </a:rPr>
              <a:t>using</a:t>
            </a:r>
            <a:r>
              <a:rPr lang="fr-FR" sz="1474" dirty="0">
                <a:solidFill>
                  <a:schemeClr val="tx1"/>
                </a:solidFill>
                <a:latin typeface="Roboto Regular" pitchFamily="2" charset="0"/>
                <a:ea typeface="Roboto Regular" pitchFamily="2" charset="0"/>
                <a:cs typeface="Roboto Light"/>
              </a:rPr>
              <a:t> the </a:t>
            </a:r>
            <a:r>
              <a:rPr lang="fr-FR" sz="1474" dirty="0" err="1">
                <a:solidFill>
                  <a:schemeClr val="tx1"/>
                </a:solidFill>
                <a:latin typeface="Roboto Regular" pitchFamily="2" charset="0"/>
                <a:ea typeface="Roboto Regular" pitchFamily="2" charset="0"/>
                <a:cs typeface="Roboto Light"/>
              </a:rPr>
              <a:t>resources</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while</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consequently</a:t>
            </a:r>
            <a:r>
              <a:rPr lang="fr-FR" sz="1474" dirty="0">
                <a:solidFill>
                  <a:schemeClr val="tx1"/>
                </a:solidFill>
                <a:latin typeface="Roboto Regular" pitchFamily="2" charset="0"/>
                <a:ea typeface="Roboto Regular" pitchFamily="2" charset="0"/>
                <a:cs typeface="Roboto Light"/>
              </a:rPr>
              <a:t> </a:t>
            </a:r>
            <a:r>
              <a:rPr lang="fr-FR" sz="1474" dirty="0" err="1">
                <a:solidFill>
                  <a:schemeClr val="tx1"/>
                </a:solidFill>
                <a:latin typeface="Roboto Regular" pitchFamily="2" charset="0"/>
                <a:ea typeface="Roboto Regular" pitchFamily="2" charset="0"/>
                <a:cs typeface="Roboto Light"/>
              </a:rPr>
              <a:t>admitting</a:t>
            </a:r>
            <a:r>
              <a:rPr lang="fr-FR" sz="1474" dirty="0">
                <a:solidFill>
                  <a:schemeClr val="tx1"/>
                </a:solidFill>
                <a:latin typeface="Roboto Regular" pitchFamily="2" charset="0"/>
                <a:ea typeface="Roboto Regular" pitchFamily="2" charset="0"/>
                <a:cs typeface="Roboto Light"/>
              </a:rPr>
              <a:t> the</a:t>
            </a:r>
            <a:endParaRPr lang="en-US" sz="1474" dirty="0">
              <a:solidFill>
                <a:schemeClr val="tx1"/>
              </a:solidFill>
              <a:latin typeface="Roboto Regular" pitchFamily="2" charset="0"/>
              <a:ea typeface="Roboto Regular" pitchFamily="2" charset="0"/>
              <a:cs typeface="Roboto Light"/>
            </a:endParaRPr>
          </a:p>
        </p:txBody>
      </p:sp>
      <p:sp>
        <p:nvSpPr>
          <p:cNvPr id="6" name="Title 5"/>
          <p:cNvSpPr>
            <a:spLocks noGrp="1"/>
          </p:cNvSpPr>
          <p:nvPr>
            <p:ph type="title"/>
          </p:nvPr>
        </p:nvSpPr>
        <p:spPr/>
        <p:txBody>
          <a:bodyPr/>
          <a:lstStyle/>
          <a:p>
            <a:r>
              <a:rPr lang="en-US" dirty="0" smtClean="0"/>
              <a:t>Text and quote</a:t>
            </a:r>
            <a:endParaRPr lang="en-US" dirty="0"/>
          </a:p>
        </p:txBody>
      </p:sp>
      <p:sp>
        <p:nvSpPr>
          <p:cNvPr id="7"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34709842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a:t>
            </a:r>
            <a:r>
              <a:rPr lang="en-US" dirty="0" smtClean="0"/>
              <a:t> column bullets</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4_85</a:t>
            </a:r>
            <a:endParaRPr lang="en-US" sz="100" dirty="0" err="1" smtClean="0">
              <a:solidFill>
                <a:srgbClr val="FFFFFF"/>
              </a:solidFill>
            </a:endParaRPr>
          </a:p>
        </p:txBody>
      </p:sp>
      <p:sp>
        <p:nvSpPr>
          <p:cNvPr id="4" name="Subtitle 2"/>
          <p:cNvSpPr txBox="1">
            <a:spLocks/>
          </p:cNvSpPr>
          <p:nvPr>
            <p:custDataLst>
              <p:tags r:id="rId1"/>
            </p:custDataLst>
          </p:nvPr>
        </p:nvSpPr>
        <p:spPr>
          <a:xfrm>
            <a:off x="603311" y="1172390"/>
            <a:ext cx="11634666" cy="4899226"/>
          </a:xfrm>
          <a:prstGeom prst="rect">
            <a:avLst/>
          </a:prstGeom>
        </p:spPr>
        <p:txBody>
          <a:bodyPr wrap="square" numCol="2" spcCol="639968">
            <a:no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182563" indent="-182563">
              <a:spcBef>
                <a:spcPts val="768"/>
              </a:spcBef>
              <a:spcAft>
                <a:spcPts val="0"/>
              </a:spcAft>
              <a:buClrTx/>
              <a:buSzPct val="100000"/>
            </a:pPr>
            <a:r>
              <a:rPr lang="en-US" sz="1600" dirty="0" smtClean="0">
                <a:latin typeface="Roboto Regular" pitchFamily="2" charset="0"/>
                <a:ea typeface="Roboto Regular" pitchFamily="2" charset="0"/>
                <a:cs typeface="Source Sans Pro ExtraLight"/>
              </a:rPr>
              <a:t>Lorem ipsum dolor sit </a:t>
            </a:r>
            <a:r>
              <a:rPr lang="en-US" sz="1600" dirty="0" err="1" smtClean="0">
                <a:latin typeface="Roboto Regular" pitchFamily="2" charset="0"/>
                <a:ea typeface="Roboto Regular" pitchFamily="2" charset="0"/>
                <a:cs typeface="Source Sans Pro ExtraLight"/>
              </a:rPr>
              <a:t>ame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consectetur</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adipiscing</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eli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Donec</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mauris</a:t>
            </a:r>
            <a:r>
              <a:rPr lang="en-US" sz="1600" dirty="0" smtClean="0">
                <a:latin typeface="Roboto Regular" pitchFamily="2" charset="0"/>
                <a:ea typeface="Roboto Regular" pitchFamily="2" charset="0"/>
                <a:cs typeface="Source Sans Pro ExtraLight"/>
              </a:rPr>
              <a:t> lorem, </a:t>
            </a:r>
            <a:r>
              <a:rPr lang="en-US" sz="1600" dirty="0" err="1" smtClean="0">
                <a:latin typeface="Roboto Regular" pitchFamily="2" charset="0"/>
                <a:ea typeface="Roboto Regular" pitchFamily="2" charset="0"/>
                <a:cs typeface="Source Sans Pro ExtraLight"/>
              </a:rPr>
              <a:t>vestibulum</a:t>
            </a:r>
            <a:r>
              <a:rPr lang="en-US" sz="1600" dirty="0" smtClean="0">
                <a:latin typeface="Roboto Regular" pitchFamily="2" charset="0"/>
                <a:ea typeface="Roboto Regular" pitchFamily="2" charset="0"/>
                <a:cs typeface="Source Sans Pro ExtraLight"/>
              </a:rPr>
              <a:t> ac </a:t>
            </a:r>
            <a:r>
              <a:rPr lang="en-US" sz="1600" dirty="0" err="1" smtClean="0">
                <a:latin typeface="Roboto Regular" pitchFamily="2" charset="0"/>
                <a:ea typeface="Roboto Regular" pitchFamily="2" charset="0"/>
                <a:cs typeface="Source Sans Pro ExtraLight"/>
              </a:rPr>
              <a:t>rutrum</a:t>
            </a:r>
            <a:r>
              <a:rPr lang="en-US" sz="1600" dirty="0" smtClean="0">
                <a:latin typeface="Roboto Regular" pitchFamily="2" charset="0"/>
                <a:ea typeface="Roboto Regular" pitchFamily="2" charset="0"/>
                <a:cs typeface="Source Sans Pro ExtraLight"/>
              </a:rPr>
              <a:t> id, </a:t>
            </a:r>
            <a:r>
              <a:rPr lang="en-US" sz="1600" dirty="0" err="1" smtClean="0">
                <a:latin typeface="Roboto Regular" pitchFamily="2" charset="0"/>
                <a:ea typeface="Roboto Regular" pitchFamily="2" charset="0"/>
                <a:cs typeface="Source Sans Pro ExtraLight"/>
              </a:rPr>
              <a:t>suscipit</a:t>
            </a:r>
            <a:r>
              <a:rPr lang="en-US" sz="1600" dirty="0" smtClean="0">
                <a:latin typeface="Roboto Regular" pitchFamily="2" charset="0"/>
                <a:ea typeface="Roboto Regular" pitchFamily="2" charset="0"/>
                <a:cs typeface="Source Sans Pro ExtraLight"/>
              </a:rPr>
              <a:t> in dui. </a:t>
            </a:r>
            <a:r>
              <a:rPr lang="en-US" sz="1600" dirty="0" err="1" smtClean="0">
                <a:latin typeface="Roboto Regular" pitchFamily="2" charset="0"/>
                <a:ea typeface="Roboto Regular" pitchFamily="2" charset="0"/>
                <a:cs typeface="Source Sans Pro ExtraLight"/>
              </a:rPr>
              <a:t>Donec</a:t>
            </a:r>
            <a:r>
              <a:rPr lang="en-US" sz="1600" dirty="0" smtClean="0">
                <a:latin typeface="Roboto Regular" pitchFamily="2" charset="0"/>
                <a:ea typeface="Roboto Regular" pitchFamily="2" charset="0"/>
                <a:cs typeface="Source Sans Pro ExtraLight"/>
              </a:rPr>
              <a:t> vitae </a:t>
            </a:r>
            <a:r>
              <a:rPr lang="en-US" sz="1600" dirty="0" err="1" smtClean="0">
                <a:latin typeface="Roboto Regular" pitchFamily="2" charset="0"/>
                <a:ea typeface="Roboto Regular" pitchFamily="2" charset="0"/>
                <a:cs typeface="Source Sans Pro ExtraLight"/>
              </a:rPr>
              <a:t>dapibu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tellu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Vestibulum</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nunc</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sem</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finibu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qui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elementum</a:t>
            </a:r>
            <a:r>
              <a:rPr lang="en-US" sz="1600" dirty="0" smtClean="0">
                <a:latin typeface="Roboto Regular" pitchFamily="2" charset="0"/>
                <a:ea typeface="Roboto Regular" pitchFamily="2" charset="0"/>
                <a:cs typeface="Source Sans Pro ExtraLight"/>
              </a:rPr>
              <a:t> ac, </a:t>
            </a:r>
            <a:r>
              <a:rPr lang="en-US" sz="1600" dirty="0" err="1" smtClean="0">
                <a:latin typeface="Roboto Regular" pitchFamily="2" charset="0"/>
                <a:ea typeface="Roboto Regular" pitchFamily="2" charset="0"/>
                <a:cs typeface="Source Sans Pro ExtraLight"/>
              </a:rPr>
              <a:t>varius</a:t>
            </a:r>
            <a:r>
              <a:rPr lang="en-US" sz="1600" dirty="0" smtClean="0">
                <a:latin typeface="Roboto Regular" pitchFamily="2" charset="0"/>
                <a:ea typeface="Roboto Regular" pitchFamily="2" charset="0"/>
                <a:cs typeface="Source Sans Pro ExtraLight"/>
              </a:rPr>
              <a:t> ac </a:t>
            </a:r>
            <a:r>
              <a:rPr lang="en-US" sz="1600" dirty="0" err="1" smtClean="0">
                <a:latin typeface="Roboto Regular" pitchFamily="2" charset="0"/>
                <a:ea typeface="Roboto Regular" pitchFamily="2" charset="0"/>
                <a:cs typeface="Source Sans Pro ExtraLight"/>
              </a:rPr>
              <a:t>tellus</a:t>
            </a:r>
            <a:r>
              <a:rPr lang="en-US" sz="1600" dirty="0" smtClean="0">
                <a:latin typeface="Roboto Regular" pitchFamily="2" charset="0"/>
                <a:ea typeface="Roboto Regular" pitchFamily="2" charset="0"/>
                <a:cs typeface="Source Sans Pro ExtraLight"/>
              </a:rPr>
              <a:t>. Nam </a:t>
            </a:r>
            <a:r>
              <a:rPr lang="en-US" sz="1600" dirty="0" err="1" smtClean="0">
                <a:latin typeface="Roboto Regular" pitchFamily="2" charset="0"/>
                <a:ea typeface="Roboto Regular" pitchFamily="2" charset="0"/>
                <a:cs typeface="Source Sans Pro ExtraLight"/>
              </a:rPr>
              <a:t>faucibu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faucibu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venenati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Donec</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nec</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arcu</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veli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Fusce</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viverra</a:t>
            </a:r>
            <a:r>
              <a:rPr lang="en-US" sz="1600" dirty="0" smtClean="0">
                <a:latin typeface="Roboto Regular" pitchFamily="2" charset="0"/>
                <a:ea typeface="Roboto Regular" pitchFamily="2" charset="0"/>
                <a:cs typeface="Source Sans Pro ExtraLight"/>
              </a:rPr>
              <a:t>, dui vitae </a:t>
            </a:r>
            <a:r>
              <a:rPr lang="en-US" sz="1600" dirty="0" err="1" smtClean="0">
                <a:latin typeface="Roboto Regular" pitchFamily="2" charset="0"/>
                <a:ea typeface="Roboto Regular" pitchFamily="2" charset="0"/>
                <a:cs typeface="Source Sans Pro ExtraLight"/>
              </a:rPr>
              <a:t>euismod</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molli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tortor</a:t>
            </a:r>
            <a:r>
              <a:rPr lang="en-US" sz="1600" dirty="0" smtClean="0">
                <a:latin typeface="Roboto Regular" pitchFamily="2" charset="0"/>
                <a:ea typeface="Roboto Regular" pitchFamily="2" charset="0"/>
                <a:cs typeface="Source Sans Pro ExtraLight"/>
              </a:rPr>
              <a:t> magna </a:t>
            </a:r>
            <a:r>
              <a:rPr lang="en-US" sz="1600" dirty="0" err="1" smtClean="0">
                <a:latin typeface="Roboto Regular" pitchFamily="2" charset="0"/>
                <a:ea typeface="Roboto Regular" pitchFamily="2" charset="0"/>
                <a:cs typeface="Source Sans Pro ExtraLight"/>
              </a:rPr>
              <a:t>egesta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nunc</a:t>
            </a:r>
            <a:r>
              <a:rPr lang="en-US" sz="1600" dirty="0" smtClean="0">
                <a:latin typeface="Roboto Regular" pitchFamily="2" charset="0"/>
                <a:ea typeface="Roboto Regular" pitchFamily="2" charset="0"/>
                <a:cs typeface="Source Sans Pro ExtraLight"/>
              </a:rPr>
              <a:t>, et </a:t>
            </a:r>
            <a:r>
              <a:rPr lang="en-US" sz="1600" dirty="0" err="1" smtClean="0">
                <a:latin typeface="Roboto Regular" pitchFamily="2" charset="0"/>
                <a:ea typeface="Roboto Regular" pitchFamily="2" charset="0"/>
                <a:cs typeface="Source Sans Pro ExtraLight"/>
              </a:rPr>
              <a:t>suscipi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nunc</a:t>
            </a:r>
            <a:r>
              <a:rPr lang="en-US" sz="1600" dirty="0" smtClean="0">
                <a:latin typeface="Roboto Regular" pitchFamily="2" charset="0"/>
                <a:ea typeface="Roboto Regular" pitchFamily="2" charset="0"/>
                <a:cs typeface="Source Sans Pro ExtraLight"/>
              </a:rPr>
              <a:t> ex </a:t>
            </a:r>
            <a:r>
              <a:rPr lang="en-US" sz="1600" dirty="0" err="1" smtClean="0">
                <a:latin typeface="Roboto Regular" pitchFamily="2" charset="0"/>
                <a:ea typeface="Roboto Regular" pitchFamily="2" charset="0"/>
                <a:cs typeface="Source Sans Pro ExtraLight"/>
              </a:rPr>
              <a:t>qui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nunc</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Pellentesque</a:t>
            </a:r>
            <a:r>
              <a:rPr lang="en-US" sz="1600" dirty="0" smtClean="0">
                <a:latin typeface="Roboto Regular" pitchFamily="2" charset="0"/>
                <a:ea typeface="Roboto Regular" pitchFamily="2" charset="0"/>
                <a:cs typeface="Source Sans Pro ExtraLight"/>
              </a:rPr>
              <a:t> habitant </a:t>
            </a:r>
            <a:r>
              <a:rPr lang="en-US" sz="1600" dirty="0" err="1" smtClean="0">
                <a:latin typeface="Roboto Regular" pitchFamily="2" charset="0"/>
                <a:ea typeface="Roboto Regular" pitchFamily="2" charset="0"/>
                <a:cs typeface="Source Sans Pro ExtraLight"/>
              </a:rPr>
              <a:t>morbi</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tristique</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senectus</a:t>
            </a:r>
            <a:r>
              <a:rPr lang="en-US" sz="1600" dirty="0" smtClean="0">
                <a:latin typeface="Roboto Regular" pitchFamily="2" charset="0"/>
                <a:ea typeface="Roboto Regular" pitchFamily="2" charset="0"/>
                <a:cs typeface="Source Sans Pro ExtraLight"/>
              </a:rPr>
              <a:t> et </a:t>
            </a:r>
            <a:r>
              <a:rPr lang="en-US" sz="1600" dirty="0" err="1" smtClean="0">
                <a:latin typeface="Roboto Regular" pitchFamily="2" charset="0"/>
                <a:ea typeface="Roboto Regular" pitchFamily="2" charset="0"/>
                <a:cs typeface="Source Sans Pro ExtraLight"/>
              </a:rPr>
              <a:t>netus</a:t>
            </a:r>
            <a:r>
              <a:rPr lang="en-US" sz="1600" dirty="0" smtClean="0">
                <a:latin typeface="Roboto Regular" pitchFamily="2" charset="0"/>
                <a:ea typeface="Roboto Regular" pitchFamily="2" charset="0"/>
                <a:cs typeface="Source Sans Pro ExtraLight"/>
              </a:rPr>
              <a:t> et </a:t>
            </a:r>
            <a:r>
              <a:rPr lang="en-US" sz="1600" dirty="0" err="1" smtClean="0">
                <a:latin typeface="Roboto Regular" pitchFamily="2" charset="0"/>
                <a:ea typeface="Roboto Regular" pitchFamily="2" charset="0"/>
                <a:cs typeface="Source Sans Pro ExtraLight"/>
              </a:rPr>
              <a:t>malesuada</a:t>
            </a:r>
            <a:r>
              <a:rPr lang="en-US" sz="1600" dirty="0" smtClean="0">
                <a:latin typeface="Roboto Regular" pitchFamily="2" charset="0"/>
                <a:ea typeface="Roboto Regular" pitchFamily="2" charset="0"/>
                <a:cs typeface="Source Sans Pro ExtraLight"/>
              </a:rPr>
              <a:t> fames ac </a:t>
            </a:r>
            <a:r>
              <a:rPr lang="en-US" sz="1600" dirty="0" err="1" smtClean="0">
                <a:latin typeface="Roboto Regular" pitchFamily="2" charset="0"/>
                <a:ea typeface="Roboto Regular" pitchFamily="2" charset="0"/>
                <a:cs typeface="Source Sans Pro ExtraLight"/>
              </a:rPr>
              <a:t>turpi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egestas</a:t>
            </a:r>
            <a:r>
              <a:rPr lang="en-US" sz="1600" dirty="0" smtClean="0">
                <a:latin typeface="Roboto Regular" pitchFamily="2" charset="0"/>
                <a:ea typeface="Roboto Regular" pitchFamily="2" charset="0"/>
                <a:cs typeface="Source Sans Pro ExtraLight"/>
              </a:rPr>
              <a:t>.</a:t>
            </a:r>
            <a:endParaRPr lang="en-US" sz="1600" dirty="0">
              <a:latin typeface="Roboto Regular" pitchFamily="2" charset="0"/>
              <a:ea typeface="Roboto Regular" pitchFamily="2" charset="0"/>
              <a:cs typeface="Source Sans Pro ExtraLight"/>
            </a:endParaRPr>
          </a:p>
          <a:p>
            <a:pPr marL="182563" indent="-182563">
              <a:spcBef>
                <a:spcPts val="768"/>
              </a:spcBef>
              <a:spcAft>
                <a:spcPts val="0"/>
              </a:spcAft>
              <a:buClrTx/>
              <a:buSzPct val="100000"/>
            </a:pPr>
            <a:r>
              <a:rPr lang="en-US" sz="1600" dirty="0" smtClean="0">
                <a:latin typeface="Roboto Regular" pitchFamily="2" charset="0"/>
                <a:ea typeface="Roboto Regular" pitchFamily="2" charset="0"/>
                <a:cs typeface="Source Sans Pro ExtraLight"/>
              </a:rPr>
              <a:t>Integer </a:t>
            </a:r>
            <a:r>
              <a:rPr lang="en-US" sz="1600" dirty="0" err="1" smtClean="0">
                <a:latin typeface="Roboto Regular" pitchFamily="2" charset="0"/>
                <a:ea typeface="Roboto Regular" pitchFamily="2" charset="0"/>
                <a:cs typeface="Source Sans Pro ExtraLight"/>
              </a:rPr>
              <a:t>ege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auctor</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nunc</a:t>
            </a:r>
            <a:r>
              <a:rPr lang="en-US" sz="1600" dirty="0" smtClean="0">
                <a:latin typeface="Roboto Regular" pitchFamily="2" charset="0"/>
                <a:ea typeface="Roboto Regular" pitchFamily="2" charset="0"/>
                <a:cs typeface="Source Sans Pro ExtraLight"/>
              </a:rPr>
              <a:t>. Maecenas </a:t>
            </a:r>
            <a:r>
              <a:rPr lang="en-US" sz="1600" dirty="0" err="1" smtClean="0">
                <a:latin typeface="Roboto Regular" pitchFamily="2" charset="0"/>
                <a:ea typeface="Roboto Regular" pitchFamily="2" charset="0"/>
                <a:cs typeface="Source Sans Pro ExtraLight"/>
              </a:rPr>
              <a:t>tincidun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eleifend</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consequa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Nulla</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efficitur</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urna</a:t>
            </a:r>
            <a:r>
              <a:rPr lang="en-US" sz="1600" dirty="0" smtClean="0">
                <a:latin typeface="Roboto Regular" pitchFamily="2" charset="0"/>
                <a:ea typeface="Roboto Regular" pitchFamily="2" charset="0"/>
                <a:cs typeface="Source Sans Pro ExtraLight"/>
              </a:rPr>
              <a:t> et </a:t>
            </a:r>
            <a:r>
              <a:rPr lang="en-US" sz="1600" dirty="0" err="1" smtClean="0">
                <a:latin typeface="Roboto Regular" pitchFamily="2" charset="0"/>
                <a:ea typeface="Roboto Regular" pitchFamily="2" charset="0"/>
                <a:cs typeface="Source Sans Pro ExtraLight"/>
              </a:rPr>
              <a:t>massa</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dapibus</a:t>
            </a:r>
            <a:r>
              <a:rPr lang="en-US" sz="1600" dirty="0" smtClean="0">
                <a:latin typeface="Roboto Regular" pitchFamily="2" charset="0"/>
                <a:ea typeface="Roboto Regular" pitchFamily="2" charset="0"/>
                <a:cs typeface="Source Sans Pro ExtraLight"/>
              </a:rPr>
              <a:t> maximus. Maecenas sit </a:t>
            </a:r>
            <a:r>
              <a:rPr lang="en-US" sz="1600" dirty="0" err="1" smtClean="0">
                <a:latin typeface="Roboto Regular" pitchFamily="2" charset="0"/>
                <a:ea typeface="Roboto Regular" pitchFamily="2" charset="0"/>
                <a:cs typeface="Source Sans Pro ExtraLight"/>
              </a:rPr>
              <a:t>ame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risu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pretium</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sagittis</a:t>
            </a:r>
            <a:r>
              <a:rPr lang="en-US" sz="1600" dirty="0" smtClean="0">
                <a:latin typeface="Roboto Regular" pitchFamily="2" charset="0"/>
                <a:ea typeface="Roboto Regular" pitchFamily="2" charset="0"/>
                <a:cs typeface="Source Sans Pro ExtraLight"/>
              </a:rPr>
              <a:t> dui </a:t>
            </a:r>
            <a:r>
              <a:rPr lang="en-US" sz="1600" dirty="0" err="1" smtClean="0">
                <a:latin typeface="Roboto Regular" pitchFamily="2" charset="0"/>
                <a:ea typeface="Roboto Regular" pitchFamily="2" charset="0"/>
                <a:cs typeface="Source Sans Pro ExtraLight"/>
              </a:rPr>
              <a:t>u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consectetur</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puru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Phasellu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auctor</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consectetur</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arcu</a:t>
            </a:r>
            <a:r>
              <a:rPr lang="en-US" sz="1600" dirty="0" smtClean="0">
                <a:latin typeface="Roboto Regular" pitchFamily="2" charset="0"/>
                <a:ea typeface="Roboto Regular" pitchFamily="2" charset="0"/>
                <a:cs typeface="Source Sans Pro ExtraLight"/>
              </a:rPr>
              <a:t> a </a:t>
            </a:r>
            <a:r>
              <a:rPr lang="en-US" sz="1600" dirty="0" err="1" smtClean="0">
                <a:latin typeface="Roboto Regular" pitchFamily="2" charset="0"/>
                <a:ea typeface="Roboto Regular" pitchFamily="2" charset="0"/>
                <a:cs typeface="Source Sans Pro ExtraLight"/>
              </a:rPr>
              <a:t>consequa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Vestibulum</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congue</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sed</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orci</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efficitur</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finibus</a:t>
            </a:r>
            <a:r>
              <a:rPr lang="en-US" sz="1600" dirty="0" smtClean="0">
                <a:latin typeface="Roboto Regular" pitchFamily="2" charset="0"/>
                <a:ea typeface="Roboto Regular" pitchFamily="2" charset="0"/>
                <a:cs typeface="Source Sans Pro ExtraLight"/>
              </a:rPr>
              <a:t>.</a:t>
            </a:r>
            <a:endParaRPr lang="en-US" sz="1600" dirty="0">
              <a:latin typeface="Roboto Regular" pitchFamily="2" charset="0"/>
              <a:ea typeface="Roboto Regular" pitchFamily="2" charset="0"/>
              <a:cs typeface="Source Sans Pro ExtraLight"/>
            </a:endParaRPr>
          </a:p>
          <a:p>
            <a:pPr marL="182563" indent="-182563">
              <a:spcBef>
                <a:spcPts val="768"/>
              </a:spcBef>
              <a:spcAft>
                <a:spcPts val="0"/>
              </a:spcAft>
              <a:buClrTx/>
              <a:buSzPct val="100000"/>
            </a:pPr>
            <a:r>
              <a:rPr lang="en-US" sz="1600" dirty="0" smtClean="0">
                <a:latin typeface="Roboto Regular" pitchFamily="2" charset="0"/>
                <a:ea typeface="Roboto Regular" pitchFamily="2" charset="0"/>
                <a:cs typeface="Source Sans Pro ExtraLight"/>
              </a:rPr>
              <a:t>Integer </a:t>
            </a:r>
            <a:r>
              <a:rPr lang="en-US" sz="1600" dirty="0" err="1" smtClean="0">
                <a:latin typeface="Roboto Regular" pitchFamily="2" charset="0"/>
                <a:ea typeface="Roboto Regular" pitchFamily="2" charset="0"/>
                <a:cs typeface="Source Sans Pro ExtraLight"/>
              </a:rPr>
              <a:t>malesuada</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finibus</a:t>
            </a:r>
            <a:r>
              <a:rPr lang="en-US" sz="1600" dirty="0" smtClean="0">
                <a:latin typeface="Roboto Regular" pitchFamily="2" charset="0"/>
                <a:ea typeface="Roboto Regular" pitchFamily="2" charset="0"/>
                <a:cs typeface="Source Sans Pro ExtraLight"/>
              </a:rPr>
              <a:t> ligula, </a:t>
            </a:r>
            <a:r>
              <a:rPr lang="en-US" sz="1600" dirty="0" err="1" smtClean="0">
                <a:latin typeface="Roboto Regular" pitchFamily="2" charset="0"/>
                <a:ea typeface="Roboto Regular" pitchFamily="2" charset="0"/>
                <a:cs typeface="Source Sans Pro ExtraLight"/>
              </a:rPr>
              <a:t>alique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loborti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nulla</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commodo</a:t>
            </a:r>
            <a:r>
              <a:rPr lang="en-US" sz="1600" dirty="0" smtClean="0">
                <a:latin typeface="Roboto Regular" pitchFamily="2" charset="0"/>
                <a:ea typeface="Roboto Regular" pitchFamily="2" charset="0"/>
                <a:cs typeface="Source Sans Pro ExtraLight"/>
              </a:rPr>
              <a:t> vel. </a:t>
            </a:r>
            <a:r>
              <a:rPr lang="en-US" sz="1600" dirty="0" err="1" smtClean="0">
                <a:latin typeface="Roboto Regular" pitchFamily="2" charset="0"/>
                <a:ea typeface="Roboto Regular" pitchFamily="2" charset="0"/>
                <a:cs typeface="Source Sans Pro ExtraLight"/>
              </a:rPr>
              <a:t>Nulla</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variu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vehicula</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augue</a:t>
            </a:r>
            <a:r>
              <a:rPr lang="en-US" sz="1600" dirty="0" smtClean="0">
                <a:latin typeface="Roboto Regular" pitchFamily="2" charset="0"/>
                <a:ea typeface="Roboto Regular" pitchFamily="2" charset="0"/>
                <a:cs typeface="Source Sans Pro ExtraLight"/>
              </a:rPr>
              <a:t>, id </a:t>
            </a:r>
            <a:r>
              <a:rPr lang="en-US" sz="1600" dirty="0" err="1" smtClean="0">
                <a:latin typeface="Roboto Regular" pitchFamily="2" charset="0"/>
                <a:ea typeface="Roboto Regular" pitchFamily="2" charset="0"/>
                <a:cs typeface="Source Sans Pro ExtraLight"/>
              </a:rPr>
              <a:t>placerat</a:t>
            </a:r>
            <a:r>
              <a:rPr lang="en-US" sz="1600" dirty="0" smtClean="0">
                <a:latin typeface="Roboto Regular" pitchFamily="2" charset="0"/>
                <a:ea typeface="Roboto Regular" pitchFamily="2" charset="0"/>
                <a:cs typeface="Source Sans Pro ExtraLight"/>
              </a:rPr>
              <a:t> nisi </a:t>
            </a:r>
            <a:r>
              <a:rPr lang="en-US" sz="1600" dirty="0" err="1" smtClean="0">
                <a:latin typeface="Roboto Regular" pitchFamily="2" charset="0"/>
                <a:ea typeface="Roboto Regular" pitchFamily="2" charset="0"/>
                <a:cs typeface="Source Sans Pro ExtraLight"/>
              </a:rPr>
              <a:t>luctus</a:t>
            </a:r>
            <a:r>
              <a:rPr lang="en-US" sz="1600" dirty="0" smtClean="0">
                <a:latin typeface="Roboto Regular" pitchFamily="2" charset="0"/>
                <a:ea typeface="Roboto Regular" pitchFamily="2" charset="0"/>
                <a:cs typeface="Source Sans Pro ExtraLight"/>
              </a:rPr>
              <a:t> a. </a:t>
            </a:r>
            <a:r>
              <a:rPr lang="en-US" sz="1600" dirty="0" err="1" smtClean="0">
                <a:latin typeface="Roboto Regular" pitchFamily="2" charset="0"/>
                <a:ea typeface="Roboto Regular" pitchFamily="2" charset="0"/>
                <a:cs typeface="Source Sans Pro ExtraLight"/>
              </a:rPr>
              <a:t>Suspendisse</a:t>
            </a:r>
            <a:r>
              <a:rPr lang="en-US" sz="1600" dirty="0" smtClean="0">
                <a:latin typeface="Roboto Regular" pitchFamily="2" charset="0"/>
                <a:ea typeface="Roboto Regular" pitchFamily="2" charset="0"/>
                <a:cs typeface="Source Sans Pro ExtraLight"/>
              </a:rPr>
              <a:t> magna </a:t>
            </a:r>
            <a:r>
              <a:rPr lang="en-US" sz="1600" dirty="0" err="1" smtClean="0">
                <a:latin typeface="Roboto Regular" pitchFamily="2" charset="0"/>
                <a:ea typeface="Roboto Regular" pitchFamily="2" charset="0"/>
                <a:cs typeface="Source Sans Pro ExtraLight"/>
              </a:rPr>
              <a:t>tellu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imperdiet</a:t>
            </a:r>
            <a:r>
              <a:rPr lang="en-US" sz="1600" dirty="0" smtClean="0">
                <a:latin typeface="Roboto Regular" pitchFamily="2" charset="0"/>
                <a:ea typeface="Roboto Regular" pitchFamily="2" charset="0"/>
                <a:cs typeface="Source Sans Pro ExtraLight"/>
              </a:rPr>
              <a:t> id </a:t>
            </a:r>
            <a:r>
              <a:rPr lang="en-US" sz="1600" dirty="0" err="1" smtClean="0">
                <a:latin typeface="Roboto Regular" pitchFamily="2" charset="0"/>
                <a:ea typeface="Roboto Regular" pitchFamily="2" charset="0"/>
                <a:cs typeface="Source Sans Pro ExtraLight"/>
              </a:rPr>
              <a:t>turpis</a:t>
            </a:r>
            <a:r>
              <a:rPr lang="en-US" sz="1600" dirty="0" smtClean="0">
                <a:latin typeface="Roboto Regular" pitchFamily="2" charset="0"/>
                <a:ea typeface="Roboto Regular" pitchFamily="2" charset="0"/>
                <a:cs typeface="Source Sans Pro ExtraLight"/>
              </a:rPr>
              <a:t> in, gravida </a:t>
            </a:r>
            <a:r>
              <a:rPr lang="en-US" sz="1600" dirty="0" err="1" smtClean="0">
                <a:latin typeface="Roboto Regular" pitchFamily="2" charset="0"/>
                <a:ea typeface="Roboto Regular" pitchFamily="2" charset="0"/>
                <a:cs typeface="Source Sans Pro ExtraLight"/>
              </a:rPr>
              <a:t>fermentum</a:t>
            </a:r>
            <a:r>
              <a:rPr lang="en-US" sz="1600" dirty="0" smtClean="0">
                <a:latin typeface="Roboto Regular" pitchFamily="2" charset="0"/>
                <a:ea typeface="Roboto Regular" pitchFamily="2" charset="0"/>
                <a:cs typeface="Source Sans Pro ExtraLight"/>
              </a:rPr>
              <a:t> sem. Integer </a:t>
            </a:r>
            <a:r>
              <a:rPr lang="en-US" sz="1600" dirty="0" err="1" smtClean="0">
                <a:latin typeface="Roboto Regular" pitchFamily="2" charset="0"/>
                <a:ea typeface="Roboto Regular" pitchFamily="2" charset="0"/>
                <a:cs typeface="Source Sans Pro ExtraLight"/>
              </a:rPr>
              <a:t>commodo</a:t>
            </a:r>
            <a:r>
              <a:rPr lang="en-US" sz="1600" dirty="0" smtClean="0">
                <a:latin typeface="Roboto Regular" pitchFamily="2" charset="0"/>
                <a:ea typeface="Roboto Regular" pitchFamily="2" charset="0"/>
                <a:cs typeface="Source Sans Pro ExtraLight"/>
              </a:rPr>
              <a:t> pharetra dui a </a:t>
            </a:r>
            <a:r>
              <a:rPr lang="en-US" sz="1600" dirty="0" err="1" smtClean="0">
                <a:latin typeface="Roboto Regular" pitchFamily="2" charset="0"/>
                <a:ea typeface="Roboto Regular" pitchFamily="2" charset="0"/>
                <a:cs typeface="Source Sans Pro ExtraLight"/>
              </a:rPr>
              <a:t>congue</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Vivamus</a:t>
            </a:r>
            <a:r>
              <a:rPr lang="en-US" sz="1600" dirty="0" smtClean="0">
                <a:latin typeface="Roboto Regular" pitchFamily="2" charset="0"/>
                <a:ea typeface="Roboto Regular" pitchFamily="2" charset="0"/>
                <a:cs typeface="Source Sans Pro ExtraLight"/>
              </a:rPr>
              <a:t> in </a:t>
            </a:r>
            <a:r>
              <a:rPr lang="en-US" sz="1600" dirty="0" err="1" smtClean="0">
                <a:latin typeface="Roboto Regular" pitchFamily="2" charset="0"/>
                <a:ea typeface="Roboto Regular" pitchFamily="2" charset="0"/>
                <a:cs typeface="Source Sans Pro ExtraLight"/>
              </a:rPr>
              <a:t>commodo</a:t>
            </a:r>
            <a:r>
              <a:rPr lang="en-US" sz="1600" dirty="0" smtClean="0">
                <a:latin typeface="Roboto Regular" pitchFamily="2" charset="0"/>
                <a:ea typeface="Roboto Regular" pitchFamily="2" charset="0"/>
                <a:cs typeface="Source Sans Pro ExtraLight"/>
              </a:rPr>
              <a:t> dui. Nunc </a:t>
            </a:r>
            <a:r>
              <a:rPr lang="en-US" sz="1600" dirty="0" err="1" smtClean="0">
                <a:latin typeface="Roboto Regular" pitchFamily="2" charset="0"/>
                <a:ea typeface="Roboto Regular" pitchFamily="2" charset="0"/>
                <a:cs typeface="Source Sans Pro ExtraLight"/>
              </a:rPr>
              <a:t>fringilla</a:t>
            </a:r>
            <a:r>
              <a:rPr lang="en-US" sz="1600" dirty="0" smtClean="0">
                <a:latin typeface="Roboto Regular" pitchFamily="2" charset="0"/>
                <a:ea typeface="Roboto Regular" pitchFamily="2" charset="0"/>
                <a:cs typeface="Source Sans Pro ExtraLight"/>
              </a:rPr>
              <a:t> ex </a:t>
            </a:r>
            <a:r>
              <a:rPr lang="en-US" sz="1600" dirty="0" err="1" smtClean="0">
                <a:latin typeface="Roboto Regular" pitchFamily="2" charset="0"/>
                <a:ea typeface="Roboto Regular" pitchFamily="2" charset="0"/>
                <a:cs typeface="Source Sans Pro ExtraLight"/>
              </a:rPr>
              <a:t>sapien</a:t>
            </a:r>
            <a:r>
              <a:rPr lang="en-US" sz="1600" dirty="0" smtClean="0">
                <a:latin typeface="Roboto Regular" pitchFamily="2" charset="0"/>
                <a:ea typeface="Roboto Regular" pitchFamily="2" charset="0"/>
                <a:cs typeface="Source Sans Pro ExtraLight"/>
              </a:rPr>
              <a:t>, et </a:t>
            </a:r>
            <a:r>
              <a:rPr lang="en-US" sz="1600" dirty="0" err="1" smtClean="0">
                <a:latin typeface="Roboto Regular" pitchFamily="2" charset="0"/>
                <a:ea typeface="Roboto Regular" pitchFamily="2" charset="0"/>
                <a:cs typeface="Source Sans Pro ExtraLight"/>
              </a:rPr>
              <a:t>laoree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era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pretium</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ultricies</a:t>
            </a:r>
            <a:r>
              <a:rPr lang="en-US" sz="1600" dirty="0" smtClean="0">
                <a:latin typeface="Roboto Regular" pitchFamily="2" charset="0"/>
                <a:ea typeface="Roboto Regular" pitchFamily="2" charset="0"/>
                <a:cs typeface="Source Sans Pro ExtraLight"/>
              </a:rPr>
              <a:t>. In </a:t>
            </a:r>
            <a:r>
              <a:rPr lang="en-US" sz="1600" dirty="0" err="1" smtClean="0">
                <a:latin typeface="Roboto Regular" pitchFamily="2" charset="0"/>
                <a:ea typeface="Roboto Regular" pitchFamily="2" charset="0"/>
                <a:cs typeface="Source Sans Pro ExtraLight"/>
              </a:rPr>
              <a:t>hac</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habitasse</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platea</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dictums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Donec</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lacinia</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efficitur</a:t>
            </a:r>
            <a:r>
              <a:rPr lang="en-US" sz="1600" dirty="0" smtClean="0">
                <a:latin typeface="Roboto Regular" pitchFamily="2" charset="0"/>
                <a:ea typeface="Roboto Regular" pitchFamily="2" charset="0"/>
                <a:cs typeface="Source Sans Pro ExtraLight"/>
              </a:rPr>
              <a:t> dictum.</a:t>
            </a:r>
          </a:p>
          <a:p>
            <a:pPr marL="182563" indent="-182563">
              <a:spcBef>
                <a:spcPts val="768"/>
              </a:spcBef>
              <a:spcAft>
                <a:spcPts val="0"/>
              </a:spcAft>
              <a:buClrTx/>
              <a:buSzPct val="100000"/>
            </a:pPr>
            <a:r>
              <a:rPr lang="en-US" sz="1600" dirty="0" smtClean="0">
                <a:latin typeface="Roboto Regular" pitchFamily="2" charset="0"/>
                <a:ea typeface="Roboto Regular" pitchFamily="2" charset="0"/>
                <a:cs typeface="Source Sans Pro ExtraLight"/>
              </a:rPr>
              <a:t>Cum </a:t>
            </a:r>
            <a:r>
              <a:rPr lang="en-US" sz="1600" dirty="0" err="1" smtClean="0">
                <a:latin typeface="Roboto Regular" pitchFamily="2" charset="0"/>
                <a:ea typeface="Roboto Regular" pitchFamily="2" charset="0"/>
                <a:cs typeface="Source Sans Pro ExtraLight"/>
              </a:rPr>
              <a:t>socii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natoque</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penatibus</a:t>
            </a:r>
            <a:r>
              <a:rPr lang="en-US" sz="1600" dirty="0" smtClean="0">
                <a:latin typeface="Roboto Regular" pitchFamily="2" charset="0"/>
                <a:ea typeface="Roboto Regular" pitchFamily="2" charset="0"/>
                <a:cs typeface="Source Sans Pro ExtraLight"/>
              </a:rPr>
              <a:t> et </a:t>
            </a:r>
            <a:r>
              <a:rPr lang="en-US" sz="1600" dirty="0" err="1" smtClean="0">
                <a:latin typeface="Roboto Regular" pitchFamily="2" charset="0"/>
                <a:ea typeface="Roboto Regular" pitchFamily="2" charset="0"/>
                <a:cs typeface="Source Sans Pro ExtraLight"/>
              </a:rPr>
              <a:t>magnis</a:t>
            </a:r>
            <a:r>
              <a:rPr lang="en-US" sz="1600" dirty="0" smtClean="0">
                <a:latin typeface="Roboto Regular" pitchFamily="2" charset="0"/>
                <a:ea typeface="Roboto Regular" pitchFamily="2" charset="0"/>
                <a:cs typeface="Source Sans Pro ExtraLight"/>
              </a:rPr>
              <a:t> dis parturient </a:t>
            </a:r>
            <a:r>
              <a:rPr lang="en-US" sz="1600" dirty="0" err="1" smtClean="0">
                <a:latin typeface="Roboto Regular" pitchFamily="2" charset="0"/>
                <a:ea typeface="Roboto Regular" pitchFamily="2" charset="0"/>
                <a:cs typeface="Source Sans Pro ExtraLight"/>
              </a:rPr>
              <a:t>monte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nascetur</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ridiculus</a:t>
            </a:r>
            <a:r>
              <a:rPr lang="en-US" sz="1600" dirty="0" smtClean="0">
                <a:latin typeface="Roboto Regular" pitchFamily="2" charset="0"/>
                <a:ea typeface="Roboto Regular" pitchFamily="2" charset="0"/>
                <a:cs typeface="Source Sans Pro ExtraLight"/>
              </a:rPr>
              <a:t> mus. Nam </a:t>
            </a:r>
            <a:r>
              <a:rPr lang="en-US" sz="1600" dirty="0" err="1" smtClean="0">
                <a:latin typeface="Roboto Regular" pitchFamily="2" charset="0"/>
                <a:ea typeface="Roboto Regular" pitchFamily="2" charset="0"/>
                <a:cs typeface="Source Sans Pro ExtraLight"/>
              </a:rPr>
              <a:t>odio</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nulla</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tempor</a:t>
            </a:r>
            <a:r>
              <a:rPr lang="en-US" sz="1600" dirty="0" smtClean="0">
                <a:latin typeface="Roboto Regular" pitchFamily="2" charset="0"/>
                <a:ea typeface="Roboto Regular" pitchFamily="2" charset="0"/>
                <a:cs typeface="Source Sans Pro ExtraLight"/>
              </a:rPr>
              <a:t> a </a:t>
            </a:r>
            <a:r>
              <a:rPr lang="en-US" sz="1600" dirty="0" err="1" smtClean="0">
                <a:latin typeface="Roboto Regular" pitchFamily="2" charset="0"/>
                <a:ea typeface="Roboto Regular" pitchFamily="2" charset="0"/>
                <a:cs typeface="Source Sans Pro ExtraLight"/>
              </a:rPr>
              <a:t>eleifend</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u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dignissim</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nec</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tellus</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Donec</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porttitor</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porttitor</a:t>
            </a:r>
            <a:r>
              <a:rPr lang="en-US" sz="1600" dirty="0" smtClean="0">
                <a:latin typeface="Roboto Regular" pitchFamily="2" charset="0"/>
                <a:ea typeface="Roboto Regular" pitchFamily="2" charset="0"/>
                <a:cs typeface="Source Sans Pro ExtraLight"/>
              </a:rPr>
              <a:t> ante. Nam dictum quam </a:t>
            </a:r>
            <a:r>
              <a:rPr lang="en-US" sz="1600" dirty="0" err="1" smtClean="0">
                <a:latin typeface="Roboto Regular" pitchFamily="2" charset="0"/>
                <a:ea typeface="Roboto Regular" pitchFamily="2" charset="0"/>
                <a:cs typeface="Source Sans Pro ExtraLight"/>
              </a:rPr>
              <a:t>sed</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era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lobortis</a:t>
            </a:r>
            <a:r>
              <a:rPr lang="en-US" sz="1600" dirty="0" smtClean="0">
                <a:latin typeface="Roboto Regular" pitchFamily="2" charset="0"/>
                <a:ea typeface="Roboto Regular" pitchFamily="2" charset="0"/>
                <a:cs typeface="Source Sans Pro ExtraLight"/>
              </a:rPr>
              <a:t>, et gravida </a:t>
            </a:r>
            <a:r>
              <a:rPr lang="en-US" sz="1600" dirty="0" err="1" smtClean="0">
                <a:latin typeface="Roboto Regular" pitchFamily="2" charset="0"/>
                <a:ea typeface="Roboto Regular" pitchFamily="2" charset="0"/>
                <a:cs typeface="Source Sans Pro ExtraLight"/>
              </a:rPr>
              <a:t>nunc</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pellentesque</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Mauris</a:t>
            </a:r>
            <a:r>
              <a:rPr lang="en-US" sz="1600" dirty="0" smtClean="0">
                <a:latin typeface="Roboto Regular" pitchFamily="2" charset="0"/>
                <a:ea typeface="Roboto Regular" pitchFamily="2" charset="0"/>
                <a:cs typeface="Source Sans Pro ExtraLight"/>
              </a:rPr>
              <a:t> gravida </a:t>
            </a:r>
            <a:r>
              <a:rPr lang="en-US" sz="1600" dirty="0" err="1" smtClean="0">
                <a:latin typeface="Roboto Regular" pitchFamily="2" charset="0"/>
                <a:ea typeface="Roboto Regular" pitchFamily="2" charset="0"/>
                <a:cs typeface="Source Sans Pro ExtraLight"/>
              </a:rPr>
              <a:t>ut</a:t>
            </a:r>
            <a:r>
              <a:rPr lang="en-US" sz="1600" dirty="0" smtClean="0">
                <a:latin typeface="Roboto Regular" pitchFamily="2" charset="0"/>
                <a:ea typeface="Roboto Regular" pitchFamily="2" charset="0"/>
                <a:cs typeface="Source Sans Pro ExtraLight"/>
              </a:rPr>
              <a:t> </a:t>
            </a:r>
            <a:r>
              <a:rPr lang="en-US" sz="1600" dirty="0" err="1" smtClean="0">
                <a:latin typeface="Roboto Regular" pitchFamily="2" charset="0"/>
                <a:ea typeface="Roboto Regular" pitchFamily="2" charset="0"/>
                <a:cs typeface="Source Sans Pro ExtraLight"/>
              </a:rPr>
              <a:t>augue</a:t>
            </a:r>
            <a:r>
              <a:rPr lang="en-US" sz="1600" dirty="0" smtClean="0">
                <a:latin typeface="Roboto Regular" pitchFamily="2" charset="0"/>
                <a:ea typeface="Roboto Regular" pitchFamily="2" charset="0"/>
                <a:cs typeface="Source Sans Pro ExtraLight"/>
              </a:rPr>
              <a:t> et </a:t>
            </a:r>
            <a:r>
              <a:rPr lang="en-US" sz="1600" dirty="0" err="1" smtClean="0">
                <a:latin typeface="Roboto Regular" pitchFamily="2" charset="0"/>
                <a:ea typeface="Roboto Regular" pitchFamily="2" charset="0"/>
                <a:cs typeface="Source Sans Pro ExtraLight"/>
              </a:rPr>
              <a:t>lobortis</a:t>
            </a:r>
            <a:r>
              <a:rPr lang="en-US" sz="1600" dirty="0" smtClean="0">
                <a:latin typeface="Roboto Regular" pitchFamily="2" charset="0"/>
                <a:ea typeface="Roboto Regular" pitchFamily="2" charset="0"/>
                <a:cs typeface="Source Sans Pro ExtraLight"/>
              </a:rPr>
              <a:t>.</a:t>
            </a:r>
          </a:p>
          <a:p>
            <a:pPr marL="182563" indent="-182563">
              <a:spcBef>
                <a:spcPts val="768"/>
              </a:spcBef>
              <a:spcAft>
                <a:spcPts val="0"/>
              </a:spcAft>
              <a:buClrTx/>
              <a:buSzPct val="100000"/>
            </a:pPr>
            <a:r>
              <a:rPr lang="en-US" sz="1600" dirty="0">
                <a:latin typeface="Roboto Regular" pitchFamily="2" charset="0"/>
                <a:ea typeface="Roboto Regular" pitchFamily="2" charset="0"/>
                <a:cs typeface="Source Sans Pro ExtraLight"/>
              </a:rPr>
              <a:t>Cum </a:t>
            </a:r>
            <a:r>
              <a:rPr lang="en-US" sz="1600" dirty="0" err="1">
                <a:latin typeface="Roboto Regular" pitchFamily="2" charset="0"/>
                <a:ea typeface="Roboto Regular" pitchFamily="2" charset="0"/>
                <a:cs typeface="Source Sans Pro ExtraLight"/>
              </a:rPr>
              <a:t>sociis</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natoque</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penatibus</a:t>
            </a:r>
            <a:r>
              <a:rPr lang="en-US" sz="1600" dirty="0">
                <a:latin typeface="Roboto Regular" pitchFamily="2" charset="0"/>
                <a:ea typeface="Roboto Regular" pitchFamily="2" charset="0"/>
                <a:cs typeface="Source Sans Pro ExtraLight"/>
              </a:rPr>
              <a:t> et </a:t>
            </a:r>
            <a:r>
              <a:rPr lang="en-US" sz="1600" dirty="0" err="1">
                <a:latin typeface="Roboto Regular" pitchFamily="2" charset="0"/>
                <a:ea typeface="Roboto Regular" pitchFamily="2" charset="0"/>
                <a:cs typeface="Source Sans Pro ExtraLight"/>
              </a:rPr>
              <a:t>magnis</a:t>
            </a:r>
            <a:r>
              <a:rPr lang="en-US" sz="1600" dirty="0">
                <a:latin typeface="Roboto Regular" pitchFamily="2" charset="0"/>
                <a:ea typeface="Roboto Regular" pitchFamily="2" charset="0"/>
                <a:cs typeface="Source Sans Pro ExtraLight"/>
              </a:rPr>
              <a:t> dis parturient </a:t>
            </a:r>
            <a:r>
              <a:rPr lang="en-US" sz="1600" dirty="0" err="1">
                <a:latin typeface="Roboto Regular" pitchFamily="2" charset="0"/>
                <a:ea typeface="Roboto Regular" pitchFamily="2" charset="0"/>
                <a:cs typeface="Source Sans Pro ExtraLight"/>
              </a:rPr>
              <a:t>montes</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nascetur</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ridiculus</a:t>
            </a:r>
            <a:r>
              <a:rPr lang="en-US" sz="1600" dirty="0">
                <a:latin typeface="Roboto Regular" pitchFamily="2" charset="0"/>
                <a:ea typeface="Roboto Regular" pitchFamily="2" charset="0"/>
                <a:cs typeface="Source Sans Pro ExtraLight"/>
              </a:rPr>
              <a:t> mus. Nam </a:t>
            </a:r>
            <a:r>
              <a:rPr lang="en-US" sz="1600" dirty="0" err="1">
                <a:latin typeface="Roboto Regular" pitchFamily="2" charset="0"/>
                <a:ea typeface="Roboto Regular" pitchFamily="2" charset="0"/>
                <a:cs typeface="Source Sans Pro ExtraLight"/>
              </a:rPr>
              <a:t>odio</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nulla</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tempor</a:t>
            </a:r>
            <a:r>
              <a:rPr lang="en-US" sz="1600" dirty="0">
                <a:latin typeface="Roboto Regular" pitchFamily="2" charset="0"/>
                <a:ea typeface="Roboto Regular" pitchFamily="2" charset="0"/>
                <a:cs typeface="Source Sans Pro ExtraLight"/>
              </a:rPr>
              <a:t> a </a:t>
            </a:r>
            <a:r>
              <a:rPr lang="en-US" sz="1600" dirty="0" err="1">
                <a:latin typeface="Roboto Regular" pitchFamily="2" charset="0"/>
                <a:ea typeface="Roboto Regular" pitchFamily="2" charset="0"/>
                <a:cs typeface="Source Sans Pro ExtraLight"/>
              </a:rPr>
              <a:t>eleifend</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ut</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dignissim</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nec</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tellus</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Donec</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porttitor</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porttitor</a:t>
            </a:r>
            <a:r>
              <a:rPr lang="en-US" sz="1600" dirty="0">
                <a:latin typeface="Roboto Regular" pitchFamily="2" charset="0"/>
                <a:ea typeface="Roboto Regular" pitchFamily="2" charset="0"/>
                <a:cs typeface="Source Sans Pro ExtraLight"/>
              </a:rPr>
              <a:t> ante. Nam dictum quam </a:t>
            </a:r>
            <a:r>
              <a:rPr lang="en-US" sz="1600" dirty="0" err="1">
                <a:latin typeface="Roboto Regular" pitchFamily="2" charset="0"/>
                <a:ea typeface="Roboto Regular" pitchFamily="2" charset="0"/>
                <a:cs typeface="Source Sans Pro ExtraLight"/>
              </a:rPr>
              <a:t>sed</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erat</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lobortis</a:t>
            </a:r>
            <a:r>
              <a:rPr lang="en-US" sz="1600" dirty="0">
                <a:latin typeface="Roboto Regular" pitchFamily="2" charset="0"/>
                <a:ea typeface="Roboto Regular" pitchFamily="2" charset="0"/>
                <a:cs typeface="Source Sans Pro ExtraLight"/>
              </a:rPr>
              <a:t>, et gravida </a:t>
            </a:r>
            <a:r>
              <a:rPr lang="en-US" sz="1600" dirty="0" err="1">
                <a:latin typeface="Roboto Regular" pitchFamily="2" charset="0"/>
                <a:ea typeface="Roboto Regular" pitchFamily="2" charset="0"/>
                <a:cs typeface="Source Sans Pro ExtraLight"/>
              </a:rPr>
              <a:t>nunc</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pellentesque</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Mauris</a:t>
            </a:r>
            <a:r>
              <a:rPr lang="en-US" sz="1600" dirty="0">
                <a:latin typeface="Roboto Regular" pitchFamily="2" charset="0"/>
                <a:ea typeface="Roboto Regular" pitchFamily="2" charset="0"/>
                <a:cs typeface="Source Sans Pro ExtraLight"/>
              </a:rPr>
              <a:t> gravida </a:t>
            </a:r>
            <a:r>
              <a:rPr lang="en-US" sz="1600" dirty="0" err="1">
                <a:latin typeface="Roboto Regular" pitchFamily="2" charset="0"/>
                <a:ea typeface="Roboto Regular" pitchFamily="2" charset="0"/>
                <a:cs typeface="Source Sans Pro ExtraLight"/>
              </a:rPr>
              <a:t>ut</a:t>
            </a:r>
            <a:r>
              <a:rPr lang="en-US" sz="1600" dirty="0">
                <a:latin typeface="Roboto Regular" pitchFamily="2" charset="0"/>
                <a:ea typeface="Roboto Regular" pitchFamily="2" charset="0"/>
                <a:cs typeface="Source Sans Pro ExtraLight"/>
              </a:rPr>
              <a:t> </a:t>
            </a:r>
            <a:r>
              <a:rPr lang="en-US" sz="1600" dirty="0" err="1">
                <a:latin typeface="Roboto Regular" pitchFamily="2" charset="0"/>
                <a:ea typeface="Roboto Regular" pitchFamily="2" charset="0"/>
                <a:cs typeface="Source Sans Pro ExtraLight"/>
              </a:rPr>
              <a:t>augue</a:t>
            </a:r>
            <a:r>
              <a:rPr lang="en-US" sz="1600" dirty="0">
                <a:latin typeface="Roboto Regular" pitchFamily="2" charset="0"/>
                <a:ea typeface="Roboto Regular" pitchFamily="2" charset="0"/>
                <a:cs typeface="Source Sans Pro ExtraLight"/>
              </a:rPr>
              <a:t> et </a:t>
            </a:r>
            <a:r>
              <a:rPr lang="en-US" sz="1600" dirty="0" err="1">
                <a:latin typeface="Roboto Regular" pitchFamily="2" charset="0"/>
                <a:ea typeface="Roboto Regular" pitchFamily="2" charset="0"/>
                <a:cs typeface="Source Sans Pro ExtraLight"/>
              </a:rPr>
              <a:t>lobortis</a:t>
            </a:r>
            <a:r>
              <a:rPr lang="en-US" sz="1600" dirty="0" smtClean="0">
                <a:latin typeface="Roboto Regular" pitchFamily="2" charset="0"/>
                <a:ea typeface="Roboto Regular" pitchFamily="2" charset="0"/>
                <a:cs typeface="Source Sans Pro ExtraLight"/>
              </a:rPr>
              <a:t>.</a:t>
            </a:r>
            <a:endParaRPr lang="en-US" sz="1600" dirty="0">
              <a:latin typeface="Roboto Regular" pitchFamily="2" charset="0"/>
              <a:ea typeface="Roboto Regular" pitchFamily="2" charset="0"/>
              <a:cs typeface="Source Sans Pro ExtraLight"/>
            </a:endParaRPr>
          </a:p>
        </p:txBody>
      </p:sp>
    </p:spTree>
    <p:extLst>
      <p:ext uri="{BB962C8B-B14F-4D97-AF65-F5344CB8AC3E}">
        <p14:creationId xmlns:p14="http://schemas.microsoft.com/office/powerpoint/2010/main" val="38456871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als</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4_84 17_84 22_84 26_84 30_84</a:t>
            </a:r>
            <a:endParaRPr lang="en-US" sz="100" dirty="0" err="1" smtClean="0">
              <a:solidFill>
                <a:srgbClr val="FFFFFF"/>
              </a:solidFill>
            </a:endParaRPr>
          </a:p>
        </p:txBody>
      </p:sp>
      <p:grpSp>
        <p:nvGrpSpPr>
          <p:cNvPr id="4" name="Group 3"/>
          <p:cNvGrpSpPr/>
          <p:nvPr>
            <p:custDataLst>
              <p:tags r:id="rId1"/>
            </p:custDataLst>
          </p:nvPr>
        </p:nvGrpSpPr>
        <p:grpSpPr>
          <a:xfrm>
            <a:off x="3018020" y="1691608"/>
            <a:ext cx="1124616" cy="1124909"/>
            <a:chOff x="10914389" y="3398630"/>
            <a:chExt cx="2545697" cy="2546360"/>
          </a:xfrm>
          <a:solidFill>
            <a:srgbClr val="58595B"/>
          </a:solidFill>
        </p:grpSpPr>
        <p:sp>
          <p:nvSpPr>
            <p:cNvPr id="5" name="Freeform 9"/>
            <p:cNvSpPr>
              <a:spLocks noEditPoints="1"/>
            </p:cNvSpPr>
            <p:nvPr/>
          </p:nvSpPr>
          <p:spPr bwMode="auto">
            <a:xfrm>
              <a:off x="10914389" y="3398630"/>
              <a:ext cx="2545697" cy="2546360"/>
            </a:xfrm>
            <a:custGeom>
              <a:avLst/>
              <a:gdLst>
                <a:gd name="T0" fmla="*/ 512 w 1024"/>
                <a:gd name="T1" fmla="*/ 0 h 1024"/>
                <a:gd name="T2" fmla="*/ 0 w 1024"/>
                <a:gd name="T3" fmla="*/ 512 h 1024"/>
                <a:gd name="T4" fmla="*/ 512 w 1024"/>
                <a:gd name="T5" fmla="*/ 1024 h 1024"/>
                <a:gd name="T6" fmla="*/ 1024 w 1024"/>
                <a:gd name="T7" fmla="*/ 512 h 1024"/>
                <a:gd name="T8" fmla="*/ 512 w 1024"/>
                <a:gd name="T9" fmla="*/ 0 h 1024"/>
                <a:gd name="T10" fmla="*/ 512 w 1024"/>
                <a:gd name="T11" fmla="*/ 951 h 1024"/>
                <a:gd name="T12" fmla="*/ 73 w 1024"/>
                <a:gd name="T13" fmla="*/ 512 h 1024"/>
                <a:gd name="T14" fmla="*/ 512 w 1024"/>
                <a:gd name="T15" fmla="*/ 73 h 1024"/>
                <a:gd name="T16" fmla="*/ 951 w 1024"/>
                <a:gd name="T17" fmla="*/ 512 h 1024"/>
                <a:gd name="T18" fmla="*/ 512 w 1024"/>
                <a:gd name="T19" fmla="*/ 951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4" h="1024">
                  <a:moveTo>
                    <a:pt x="512" y="0"/>
                  </a:moveTo>
                  <a:cubicBezTo>
                    <a:pt x="229" y="0"/>
                    <a:pt x="0" y="229"/>
                    <a:pt x="0" y="512"/>
                  </a:cubicBezTo>
                  <a:cubicBezTo>
                    <a:pt x="0" y="795"/>
                    <a:pt x="229" y="1024"/>
                    <a:pt x="512" y="1024"/>
                  </a:cubicBezTo>
                  <a:cubicBezTo>
                    <a:pt x="795" y="1024"/>
                    <a:pt x="1024" y="795"/>
                    <a:pt x="1024" y="512"/>
                  </a:cubicBezTo>
                  <a:cubicBezTo>
                    <a:pt x="1024" y="229"/>
                    <a:pt x="795" y="0"/>
                    <a:pt x="512" y="0"/>
                  </a:cubicBezTo>
                  <a:close/>
                  <a:moveTo>
                    <a:pt x="512" y="951"/>
                  </a:moveTo>
                  <a:cubicBezTo>
                    <a:pt x="270" y="951"/>
                    <a:pt x="73" y="754"/>
                    <a:pt x="73" y="512"/>
                  </a:cubicBezTo>
                  <a:cubicBezTo>
                    <a:pt x="73" y="270"/>
                    <a:pt x="270" y="73"/>
                    <a:pt x="512" y="73"/>
                  </a:cubicBezTo>
                  <a:cubicBezTo>
                    <a:pt x="754" y="73"/>
                    <a:pt x="951" y="270"/>
                    <a:pt x="951" y="512"/>
                  </a:cubicBezTo>
                  <a:cubicBezTo>
                    <a:pt x="951" y="754"/>
                    <a:pt x="754" y="951"/>
                    <a:pt x="512" y="9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lIns="182843" tIns="91422" rIns="182843" bIns="91422"/>
            <a:lstStyle/>
            <a:p>
              <a:pPr defTabSz="1828434" fontAlgn="auto">
                <a:spcBef>
                  <a:spcPts val="0"/>
                </a:spcBef>
                <a:spcAft>
                  <a:spcPts val="0"/>
                </a:spcAft>
                <a:defRPr/>
              </a:pPr>
              <a:endParaRPr lang="id-ID">
                <a:latin typeface="+mn-lt"/>
                <a:ea typeface="+mn-ea"/>
                <a:cs typeface="+mn-cs"/>
              </a:endParaRPr>
            </a:p>
          </p:txBody>
        </p:sp>
        <p:grpSp>
          <p:nvGrpSpPr>
            <p:cNvPr id="6" name="Group 5"/>
            <p:cNvGrpSpPr/>
            <p:nvPr/>
          </p:nvGrpSpPr>
          <p:grpSpPr>
            <a:xfrm>
              <a:off x="11795226" y="4278110"/>
              <a:ext cx="787195" cy="787400"/>
              <a:chOff x="6350" y="4763"/>
              <a:chExt cx="2898775" cy="2898776"/>
            </a:xfrm>
            <a:grpFill/>
          </p:grpSpPr>
          <p:sp>
            <p:nvSpPr>
              <p:cNvPr id="7" name="Freeform 6"/>
              <p:cNvSpPr>
                <a:spLocks/>
              </p:cNvSpPr>
              <p:nvPr/>
            </p:nvSpPr>
            <p:spPr bwMode="auto">
              <a:xfrm>
                <a:off x="6350" y="4763"/>
                <a:ext cx="727075" cy="723900"/>
              </a:xfrm>
              <a:custGeom>
                <a:avLst/>
                <a:gdLst>
                  <a:gd name="T0" fmla="*/ 168 w 193"/>
                  <a:gd name="T1" fmla="*/ 0 h 192"/>
                  <a:gd name="T2" fmla="*/ 24 w 193"/>
                  <a:gd name="T3" fmla="*/ 0 h 192"/>
                  <a:gd name="T4" fmla="*/ 0 w 193"/>
                  <a:gd name="T5" fmla="*/ 24 h 192"/>
                  <a:gd name="T6" fmla="*/ 0 w 193"/>
                  <a:gd name="T7" fmla="*/ 168 h 192"/>
                  <a:gd name="T8" fmla="*/ 24 w 193"/>
                  <a:gd name="T9" fmla="*/ 192 h 192"/>
                  <a:gd name="T10" fmla="*/ 168 w 193"/>
                  <a:gd name="T11" fmla="*/ 192 h 192"/>
                  <a:gd name="T12" fmla="*/ 193 w 193"/>
                  <a:gd name="T13" fmla="*/ 168 h 192"/>
                  <a:gd name="T14" fmla="*/ 193 w 193"/>
                  <a:gd name="T15" fmla="*/ 24 h 192"/>
                  <a:gd name="T16" fmla="*/ 168 w 193"/>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2">
                    <a:moveTo>
                      <a:pt x="168" y="0"/>
                    </a:moveTo>
                    <a:cubicBezTo>
                      <a:pt x="24" y="0"/>
                      <a:pt x="24" y="0"/>
                      <a:pt x="24" y="0"/>
                    </a:cubicBezTo>
                    <a:cubicBezTo>
                      <a:pt x="11" y="0"/>
                      <a:pt x="0" y="11"/>
                      <a:pt x="0" y="24"/>
                    </a:cubicBezTo>
                    <a:cubicBezTo>
                      <a:pt x="0" y="168"/>
                      <a:pt x="0" y="168"/>
                      <a:pt x="0" y="168"/>
                    </a:cubicBezTo>
                    <a:cubicBezTo>
                      <a:pt x="0" y="182"/>
                      <a:pt x="11" y="192"/>
                      <a:pt x="24" y="192"/>
                    </a:cubicBezTo>
                    <a:cubicBezTo>
                      <a:pt x="168" y="192"/>
                      <a:pt x="168" y="192"/>
                      <a:pt x="168" y="192"/>
                    </a:cubicBezTo>
                    <a:cubicBezTo>
                      <a:pt x="182" y="192"/>
                      <a:pt x="193" y="182"/>
                      <a:pt x="193" y="168"/>
                    </a:cubicBezTo>
                    <a:cubicBezTo>
                      <a:pt x="193" y="24"/>
                      <a:pt x="193" y="24"/>
                      <a:pt x="193" y="24"/>
                    </a:cubicBezTo>
                    <a:cubicBezTo>
                      <a:pt x="193" y="11"/>
                      <a:pt x="182" y="0"/>
                      <a:pt x="16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1828434" fontAlgn="auto">
                  <a:spcBef>
                    <a:spcPts val="0"/>
                  </a:spcBef>
                  <a:spcAft>
                    <a:spcPts val="0"/>
                  </a:spcAft>
                  <a:defRPr/>
                </a:pPr>
                <a:endParaRPr lang="id-ID">
                  <a:latin typeface="+mn-lt"/>
                  <a:ea typeface="+mn-ea"/>
                  <a:cs typeface="+mn-cs"/>
                </a:endParaRPr>
              </a:p>
            </p:txBody>
          </p:sp>
          <p:sp>
            <p:nvSpPr>
              <p:cNvPr id="8" name="Freeform 7"/>
              <p:cNvSpPr>
                <a:spLocks/>
              </p:cNvSpPr>
              <p:nvPr/>
            </p:nvSpPr>
            <p:spPr bwMode="auto">
              <a:xfrm>
                <a:off x="6350" y="1093788"/>
                <a:ext cx="727075" cy="722313"/>
              </a:xfrm>
              <a:custGeom>
                <a:avLst/>
                <a:gdLst>
                  <a:gd name="T0" fmla="*/ 168 w 193"/>
                  <a:gd name="T1" fmla="*/ 0 h 192"/>
                  <a:gd name="T2" fmla="*/ 24 w 193"/>
                  <a:gd name="T3" fmla="*/ 0 h 192"/>
                  <a:gd name="T4" fmla="*/ 0 w 193"/>
                  <a:gd name="T5" fmla="*/ 24 h 192"/>
                  <a:gd name="T6" fmla="*/ 0 w 193"/>
                  <a:gd name="T7" fmla="*/ 168 h 192"/>
                  <a:gd name="T8" fmla="*/ 24 w 193"/>
                  <a:gd name="T9" fmla="*/ 192 h 192"/>
                  <a:gd name="T10" fmla="*/ 168 w 193"/>
                  <a:gd name="T11" fmla="*/ 192 h 192"/>
                  <a:gd name="T12" fmla="*/ 193 w 193"/>
                  <a:gd name="T13" fmla="*/ 168 h 192"/>
                  <a:gd name="T14" fmla="*/ 193 w 193"/>
                  <a:gd name="T15" fmla="*/ 24 h 192"/>
                  <a:gd name="T16" fmla="*/ 168 w 193"/>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2">
                    <a:moveTo>
                      <a:pt x="168" y="0"/>
                    </a:moveTo>
                    <a:cubicBezTo>
                      <a:pt x="24" y="0"/>
                      <a:pt x="24" y="0"/>
                      <a:pt x="24" y="0"/>
                    </a:cubicBezTo>
                    <a:cubicBezTo>
                      <a:pt x="11" y="0"/>
                      <a:pt x="0" y="11"/>
                      <a:pt x="0" y="24"/>
                    </a:cubicBezTo>
                    <a:cubicBezTo>
                      <a:pt x="0" y="168"/>
                      <a:pt x="0" y="168"/>
                      <a:pt x="0" y="168"/>
                    </a:cubicBezTo>
                    <a:cubicBezTo>
                      <a:pt x="0" y="181"/>
                      <a:pt x="11" y="192"/>
                      <a:pt x="24" y="192"/>
                    </a:cubicBezTo>
                    <a:cubicBezTo>
                      <a:pt x="168" y="192"/>
                      <a:pt x="168" y="192"/>
                      <a:pt x="168" y="192"/>
                    </a:cubicBezTo>
                    <a:cubicBezTo>
                      <a:pt x="182" y="192"/>
                      <a:pt x="193" y="181"/>
                      <a:pt x="193" y="168"/>
                    </a:cubicBezTo>
                    <a:cubicBezTo>
                      <a:pt x="193" y="24"/>
                      <a:pt x="193" y="24"/>
                      <a:pt x="193" y="24"/>
                    </a:cubicBezTo>
                    <a:cubicBezTo>
                      <a:pt x="193" y="11"/>
                      <a:pt x="182" y="0"/>
                      <a:pt x="16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1828434" fontAlgn="auto">
                  <a:spcBef>
                    <a:spcPts val="0"/>
                  </a:spcBef>
                  <a:spcAft>
                    <a:spcPts val="0"/>
                  </a:spcAft>
                  <a:defRPr/>
                </a:pPr>
                <a:endParaRPr lang="id-ID">
                  <a:latin typeface="+mn-lt"/>
                  <a:ea typeface="+mn-ea"/>
                  <a:cs typeface="+mn-cs"/>
                </a:endParaRPr>
              </a:p>
            </p:txBody>
          </p:sp>
          <p:sp>
            <p:nvSpPr>
              <p:cNvPr id="9" name="Freeform 8"/>
              <p:cNvSpPr>
                <a:spLocks/>
              </p:cNvSpPr>
              <p:nvPr/>
            </p:nvSpPr>
            <p:spPr bwMode="auto">
              <a:xfrm>
                <a:off x="6350" y="2178051"/>
                <a:ext cx="727075" cy="725488"/>
              </a:xfrm>
              <a:custGeom>
                <a:avLst/>
                <a:gdLst>
                  <a:gd name="T0" fmla="*/ 168 w 193"/>
                  <a:gd name="T1" fmla="*/ 0 h 193"/>
                  <a:gd name="T2" fmla="*/ 24 w 193"/>
                  <a:gd name="T3" fmla="*/ 0 h 193"/>
                  <a:gd name="T4" fmla="*/ 0 w 193"/>
                  <a:gd name="T5" fmla="*/ 25 h 193"/>
                  <a:gd name="T6" fmla="*/ 0 w 193"/>
                  <a:gd name="T7" fmla="*/ 169 h 193"/>
                  <a:gd name="T8" fmla="*/ 24 w 193"/>
                  <a:gd name="T9" fmla="*/ 193 h 193"/>
                  <a:gd name="T10" fmla="*/ 168 w 193"/>
                  <a:gd name="T11" fmla="*/ 193 h 193"/>
                  <a:gd name="T12" fmla="*/ 193 w 193"/>
                  <a:gd name="T13" fmla="*/ 169 h 193"/>
                  <a:gd name="T14" fmla="*/ 193 w 193"/>
                  <a:gd name="T15" fmla="*/ 25 h 193"/>
                  <a:gd name="T16" fmla="*/ 168 w 193"/>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3" h="193">
                    <a:moveTo>
                      <a:pt x="168" y="0"/>
                    </a:moveTo>
                    <a:cubicBezTo>
                      <a:pt x="24" y="0"/>
                      <a:pt x="24" y="0"/>
                      <a:pt x="24" y="0"/>
                    </a:cubicBezTo>
                    <a:cubicBezTo>
                      <a:pt x="11" y="0"/>
                      <a:pt x="0" y="11"/>
                      <a:pt x="0" y="25"/>
                    </a:cubicBezTo>
                    <a:cubicBezTo>
                      <a:pt x="0" y="169"/>
                      <a:pt x="0" y="169"/>
                      <a:pt x="0" y="169"/>
                    </a:cubicBezTo>
                    <a:cubicBezTo>
                      <a:pt x="0" y="182"/>
                      <a:pt x="11" y="193"/>
                      <a:pt x="24" y="193"/>
                    </a:cubicBezTo>
                    <a:cubicBezTo>
                      <a:pt x="168" y="193"/>
                      <a:pt x="168" y="193"/>
                      <a:pt x="168" y="193"/>
                    </a:cubicBezTo>
                    <a:cubicBezTo>
                      <a:pt x="182" y="193"/>
                      <a:pt x="193" y="182"/>
                      <a:pt x="193" y="169"/>
                    </a:cubicBezTo>
                    <a:cubicBezTo>
                      <a:pt x="193" y="25"/>
                      <a:pt x="193" y="25"/>
                      <a:pt x="193" y="25"/>
                    </a:cubicBezTo>
                    <a:cubicBezTo>
                      <a:pt x="193" y="11"/>
                      <a:pt x="182" y="0"/>
                      <a:pt x="168"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1828434" fontAlgn="auto">
                  <a:spcBef>
                    <a:spcPts val="0"/>
                  </a:spcBef>
                  <a:spcAft>
                    <a:spcPts val="0"/>
                  </a:spcAft>
                  <a:defRPr/>
                </a:pPr>
                <a:endParaRPr lang="id-ID">
                  <a:latin typeface="+mn-lt"/>
                  <a:ea typeface="+mn-ea"/>
                  <a:cs typeface="+mn-cs"/>
                </a:endParaRPr>
              </a:p>
            </p:txBody>
          </p:sp>
          <p:sp>
            <p:nvSpPr>
              <p:cNvPr id="10" name="Freeform 8"/>
              <p:cNvSpPr>
                <a:spLocks/>
              </p:cNvSpPr>
              <p:nvPr/>
            </p:nvSpPr>
            <p:spPr bwMode="auto">
              <a:xfrm>
                <a:off x="1095375" y="4763"/>
                <a:ext cx="1809750" cy="723900"/>
              </a:xfrm>
              <a:custGeom>
                <a:avLst/>
                <a:gdLst>
                  <a:gd name="T0" fmla="*/ 457 w 481"/>
                  <a:gd name="T1" fmla="*/ 0 h 192"/>
                  <a:gd name="T2" fmla="*/ 24 w 481"/>
                  <a:gd name="T3" fmla="*/ 0 h 192"/>
                  <a:gd name="T4" fmla="*/ 0 w 481"/>
                  <a:gd name="T5" fmla="*/ 24 h 192"/>
                  <a:gd name="T6" fmla="*/ 0 w 481"/>
                  <a:gd name="T7" fmla="*/ 168 h 192"/>
                  <a:gd name="T8" fmla="*/ 24 w 481"/>
                  <a:gd name="T9" fmla="*/ 192 h 192"/>
                  <a:gd name="T10" fmla="*/ 457 w 481"/>
                  <a:gd name="T11" fmla="*/ 192 h 192"/>
                  <a:gd name="T12" fmla="*/ 481 w 481"/>
                  <a:gd name="T13" fmla="*/ 168 h 192"/>
                  <a:gd name="T14" fmla="*/ 481 w 481"/>
                  <a:gd name="T15" fmla="*/ 24 h 192"/>
                  <a:gd name="T16" fmla="*/ 457 w 481"/>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192">
                    <a:moveTo>
                      <a:pt x="457" y="0"/>
                    </a:moveTo>
                    <a:cubicBezTo>
                      <a:pt x="24" y="0"/>
                      <a:pt x="24" y="0"/>
                      <a:pt x="24" y="0"/>
                    </a:cubicBezTo>
                    <a:cubicBezTo>
                      <a:pt x="11" y="0"/>
                      <a:pt x="0" y="11"/>
                      <a:pt x="0" y="24"/>
                    </a:cubicBezTo>
                    <a:cubicBezTo>
                      <a:pt x="0" y="168"/>
                      <a:pt x="0" y="168"/>
                      <a:pt x="0" y="168"/>
                    </a:cubicBezTo>
                    <a:cubicBezTo>
                      <a:pt x="0" y="182"/>
                      <a:pt x="11" y="192"/>
                      <a:pt x="24" y="192"/>
                    </a:cubicBezTo>
                    <a:cubicBezTo>
                      <a:pt x="457" y="192"/>
                      <a:pt x="457" y="192"/>
                      <a:pt x="457" y="192"/>
                    </a:cubicBezTo>
                    <a:cubicBezTo>
                      <a:pt x="470" y="192"/>
                      <a:pt x="481" y="182"/>
                      <a:pt x="481" y="168"/>
                    </a:cubicBezTo>
                    <a:cubicBezTo>
                      <a:pt x="481" y="24"/>
                      <a:pt x="481" y="24"/>
                      <a:pt x="481" y="24"/>
                    </a:cubicBezTo>
                    <a:cubicBezTo>
                      <a:pt x="481" y="11"/>
                      <a:pt x="470" y="0"/>
                      <a:pt x="45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1828434" fontAlgn="auto">
                  <a:spcBef>
                    <a:spcPts val="0"/>
                  </a:spcBef>
                  <a:spcAft>
                    <a:spcPts val="0"/>
                  </a:spcAft>
                  <a:defRPr/>
                </a:pPr>
                <a:endParaRPr lang="id-ID">
                  <a:latin typeface="+mn-lt"/>
                  <a:ea typeface="+mn-ea"/>
                  <a:cs typeface="+mn-cs"/>
                </a:endParaRPr>
              </a:p>
            </p:txBody>
          </p:sp>
          <p:sp>
            <p:nvSpPr>
              <p:cNvPr id="11" name="Freeform 9"/>
              <p:cNvSpPr>
                <a:spLocks/>
              </p:cNvSpPr>
              <p:nvPr/>
            </p:nvSpPr>
            <p:spPr bwMode="auto">
              <a:xfrm>
                <a:off x="1095375" y="1093788"/>
                <a:ext cx="1809750" cy="722313"/>
              </a:xfrm>
              <a:custGeom>
                <a:avLst/>
                <a:gdLst>
                  <a:gd name="T0" fmla="*/ 457 w 481"/>
                  <a:gd name="T1" fmla="*/ 0 h 192"/>
                  <a:gd name="T2" fmla="*/ 24 w 481"/>
                  <a:gd name="T3" fmla="*/ 0 h 192"/>
                  <a:gd name="T4" fmla="*/ 0 w 481"/>
                  <a:gd name="T5" fmla="*/ 24 h 192"/>
                  <a:gd name="T6" fmla="*/ 0 w 481"/>
                  <a:gd name="T7" fmla="*/ 168 h 192"/>
                  <a:gd name="T8" fmla="*/ 24 w 481"/>
                  <a:gd name="T9" fmla="*/ 192 h 192"/>
                  <a:gd name="T10" fmla="*/ 457 w 481"/>
                  <a:gd name="T11" fmla="*/ 192 h 192"/>
                  <a:gd name="T12" fmla="*/ 481 w 481"/>
                  <a:gd name="T13" fmla="*/ 168 h 192"/>
                  <a:gd name="T14" fmla="*/ 481 w 481"/>
                  <a:gd name="T15" fmla="*/ 24 h 192"/>
                  <a:gd name="T16" fmla="*/ 457 w 481"/>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192">
                    <a:moveTo>
                      <a:pt x="457" y="0"/>
                    </a:moveTo>
                    <a:cubicBezTo>
                      <a:pt x="24" y="0"/>
                      <a:pt x="24" y="0"/>
                      <a:pt x="24" y="0"/>
                    </a:cubicBezTo>
                    <a:cubicBezTo>
                      <a:pt x="11" y="0"/>
                      <a:pt x="0" y="11"/>
                      <a:pt x="0" y="24"/>
                    </a:cubicBezTo>
                    <a:cubicBezTo>
                      <a:pt x="0" y="168"/>
                      <a:pt x="0" y="168"/>
                      <a:pt x="0" y="168"/>
                    </a:cubicBezTo>
                    <a:cubicBezTo>
                      <a:pt x="0" y="181"/>
                      <a:pt x="11" y="192"/>
                      <a:pt x="24" y="192"/>
                    </a:cubicBezTo>
                    <a:cubicBezTo>
                      <a:pt x="457" y="192"/>
                      <a:pt x="457" y="192"/>
                      <a:pt x="457" y="192"/>
                    </a:cubicBezTo>
                    <a:cubicBezTo>
                      <a:pt x="470" y="192"/>
                      <a:pt x="481" y="181"/>
                      <a:pt x="481" y="168"/>
                    </a:cubicBezTo>
                    <a:cubicBezTo>
                      <a:pt x="481" y="24"/>
                      <a:pt x="481" y="24"/>
                      <a:pt x="481" y="24"/>
                    </a:cubicBezTo>
                    <a:cubicBezTo>
                      <a:pt x="481" y="11"/>
                      <a:pt x="470" y="0"/>
                      <a:pt x="45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1828434" fontAlgn="auto">
                  <a:spcBef>
                    <a:spcPts val="0"/>
                  </a:spcBef>
                  <a:spcAft>
                    <a:spcPts val="0"/>
                  </a:spcAft>
                  <a:defRPr/>
                </a:pPr>
                <a:endParaRPr lang="id-ID">
                  <a:latin typeface="+mn-lt"/>
                  <a:ea typeface="+mn-ea"/>
                  <a:cs typeface="+mn-cs"/>
                </a:endParaRPr>
              </a:p>
            </p:txBody>
          </p:sp>
          <p:sp>
            <p:nvSpPr>
              <p:cNvPr id="12" name="Freeform 10"/>
              <p:cNvSpPr>
                <a:spLocks/>
              </p:cNvSpPr>
              <p:nvPr/>
            </p:nvSpPr>
            <p:spPr bwMode="auto">
              <a:xfrm>
                <a:off x="1095375" y="2178051"/>
                <a:ext cx="1809750" cy="725488"/>
              </a:xfrm>
              <a:custGeom>
                <a:avLst/>
                <a:gdLst>
                  <a:gd name="T0" fmla="*/ 457 w 481"/>
                  <a:gd name="T1" fmla="*/ 0 h 193"/>
                  <a:gd name="T2" fmla="*/ 24 w 481"/>
                  <a:gd name="T3" fmla="*/ 0 h 193"/>
                  <a:gd name="T4" fmla="*/ 0 w 481"/>
                  <a:gd name="T5" fmla="*/ 25 h 193"/>
                  <a:gd name="T6" fmla="*/ 0 w 481"/>
                  <a:gd name="T7" fmla="*/ 169 h 193"/>
                  <a:gd name="T8" fmla="*/ 24 w 481"/>
                  <a:gd name="T9" fmla="*/ 193 h 193"/>
                  <a:gd name="T10" fmla="*/ 457 w 481"/>
                  <a:gd name="T11" fmla="*/ 193 h 193"/>
                  <a:gd name="T12" fmla="*/ 481 w 481"/>
                  <a:gd name="T13" fmla="*/ 169 h 193"/>
                  <a:gd name="T14" fmla="*/ 481 w 481"/>
                  <a:gd name="T15" fmla="*/ 25 h 193"/>
                  <a:gd name="T16" fmla="*/ 457 w 481"/>
                  <a:gd name="T17"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1" h="193">
                    <a:moveTo>
                      <a:pt x="457" y="0"/>
                    </a:moveTo>
                    <a:cubicBezTo>
                      <a:pt x="24" y="0"/>
                      <a:pt x="24" y="0"/>
                      <a:pt x="24" y="0"/>
                    </a:cubicBezTo>
                    <a:cubicBezTo>
                      <a:pt x="11" y="0"/>
                      <a:pt x="0" y="11"/>
                      <a:pt x="0" y="25"/>
                    </a:cubicBezTo>
                    <a:cubicBezTo>
                      <a:pt x="0" y="169"/>
                      <a:pt x="0" y="169"/>
                      <a:pt x="0" y="169"/>
                    </a:cubicBezTo>
                    <a:cubicBezTo>
                      <a:pt x="0" y="182"/>
                      <a:pt x="11" y="193"/>
                      <a:pt x="24" y="193"/>
                    </a:cubicBezTo>
                    <a:cubicBezTo>
                      <a:pt x="457" y="193"/>
                      <a:pt x="457" y="193"/>
                      <a:pt x="457" y="193"/>
                    </a:cubicBezTo>
                    <a:cubicBezTo>
                      <a:pt x="470" y="193"/>
                      <a:pt x="481" y="182"/>
                      <a:pt x="481" y="169"/>
                    </a:cubicBezTo>
                    <a:cubicBezTo>
                      <a:pt x="481" y="25"/>
                      <a:pt x="481" y="25"/>
                      <a:pt x="481" y="25"/>
                    </a:cubicBezTo>
                    <a:cubicBezTo>
                      <a:pt x="481" y="11"/>
                      <a:pt x="470" y="0"/>
                      <a:pt x="45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1828434" fontAlgn="auto">
                  <a:spcBef>
                    <a:spcPts val="0"/>
                  </a:spcBef>
                  <a:spcAft>
                    <a:spcPts val="0"/>
                  </a:spcAft>
                  <a:defRPr/>
                </a:pPr>
                <a:endParaRPr lang="id-ID">
                  <a:latin typeface="+mn-lt"/>
                  <a:ea typeface="+mn-ea"/>
                  <a:cs typeface="+mn-cs"/>
                </a:endParaRPr>
              </a:p>
            </p:txBody>
          </p:sp>
        </p:grpSp>
      </p:grpSp>
      <p:sp>
        <p:nvSpPr>
          <p:cNvPr id="14" name="TextBox 13"/>
          <p:cNvSpPr txBox="1"/>
          <p:nvPr/>
        </p:nvSpPr>
        <p:spPr>
          <a:xfrm>
            <a:off x="7315678" y="3125372"/>
            <a:ext cx="4234054" cy="1206448"/>
          </a:xfrm>
          <a:prstGeom prst="rect">
            <a:avLst/>
          </a:prstGeom>
          <a:noFill/>
        </p:spPr>
        <p:txBody>
          <a:bodyPr wrap="square" lIns="219419" tIns="109710" rIns="219419" bIns="109710" rtlCol="0">
            <a:spAutoFit/>
          </a:bodyPr>
          <a:lstStyle/>
          <a:p>
            <a:pPr algn="just"/>
            <a:r>
              <a:rPr lang="en-US" sz="1600" dirty="0">
                <a:solidFill>
                  <a:schemeClr val="accent6"/>
                </a:solidFill>
                <a:latin typeface="+mj-lt"/>
                <a:ea typeface="Open Sans Light" panose="020B0306030504020204" pitchFamily="34" charset="0"/>
                <a:cs typeface="Lato Light"/>
              </a:rPr>
              <a:t>Lorem Ipsum has two main statistical methodologies are used in data analysis which summarizes data from a sample using indexes.</a:t>
            </a:r>
          </a:p>
        </p:txBody>
      </p:sp>
      <p:sp>
        <p:nvSpPr>
          <p:cNvPr id="15" name="Round Same Side Corner Rectangle 14"/>
          <p:cNvSpPr/>
          <p:nvPr/>
        </p:nvSpPr>
        <p:spPr>
          <a:xfrm rot="10800000" flipH="1">
            <a:off x="7260569" y="3173487"/>
            <a:ext cx="45719" cy="352196"/>
          </a:xfrm>
          <a:prstGeom prst="round2SameRect">
            <a:avLst>
              <a:gd name="adj1" fmla="val 50000"/>
              <a:gd name="adj2" fmla="val 50000"/>
            </a:avLst>
          </a:prstGeom>
          <a:solidFill>
            <a:srgbClr val="0A3E56"/>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400"/>
          </a:p>
        </p:txBody>
      </p:sp>
      <p:sp>
        <p:nvSpPr>
          <p:cNvPr id="16" name="Freeform 857"/>
          <p:cNvSpPr>
            <a:spLocks noEditPoints="1"/>
          </p:cNvSpPr>
          <p:nvPr/>
        </p:nvSpPr>
        <p:spPr bwMode="auto">
          <a:xfrm>
            <a:off x="6836489" y="3240140"/>
            <a:ext cx="276475" cy="276475"/>
          </a:xfrm>
          <a:custGeom>
            <a:avLst/>
            <a:gdLst>
              <a:gd name="T0" fmla="*/ 215 w 430"/>
              <a:gd name="T1" fmla="*/ 0 h 430"/>
              <a:gd name="T2" fmla="*/ 0 w 430"/>
              <a:gd name="T3" fmla="*/ 215 h 430"/>
              <a:gd name="T4" fmla="*/ 215 w 430"/>
              <a:gd name="T5" fmla="*/ 430 h 430"/>
              <a:gd name="T6" fmla="*/ 430 w 430"/>
              <a:gd name="T7" fmla="*/ 215 h 430"/>
              <a:gd name="T8" fmla="*/ 215 w 430"/>
              <a:gd name="T9" fmla="*/ 0 h 430"/>
              <a:gd name="T10" fmla="*/ 259 w 430"/>
              <a:gd name="T11" fmla="*/ 215 h 430"/>
              <a:gd name="T12" fmla="*/ 338 w 430"/>
              <a:gd name="T13" fmla="*/ 293 h 430"/>
              <a:gd name="T14" fmla="*/ 293 w 430"/>
              <a:gd name="T15" fmla="*/ 338 h 430"/>
              <a:gd name="T16" fmla="*/ 215 w 430"/>
              <a:gd name="T17" fmla="*/ 259 h 430"/>
              <a:gd name="T18" fmla="*/ 137 w 430"/>
              <a:gd name="T19" fmla="*/ 338 h 430"/>
              <a:gd name="T20" fmla="*/ 92 w 430"/>
              <a:gd name="T21" fmla="*/ 293 h 430"/>
              <a:gd name="T22" fmla="*/ 171 w 430"/>
              <a:gd name="T23" fmla="*/ 215 h 430"/>
              <a:gd name="T24" fmla="*/ 92 w 430"/>
              <a:gd name="T25" fmla="*/ 137 h 430"/>
              <a:gd name="T26" fmla="*/ 137 w 430"/>
              <a:gd name="T27" fmla="*/ 92 h 430"/>
              <a:gd name="T28" fmla="*/ 215 w 430"/>
              <a:gd name="T29" fmla="*/ 171 h 430"/>
              <a:gd name="T30" fmla="*/ 293 w 430"/>
              <a:gd name="T31" fmla="*/ 92 h 430"/>
              <a:gd name="T32" fmla="*/ 338 w 430"/>
              <a:gd name="T33" fmla="*/ 137 h 430"/>
              <a:gd name="T34" fmla="*/ 259 w 430"/>
              <a:gd name="T35" fmla="*/ 21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0" h="430">
                <a:moveTo>
                  <a:pt x="215" y="0"/>
                </a:moveTo>
                <a:cubicBezTo>
                  <a:pt x="96" y="0"/>
                  <a:pt x="0" y="96"/>
                  <a:pt x="0" y="215"/>
                </a:cubicBezTo>
                <a:cubicBezTo>
                  <a:pt x="0" y="334"/>
                  <a:pt x="96" y="430"/>
                  <a:pt x="215" y="430"/>
                </a:cubicBezTo>
                <a:cubicBezTo>
                  <a:pt x="334" y="430"/>
                  <a:pt x="430" y="334"/>
                  <a:pt x="430" y="215"/>
                </a:cubicBezTo>
                <a:cubicBezTo>
                  <a:pt x="430" y="96"/>
                  <a:pt x="334" y="0"/>
                  <a:pt x="215" y="0"/>
                </a:cubicBezTo>
                <a:close/>
                <a:moveTo>
                  <a:pt x="259" y="215"/>
                </a:moveTo>
                <a:cubicBezTo>
                  <a:pt x="338" y="293"/>
                  <a:pt x="338" y="293"/>
                  <a:pt x="338" y="293"/>
                </a:cubicBezTo>
                <a:cubicBezTo>
                  <a:pt x="293" y="338"/>
                  <a:pt x="293" y="338"/>
                  <a:pt x="293" y="338"/>
                </a:cubicBezTo>
                <a:cubicBezTo>
                  <a:pt x="215" y="259"/>
                  <a:pt x="215" y="259"/>
                  <a:pt x="215" y="259"/>
                </a:cubicBezTo>
                <a:cubicBezTo>
                  <a:pt x="137" y="338"/>
                  <a:pt x="137" y="338"/>
                  <a:pt x="137" y="338"/>
                </a:cubicBezTo>
                <a:cubicBezTo>
                  <a:pt x="92" y="293"/>
                  <a:pt x="92" y="293"/>
                  <a:pt x="92" y="293"/>
                </a:cubicBezTo>
                <a:cubicBezTo>
                  <a:pt x="171" y="215"/>
                  <a:pt x="171" y="215"/>
                  <a:pt x="171" y="215"/>
                </a:cubicBezTo>
                <a:cubicBezTo>
                  <a:pt x="92" y="137"/>
                  <a:pt x="92" y="137"/>
                  <a:pt x="92" y="137"/>
                </a:cubicBezTo>
                <a:cubicBezTo>
                  <a:pt x="137" y="92"/>
                  <a:pt x="137" y="92"/>
                  <a:pt x="137" y="92"/>
                </a:cubicBezTo>
                <a:cubicBezTo>
                  <a:pt x="215" y="171"/>
                  <a:pt x="215" y="171"/>
                  <a:pt x="215" y="171"/>
                </a:cubicBezTo>
                <a:cubicBezTo>
                  <a:pt x="293" y="92"/>
                  <a:pt x="293" y="92"/>
                  <a:pt x="293" y="92"/>
                </a:cubicBezTo>
                <a:cubicBezTo>
                  <a:pt x="338" y="137"/>
                  <a:pt x="338" y="137"/>
                  <a:pt x="338" y="137"/>
                </a:cubicBezTo>
                <a:cubicBezTo>
                  <a:pt x="259" y="215"/>
                  <a:pt x="259" y="215"/>
                  <a:pt x="259" y="215"/>
                </a:cubicBezTo>
                <a:close/>
              </a:path>
            </a:pathLst>
          </a:custGeom>
          <a:solidFill>
            <a:srgbClr val="0A3E56"/>
          </a:solidFill>
          <a:ln>
            <a:noFill/>
          </a:ln>
        </p:spPr>
        <p:txBody>
          <a:bodyPr vert="horz" wrap="square" lIns="91440" tIns="45720" rIns="91440" bIns="45720" numCol="1" anchor="t" anchorCtr="0" compatLnSpc="1">
            <a:prstTxWarp prst="textNoShape">
              <a:avLst/>
            </a:prstTxWarp>
          </a:bodyPr>
          <a:lstStyle/>
          <a:p>
            <a:endParaRPr lang="en-US" sz="1400"/>
          </a:p>
        </p:txBody>
      </p:sp>
      <p:grpSp>
        <p:nvGrpSpPr>
          <p:cNvPr id="17" name="Group 16"/>
          <p:cNvGrpSpPr/>
          <p:nvPr>
            <p:custDataLst>
              <p:tags r:id="rId2"/>
            </p:custDataLst>
          </p:nvPr>
        </p:nvGrpSpPr>
        <p:grpSpPr>
          <a:xfrm>
            <a:off x="1298594" y="3134350"/>
            <a:ext cx="4706203" cy="1206448"/>
            <a:chOff x="6763349" y="5499169"/>
            <a:chExt cx="11011892" cy="2822931"/>
          </a:xfrm>
        </p:grpSpPr>
        <p:sp>
          <p:nvSpPr>
            <p:cNvPr id="18" name="TextBox 17"/>
            <p:cNvSpPr txBox="1"/>
            <p:nvPr/>
          </p:nvSpPr>
          <p:spPr>
            <a:xfrm>
              <a:off x="7719190" y="5499169"/>
              <a:ext cx="10056051" cy="2822931"/>
            </a:xfrm>
            <a:prstGeom prst="rect">
              <a:avLst/>
            </a:prstGeom>
            <a:noFill/>
          </p:spPr>
          <p:txBody>
            <a:bodyPr wrap="square" lIns="219419" tIns="109710" rIns="219419" bIns="109710" rtlCol="0">
              <a:spAutoFit/>
            </a:bodyPr>
            <a:lstStyle/>
            <a:p>
              <a:pPr algn="just"/>
              <a:r>
                <a:rPr lang="en-US" sz="1600" dirty="0">
                  <a:solidFill>
                    <a:schemeClr val="accent6"/>
                  </a:solidFill>
                  <a:latin typeface="+mj-lt"/>
                  <a:ea typeface="Open Sans Light" panose="020B0306030504020204" pitchFamily="34" charset="0"/>
                  <a:cs typeface="Lato Light"/>
                </a:rPr>
                <a:t>Lorem Ipsum has two main statistical methodologies are used in data analysis which summarizes data from a sample using indexes.</a:t>
              </a:r>
            </a:p>
          </p:txBody>
        </p:sp>
        <p:sp>
          <p:nvSpPr>
            <p:cNvPr id="19" name="Round Same Side Corner Rectangle 18"/>
            <p:cNvSpPr/>
            <p:nvPr/>
          </p:nvSpPr>
          <p:spPr>
            <a:xfrm rot="10800000" flipH="1">
              <a:off x="7736447" y="5598472"/>
              <a:ext cx="109697" cy="913591"/>
            </a:xfrm>
            <a:prstGeom prst="round2SameRect">
              <a:avLst>
                <a:gd name="adj1" fmla="val 50000"/>
                <a:gd name="adj2"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200" dirty="0">
                <a:solidFill>
                  <a:schemeClr val="accent6"/>
                </a:solidFill>
                <a:latin typeface="+mj-lt"/>
              </a:endParaRPr>
            </a:p>
          </p:txBody>
        </p:sp>
        <p:sp>
          <p:nvSpPr>
            <p:cNvPr id="20" name="Round Same Side Corner Rectangle 19"/>
            <p:cNvSpPr/>
            <p:nvPr/>
          </p:nvSpPr>
          <p:spPr>
            <a:xfrm rot="10800000" flipH="1">
              <a:off x="7736447" y="5607944"/>
              <a:ext cx="109697" cy="913591"/>
            </a:xfrm>
            <a:prstGeom prst="round2SameRect">
              <a:avLst>
                <a:gd name="adj1" fmla="val 50000"/>
                <a:gd name="adj2"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200">
                <a:solidFill>
                  <a:schemeClr val="accent6"/>
                </a:solidFill>
                <a:latin typeface="+mj-lt"/>
              </a:endParaRPr>
            </a:p>
          </p:txBody>
        </p:sp>
        <p:sp>
          <p:nvSpPr>
            <p:cNvPr id="21" name="Freeform 222"/>
            <p:cNvSpPr>
              <a:spLocks noEditPoints="1"/>
            </p:cNvSpPr>
            <p:nvPr/>
          </p:nvSpPr>
          <p:spPr bwMode="auto">
            <a:xfrm>
              <a:off x="6763349" y="5765073"/>
              <a:ext cx="646914" cy="649763"/>
            </a:xfrm>
            <a:custGeom>
              <a:avLst/>
              <a:gdLst>
                <a:gd name="T0" fmla="*/ 206 w 412"/>
                <a:gd name="T1" fmla="*/ 0 h 412"/>
                <a:gd name="T2" fmla="*/ 0 w 412"/>
                <a:gd name="T3" fmla="*/ 206 h 412"/>
                <a:gd name="T4" fmla="*/ 206 w 412"/>
                <a:gd name="T5" fmla="*/ 412 h 412"/>
                <a:gd name="T6" fmla="*/ 412 w 412"/>
                <a:gd name="T7" fmla="*/ 206 h 412"/>
                <a:gd name="T8" fmla="*/ 206 w 412"/>
                <a:gd name="T9" fmla="*/ 0 h 412"/>
                <a:gd name="T10" fmla="*/ 171 w 412"/>
                <a:gd name="T11" fmla="*/ 317 h 412"/>
                <a:gd name="T12" fmla="*/ 74 w 412"/>
                <a:gd name="T13" fmla="*/ 220 h 412"/>
                <a:gd name="T14" fmla="*/ 115 w 412"/>
                <a:gd name="T15" fmla="*/ 178 h 412"/>
                <a:gd name="T16" fmla="*/ 171 w 412"/>
                <a:gd name="T17" fmla="*/ 234 h 412"/>
                <a:gd name="T18" fmla="*/ 300 w 412"/>
                <a:gd name="T19" fmla="*/ 105 h 412"/>
                <a:gd name="T20" fmla="*/ 341 w 412"/>
                <a:gd name="T21" fmla="*/ 146 h 412"/>
                <a:gd name="T22" fmla="*/ 171 w 412"/>
                <a:gd name="T23" fmla="*/ 317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2" h="412">
                  <a:moveTo>
                    <a:pt x="206" y="0"/>
                  </a:moveTo>
                  <a:cubicBezTo>
                    <a:pt x="92" y="0"/>
                    <a:pt x="0" y="92"/>
                    <a:pt x="0" y="206"/>
                  </a:cubicBezTo>
                  <a:cubicBezTo>
                    <a:pt x="0" y="320"/>
                    <a:pt x="92" y="412"/>
                    <a:pt x="206" y="412"/>
                  </a:cubicBezTo>
                  <a:cubicBezTo>
                    <a:pt x="320" y="412"/>
                    <a:pt x="412" y="320"/>
                    <a:pt x="412" y="206"/>
                  </a:cubicBezTo>
                  <a:cubicBezTo>
                    <a:pt x="412" y="92"/>
                    <a:pt x="320" y="0"/>
                    <a:pt x="206" y="0"/>
                  </a:cubicBezTo>
                  <a:close/>
                  <a:moveTo>
                    <a:pt x="171" y="317"/>
                  </a:moveTo>
                  <a:cubicBezTo>
                    <a:pt x="74" y="220"/>
                    <a:pt x="74" y="220"/>
                    <a:pt x="74" y="220"/>
                  </a:cubicBezTo>
                  <a:cubicBezTo>
                    <a:pt x="115" y="178"/>
                    <a:pt x="115" y="178"/>
                    <a:pt x="115" y="178"/>
                  </a:cubicBezTo>
                  <a:cubicBezTo>
                    <a:pt x="171" y="234"/>
                    <a:pt x="171" y="234"/>
                    <a:pt x="171" y="234"/>
                  </a:cubicBezTo>
                  <a:cubicBezTo>
                    <a:pt x="300" y="105"/>
                    <a:pt x="300" y="105"/>
                    <a:pt x="300" y="105"/>
                  </a:cubicBezTo>
                  <a:cubicBezTo>
                    <a:pt x="341" y="146"/>
                    <a:pt x="341" y="146"/>
                    <a:pt x="341" y="146"/>
                  </a:cubicBezTo>
                  <a:cubicBezTo>
                    <a:pt x="171" y="317"/>
                    <a:pt x="171" y="317"/>
                    <a:pt x="171" y="3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200">
                <a:solidFill>
                  <a:schemeClr val="accent6"/>
                </a:solidFill>
                <a:latin typeface="+mj-lt"/>
              </a:endParaRPr>
            </a:p>
          </p:txBody>
        </p:sp>
      </p:grpSp>
      <p:grpSp>
        <p:nvGrpSpPr>
          <p:cNvPr id="22" name="Group 21"/>
          <p:cNvGrpSpPr/>
          <p:nvPr>
            <p:custDataLst>
              <p:tags r:id="rId3"/>
            </p:custDataLst>
          </p:nvPr>
        </p:nvGrpSpPr>
        <p:grpSpPr>
          <a:xfrm>
            <a:off x="1282121" y="4549966"/>
            <a:ext cx="4713245" cy="1206448"/>
            <a:chOff x="6746875" y="6964492"/>
            <a:chExt cx="11028367" cy="2822926"/>
          </a:xfrm>
        </p:grpSpPr>
        <p:sp>
          <p:nvSpPr>
            <p:cNvPr id="23" name="TextBox 22"/>
            <p:cNvSpPr txBox="1"/>
            <p:nvPr/>
          </p:nvSpPr>
          <p:spPr>
            <a:xfrm>
              <a:off x="7719190" y="6964492"/>
              <a:ext cx="10056052" cy="2822926"/>
            </a:xfrm>
            <a:prstGeom prst="rect">
              <a:avLst/>
            </a:prstGeom>
            <a:noFill/>
          </p:spPr>
          <p:txBody>
            <a:bodyPr wrap="square" lIns="219419" tIns="109710" rIns="219419" bIns="109710" rtlCol="0">
              <a:spAutoFit/>
            </a:bodyPr>
            <a:lstStyle/>
            <a:p>
              <a:pPr algn="just"/>
              <a:r>
                <a:rPr lang="en-US" sz="1600" dirty="0" smtClean="0">
                  <a:solidFill>
                    <a:schemeClr val="accent6"/>
                  </a:solidFill>
                  <a:latin typeface="+mj-lt"/>
                  <a:ea typeface="Open Sans Light" panose="020B0306030504020204" pitchFamily="34" charset="0"/>
                  <a:cs typeface="Lato Light"/>
                </a:rPr>
                <a:t>Lorem Ipsum has two </a:t>
              </a:r>
              <a:r>
                <a:rPr lang="en-US" sz="1600" dirty="0">
                  <a:solidFill>
                    <a:schemeClr val="accent6"/>
                  </a:solidFill>
                  <a:latin typeface="+mj-lt"/>
                  <a:ea typeface="Open Sans Light" panose="020B0306030504020204" pitchFamily="34" charset="0"/>
                  <a:cs typeface="Lato Light"/>
                </a:rPr>
                <a:t>main statistical methodologies are used in data </a:t>
              </a:r>
              <a:r>
                <a:rPr lang="en-US" sz="1600" dirty="0" smtClean="0">
                  <a:solidFill>
                    <a:schemeClr val="accent6"/>
                  </a:solidFill>
                  <a:latin typeface="+mj-lt"/>
                  <a:ea typeface="Open Sans Light" panose="020B0306030504020204" pitchFamily="34" charset="0"/>
                  <a:cs typeface="Lato Light"/>
                </a:rPr>
                <a:t>analysis which </a:t>
              </a:r>
              <a:r>
                <a:rPr lang="en-US" sz="1600" dirty="0">
                  <a:solidFill>
                    <a:schemeClr val="accent6"/>
                  </a:solidFill>
                  <a:latin typeface="+mj-lt"/>
                  <a:ea typeface="Open Sans Light" panose="020B0306030504020204" pitchFamily="34" charset="0"/>
                  <a:cs typeface="Lato Light"/>
                </a:rPr>
                <a:t>summarizes data from a sample using </a:t>
              </a:r>
              <a:r>
                <a:rPr lang="en-US" sz="1600" dirty="0" smtClean="0">
                  <a:solidFill>
                    <a:schemeClr val="accent6"/>
                  </a:solidFill>
                  <a:latin typeface="+mj-lt"/>
                  <a:ea typeface="Open Sans Light" panose="020B0306030504020204" pitchFamily="34" charset="0"/>
                  <a:cs typeface="Lato Light"/>
                </a:rPr>
                <a:t>indexes.</a:t>
              </a:r>
              <a:endParaRPr lang="en-US" sz="1600" dirty="0">
                <a:solidFill>
                  <a:schemeClr val="accent6"/>
                </a:solidFill>
                <a:latin typeface="+mj-lt"/>
                <a:ea typeface="Open Sans Light" panose="020B0306030504020204" pitchFamily="34" charset="0"/>
                <a:cs typeface="Lato Light"/>
              </a:endParaRPr>
            </a:p>
          </p:txBody>
        </p:sp>
        <p:sp>
          <p:nvSpPr>
            <p:cNvPr id="24" name="Round Same Side Corner Rectangle 23"/>
            <p:cNvSpPr/>
            <p:nvPr/>
          </p:nvSpPr>
          <p:spPr>
            <a:xfrm rot="10800000" flipH="1">
              <a:off x="7736447" y="7055485"/>
              <a:ext cx="109697" cy="913591"/>
            </a:xfrm>
            <a:prstGeom prst="round2SameRect">
              <a:avLst>
                <a:gd name="adj1" fmla="val 50000"/>
                <a:gd name="adj2" fmla="val 50000"/>
              </a:avLst>
            </a:prstGeom>
            <a:solidFill>
              <a:srgbClr val="58595B"/>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200">
                <a:solidFill>
                  <a:schemeClr val="accent6"/>
                </a:solidFill>
                <a:latin typeface="+mj-lt"/>
              </a:endParaRPr>
            </a:p>
          </p:txBody>
        </p:sp>
        <p:sp>
          <p:nvSpPr>
            <p:cNvPr id="25" name="Freeform 222"/>
            <p:cNvSpPr>
              <a:spLocks noEditPoints="1"/>
            </p:cNvSpPr>
            <p:nvPr/>
          </p:nvSpPr>
          <p:spPr bwMode="auto">
            <a:xfrm>
              <a:off x="6746875" y="7189165"/>
              <a:ext cx="646914" cy="649763"/>
            </a:xfrm>
            <a:custGeom>
              <a:avLst/>
              <a:gdLst>
                <a:gd name="T0" fmla="*/ 206 w 412"/>
                <a:gd name="T1" fmla="*/ 0 h 412"/>
                <a:gd name="T2" fmla="*/ 0 w 412"/>
                <a:gd name="T3" fmla="*/ 206 h 412"/>
                <a:gd name="T4" fmla="*/ 206 w 412"/>
                <a:gd name="T5" fmla="*/ 412 h 412"/>
                <a:gd name="T6" fmla="*/ 412 w 412"/>
                <a:gd name="T7" fmla="*/ 206 h 412"/>
                <a:gd name="T8" fmla="*/ 206 w 412"/>
                <a:gd name="T9" fmla="*/ 0 h 412"/>
                <a:gd name="T10" fmla="*/ 171 w 412"/>
                <a:gd name="T11" fmla="*/ 317 h 412"/>
                <a:gd name="T12" fmla="*/ 74 w 412"/>
                <a:gd name="T13" fmla="*/ 220 h 412"/>
                <a:gd name="T14" fmla="*/ 115 w 412"/>
                <a:gd name="T15" fmla="*/ 178 h 412"/>
                <a:gd name="T16" fmla="*/ 171 w 412"/>
                <a:gd name="T17" fmla="*/ 234 h 412"/>
                <a:gd name="T18" fmla="*/ 300 w 412"/>
                <a:gd name="T19" fmla="*/ 105 h 412"/>
                <a:gd name="T20" fmla="*/ 341 w 412"/>
                <a:gd name="T21" fmla="*/ 146 h 412"/>
                <a:gd name="T22" fmla="*/ 171 w 412"/>
                <a:gd name="T23" fmla="*/ 317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2" h="412">
                  <a:moveTo>
                    <a:pt x="206" y="0"/>
                  </a:moveTo>
                  <a:cubicBezTo>
                    <a:pt x="92" y="0"/>
                    <a:pt x="0" y="92"/>
                    <a:pt x="0" y="206"/>
                  </a:cubicBezTo>
                  <a:cubicBezTo>
                    <a:pt x="0" y="320"/>
                    <a:pt x="92" y="412"/>
                    <a:pt x="206" y="412"/>
                  </a:cubicBezTo>
                  <a:cubicBezTo>
                    <a:pt x="320" y="412"/>
                    <a:pt x="412" y="320"/>
                    <a:pt x="412" y="206"/>
                  </a:cubicBezTo>
                  <a:cubicBezTo>
                    <a:pt x="412" y="92"/>
                    <a:pt x="320" y="0"/>
                    <a:pt x="206" y="0"/>
                  </a:cubicBezTo>
                  <a:close/>
                  <a:moveTo>
                    <a:pt x="171" y="317"/>
                  </a:moveTo>
                  <a:cubicBezTo>
                    <a:pt x="74" y="220"/>
                    <a:pt x="74" y="220"/>
                    <a:pt x="74" y="220"/>
                  </a:cubicBezTo>
                  <a:cubicBezTo>
                    <a:pt x="115" y="178"/>
                    <a:pt x="115" y="178"/>
                    <a:pt x="115" y="178"/>
                  </a:cubicBezTo>
                  <a:cubicBezTo>
                    <a:pt x="171" y="234"/>
                    <a:pt x="171" y="234"/>
                    <a:pt x="171" y="234"/>
                  </a:cubicBezTo>
                  <a:cubicBezTo>
                    <a:pt x="300" y="105"/>
                    <a:pt x="300" y="105"/>
                    <a:pt x="300" y="105"/>
                  </a:cubicBezTo>
                  <a:cubicBezTo>
                    <a:pt x="341" y="146"/>
                    <a:pt x="341" y="146"/>
                    <a:pt x="341" y="146"/>
                  </a:cubicBezTo>
                  <a:cubicBezTo>
                    <a:pt x="171" y="317"/>
                    <a:pt x="171" y="317"/>
                    <a:pt x="171" y="317"/>
                  </a:cubicBezTo>
                  <a:close/>
                </a:path>
              </a:pathLst>
            </a:custGeom>
            <a:solidFill>
              <a:srgbClr val="58595B"/>
            </a:solidFill>
            <a:ln>
              <a:noFill/>
            </a:ln>
          </p:spPr>
          <p:txBody>
            <a:bodyPr vert="horz" wrap="square" lIns="91440" tIns="45720" rIns="91440" bIns="45720" numCol="1" anchor="t" anchorCtr="0" compatLnSpc="1">
              <a:prstTxWarp prst="textNoShape">
                <a:avLst/>
              </a:prstTxWarp>
            </a:bodyPr>
            <a:lstStyle/>
            <a:p>
              <a:endParaRPr lang="en-US" sz="1200">
                <a:solidFill>
                  <a:schemeClr val="accent6"/>
                </a:solidFill>
                <a:latin typeface="+mj-lt"/>
              </a:endParaRPr>
            </a:p>
          </p:txBody>
        </p:sp>
      </p:grpSp>
      <p:grpSp>
        <p:nvGrpSpPr>
          <p:cNvPr id="26" name="Group 25"/>
          <p:cNvGrpSpPr/>
          <p:nvPr>
            <p:custDataLst>
              <p:tags r:id="rId4"/>
            </p:custDataLst>
          </p:nvPr>
        </p:nvGrpSpPr>
        <p:grpSpPr>
          <a:xfrm>
            <a:off x="6852963" y="1699491"/>
            <a:ext cx="4706205" cy="1206448"/>
            <a:chOff x="6763349" y="8475174"/>
            <a:chExt cx="11011893" cy="2822929"/>
          </a:xfrm>
        </p:grpSpPr>
        <p:sp>
          <p:nvSpPr>
            <p:cNvPr id="27" name="TextBox 26"/>
            <p:cNvSpPr txBox="1"/>
            <p:nvPr/>
          </p:nvSpPr>
          <p:spPr>
            <a:xfrm>
              <a:off x="7719189" y="8475174"/>
              <a:ext cx="10056053" cy="2822929"/>
            </a:xfrm>
            <a:prstGeom prst="rect">
              <a:avLst/>
            </a:prstGeom>
            <a:noFill/>
          </p:spPr>
          <p:txBody>
            <a:bodyPr wrap="square" lIns="219419" tIns="109710" rIns="219419" bIns="109710" rtlCol="0">
              <a:spAutoFit/>
            </a:bodyPr>
            <a:lstStyle/>
            <a:p>
              <a:pPr algn="just"/>
              <a:r>
                <a:rPr lang="en-US" sz="1600" dirty="0">
                  <a:solidFill>
                    <a:schemeClr val="accent6"/>
                  </a:solidFill>
                  <a:latin typeface="+mj-lt"/>
                  <a:ea typeface="Open Sans Light" panose="020B0306030504020204" pitchFamily="34" charset="0"/>
                  <a:cs typeface="Lato Light"/>
                </a:rPr>
                <a:t>Lorem Ipsum has two main statistical methodologies are used in data analysis which summarizes data from a sample using indexes.</a:t>
              </a:r>
            </a:p>
          </p:txBody>
        </p:sp>
        <p:sp>
          <p:nvSpPr>
            <p:cNvPr id="28" name="Round Same Side Corner Rectangle 27"/>
            <p:cNvSpPr/>
            <p:nvPr/>
          </p:nvSpPr>
          <p:spPr>
            <a:xfrm rot="10800000" flipH="1">
              <a:off x="7736447" y="8557859"/>
              <a:ext cx="109697" cy="913591"/>
            </a:xfrm>
            <a:prstGeom prst="round2SameRect">
              <a:avLst>
                <a:gd name="adj1" fmla="val 50000"/>
                <a:gd name="adj2"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200">
                <a:solidFill>
                  <a:schemeClr val="accent6"/>
                </a:solidFill>
                <a:latin typeface="+mj-lt"/>
              </a:endParaRPr>
            </a:p>
          </p:txBody>
        </p:sp>
        <p:sp>
          <p:nvSpPr>
            <p:cNvPr id="29" name="Freeform 222"/>
            <p:cNvSpPr>
              <a:spLocks noEditPoints="1"/>
            </p:cNvSpPr>
            <p:nvPr/>
          </p:nvSpPr>
          <p:spPr bwMode="auto">
            <a:xfrm>
              <a:off x="6763349" y="8718798"/>
              <a:ext cx="646914" cy="649763"/>
            </a:xfrm>
            <a:custGeom>
              <a:avLst/>
              <a:gdLst>
                <a:gd name="T0" fmla="*/ 206 w 412"/>
                <a:gd name="T1" fmla="*/ 0 h 412"/>
                <a:gd name="T2" fmla="*/ 0 w 412"/>
                <a:gd name="T3" fmla="*/ 206 h 412"/>
                <a:gd name="T4" fmla="*/ 206 w 412"/>
                <a:gd name="T5" fmla="*/ 412 h 412"/>
                <a:gd name="T6" fmla="*/ 412 w 412"/>
                <a:gd name="T7" fmla="*/ 206 h 412"/>
                <a:gd name="T8" fmla="*/ 206 w 412"/>
                <a:gd name="T9" fmla="*/ 0 h 412"/>
                <a:gd name="T10" fmla="*/ 171 w 412"/>
                <a:gd name="T11" fmla="*/ 317 h 412"/>
                <a:gd name="T12" fmla="*/ 74 w 412"/>
                <a:gd name="T13" fmla="*/ 220 h 412"/>
                <a:gd name="T14" fmla="*/ 115 w 412"/>
                <a:gd name="T15" fmla="*/ 178 h 412"/>
                <a:gd name="T16" fmla="*/ 171 w 412"/>
                <a:gd name="T17" fmla="*/ 234 h 412"/>
                <a:gd name="T18" fmla="*/ 300 w 412"/>
                <a:gd name="T19" fmla="*/ 105 h 412"/>
                <a:gd name="T20" fmla="*/ 341 w 412"/>
                <a:gd name="T21" fmla="*/ 146 h 412"/>
                <a:gd name="T22" fmla="*/ 171 w 412"/>
                <a:gd name="T23" fmla="*/ 317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2" h="412">
                  <a:moveTo>
                    <a:pt x="206" y="0"/>
                  </a:moveTo>
                  <a:cubicBezTo>
                    <a:pt x="92" y="0"/>
                    <a:pt x="0" y="92"/>
                    <a:pt x="0" y="206"/>
                  </a:cubicBezTo>
                  <a:cubicBezTo>
                    <a:pt x="0" y="320"/>
                    <a:pt x="92" y="412"/>
                    <a:pt x="206" y="412"/>
                  </a:cubicBezTo>
                  <a:cubicBezTo>
                    <a:pt x="320" y="412"/>
                    <a:pt x="412" y="320"/>
                    <a:pt x="412" y="206"/>
                  </a:cubicBezTo>
                  <a:cubicBezTo>
                    <a:pt x="412" y="92"/>
                    <a:pt x="320" y="0"/>
                    <a:pt x="206" y="0"/>
                  </a:cubicBezTo>
                  <a:close/>
                  <a:moveTo>
                    <a:pt x="171" y="317"/>
                  </a:moveTo>
                  <a:cubicBezTo>
                    <a:pt x="74" y="220"/>
                    <a:pt x="74" y="220"/>
                    <a:pt x="74" y="220"/>
                  </a:cubicBezTo>
                  <a:cubicBezTo>
                    <a:pt x="115" y="178"/>
                    <a:pt x="115" y="178"/>
                    <a:pt x="115" y="178"/>
                  </a:cubicBezTo>
                  <a:cubicBezTo>
                    <a:pt x="171" y="234"/>
                    <a:pt x="171" y="234"/>
                    <a:pt x="171" y="234"/>
                  </a:cubicBezTo>
                  <a:cubicBezTo>
                    <a:pt x="300" y="105"/>
                    <a:pt x="300" y="105"/>
                    <a:pt x="300" y="105"/>
                  </a:cubicBezTo>
                  <a:cubicBezTo>
                    <a:pt x="341" y="146"/>
                    <a:pt x="341" y="146"/>
                    <a:pt x="341" y="146"/>
                  </a:cubicBezTo>
                  <a:cubicBezTo>
                    <a:pt x="171" y="317"/>
                    <a:pt x="171" y="317"/>
                    <a:pt x="171" y="317"/>
                  </a:cubicBezTo>
                  <a:close/>
                </a:path>
              </a:pathLst>
            </a:custGeom>
            <a:solidFill>
              <a:srgbClr val="41B5E8"/>
            </a:solidFill>
            <a:ln>
              <a:noFill/>
            </a:ln>
          </p:spPr>
          <p:txBody>
            <a:bodyPr vert="horz" wrap="square" lIns="91440" tIns="45720" rIns="91440" bIns="45720" numCol="1" anchor="t" anchorCtr="0" compatLnSpc="1">
              <a:prstTxWarp prst="textNoShape">
                <a:avLst/>
              </a:prstTxWarp>
            </a:bodyPr>
            <a:lstStyle/>
            <a:p>
              <a:endParaRPr lang="en-US" sz="1200">
                <a:solidFill>
                  <a:schemeClr val="accent6"/>
                </a:solidFill>
                <a:latin typeface="+mj-lt"/>
              </a:endParaRPr>
            </a:p>
          </p:txBody>
        </p:sp>
      </p:grpSp>
      <p:grpSp>
        <p:nvGrpSpPr>
          <p:cNvPr id="30" name="Group 29"/>
          <p:cNvGrpSpPr/>
          <p:nvPr>
            <p:custDataLst>
              <p:tags r:id="rId5"/>
            </p:custDataLst>
          </p:nvPr>
        </p:nvGrpSpPr>
        <p:grpSpPr>
          <a:xfrm>
            <a:off x="6836488" y="4553518"/>
            <a:ext cx="4722631" cy="1206448"/>
            <a:chOff x="6746875" y="11269025"/>
            <a:chExt cx="11050336" cy="2822930"/>
          </a:xfrm>
        </p:grpSpPr>
        <p:sp>
          <p:nvSpPr>
            <p:cNvPr id="31" name="TextBox 30"/>
            <p:cNvSpPr txBox="1"/>
            <p:nvPr/>
          </p:nvSpPr>
          <p:spPr>
            <a:xfrm>
              <a:off x="7741160" y="11269025"/>
              <a:ext cx="10056051" cy="2822930"/>
            </a:xfrm>
            <a:prstGeom prst="rect">
              <a:avLst/>
            </a:prstGeom>
            <a:noFill/>
          </p:spPr>
          <p:txBody>
            <a:bodyPr wrap="square" lIns="219419" tIns="109710" rIns="219419" bIns="109710" rtlCol="0">
              <a:spAutoFit/>
            </a:bodyPr>
            <a:lstStyle/>
            <a:p>
              <a:pPr algn="just"/>
              <a:r>
                <a:rPr lang="en-US" sz="1600" dirty="0">
                  <a:solidFill>
                    <a:schemeClr val="accent6"/>
                  </a:solidFill>
                  <a:latin typeface="+mj-lt"/>
                  <a:ea typeface="Open Sans Light" panose="020B0306030504020204" pitchFamily="34" charset="0"/>
                  <a:cs typeface="Lato Light"/>
                </a:rPr>
                <a:t>Lorem Ipsum has two main statistical methodologies are used in data analysis which summarizes data from a sample using indexes.</a:t>
              </a:r>
            </a:p>
          </p:txBody>
        </p:sp>
        <p:sp>
          <p:nvSpPr>
            <p:cNvPr id="32" name="Round Same Side Corner Rectangle 31"/>
            <p:cNvSpPr/>
            <p:nvPr/>
          </p:nvSpPr>
          <p:spPr>
            <a:xfrm rot="10800000" flipH="1">
              <a:off x="7758417" y="11343399"/>
              <a:ext cx="109697" cy="913591"/>
            </a:xfrm>
            <a:prstGeom prst="round2SameRect">
              <a:avLst>
                <a:gd name="adj1" fmla="val 50000"/>
                <a:gd name="adj2" fmla="val 50000"/>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200">
                <a:solidFill>
                  <a:schemeClr val="accent6"/>
                </a:solidFill>
                <a:latin typeface="+mj-lt"/>
              </a:endParaRPr>
            </a:p>
          </p:txBody>
        </p:sp>
        <p:sp>
          <p:nvSpPr>
            <p:cNvPr id="33" name="Freeform 222"/>
            <p:cNvSpPr>
              <a:spLocks noEditPoints="1"/>
            </p:cNvSpPr>
            <p:nvPr/>
          </p:nvSpPr>
          <p:spPr bwMode="auto">
            <a:xfrm>
              <a:off x="6746875" y="11454799"/>
              <a:ext cx="646914" cy="649763"/>
            </a:xfrm>
            <a:custGeom>
              <a:avLst/>
              <a:gdLst>
                <a:gd name="T0" fmla="*/ 206 w 412"/>
                <a:gd name="T1" fmla="*/ 0 h 412"/>
                <a:gd name="T2" fmla="*/ 0 w 412"/>
                <a:gd name="T3" fmla="*/ 206 h 412"/>
                <a:gd name="T4" fmla="*/ 206 w 412"/>
                <a:gd name="T5" fmla="*/ 412 h 412"/>
                <a:gd name="T6" fmla="*/ 412 w 412"/>
                <a:gd name="T7" fmla="*/ 206 h 412"/>
                <a:gd name="T8" fmla="*/ 206 w 412"/>
                <a:gd name="T9" fmla="*/ 0 h 412"/>
                <a:gd name="T10" fmla="*/ 171 w 412"/>
                <a:gd name="T11" fmla="*/ 317 h 412"/>
                <a:gd name="T12" fmla="*/ 74 w 412"/>
                <a:gd name="T13" fmla="*/ 220 h 412"/>
                <a:gd name="T14" fmla="*/ 115 w 412"/>
                <a:gd name="T15" fmla="*/ 178 h 412"/>
                <a:gd name="T16" fmla="*/ 171 w 412"/>
                <a:gd name="T17" fmla="*/ 234 h 412"/>
                <a:gd name="T18" fmla="*/ 300 w 412"/>
                <a:gd name="T19" fmla="*/ 105 h 412"/>
                <a:gd name="T20" fmla="*/ 341 w 412"/>
                <a:gd name="T21" fmla="*/ 146 h 412"/>
                <a:gd name="T22" fmla="*/ 171 w 412"/>
                <a:gd name="T23" fmla="*/ 317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2" h="412">
                  <a:moveTo>
                    <a:pt x="206" y="0"/>
                  </a:moveTo>
                  <a:cubicBezTo>
                    <a:pt x="92" y="0"/>
                    <a:pt x="0" y="92"/>
                    <a:pt x="0" y="206"/>
                  </a:cubicBezTo>
                  <a:cubicBezTo>
                    <a:pt x="0" y="320"/>
                    <a:pt x="92" y="412"/>
                    <a:pt x="206" y="412"/>
                  </a:cubicBezTo>
                  <a:cubicBezTo>
                    <a:pt x="320" y="412"/>
                    <a:pt x="412" y="320"/>
                    <a:pt x="412" y="206"/>
                  </a:cubicBezTo>
                  <a:cubicBezTo>
                    <a:pt x="412" y="92"/>
                    <a:pt x="320" y="0"/>
                    <a:pt x="206" y="0"/>
                  </a:cubicBezTo>
                  <a:close/>
                  <a:moveTo>
                    <a:pt x="171" y="317"/>
                  </a:moveTo>
                  <a:cubicBezTo>
                    <a:pt x="74" y="220"/>
                    <a:pt x="74" y="220"/>
                    <a:pt x="74" y="220"/>
                  </a:cubicBezTo>
                  <a:cubicBezTo>
                    <a:pt x="115" y="178"/>
                    <a:pt x="115" y="178"/>
                    <a:pt x="115" y="178"/>
                  </a:cubicBezTo>
                  <a:cubicBezTo>
                    <a:pt x="171" y="234"/>
                    <a:pt x="171" y="234"/>
                    <a:pt x="171" y="234"/>
                  </a:cubicBezTo>
                  <a:cubicBezTo>
                    <a:pt x="300" y="105"/>
                    <a:pt x="300" y="105"/>
                    <a:pt x="300" y="105"/>
                  </a:cubicBezTo>
                  <a:cubicBezTo>
                    <a:pt x="341" y="146"/>
                    <a:pt x="341" y="146"/>
                    <a:pt x="341" y="146"/>
                  </a:cubicBezTo>
                  <a:cubicBezTo>
                    <a:pt x="171" y="317"/>
                    <a:pt x="171" y="317"/>
                    <a:pt x="171" y="3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200">
                <a:solidFill>
                  <a:schemeClr val="accent6"/>
                </a:solidFill>
                <a:latin typeface="+mj-lt"/>
              </a:endParaRPr>
            </a:p>
          </p:txBody>
        </p:sp>
      </p:grpSp>
    </p:spTree>
    <p:extLst>
      <p:ext uri="{BB962C8B-B14F-4D97-AF65-F5344CB8AC3E}">
        <p14:creationId xmlns:p14="http://schemas.microsoft.com/office/powerpoint/2010/main" val="33318029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ote &amp; IMAGE </a:t>
            </a:r>
            <a:endParaRPr lang="en-US" dirty="0"/>
          </a:p>
        </p:txBody>
      </p:sp>
      <p:sp>
        <p:nvSpPr>
          <p:cNvPr id="3" name="TextBox 2"/>
          <p:cNvSpPr txBox="1"/>
          <p:nvPr/>
        </p:nvSpPr>
        <p:spPr>
          <a:xfrm>
            <a:off x="4817773" y="1192557"/>
            <a:ext cx="1717137" cy="3770263"/>
          </a:xfrm>
          <a:prstGeom prst="rect">
            <a:avLst/>
          </a:prstGeom>
          <a:noFill/>
        </p:spPr>
        <p:txBody>
          <a:bodyPr wrap="none" rtlCol="0">
            <a:spAutoFit/>
          </a:bodyPr>
          <a:lstStyle/>
          <a:p>
            <a:r>
              <a:rPr lang="en-US" sz="23900" b="1" dirty="0" smtClean="0">
                <a:latin typeface="Arial"/>
                <a:cs typeface="Arial"/>
              </a:rPr>
              <a:t>“</a:t>
            </a:r>
            <a:endParaRPr lang="en-US" sz="23900" b="1" dirty="0">
              <a:latin typeface="Arial"/>
              <a:cs typeface="Arial"/>
            </a:endParaRPr>
          </a:p>
        </p:txBody>
      </p:sp>
      <p:sp>
        <p:nvSpPr>
          <p:cNvPr id="4" name="TextBox 3"/>
          <p:cNvSpPr txBox="1"/>
          <p:nvPr/>
        </p:nvSpPr>
        <p:spPr>
          <a:xfrm>
            <a:off x="6534910" y="1893474"/>
            <a:ext cx="6382578" cy="2123658"/>
          </a:xfrm>
          <a:prstGeom prst="rect">
            <a:avLst/>
          </a:prstGeom>
          <a:noFill/>
        </p:spPr>
        <p:txBody>
          <a:bodyPr wrap="square" rtlCol="0">
            <a:spAutoFit/>
          </a:bodyPr>
          <a:lstStyle/>
          <a:p>
            <a:r>
              <a:rPr lang="en-US" sz="3600" b="1" dirty="0" smtClean="0">
                <a:latin typeface="+mj-lt"/>
                <a:cs typeface="Arial"/>
              </a:rPr>
              <a:t>We provide</a:t>
            </a:r>
          </a:p>
          <a:p>
            <a:r>
              <a:rPr lang="en-US" sz="3600" b="1" dirty="0" smtClean="0">
                <a:latin typeface="+mj-lt"/>
                <a:cs typeface="Arial"/>
              </a:rPr>
              <a:t>The best experience in </a:t>
            </a:r>
          </a:p>
          <a:p>
            <a:r>
              <a:rPr lang="en-US" sz="3600" b="1" dirty="0" smtClean="0">
                <a:latin typeface="+mj-lt"/>
                <a:cs typeface="Arial"/>
              </a:rPr>
              <a:t>each service for our clients”</a:t>
            </a:r>
          </a:p>
          <a:p>
            <a:r>
              <a:rPr lang="en-US" sz="2400" dirty="0" smtClean="0">
                <a:latin typeface="+mj-lt"/>
                <a:cs typeface="Arial"/>
              </a:rPr>
              <a:t>— Louis Twelve</a:t>
            </a:r>
            <a:endParaRPr lang="en-US" sz="5400" dirty="0">
              <a:latin typeface="+mj-lt"/>
              <a:cs typeface="Arial"/>
            </a:endParaRPr>
          </a:p>
        </p:txBody>
      </p:sp>
      <p:sp>
        <p:nvSpPr>
          <p:cNvPr id="5" name="TextBox 4"/>
          <p:cNvSpPr txBox="1"/>
          <p:nvPr/>
        </p:nvSpPr>
        <p:spPr>
          <a:xfrm>
            <a:off x="6534910" y="4296923"/>
            <a:ext cx="5753928" cy="1138741"/>
          </a:xfrm>
          <a:prstGeom prst="rect">
            <a:avLst/>
          </a:prstGeom>
          <a:noFill/>
        </p:spPr>
        <p:txBody>
          <a:bodyPr wrap="square" rtlCol="0">
            <a:noAutofit/>
          </a:bodyPr>
          <a:lstStyle/>
          <a:p>
            <a:pPr>
              <a:lnSpc>
                <a:spcPct val="130000"/>
              </a:lnSpc>
            </a:pPr>
            <a:r>
              <a:rPr lang="en-US" sz="1400" dirty="0" smtClean="0">
                <a:latin typeface="Roboto Regular" pitchFamily="2" charset="0"/>
                <a:ea typeface="Roboto Regular" pitchFamily="2" charset="0"/>
                <a:cs typeface="Open Sans Light"/>
              </a:rPr>
              <a:t>Entrepreneur  It is defined as an individual who organizes or operates a business or businesses. Credit for coining the term entrepreneur generally goes to the French economist Jean.</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1872" y="1729136"/>
            <a:ext cx="3701281" cy="3725578"/>
          </a:xfrm>
          <a:prstGeom prst="rect">
            <a:avLst/>
          </a:prstGeom>
        </p:spPr>
      </p:pic>
      <p:sp>
        <p:nvSpPr>
          <p:cNvPr id="7"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14806230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ote &amp; ICON</a:t>
            </a:r>
            <a:endParaRPr lang="en-US" dirty="0"/>
          </a:p>
        </p:txBody>
      </p:sp>
      <p:grpSp>
        <p:nvGrpSpPr>
          <p:cNvPr id="8" name="Group 7"/>
          <p:cNvGrpSpPr/>
          <p:nvPr>
            <p:custDataLst>
              <p:tags r:id="rId1"/>
            </p:custDataLst>
          </p:nvPr>
        </p:nvGrpSpPr>
        <p:grpSpPr>
          <a:xfrm>
            <a:off x="4203970" y="2396519"/>
            <a:ext cx="8149573" cy="2513963"/>
            <a:chOff x="2362829" y="2076479"/>
            <a:chExt cx="8149573" cy="2513963"/>
          </a:xfrm>
        </p:grpSpPr>
        <p:sp>
          <p:nvSpPr>
            <p:cNvPr id="4" name="Subtitle 2"/>
            <p:cNvSpPr txBox="1">
              <a:spLocks/>
            </p:cNvSpPr>
            <p:nvPr/>
          </p:nvSpPr>
          <p:spPr>
            <a:xfrm>
              <a:off x="3393310" y="2400420"/>
              <a:ext cx="7119092" cy="1208782"/>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70000"/>
                </a:lnSpc>
                <a:buNone/>
              </a:pPr>
              <a:r>
                <a:rPr lang="pt-BR" sz="4000" dirty="0">
                  <a:cs typeface="Calibri Light"/>
                </a:rPr>
                <a:t>Lorem ipsum dolor sit amet, consectetur adipiscing elit. Aliquam tincidunt ante nec sem congue convallis. </a:t>
              </a:r>
              <a:endParaRPr lang="en-US" sz="4000" baseline="-25000" dirty="0">
                <a:solidFill>
                  <a:srgbClr val="767676"/>
                </a:solidFill>
                <a:latin typeface="Lato Regular"/>
                <a:cs typeface="Lato Regular"/>
              </a:endParaRPr>
            </a:p>
          </p:txBody>
        </p:sp>
        <p:sp>
          <p:nvSpPr>
            <p:cNvPr id="6" name="Freeform 71"/>
            <p:cNvSpPr>
              <a:spLocks noChangeArrowheads="1"/>
            </p:cNvSpPr>
            <p:nvPr/>
          </p:nvSpPr>
          <p:spPr bwMode="auto">
            <a:xfrm>
              <a:off x="8844860" y="3869878"/>
              <a:ext cx="970360" cy="720564"/>
            </a:xfrm>
            <a:custGeom>
              <a:avLst/>
              <a:gdLst>
                <a:gd name="T0" fmla="*/ 70 w 444"/>
                <a:gd name="T1" fmla="*/ 0 h 329"/>
                <a:gd name="T2" fmla="*/ 70 w 444"/>
                <a:gd name="T3" fmla="*/ 0 h 329"/>
                <a:gd name="T4" fmla="*/ 0 w 444"/>
                <a:gd name="T5" fmla="*/ 70 h 329"/>
                <a:gd name="T6" fmla="*/ 70 w 444"/>
                <a:gd name="T7" fmla="*/ 150 h 329"/>
                <a:gd name="T8" fmla="*/ 0 w 444"/>
                <a:gd name="T9" fmla="*/ 291 h 329"/>
                <a:gd name="T10" fmla="*/ 0 w 444"/>
                <a:gd name="T11" fmla="*/ 328 h 329"/>
                <a:gd name="T12" fmla="*/ 70 w 444"/>
                <a:gd name="T13" fmla="*/ 0 h 329"/>
                <a:gd name="T14" fmla="*/ 275 w 444"/>
                <a:gd name="T15" fmla="*/ 0 h 329"/>
                <a:gd name="T16" fmla="*/ 275 w 444"/>
                <a:gd name="T17" fmla="*/ 0 h 329"/>
                <a:gd name="T18" fmla="*/ 204 w 444"/>
                <a:gd name="T19" fmla="*/ 70 h 329"/>
                <a:gd name="T20" fmla="*/ 275 w 444"/>
                <a:gd name="T21" fmla="*/ 150 h 329"/>
                <a:gd name="T22" fmla="*/ 204 w 444"/>
                <a:gd name="T23" fmla="*/ 291 h 329"/>
                <a:gd name="T24" fmla="*/ 204 w 444"/>
                <a:gd name="T25" fmla="*/ 328 h 329"/>
                <a:gd name="T26" fmla="*/ 275 w 444"/>
                <a:gd name="T27"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4" h="329">
                  <a:moveTo>
                    <a:pt x="70" y="0"/>
                  </a:moveTo>
                  <a:lnTo>
                    <a:pt x="70" y="0"/>
                  </a:lnTo>
                  <a:cubicBezTo>
                    <a:pt x="26" y="0"/>
                    <a:pt x="0" y="35"/>
                    <a:pt x="0" y="70"/>
                  </a:cubicBezTo>
                  <a:cubicBezTo>
                    <a:pt x="0" y="115"/>
                    <a:pt x="26" y="150"/>
                    <a:pt x="70" y="150"/>
                  </a:cubicBezTo>
                  <a:cubicBezTo>
                    <a:pt x="142" y="150"/>
                    <a:pt x="98" y="291"/>
                    <a:pt x="0" y="291"/>
                  </a:cubicBezTo>
                  <a:cubicBezTo>
                    <a:pt x="0" y="328"/>
                    <a:pt x="0" y="328"/>
                    <a:pt x="0" y="328"/>
                  </a:cubicBezTo>
                  <a:cubicBezTo>
                    <a:pt x="168" y="328"/>
                    <a:pt x="239" y="0"/>
                    <a:pt x="70" y="0"/>
                  </a:cubicBezTo>
                  <a:close/>
                  <a:moveTo>
                    <a:pt x="275" y="0"/>
                  </a:moveTo>
                  <a:lnTo>
                    <a:pt x="275" y="0"/>
                  </a:lnTo>
                  <a:cubicBezTo>
                    <a:pt x="239" y="0"/>
                    <a:pt x="204" y="35"/>
                    <a:pt x="204" y="70"/>
                  </a:cubicBezTo>
                  <a:cubicBezTo>
                    <a:pt x="204" y="115"/>
                    <a:pt x="239" y="150"/>
                    <a:pt x="275" y="150"/>
                  </a:cubicBezTo>
                  <a:cubicBezTo>
                    <a:pt x="354" y="150"/>
                    <a:pt x="301" y="291"/>
                    <a:pt x="204" y="291"/>
                  </a:cubicBezTo>
                  <a:cubicBezTo>
                    <a:pt x="204" y="328"/>
                    <a:pt x="204" y="328"/>
                    <a:pt x="204" y="328"/>
                  </a:cubicBezTo>
                  <a:cubicBezTo>
                    <a:pt x="381" y="328"/>
                    <a:pt x="443" y="0"/>
                    <a:pt x="275" y="0"/>
                  </a:cubicBezTo>
                  <a:close/>
                </a:path>
              </a:pathLst>
            </a:custGeom>
            <a:solidFill>
              <a:srgbClr val="41B5E8"/>
            </a:solidFill>
            <a:ln>
              <a:noFill/>
            </a:ln>
            <a:effectLst/>
            <a:extLst/>
          </p:spPr>
          <p:txBody>
            <a:bodyPr wrap="none" anchor="ctr"/>
            <a:lstStyle/>
            <a:p>
              <a:endParaRPr lang="en-US" dirty="0">
                <a:solidFill>
                  <a:srgbClr val="767676"/>
                </a:solidFill>
                <a:latin typeface="Calibri Light"/>
              </a:endParaRPr>
            </a:p>
          </p:txBody>
        </p:sp>
        <p:sp>
          <p:nvSpPr>
            <p:cNvPr id="7" name="Freeform 71"/>
            <p:cNvSpPr>
              <a:spLocks noChangeArrowheads="1"/>
            </p:cNvSpPr>
            <p:nvPr/>
          </p:nvSpPr>
          <p:spPr bwMode="auto">
            <a:xfrm rot="10800000">
              <a:off x="2362829" y="2076479"/>
              <a:ext cx="872481" cy="647882"/>
            </a:xfrm>
            <a:custGeom>
              <a:avLst/>
              <a:gdLst>
                <a:gd name="T0" fmla="*/ 70 w 444"/>
                <a:gd name="T1" fmla="*/ 0 h 329"/>
                <a:gd name="T2" fmla="*/ 70 w 444"/>
                <a:gd name="T3" fmla="*/ 0 h 329"/>
                <a:gd name="T4" fmla="*/ 0 w 444"/>
                <a:gd name="T5" fmla="*/ 70 h 329"/>
                <a:gd name="T6" fmla="*/ 70 w 444"/>
                <a:gd name="T7" fmla="*/ 150 h 329"/>
                <a:gd name="T8" fmla="*/ 0 w 444"/>
                <a:gd name="T9" fmla="*/ 291 h 329"/>
                <a:gd name="T10" fmla="*/ 0 w 444"/>
                <a:gd name="T11" fmla="*/ 328 h 329"/>
                <a:gd name="T12" fmla="*/ 70 w 444"/>
                <a:gd name="T13" fmla="*/ 0 h 329"/>
                <a:gd name="T14" fmla="*/ 275 w 444"/>
                <a:gd name="T15" fmla="*/ 0 h 329"/>
                <a:gd name="T16" fmla="*/ 275 w 444"/>
                <a:gd name="T17" fmla="*/ 0 h 329"/>
                <a:gd name="T18" fmla="*/ 204 w 444"/>
                <a:gd name="T19" fmla="*/ 70 h 329"/>
                <a:gd name="T20" fmla="*/ 275 w 444"/>
                <a:gd name="T21" fmla="*/ 150 h 329"/>
                <a:gd name="T22" fmla="*/ 204 w 444"/>
                <a:gd name="T23" fmla="*/ 291 h 329"/>
                <a:gd name="T24" fmla="*/ 204 w 444"/>
                <a:gd name="T25" fmla="*/ 328 h 329"/>
                <a:gd name="T26" fmla="*/ 275 w 444"/>
                <a:gd name="T27"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4" h="329">
                  <a:moveTo>
                    <a:pt x="70" y="0"/>
                  </a:moveTo>
                  <a:lnTo>
                    <a:pt x="70" y="0"/>
                  </a:lnTo>
                  <a:cubicBezTo>
                    <a:pt x="26" y="0"/>
                    <a:pt x="0" y="35"/>
                    <a:pt x="0" y="70"/>
                  </a:cubicBezTo>
                  <a:cubicBezTo>
                    <a:pt x="0" y="115"/>
                    <a:pt x="26" y="150"/>
                    <a:pt x="70" y="150"/>
                  </a:cubicBezTo>
                  <a:cubicBezTo>
                    <a:pt x="142" y="150"/>
                    <a:pt x="98" y="291"/>
                    <a:pt x="0" y="291"/>
                  </a:cubicBezTo>
                  <a:cubicBezTo>
                    <a:pt x="0" y="328"/>
                    <a:pt x="0" y="328"/>
                    <a:pt x="0" y="328"/>
                  </a:cubicBezTo>
                  <a:cubicBezTo>
                    <a:pt x="168" y="328"/>
                    <a:pt x="239" y="0"/>
                    <a:pt x="70" y="0"/>
                  </a:cubicBezTo>
                  <a:close/>
                  <a:moveTo>
                    <a:pt x="275" y="0"/>
                  </a:moveTo>
                  <a:lnTo>
                    <a:pt x="275" y="0"/>
                  </a:lnTo>
                  <a:cubicBezTo>
                    <a:pt x="239" y="0"/>
                    <a:pt x="204" y="35"/>
                    <a:pt x="204" y="70"/>
                  </a:cubicBezTo>
                  <a:cubicBezTo>
                    <a:pt x="204" y="115"/>
                    <a:pt x="239" y="150"/>
                    <a:pt x="275" y="150"/>
                  </a:cubicBezTo>
                  <a:cubicBezTo>
                    <a:pt x="354" y="150"/>
                    <a:pt x="301" y="291"/>
                    <a:pt x="204" y="291"/>
                  </a:cubicBezTo>
                  <a:cubicBezTo>
                    <a:pt x="204" y="328"/>
                    <a:pt x="204" y="328"/>
                    <a:pt x="204" y="328"/>
                  </a:cubicBezTo>
                  <a:cubicBezTo>
                    <a:pt x="381" y="328"/>
                    <a:pt x="443" y="0"/>
                    <a:pt x="275" y="0"/>
                  </a:cubicBezTo>
                  <a:close/>
                </a:path>
              </a:pathLst>
            </a:custGeom>
            <a:solidFill>
              <a:srgbClr val="41B5E8"/>
            </a:solidFill>
            <a:ln>
              <a:noFill/>
            </a:ln>
            <a:effectLst/>
            <a:extLst/>
          </p:spPr>
          <p:txBody>
            <a:bodyPr wrap="none" anchor="ctr"/>
            <a:lstStyle/>
            <a:p>
              <a:endParaRPr lang="en-US" dirty="0">
                <a:solidFill>
                  <a:srgbClr val="767676"/>
                </a:solidFill>
                <a:latin typeface="Calibri Light"/>
              </a:endParaRPr>
            </a:p>
          </p:txBody>
        </p:sp>
      </p:grpSp>
      <p:grpSp>
        <p:nvGrpSpPr>
          <p:cNvPr id="12" name="Group 11"/>
          <p:cNvGrpSpPr/>
          <p:nvPr>
            <p:custDataLst>
              <p:tags r:id="rId2"/>
            </p:custDataLst>
          </p:nvPr>
        </p:nvGrpSpPr>
        <p:grpSpPr>
          <a:xfrm>
            <a:off x="1429808" y="2549182"/>
            <a:ext cx="2208061" cy="2208637"/>
            <a:chOff x="1157758" y="2720460"/>
            <a:chExt cx="1905482" cy="1905979"/>
          </a:xfrm>
        </p:grpSpPr>
        <p:sp>
          <p:nvSpPr>
            <p:cNvPr id="10" name="Oval 9"/>
            <p:cNvSpPr/>
            <p:nvPr/>
          </p:nvSpPr>
          <p:spPr bwMode="auto">
            <a:xfrm>
              <a:off x="1157758" y="2720460"/>
              <a:ext cx="1905482" cy="1905979"/>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984">
                <a:defRPr/>
              </a:pPr>
              <a:endParaRPr lang="en-US" dirty="0">
                <a:latin typeface="Calibri Light"/>
              </a:endParaRPr>
            </a:p>
          </p:txBody>
        </p:sp>
        <p:sp>
          <p:nvSpPr>
            <p:cNvPr id="11" name="Freeform 21"/>
            <p:cNvSpPr>
              <a:spLocks noChangeArrowheads="1"/>
            </p:cNvSpPr>
            <p:nvPr/>
          </p:nvSpPr>
          <p:spPr bwMode="auto">
            <a:xfrm>
              <a:off x="1495411" y="3330522"/>
              <a:ext cx="1230176" cy="685853"/>
            </a:xfrm>
            <a:custGeom>
              <a:avLst/>
              <a:gdLst>
                <a:gd name="T0" fmla="*/ 249 w 497"/>
                <a:gd name="T1" fmla="*/ 0 h 276"/>
                <a:gd name="T2" fmla="*/ 249 w 497"/>
                <a:gd name="T3" fmla="*/ 0 h 276"/>
                <a:gd name="T4" fmla="*/ 0 w 497"/>
                <a:gd name="T5" fmla="*/ 133 h 276"/>
                <a:gd name="T6" fmla="*/ 249 w 497"/>
                <a:gd name="T7" fmla="*/ 275 h 276"/>
                <a:gd name="T8" fmla="*/ 496 w 497"/>
                <a:gd name="T9" fmla="*/ 133 h 276"/>
                <a:gd name="T10" fmla="*/ 249 w 497"/>
                <a:gd name="T11" fmla="*/ 0 h 276"/>
                <a:gd name="T12" fmla="*/ 249 w 497"/>
                <a:gd name="T13" fmla="*/ 239 h 276"/>
                <a:gd name="T14" fmla="*/ 249 w 497"/>
                <a:gd name="T15" fmla="*/ 239 h 276"/>
                <a:gd name="T16" fmla="*/ 142 w 497"/>
                <a:gd name="T17" fmla="*/ 133 h 276"/>
                <a:gd name="T18" fmla="*/ 249 w 497"/>
                <a:gd name="T19" fmla="*/ 26 h 276"/>
                <a:gd name="T20" fmla="*/ 355 w 497"/>
                <a:gd name="T21" fmla="*/ 133 h 276"/>
                <a:gd name="T22" fmla="*/ 249 w 497"/>
                <a:gd name="T23" fmla="*/ 239 h 276"/>
                <a:gd name="T24" fmla="*/ 249 w 497"/>
                <a:gd name="T25" fmla="*/ 133 h 276"/>
                <a:gd name="T26" fmla="*/ 249 w 497"/>
                <a:gd name="T27" fmla="*/ 133 h 276"/>
                <a:gd name="T28" fmla="*/ 249 w 497"/>
                <a:gd name="T29" fmla="*/ 79 h 276"/>
                <a:gd name="T30" fmla="*/ 195 w 497"/>
                <a:gd name="T31" fmla="*/ 133 h 276"/>
                <a:gd name="T32" fmla="*/ 249 w 497"/>
                <a:gd name="T33" fmla="*/ 186 h 276"/>
                <a:gd name="T34" fmla="*/ 302 w 497"/>
                <a:gd name="T35" fmla="*/ 133 h 276"/>
                <a:gd name="T36" fmla="*/ 249 w 497"/>
                <a:gd name="T37" fmla="*/ 13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276">
                  <a:moveTo>
                    <a:pt x="249" y="0"/>
                  </a:moveTo>
                  <a:lnTo>
                    <a:pt x="249" y="0"/>
                  </a:lnTo>
                  <a:cubicBezTo>
                    <a:pt x="89" y="0"/>
                    <a:pt x="0" y="115"/>
                    <a:pt x="0" y="133"/>
                  </a:cubicBezTo>
                  <a:cubicBezTo>
                    <a:pt x="0" y="151"/>
                    <a:pt x="89" y="275"/>
                    <a:pt x="249" y="275"/>
                  </a:cubicBezTo>
                  <a:cubicBezTo>
                    <a:pt x="408" y="275"/>
                    <a:pt x="496" y="151"/>
                    <a:pt x="496" y="133"/>
                  </a:cubicBezTo>
                  <a:cubicBezTo>
                    <a:pt x="496" y="115"/>
                    <a:pt x="408" y="0"/>
                    <a:pt x="249" y="0"/>
                  </a:cubicBezTo>
                  <a:close/>
                  <a:moveTo>
                    <a:pt x="249" y="239"/>
                  </a:moveTo>
                  <a:lnTo>
                    <a:pt x="249" y="239"/>
                  </a:lnTo>
                  <a:cubicBezTo>
                    <a:pt x="186" y="239"/>
                    <a:pt x="142" y="195"/>
                    <a:pt x="142" y="133"/>
                  </a:cubicBezTo>
                  <a:cubicBezTo>
                    <a:pt x="142" y="79"/>
                    <a:pt x="186" y="26"/>
                    <a:pt x="249" y="26"/>
                  </a:cubicBezTo>
                  <a:cubicBezTo>
                    <a:pt x="310" y="26"/>
                    <a:pt x="355" y="79"/>
                    <a:pt x="355" y="133"/>
                  </a:cubicBezTo>
                  <a:cubicBezTo>
                    <a:pt x="355" y="195"/>
                    <a:pt x="310" y="239"/>
                    <a:pt x="249" y="239"/>
                  </a:cubicBezTo>
                  <a:close/>
                  <a:moveTo>
                    <a:pt x="249" y="133"/>
                  </a:moveTo>
                  <a:lnTo>
                    <a:pt x="249" y="133"/>
                  </a:lnTo>
                  <a:cubicBezTo>
                    <a:pt x="239" y="123"/>
                    <a:pt x="266" y="79"/>
                    <a:pt x="249" y="79"/>
                  </a:cubicBezTo>
                  <a:cubicBezTo>
                    <a:pt x="221" y="79"/>
                    <a:pt x="195" y="107"/>
                    <a:pt x="195" y="133"/>
                  </a:cubicBezTo>
                  <a:cubicBezTo>
                    <a:pt x="195" y="168"/>
                    <a:pt x="221" y="186"/>
                    <a:pt x="249" y="186"/>
                  </a:cubicBezTo>
                  <a:cubicBezTo>
                    <a:pt x="274" y="186"/>
                    <a:pt x="302" y="168"/>
                    <a:pt x="302" y="133"/>
                  </a:cubicBezTo>
                  <a:cubicBezTo>
                    <a:pt x="302" y="123"/>
                    <a:pt x="257" y="142"/>
                    <a:pt x="249" y="133"/>
                  </a:cubicBezTo>
                  <a:close/>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sp>
        <p:nvSpPr>
          <p:cNvPr id="1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8_84 12_84</a:t>
            </a:r>
            <a:endParaRPr lang="en-US" sz="100" dirty="0" err="1" smtClean="0">
              <a:solidFill>
                <a:srgbClr val="FFFFFF"/>
              </a:solidFill>
            </a:endParaRPr>
          </a:p>
        </p:txBody>
      </p:sp>
    </p:spTree>
    <p:extLst>
      <p:ext uri="{BB962C8B-B14F-4D97-AF65-F5344CB8AC3E}">
        <p14:creationId xmlns:p14="http://schemas.microsoft.com/office/powerpoint/2010/main" val="5950908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a:t>
            </a:r>
            <a:r>
              <a:rPr lang="en-US" dirty="0" smtClean="0"/>
              <a:t> columns</a:t>
            </a:r>
            <a:endParaRPr lang="en-US" dirty="0"/>
          </a:p>
        </p:txBody>
      </p:sp>
      <p:sp>
        <p:nvSpPr>
          <p:cNvPr id="4" name="Rectangle 3"/>
          <p:cNvSpPr/>
          <p:nvPr/>
        </p:nvSpPr>
        <p:spPr>
          <a:xfrm>
            <a:off x="6606899" y="1676954"/>
            <a:ext cx="5887244" cy="4278094"/>
          </a:xfrm>
          <a:prstGeom prst="rect">
            <a:avLst/>
          </a:prstGeom>
        </p:spPr>
        <p:txBody>
          <a:bodyPr wrap="square">
            <a:spAutoFit/>
          </a:bodyPr>
          <a:lstStyle/>
          <a:p>
            <a:pPr>
              <a:spcBef>
                <a:spcPts val="768"/>
              </a:spcBef>
              <a:spcAft>
                <a:spcPts val="0"/>
              </a:spcAft>
              <a:buClrTx/>
              <a:buSzPct val="100000"/>
            </a:pPr>
            <a:r>
              <a:rPr lang="en-US" dirty="0">
                <a:latin typeface="Roboto Regular" pitchFamily="2" charset="0"/>
                <a:ea typeface="Roboto Regular" pitchFamily="2" charset="0"/>
                <a:cs typeface="Source Sans Pro ExtraLight"/>
              </a:rPr>
              <a:t>Cum </a:t>
            </a:r>
            <a:r>
              <a:rPr lang="en-US" dirty="0" err="1">
                <a:latin typeface="Roboto Regular" pitchFamily="2" charset="0"/>
                <a:ea typeface="Roboto Regular" pitchFamily="2" charset="0"/>
                <a:cs typeface="Source Sans Pro ExtraLight"/>
              </a:rPr>
              <a:t>socii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atoque</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enatibus</a:t>
            </a:r>
            <a:r>
              <a:rPr lang="en-US" dirty="0">
                <a:latin typeface="Roboto Regular" pitchFamily="2" charset="0"/>
                <a:ea typeface="Roboto Regular" pitchFamily="2" charset="0"/>
                <a:cs typeface="Source Sans Pro ExtraLight"/>
              </a:rPr>
              <a:t> et </a:t>
            </a:r>
            <a:r>
              <a:rPr lang="en-US" dirty="0" err="1">
                <a:latin typeface="Roboto Regular" pitchFamily="2" charset="0"/>
                <a:ea typeface="Roboto Regular" pitchFamily="2" charset="0"/>
                <a:cs typeface="Source Sans Pro ExtraLight"/>
              </a:rPr>
              <a:t>magnis</a:t>
            </a:r>
            <a:r>
              <a:rPr lang="en-US" dirty="0">
                <a:latin typeface="Roboto Regular" pitchFamily="2" charset="0"/>
                <a:ea typeface="Roboto Regular" pitchFamily="2" charset="0"/>
                <a:cs typeface="Source Sans Pro ExtraLight"/>
              </a:rPr>
              <a:t> dis parturient </a:t>
            </a:r>
            <a:r>
              <a:rPr lang="en-US" dirty="0" err="1">
                <a:latin typeface="Roboto Regular" pitchFamily="2" charset="0"/>
                <a:ea typeface="Roboto Regular" pitchFamily="2" charset="0"/>
                <a:cs typeface="Source Sans Pro ExtraLight"/>
              </a:rPr>
              <a:t>monte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ascetur</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ridiculus</a:t>
            </a:r>
            <a:r>
              <a:rPr lang="en-US" dirty="0">
                <a:latin typeface="Roboto Regular" pitchFamily="2" charset="0"/>
                <a:ea typeface="Roboto Regular" pitchFamily="2" charset="0"/>
                <a:cs typeface="Source Sans Pro ExtraLight"/>
              </a:rPr>
              <a:t> mus. Nam </a:t>
            </a:r>
            <a:r>
              <a:rPr lang="en-US" dirty="0" err="1">
                <a:latin typeface="Roboto Regular" pitchFamily="2" charset="0"/>
                <a:ea typeface="Roboto Regular" pitchFamily="2" charset="0"/>
                <a:cs typeface="Source Sans Pro ExtraLight"/>
              </a:rPr>
              <a:t>odio</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ulla</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tempor</a:t>
            </a:r>
            <a:r>
              <a:rPr lang="en-US" dirty="0">
                <a:latin typeface="Roboto Regular" pitchFamily="2" charset="0"/>
                <a:ea typeface="Roboto Regular" pitchFamily="2" charset="0"/>
                <a:cs typeface="Source Sans Pro ExtraLight"/>
              </a:rPr>
              <a:t> a </a:t>
            </a:r>
            <a:r>
              <a:rPr lang="en-US" dirty="0" err="1">
                <a:latin typeface="Roboto Regular" pitchFamily="2" charset="0"/>
                <a:ea typeface="Roboto Regular" pitchFamily="2" charset="0"/>
                <a:cs typeface="Source Sans Pro ExtraLight"/>
              </a:rPr>
              <a:t>eleifend</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ut</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dignissim</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ec</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tellu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Donec</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orttitor</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orttitor</a:t>
            </a:r>
            <a:r>
              <a:rPr lang="en-US" dirty="0">
                <a:latin typeface="Roboto Regular" pitchFamily="2" charset="0"/>
                <a:ea typeface="Roboto Regular" pitchFamily="2" charset="0"/>
                <a:cs typeface="Source Sans Pro ExtraLight"/>
              </a:rPr>
              <a:t> ante. Nam dictum quam </a:t>
            </a:r>
            <a:r>
              <a:rPr lang="en-US" dirty="0" err="1">
                <a:latin typeface="Roboto Regular" pitchFamily="2" charset="0"/>
                <a:ea typeface="Roboto Regular" pitchFamily="2" charset="0"/>
                <a:cs typeface="Source Sans Pro ExtraLight"/>
              </a:rPr>
              <a:t>sed</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erat</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lobortis</a:t>
            </a:r>
            <a:r>
              <a:rPr lang="en-US" dirty="0">
                <a:latin typeface="Roboto Regular" pitchFamily="2" charset="0"/>
                <a:ea typeface="Roboto Regular" pitchFamily="2" charset="0"/>
                <a:cs typeface="Source Sans Pro ExtraLight"/>
              </a:rPr>
              <a:t>, et gravida </a:t>
            </a:r>
            <a:r>
              <a:rPr lang="en-US" dirty="0" err="1">
                <a:latin typeface="Roboto Regular" pitchFamily="2" charset="0"/>
                <a:ea typeface="Roboto Regular" pitchFamily="2" charset="0"/>
                <a:cs typeface="Source Sans Pro ExtraLight"/>
              </a:rPr>
              <a:t>nunc</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ellentesque</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Mauris</a:t>
            </a:r>
            <a:r>
              <a:rPr lang="en-US" dirty="0">
                <a:latin typeface="Roboto Regular" pitchFamily="2" charset="0"/>
                <a:ea typeface="Roboto Regular" pitchFamily="2" charset="0"/>
                <a:cs typeface="Source Sans Pro ExtraLight"/>
              </a:rPr>
              <a:t> gravida </a:t>
            </a:r>
            <a:r>
              <a:rPr lang="en-US" dirty="0" err="1">
                <a:latin typeface="Roboto Regular" pitchFamily="2" charset="0"/>
                <a:ea typeface="Roboto Regular" pitchFamily="2" charset="0"/>
                <a:cs typeface="Source Sans Pro ExtraLight"/>
              </a:rPr>
              <a:t>ut</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augue</a:t>
            </a:r>
            <a:r>
              <a:rPr lang="en-US" dirty="0">
                <a:latin typeface="Roboto Regular" pitchFamily="2" charset="0"/>
                <a:ea typeface="Roboto Regular" pitchFamily="2" charset="0"/>
                <a:cs typeface="Source Sans Pro ExtraLight"/>
              </a:rPr>
              <a:t> et </a:t>
            </a:r>
            <a:r>
              <a:rPr lang="en-US" dirty="0" err="1">
                <a:latin typeface="Roboto Regular" pitchFamily="2" charset="0"/>
                <a:ea typeface="Roboto Regular" pitchFamily="2" charset="0"/>
                <a:cs typeface="Source Sans Pro ExtraLight"/>
              </a:rPr>
              <a:t>lobortis</a:t>
            </a:r>
            <a:r>
              <a:rPr lang="en-US" dirty="0" smtClean="0">
                <a:latin typeface="Roboto Regular" pitchFamily="2" charset="0"/>
                <a:ea typeface="Roboto Regular" pitchFamily="2" charset="0"/>
                <a:cs typeface="Source Sans Pro ExtraLight"/>
              </a:rPr>
              <a:t>.</a:t>
            </a:r>
          </a:p>
          <a:p>
            <a:pPr>
              <a:spcBef>
                <a:spcPts val="768"/>
              </a:spcBef>
              <a:spcAft>
                <a:spcPts val="0"/>
              </a:spcAft>
              <a:buClrTx/>
              <a:buSzPct val="100000"/>
            </a:pPr>
            <a:endParaRPr lang="en-US" dirty="0">
              <a:latin typeface="Roboto Regular" pitchFamily="2" charset="0"/>
              <a:ea typeface="Roboto Regular" pitchFamily="2" charset="0"/>
              <a:cs typeface="Source Sans Pro ExtraLight"/>
            </a:endParaRPr>
          </a:p>
          <a:p>
            <a:pPr>
              <a:spcBef>
                <a:spcPts val="768"/>
              </a:spcBef>
              <a:buSzPct val="100000"/>
            </a:pPr>
            <a:r>
              <a:rPr lang="en-US" dirty="0">
                <a:latin typeface="Roboto Regular" pitchFamily="2" charset="0"/>
                <a:ea typeface="Roboto Regular" pitchFamily="2" charset="0"/>
                <a:cs typeface="Source Sans Pro ExtraLight"/>
              </a:rPr>
              <a:t>Cum </a:t>
            </a:r>
            <a:r>
              <a:rPr lang="en-US" dirty="0" err="1">
                <a:latin typeface="Roboto Regular" pitchFamily="2" charset="0"/>
                <a:ea typeface="Roboto Regular" pitchFamily="2" charset="0"/>
                <a:cs typeface="Source Sans Pro ExtraLight"/>
              </a:rPr>
              <a:t>socii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atoque</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enatibus</a:t>
            </a:r>
            <a:r>
              <a:rPr lang="en-US" dirty="0">
                <a:latin typeface="Roboto Regular" pitchFamily="2" charset="0"/>
                <a:ea typeface="Roboto Regular" pitchFamily="2" charset="0"/>
                <a:cs typeface="Source Sans Pro ExtraLight"/>
              </a:rPr>
              <a:t> et </a:t>
            </a:r>
            <a:r>
              <a:rPr lang="en-US" dirty="0" err="1">
                <a:latin typeface="Roboto Regular" pitchFamily="2" charset="0"/>
                <a:ea typeface="Roboto Regular" pitchFamily="2" charset="0"/>
                <a:cs typeface="Source Sans Pro ExtraLight"/>
              </a:rPr>
              <a:t>magnis</a:t>
            </a:r>
            <a:r>
              <a:rPr lang="en-US" dirty="0">
                <a:latin typeface="Roboto Regular" pitchFamily="2" charset="0"/>
                <a:ea typeface="Roboto Regular" pitchFamily="2" charset="0"/>
                <a:cs typeface="Source Sans Pro ExtraLight"/>
              </a:rPr>
              <a:t> dis parturient </a:t>
            </a:r>
            <a:r>
              <a:rPr lang="en-US" dirty="0" err="1">
                <a:latin typeface="Roboto Regular" pitchFamily="2" charset="0"/>
                <a:ea typeface="Roboto Regular" pitchFamily="2" charset="0"/>
                <a:cs typeface="Source Sans Pro ExtraLight"/>
              </a:rPr>
              <a:t>monte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ascetur</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ridiculus</a:t>
            </a:r>
            <a:r>
              <a:rPr lang="en-US" dirty="0">
                <a:latin typeface="Roboto Regular" pitchFamily="2" charset="0"/>
                <a:ea typeface="Roboto Regular" pitchFamily="2" charset="0"/>
                <a:cs typeface="Source Sans Pro ExtraLight"/>
              </a:rPr>
              <a:t> mus. Nam </a:t>
            </a:r>
            <a:r>
              <a:rPr lang="en-US" dirty="0" err="1">
                <a:latin typeface="Roboto Regular" pitchFamily="2" charset="0"/>
                <a:ea typeface="Roboto Regular" pitchFamily="2" charset="0"/>
                <a:cs typeface="Source Sans Pro ExtraLight"/>
              </a:rPr>
              <a:t>odio</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ulla</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tempor</a:t>
            </a:r>
            <a:r>
              <a:rPr lang="en-US" dirty="0">
                <a:latin typeface="Roboto Regular" pitchFamily="2" charset="0"/>
                <a:ea typeface="Roboto Regular" pitchFamily="2" charset="0"/>
                <a:cs typeface="Source Sans Pro ExtraLight"/>
              </a:rPr>
              <a:t> a </a:t>
            </a:r>
            <a:r>
              <a:rPr lang="en-US" dirty="0" err="1">
                <a:latin typeface="Roboto Regular" pitchFamily="2" charset="0"/>
                <a:ea typeface="Roboto Regular" pitchFamily="2" charset="0"/>
                <a:cs typeface="Source Sans Pro ExtraLight"/>
              </a:rPr>
              <a:t>eleifend</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ut</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dignissim</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ec</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tellu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Donec</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orttitor</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orttitor</a:t>
            </a:r>
            <a:r>
              <a:rPr lang="en-US" dirty="0">
                <a:latin typeface="Roboto Regular" pitchFamily="2" charset="0"/>
                <a:ea typeface="Roboto Regular" pitchFamily="2" charset="0"/>
                <a:cs typeface="Source Sans Pro ExtraLight"/>
              </a:rPr>
              <a:t> ante. Nam dictum quam </a:t>
            </a:r>
            <a:r>
              <a:rPr lang="en-US" dirty="0" err="1">
                <a:latin typeface="Roboto Regular" pitchFamily="2" charset="0"/>
                <a:ea typeface="Roboto Regular" pitchFamily="2" charset="0"/>
                <a:cs typeface="Source Sans Pro ExtraLight"/>
              </a:rPr>
              <a:t>sed</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erat</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lobortis</a:t>
            </a:r>
            <a:r>
              <a:rPr lang="en-US" dirty="0">
                <a:latin typeface="Roboto Regular" pitchFamily="2" charset="0"/>
                <a:ea typeface="Roboto Regular" pitchFamily="2" charset="0"/>
                <a:cs typeface="Source Sans Pro ExtraLight"/>
              </a:rPr>
              <a:t>, et gravida </a:t>
            </a:r>
            <a:r>
              <a:rPr lang="en-US" dirty="0" err="1">
                <a:latin typeface="Roboto Regular" pitchFamily="2" charset="0"/>
                <a:ea typeface="Roboto Regular" pitchFamily="2" charset="0"/>
                <a:cs typeface="Source Sans Pro ExtraLight"/>
              </a:rPr>
              <a:t>nunc</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ellentesque</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Mauris</a:t>
            </a:r>
            <a:r>
              <a:rPr lang="en-US" dirty="0">
                <a:latin typeface="Roboto Regular" pitchFamily="2" charset="0"/>
                <a:ea typeface="Roboto Regular" pitchFamily="2" charset="0"/>
                <a:cs typeface="Source Sans Pro ExtraLight"/>
              </a:rPr>
              <a:t> gravida </a:t>
            </a:r>
            <a:r>
              <a:rPr lang="en-US" dirty="0" err="1">
                <a:latin typeface="Roboto Regular" pitchFamily="2" charset="0"/>
                <a:ea typeface="Roboto Regular" pitchFamily="2" charset="0"/>
                <a:cs typeface="Source Sans Pro ExtraLight"/>
              </a:rPr>
              <a:t>ut</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augue</a:t>
            </a:r>
            <a:r>
              <a:rPr lang="en-US" dirty="0">
                <a:latin typeface="Roboto Regular" pitchFamily="2" charset="0"/>
                <a:ea typeface="Roboto Regular" pitchFamily="2" charset="0"/>
                <a:cs typeface="Source Sans Pro ExtraLight"/>
              </a:rPr>
              <a:t> et </a:t>
            </a:r>
            <a:r>
              <a:rPr lang="en-US" dirty="0" err="1">
                <a:latin typeface="Roboto Regular" pitchFamily="2" charset="0"/>
                <a:ea typeface="Roboto Regular" pitchFamily="2" charset="0"/>
                <a:cs typeface="Source Sans Pro ExtraLight"/>
              </a:rPr>
              <a:t>lobortis</a:t>
            </a:r>
            <a:r>
              <a:rPr lang="en-US" dirty="0">
                <a:latin typeface="Roboto Regular" pitchFamily="2" charset="0"/>
                <a:ea typeface="Roboto Regular" pitchFamily="2" charset="0"/>
                <a:cs typeface="Source Sans Pro ExtraLight"/>
              </a:rPr>
              <a:t>.</a:t>
            </a:r>
          </a:p>
          <a:p>
            <a:pPr>
              <a:spcBef>
                <a:spcPts val="768"/>
              </a:spcBef>
              <a:spcAft>
                <a:spcPts val="0"/>
              </a:spcAft>
              <a:buClrTx/>
              <a:buSzPct val="100000"/>
            </a:pPr>
            <a:endParaRPr lang="en-US" dirty="0">
              <a:latin typeface="Roboto Regular" pitchFamily="2" charset="0"/>
              <a:ea typeface="Roboto Regular" pitchFamily="2" charset="0"/>
              <a:cs typeface="Source Sans Pro ExtraLight"/>
            </a:endParaRPr>
          </a:p>
        </p:txBody>
      </p:sp>
      <p:sp>
        <p:nvSpPr>
          <p:cNvPr id="5" name="Rectangle 4"/>
          <p:cNvSpPr/>
          <p:nvPr/>
        </p:nvSpPr>
        <p:spPr>
          <a:xfrm>
            <a:off x="506170" y="4047392"/>
            <a:ext cx="5922929" cy="1477328"/>
          </a:xfrm>
          <a:prstGeom prst="rect">
            <a:avLst/>
          </a:prstGeom>
        </p:spPr>
        <p:txBody>
          <a:bodyPr wrap="square">
            <a:spAutoFit/>
          </a:bodyPr>
          <a:lstStyle/>
          <a:p>
            <a:pPr>
              <a:spcBef>
                <a:spcPts val="768"/>
              </a:spcBef>
              <a:spcAft>
                <a:spcPts val="0"/>
              </a:spcAft>
              <a:buClrTx/>
              <a:buSzPct val="100000"/>
            </a:pPr>
            <a:r>
              <a:rPr lang="en-US" dirty="0">
                <a:latin typeface="Roboto Regular" pitchFamily="2" charset="0"/>
                <a:ea typeface="Roboto Regular" pitchFamily="2" charset="0"/>
                <a:cs typeface="Source Sans Pro ExtraLight"/>
              </a:rPr>
              <a:t>Integer </a:t>
            </a:r>
            <a:r>
              <a:rPr lang="en-US" dirty="0" err="1">
                <a:latin typeface="Roboto Regular" pitchFamily="2" charset="0"/>
                <a:ea typeface="Roboto Regular" pitchFamily="2" charset="0"/>
                <a:cs typeface="Source Sans Pro ExtraLight"/>
              </a:rPr>
              <a:t>malesuada</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finibus</a:t>
            </a:r>
            <a:r>
              <a:rPr lang="en-US" dirty="0">
                <a:latin typeface="Roboto Regular" pitchFamily="2" charset="0"/>
                <a:ea typeface="Roboto Regular" pitchFamily="2" charset="0"/>
                <a:cs typeface="Source Sans Pro ExtraLight"/>
              </a:rPr>
              <a:t> ligula, </a:t>
            </a:r>
            <a:r>
              <a:rPr lang="en-US" dirty="0" err="1">
                <a:latin typeface="Roboto Regular" pitchFamily="2" charset="0"/>
                <a:ea typeface="Roboto Regular" pitchFamily="2" charset="0"/>
                <a:cs typeface="Source Sans Pro ExtraLight"/>
              </a:rPr>
              <a:t>aliquet</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loborti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ulla</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commodo</a:t>
            </a:r>
            <a:r>
              <a:rPr lang="en-US" dirty="0">
                <a:latin typeface="Roboto Regular" pitchFamily="2" charset="0"/>
                <a:ea typeface="Roboto Regular" pitchFamily="2" charset="0"/>
                <a:cs typeface="Source Sans Pro ExtraLight"/>
              </a:rPr>
              <a:t> vel. </a:t>
            </a:r>
            <a:r>
              <a:rPr lang="en-US" dirty="0" err="1">
                <a:latin typeface="Roboto Regular" pitchFamily="2" charset="0"/>
                <a:ea typeface="Roboto Regular" pitchFamily="2" charset="0"/>
                <a:cs typeface="Source Sans Pro ExtraLight"/>
              </a:rPr>
              <a:t>Nulla</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variu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vehicula</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augue</a:t>
            </a:r>
            <a:r>
              <a:rPr lang="en-US" dirty="0">
                <a:latin typeface="Roboto Regular" pitchFamily="2" charset="0"/>
                <a:ea typeface="Roboto Regular" pitchFamily="2" charset="0"/>
                <a:cs typeface="Source Sans Pro ExtraLight"/>
              </a:rPr>
              <a:t>, id </a:t>
            </a:r>
            <a:r>
              <a:rPr lang="en-US" dirty="0" err="1">
                <a:latin typeface="Roboto Regular" pitchFamily="2" charset="0"/>
                <a:ea typeface="Roboto Regular" pitchFamily="2" charset="0"/>
                <a:cs typeface="Source Sans Pro ExtraLight"/>
              </a:rPr>
              <a:t>placerat</a:t>
            </a:r>
            <a:r>
              <a:rPr lang="en-US" dirty="0">
                <a:latin typeface="Roboto Regular" pitchFamily="2" charset="0"/>
                <a:ea typeface="Roboto Regular" pitchFamily="2" charset="0"/>
                <a:cs typeface="Source Sans Pro ExtraLight"/>
              </a:rPr>
              <a:t> nisi </a:t>
            </a:r>
            <a:r>
              <a:rPr lang="en-US" dirty="0" err="1">
                <a:latin typeface="Roboto Regular" pitchFamily="2" charset="0"/>
                <a:ea typeface="Roboto Regular" pitchFamily="2" charset="0"/>
                <a:cs typeface="Source Sans Pro ExtraLight"/>
              </a:rPr>
              <a:t>luctus</a:t>
            </a:r>
            <a:r>
              <a:rPr lang="en-US" dirty="0">
                <a:latin typeface="Roboto Regular" pitchFamily="2" charset="0"/>
                <a:ea typeface="Roboto Regular" pitchFamily="2" charset="0"/>
                <a:cs typeface="Source Sans Pro ExtraLight"/>
              </a:rPr>
              <a:t> a. </a:t>
            </a:r>
            <a:r>
              <a:rPr lang="en-US" dirty="0" err="1">
                <a:latin typeface="Roboto Regular" pitchFamily="2" charset="0"/>
                <a:ea typeface="Roboto Regular" pitchFamily="2" charset="0"/>
                <a:cs typeface="Source Sans Pro ExtraLight"/>
              </a:rPr>
              <a:t>Suspendisse</a:t>
            </a:r>
            <a:r>
              <a:rPr lang="en-US" dirty="0">
                <a:latin typeface="Roboto Regular" pitchFamily="2" charset="0"/>
                <a:ea typeface="Roboto Regular" pitchFamily="2" charset="0"/>
                <a:cs typeface="Source Sans Pro ExtraLight"/>
              </a:rPr>
              <a:t> magna </a:t>
            </a:r>
            <a:r>
              <a:rPr lang="en-US" dirty="0" err="1">
                <a:latin typeface="Roboto Regular" pitchFamily="2" charset="0"/>
                <a:ea typeface="Roboto Regular" pitchFamily="2" charset="0"/>
                <a:cs typeface="Source Sans Pro ExtraLight"/>
              </a:rPr>
              <a:t>tellu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imperdiet</a:t>
            </a:r>
            <a:r>
              <a:rPr lang="en-US" dirty="0">
                <a:latin typeface="Roboto Regular" pitchFamily="2" charset="0"/>
                <a:ea typeface="Roboto Regular" pitchFamily="2" charset="0"/>
                <a:cs typeface="Source Sans Pro ExtraLight"/>
              </a:rPr>
              <a:t> id </a:t>
            </a:r>
            <a:r>
              <a:rPr lang="en-US" dirty="0" err="1">
                <a:latin typeface="Roboto Regular" pitchFamily="2" charset="0"/>
                <a:ea typeface="Roboto Regular" pitchFamily="2" charset="0"/>
                <a:cs typeface="Source Sans Pro ExtraLight"/>
              </a:rPr>
              <a:t>turpis</a:t>
            </a:r>
            <a:r>
              <a:rPr lang="en-US" dirty="0">
                <a:latin typeface="Roboto Regular" pitchFamily="2" charset="0"/>
                <a:ea typeface="Roboto Regular" pitchFamily="2" charset="0"/>
                <a:cs typeface="Source Sans Pro ExtraLight"/>
              </a:rPr>
              <a:t> in, gravida </a:t>
            </a:r>
            <a:r>
              <a:rPr lang="en-US" dirty="0" err="1">
                <a:latin typeface="Roboto Regular" pitchFamily="2" charset="0"/>
                <a:ea typeface="Roboto Regular" pitchFamily="2" charset="0"/>
                <a:cs typeface="Source Sans Pro ExtraLight"/>
              </a:rPr>
              <a:t>fermentum</a:t>
            </a:r>
            <a:r>
              <a:rPr lang="en-US" dirty="0">
                <a:latin typeface="Roboto Regular" pitchFamily="2" charset="0"/>
                <a:ea typeface="Roboto Regular" pitchFamily="2" charset="0"/>
                <a:cs typeface="Source Sans Pro ExtraLight"/>
              </a:rPr>
              <a:t> sem. Integer </a:t>
            </a:r>
            <a:r>
              <a:rPr lang="en-US" dirty="0" err="1">
                <a:latin typeface="Roboto Regular" pitchFamily="2" charset="0"/>
                <a:ea typeface="Roboto Regular" pitchFamily="2" charset="0"/>
                <a:cs typeface="Source Sans Pro ExtraLight"/>
              </a:rPr>
              <a:t>commodo</a:t>
            </a:r>
            <a:r>
              <a:rPr lang="en-US" dirty="0">
                <a:latin typeface="Roboto Regular" pitchFamily="2" charset="0"/>
                <a:ea typeface="Roboto Regular" pitchFamily="2" charset="0"/>
                <a:cs typeface="Source Sans Pro ExtraLight"/>
              </a:rPr>
              <a:t> pharetra dui a </a:t>
            </a:r>
            <a:r>
              <a:rPr lang="en-US" dirty="0" err="1">
                <a:latin typeface="Roboto Regular" pitchFamily="2" charset="0"/>
                <a:ea typeface="Roboto Regular" pitchFamily="2" charset="0"/>
                <a:cs typeface="Source Sans Pro ExtraLight"/>
              </a:rPr>
              <a:t>congue</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Vivamus</a:t>
            </a:r>
            <a:r>
              <a:rPr lang="en-US" dirty="0">
                <a:latin typeface="Roboto Regular" pitchFamily="2" charset="0"/>
                <a:ea typeface="Roboto Regular" pitchFamily="2" charset="0"/>
                <a:cs typeface="Source Sans Pro ExtraLight"/>
              </a:rPr>
              <a:t> in </a:t>
            </a:r>
            <a:r>
              <a:rPr lang="en-US" dirty="0" err="1">
                <a:latin typeface="Roboto Regular" pitchFamily="2" charset="0"/>
                <a:ea typeface="Roboto Regular" pitchFamily="2" charset="0"/>
                <a:cs typeface="Source Sans Pro ExtraLight"/>
              </a:rPr>
              <a:t>commodo</a:t>
            </a:r>
            <a:r>
              <a:rPr lang="en-US" dirty="0">
                <a:latin typeface="Roboto Regular" pitchFamily="2" charset="0"/>
                <a:ea typeface="Roboto Regular" pitchFamily="2" charset="0"/>
                <a:cs typeface="Source Sans Pro ExtraLight"/>
              </a:rPr>
              <a:t> dui. </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7212" y="1800732"/>
            <a:ext cx="5474478" cy="1743541"/>
          </a:xfrm>
          <a:prstGeom prst="rect">
            <a:avLst/>
          </a:prstGeom>
        </p:spPr>
      </p:pic>
      <p:sp>
        <p:nvSpPr>
          <p:cNvPr id="10"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292133476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a:t>
            </a:r>
            <a:r>
              <a:rPr lang="en-US" dirty="0" smtClean="0"/>
              <a:t> columns &amp; images</a:t>
            </a:r>
            <a:endParaRPr lang="en-US" dirty="0"/>
          </a:p>
        </p:txBody>
      </p:sp>
      <p:sp>
        <p:nvSpPr>
          <p:cNvPr id="11" name="TextBox 10"/>
          <p:cNvSpPr txBox="1"/>
          <p:nvPr>
            <p:custDataLst>
              <p:tags r:id="rId1"/>
            </p:custDataLst>
          </p:nvPr>
        </p:nvSpPr>
        <p:spPr>
          <a:xfrm>
            <a:off x="355600" y="1449333"/>
            <a:ext cx="5887244" cy="366767"/>
          </a:xfrm>
          <a:prstGeom prst="rect">
            <a:avLst/>
          </a:prstGeom>
          <a:blipFill dpi="0" rotWithShape="1">
            <a:blip r:embed="rId4"/>
            <a:srcRect/>
            <a:tile tx="0" ty="0" sx="100000" sy="100000" flip="xy" algn="b"/>
          </a:blipFill>
        </p:spPr>
        <p:txBody>
          <a:bodyPr vert="horz" wrap="square" lIns="0" tIns="0" rIns="0" bIns="88900" rtlCol="0" anchor="b">
            <a:spAutoFit/>
          </a:bodyPr>
          <a:lstStyle/>
          <a:p>
            <a:pPr algn="ctr"/>
            <a:r>
              <a:rPr lang="en-US" b="1" cap="all" dirty="0" smtClean="0"/>
              <a:t>Insert text here</a:t>
            </a:r>
          </a:p>
        </p:txBody>
      </p:sp>
      <p:sp>
        <p:nvSpPr>
          <p:cNvPr id="12" name="TextBox 11"/>
          <p:cNvSpPr txBox="1"/>
          <p:nvPr>
            <p:custDataLst>
              <p:tags r:id="rId2"/>
            </p:custDataLst>
          </p:nvPr>
        </p:nvSpPr>
        <p:spPr>
          <a:xfrm>
            <a:off x="6598444" y="1449333"/>
            <a:ext cx="5887244" cy="366767"/>
          </a:xfrm>
          <a:prstGeom prst="rect">
            <a:avLst/>
          </a:prstGeom>
          <a:blipFill dpi="0" rotWithShape="1">
            <a:blip r:embed="rId4"/>
            <a:srcRect/>
            <a:tile tx="0" ty="0" sx="100000" sy="100000" flip="xy" algn="b"/>
          </a:blipFill>
        </p:spPr>
        <p:txBody>
          <a:bodyPr vert="horz" wrap="square" lIns="0" tIns="0" rIns="0" bIns="88900" rtlCol="0" anchor="b">
            <a:spAutoFit/>
          </a:bodyPr>
          <a:lstStyle/>
          <a:p>
            <a:pPr algn="ctr"/>
            <a:r>
              <a:rPr lang="en-US" b="1" cap="all" smtClean="0"/>
              <a:t>Insert text here</a:t>
            </a:r>
            <a:endParaRPr lang="en-US" b="1" cap="all" dirty="0" err="1" smtClean="0"/>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6692" y="2105635"/>
            <a:ext cx="4925060" cy="1568560"/>
          </a:xfrm>
          <a:prstGeom prst="rect">
            <a:avLst/>
          </a:prstGeom>
        </p:spPr>
      </p:pic>
      <p:sp>
        <p:nvSpPr>
          <p:cNvPr id="15" name="Rectangle 14"/>
          <p:cNvSpPr/>
          <p:nvPr/>
        </p:nvSpPr>
        <p:spPr>
          <a:xfrm>
            <a:off x="355600" y="4009451"/>
            <a:ext cx="5887244" cy="2511457"/>
          </a:xfrm>
          <a:prstGeom prst="rect">
            <a:avLst/>
          </a:prstGeom>
        </p:spPr>
        <p:txBody>
          <a:bodyPr wrap="square">
            <a:spAutoFit/>
          </a:bodyPr>
          <a:lstStyle/>
          <a:p>
            <a:pPr>
              <a:lnSpc>
                <a:spcPct val="110000"/>
              </a:lnSpc>
            </a:pPr>
            <a:r>
              <a:rPr lang="pt-BR" dirty="0">
                <a:latin typeface="Roboto Regular" pitchFamily="2" charset="0"/>
                <a:ea typeface="Roboto Regular" pitchFamily="2" charset="0"/>
                <a:cs typeface="Calibri Light"/>
              </a:rPr>
              <a:t>Lorem ipsum dolor sit amet, consectetur adipiscing elit. Aliquam tincidunt ante nec sem congue convallis. Pellentesque vel mauris quis nisl ornare rutrum in id risus. Proin vehicula ut sem et tempus. Interdum et malesuada fames ac ante ipsum primis in faucibus. Pellentesque</a:t>
            </a:r>
            <a:r>
              <a:rPr lang="pt-BR" dirty="0" smtClean="0">
                <a:latin typeface="Roboto Regular" pitchFamily="2" charset="0"/>
                <a:ea typeface="Roboto Regular" pitchFamily="2" charset="0"/>
                <a:cs typeface="Calibri Light"/>
              </a:rPr>
              <a:t>‹ </a:t>
            </a:r>
            <a:r>
              <a:rPr lang="pt-BR" dirty="0">
                <a:latin typeface="Roboto Regular" pitchFamily="2" charset="0"/>
                <a:ea typeface="Roboto Regular" pitchFamily="2" charset="0"/>
                <a:cs typeface="Calibri Light"/>
              </a:rPr>
              <a:t> primis in faucibus. Pellentesque‹</a:t>
            </a:r>
            <a:endParaRPr lang="en-US" dirty="0">
              <a:latin typeface="Roboto Regular" pitchFamily="2" charset="0"/>
              <a:ea typeface="Roboto Regular" pitchFamily="2" charset="0"/>
              <a:cs typeface="Calibri Light"/>
            </a:endParaRPr>
          </a:p>
          <a:p>
            <a:pPr>
              <a:lnSpc>
                <a:spcPct val="110000"/>
              </a:lnSpc>
            </a:pPr>
            <a:r>
              <a:rPr lang="pt-BR" dirty="0">
                <a:latin typeface="Roboto Regular" pitchFamily="2" charset="0"/>
                <a:ea typeface="Roboto Regular" pitchFamily="2" charset="0"/>
                <a:cs typeface="Calibri Light"/>
              </a:rPr>
              <a:t> primis in faucibus. Pellentesque‹</a:t>
            </a:r>
            <a:endParaRPr lang="en-US" dirty="0">
              <a:latin typeface="Roboto Regular" pitchFamily="2" charset="0"/>
              <a:ea typeface="Roboto Regular" pitchFamily="2" charset="0"/>
              <a:cs typeface="Calibri Light"/>
            </a:endParaRPr>
          </a:p>
          <a:p>
            <a:pPr>
              <a:lnSpc>
                <a:spcPct val="110000"/>
              </a:lnSpc>
            </a:pPr>
            <a:endParaRPr lang="en-US" dirty="0">
              <a:latin typeface="Roboto Regular" pitchFamily="2" charset="0"/>
              <a:ea typeface="Roboto Regular" pitchFamily="2" charset="0"/>
              <a:cs typeface="Calibri Light"/>
            </a:endParaRPr>
          </a:p>
        </p:txBody>
      </p:sp>
      <p:sp>
        <p:nvSpPr>
          <p:cNvPr id="16" name="Rectangle 15"/>
          <p:cNvSpPr/>
          <p:nvPr/>
        </p:nvSpPr>
        <p:spPr>
          <a:xfrm>
            <a:off x="6598444" y="4009450"/>
            <a:ext cx="5887244" cy="2511457"/>
          </a:xfrm>
          <a:prstGeom prst="rect">
            <a:avLst/>
          </a:prstGeom>
        </p:spPr>
        <p:txBody>
          <a:bodyPr wrap="square">
            <a:spAutoFit/>
          </a:bodyPr>
          <a:lstStyle/>
          <a:p>
            <a:pPr>
              <a:lnSpc>
                <a:spcPct val="110000"/>
              </a:lnSpc>
            </a:pPr>
            <a:r>
              <a:rPr lang="pt-BR" dirty="0">
                <a:latin typeface="Roboto Regular" pitchFamily="2" charset="0"/>
                <a:ea typeface="Roboto Regular" pitchFamily="2" charset="0"/>
                <a:cs typeface="Calibri Light"/>
              </a:rPr>
              <a:t>Lorem ipsum dolor sit amet, consectetur adipiscing elit. Aliquam tincidunt ante nec sem congue convallis. Pellentesque vel mauris quis nisl ornare rutrum in id risus. Proin vehicula ut sem et tempus. Interdum et malesuada fames ac ante ipsum primis in faucibus. Pellentesque</a:t>
            </a:r>
            <a:r>
              <a:rPr lang="pt-BR" dirty="0" smtClean="0">
                <a:latin typeface="Roboto Regular" pitchFamily="2" charset="0"/>
                <a:ea typeface="Roboto Regular" pitchFamily="2" charset="0"/>
                <a:cs typeface="Calibri Light"/>
              </a:rPr>
              <a:t>‹ </a:t>
            </a:r>
            <a:r>
              <a:rPr lang="pt-BR" dirty="0">
                <a:latin typeface="Roboto Regular" pitchFamily="2" charset="0"/>
                <a:ea typeface="Roboto Regular" pitchFamily="2" charset="0"/>
                <a:cs typeface="Calibri Light"/>
              </a:rPr>
              <a:t> primis in faucibus. Pellentesque‹</a:t>
            </a:r>
            <a:endParaRPr lang="en-US" dirty="0">
              <a:latin typeface="Roboto Regular" pitchFamily="2" charset="0"/>
              <a:ea typeface="Roboto Regular" pitchFamily="2" charset="0"/>
              <a:cs typeface="Calibri Light"/>
            </a:endParaRPr>
          </a:p>
          <a:p>
            <a:pPr>
              <a:lnSpc>
                <a:spcPct val="110000"/>
              </a:lnSpc>
            </a:pPr>
            <a:r>
              <a:rPr lang="pt-BR" dirty="0">
                <a:latin typeface="Roboto Regular" pitchFamily="2" charset="0"/>
                <a:ea typeface="Roboto Regular" pitchFamily="2" charset="0"/>
                <a:cs typeface="Calibri Light"/>
              </a:rPr>
              <a:t> primis in faucibus. Pellentesque‹</a:t>
            </a:r>
            <a:endParaRPr lang="en-US" dirty="0">
              <a:latin typeface="Roboto Regular" pitchFamily="2" charset="0"/>
              <a:ea typeface="Roboto Regular" pitchFamily="2" charset="0"/>
              <a:cs typeface="Calibri Light"/>
            </a:endParaRPr>
          </a:p>
          <a:p>
            <a:pPr>
              <a:lnSpc>
                <a:spcPct val="110000"/>
              </a:lnSpc>
            </a:pPr>
            <a:endParaRPr lang="en-US" dirty="0">
              <a:latin typeface="Roboto Regular" pitchFamily="2" charset="0"/>
              <a:ea typeface="Roboto Regular" pitchFamily="2" charset="0"/>
              <a:cs typeface="Calibri Light"/>
            </a:endParaRPr>
          </a:p>
        </p:txBody>
      </p:sp>
      <p:pic>
        <p:nvPicPr>
          <p:cNvPr id="17" name="Pictur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79536" y="2105635"/>
            <a:ext cx="4925060" cy="1568560"/>
          </a:xfrm>
          <a:prstGeom prst="rect">
            <a:avLst/>
          </a:prstGeom>
        </p:spPr>
      </p:pic>
      <p:sp>
        <p:nvSpPr>
          <p:cNvPr id="18"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47931041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3</a:t>
            </a:r>
            <a:r>
              <a:rPr lang="en-US" dirty="0" smtClean="0"/>
              <a:t> COLUMNS TEXT</a:t>
            </a:r>
            <a:endParaRPr lang="en-US" dirty="0"/>
          </a:p>
        </p:txBody>
      </p:sp>
      <p:sp>
        <p:nvSpPr>
          <p:cNvPr id="5" name="Rectangle 4"/>
          <p:cNvSpPr/>
          <p:nvPr/>
        </p:nvSpPr>
        <p:spPr>
          <a:xfrm>
            <a:off x="489744" y="1223962"/>
            <a:ext cx="11861800" cy="4927600"/>
          </a:xfrm>
          <a:prstGeom prst="rect">
            <a:avLst/>
          </a:prstGeom>
        </p:spPr>
        <p:txBody>
          <a:bodyPr wrap="square" numCol="3" spcCol="457200">
            <a:noAutofit/>
          </a:bodyPr>
          <a:lstStyle/>
          <a:p>
            <a:pPr algn="just">
              <a:lnSpc>
                <a:spcPct val="120000"/>
              </a:lnSpc>
              <a:defRPr/>
            </a:pPr>
            <a:r>
              <a:rPr lang="en-US" sz="1600" b="1" dirty="0">
                <a:latin typeface="Roboto Regular" pitchFamily="2" charset="0"/>
                <a:ea typeface="Roboto Regular" pitchFamily="2" charset="0"/>
                <a:cs typeface="Lato Regular"/>
              </a:rPr>
              <a:t>Lorem ipsum dolor </a:t>
            </a:r>
            <a:r>
              <a:rPr lang="en-US" sz="1600" dirty="0">
                <a:latin typeface="Roboto Regular" pitchFamily="2" charset="0"/>
                <a:ea typeface="Roboto Regular" pitchFamily="2" charset="0"/>
                <a:cs typeface="Calibri Light"/>
              </a:rPr>
              <a:t>sit </a:t>
            </a:r>
            <a:r>
              <a:rPr lang="en-US" sz="1600" dirty="0" err="1">
                <a:latin typeface="Roboto Regular" pitchFamily="2" charset="0"/>
                <a:ea typeface="Roboto Regular" pitchFamily="2" charset="0"/>
                <a:cs typeface="Calibri Light"/>
              </a:rPr>
              <a:t>am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consectetur</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adipiscing</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li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ed</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finib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tell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ari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mass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agitt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celerisqu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tia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u</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imperdi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felis</a:t>
            </a:r>
            <a:r>
              <a:rPr lang="en-US" sz="1600" dirty="0">
                <a:latin typeface="Roboto Regular" pitchFamily="2" charset="0"/>
                <a:ea typeface="Roboto Regular" pitchFamily="2" charset="0"/>
                <a:cs typeface="Calibri Light"/>
              </a:rPr>
              <a:t>. In </a:t>
            </a:r>
            <a:r>
              <a:rPr lang="en-US" sz="1600" dirty="0" err="1">
                <a:latin typeface="Roboto Regular" pitchFamily="2" charset="0"/>
                <a:ea typeface="Roboto Regular" pitchFamily="2" charset="0"/>
                <a:cs typeface="Calibri Light"/>
              </a:rPr>
              <a:t>hac</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habitass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plate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dictums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U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bibend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enenat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lectus</a:t>
            </a:r>
            <a:r>
              <a:rPr lang="en-US" sz="1600" dirty="0">
                <a:latin typeface="Roboto Regular" pitchFamily="2" charset="0"/>
                <a:ea typeface="Roboto Regular" pitchFamily="2" charset="0"/>
                <a:cs typeface="Calibri Light"/>
              </a:rPr>
              <a:t> ac tempus. </a:t>
            </a:r>
            <a:r>
              <a:rPr lang="en-US" sz="1600" dirty="0" err="1">
                <a:latin typeface="Roboto Regular" pitchFamily="2" charset="0"/>
                <a:ea typeface="Roboto Regular" pitchFamily="2" charset="0"/>
                <a:cs typeface="Calibri Light"/>
              </a:rPr>
              <a:t>Aenean</a:t>
            </a:r>
            <a:r>
              <a:rPr lang="en-US" sz="1600" dirty="0">
                <a:latin typeface="Roboto Regular" pitchFamily="2" charset="0"/>
                <a:ea typeface="Roboto Regular" pitchFamily="2" charset="0"/>
                <a:cs typeface="Calibri Light"/>
              </a:rPr>
              <a:t> ac </a:t>
            </a:r>
            <a:r>
              <a:rPr lang="en-US" sz="1600" dirty="0" err="1">
                <a:latin typeface="Roboto Regular" pitchFamily="2" charset="0"/>
                <a:ea typeface="Roboto Regular" pitchFamily="2" charset="0"/>
                <a:cs typeface="Calibri Light"/>
              </a:rPr>
              <a:t>viverr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neque</a:t>
            </a:r>
            <a:r>
              <a:rPr lang="en-US" sz="1600" dirty="0">
                <a:latin typeface="Roboto Regular" pitchFamily="2" charset="0"/>
                <a:ea typeface="Roboto Regular" pitchFamily="2" charset="0"/>
                <a:cs typeface="Calibri Light"/>
              </a:rPr>
              <a:t>. Maecenas </a:t>
            </a:r>
            <a:r>
              <a:rPr lang="en-US" sz="1600" dirty="0" err="1">
                <a:latin typeface="Roboto Regular" pitchFamily="2" charset="0"/>
                <a:ea typeface="Roboto Regular" pitchFamily="2" charset="0"/>
                <a:cs typeface="Calibri Light"/>
              </a:rPr>
              <a:t>ullamcorper</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turp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ed</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tell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estibul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bibendum</a:t>
            </a:r>
            <a:r>
              <a:rPr lang="en-US" sz="1600" dirty="0">
                <a:latin typeface="Roboto Regular" pitchFamily="2" charset="0"/>
                <a:ea typeface="Roboto Regular" pitchFamily="2" charset="0"/>
                <a:cs typeface="Calibri Light"/>
              </a:rPr>
              <a:t>. </a:t>
            </a:r>
          </a:p>
          <a:p>
            <a:pPr algn="just">
              <a:lnSpc>
                <a:spcPct val="120000"/>
              </a:lnSpc>
              <a:defRPr/>
            </a:pPr>
            <a:endParaRPr lang="en-US" sz="1600" dirty="0">
              <a:latin typeface="Roboto Regular" pitchFamily="2" charset="0"/>
              <a:ea typeface="Roboto Regular" pitchFamily="2" charset="0"/>
              <a:cs typeface="Calibri Light"/>
            </a:endParaRPr>
          </a:p>
          <a:p>
            <a:pPr algn="just">
              <a:lnSpc>
                <a:spcPct val="120000"/>
              </a:lnSpc>
              <a:defRPr/>
            </a:pPr>
            <a:r>
              <a:rPr lang="en-US" sz="1600" b="1" dirty="0" err="1">
                <a:latin typeface="Roboto Regular" pitchFamily="2" charset="0"/>
                <a:ea typeface="Roboto Regular" pitchFamily="2" charset="0"/>
                <a:cs typeface="Lato Regular"/>
              </a:rPr>
              <a:t>Quisque</a:t>
            </a:r>
            <a:r>
              <a:rPr lang="en-US" sz="1600" b="1" dirty="0">
                <a:latin typeface="Roboto Regular" pitchFamily="2" charset="0"/>
                <a:ea typeface="Roboto Regular" pitchFamily="2" charset="0"/>
                <a:cs typeface="Lato Regular"/>
              </a:rPr>
              <a:t> </a:t>
            </a:r>
            <a:r>
              <a:rPr lang="en-US" sz="1600" b="1" dirty="0" err="1">
                <a:latin typeface="Roboto Regular" pitchFamily="2" charset="0"/>
                <a:ea typeface="Roboto Regular" pitchFamily="2" charset="0"/>
                <a:cs typeface="Lato Regular"/>
              </a:rPr>
              <a:t>sed</a:t>
            </a:r>
            <a:r>
              <a:rPr lang="en-US" sz="1600" b="1" dirty="0">
                <a:latin typeface="Roboto Regular" pitchFamily="2" charset="0"/>
                <a:ea typeface="Roboto Regular" pitchFamily="2" charset="0"/>
                <a:cs typeface="Lato Regular"/>
              </a:rPr>
              <a:t> ex </a:t>
            </a:r>
            <a:r>
              <a:rPr lang="en-US" sz="1600" b="1" dirty="0" err="1">
                <a:latin typeface="Roboto Regular" pitchFamily="2" charset="0"/>
                <a:ea typeface="Roboto Regular" pitchFamily="2" charset="0"/>
                <a:cs typeface="Lato Regular"/>
              </a:rPr>
              <a:t>nec</a:t>
            </a:r>
            <a:r>
              <a:rPr lang="en-US" sz="1600" b="1" dirty="0">
                <a:latin typeface="Roboto Regular" pitchFamily="2" charset="0"/>
                <a:ea typeface="Roboto Regular" pitchFamily="2" charset="0"/>
                <a:cs typeface="Lato Regular"/>
              </a:rPr>
              <a:t> </a:t>
            </a:r>
            <a:r>
              <a:rPr lang="en-US" sz="1600" dirty="0">
                <a:latin typeface="Roboto Regular" pitchFamily="2" charset="0"/>
                <a:ea typeface="Roboto Regular" pitchFamily="2" charset="0"/>
                <a:cs typeface="Calibri Light"/>
              </a:rPr>
              <a:t>quam dictum </a:t>
            </a:r>
            <a:r>
              <a:rPr lang="en-US" sz="1600" dirty="0" err="1">
                <a:latin typeface="Roboto Regular" pitchFamily="2" charset="0"/>
                <a:ea typeface="Roboto Regular" pitchFamily="2" charset="0"/>
                <a:cs typeface="Calibri Light"/>
              </a:rPr>
              <a:t>venenat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ut</a:t>
            </a:r>
            <a:r>
              <a:rPr lang="en-US" sz="1600" dirty="0">
                <a:latin typeface="Roboto Regular" pitchFamily="2" charset="0"/>
                <a:ea typeface="Roboto Regular" pitchFamily="2" charset="0"/>
                <a:cs typeface="Calibri Light"/>
              </a:rPr>
              <a:t> ac diam. </a:t>
            </a:r>
            <a:r>
              <a:rPr lang="en-US" sz="1600" dirty="0" err="1">
                <a:latin typeface="Roboto Regular" pitchFamily="2" charset="0"/>
                <a:ea typeface="Roboto Regular" pitchFamily="2" charset="0"/>
                <a:cs typeface="Calibri Light"/>
              </a:rPr>
              <a:t>Aliqua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interdum</a:t>
            </a:r>
            <a:r>
              <a:rPr lang="en-US" sz="1600" dirty="0">
                <a:latin typeface="Roboto Regular" pitchFamily="2" charset="0"/>
                <a:ea typeface="Roboto Regular" pitchFamily="2" charset="0"/>
                <a:cs typeface="Calibri Light"/>
              </a:rPr>
              <a:t> gravida </a:t>
            </a:r>
            <a:r>
              <a:rPr lang="en-US" sz="1600" dirty="0" err="1">
                <a:latin typeface="Roboto Regular" pitchFamily="2" charset="0"/>
                <a:ea typeface="Roboto Regular" pitchFamily="2" charset="0"/>
                <a:cs typeface="Calibri Light"/>
              </a:rPr>
              <a:t>molesti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Null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tincidun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li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ed</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placera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hendreri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dia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mass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porttitor</a:t>
            </a:r>
            <a:r>
              <a:rPr lang="en-US" sz="1600" dirty="0">
                <a:latin typeface="Roboto Regular" pitchFamily="2" charset="0"/>
                <a:ea typeface="Roboto Regular" pitchFamily="2" charset="0"/>
                <a:cs typeface="Calibri Light"/>
              </a:rPr>
              <a:t> dolor, ac </a:t>
            </a:r>
            <a:r>
              <a:rPr lang="en-US" sz="1600" dirty="0" err="1">
                <a:latin typeface="Roboto Regular" pitchFamily="2" charset="0"/>
                <a:ea typeface="Roboto Regular" pitchFamily="2" charset="0"/>
                <a:cs typeface="Calibri Light"/>
              </a:rPr>
              <a:t>volutpat</a:t>
            </a:r>
            <a:r>
              <a:rPr lang="en-US" sz="1600" dirty="0">
                <a:latin typeface="Roboto Regular" pitchFamily="2" charset="0"/>
                <a:ea typeface="Roboto Regular" pitchFamily="2" charset="0"/>
                <a:cs typeface="Calibri Light"/>
              </a:rPr>
              <a:t> ante lacus </a:t>
            </a:r>
            <a:r>
              <a:rPr lang="en-US" sz="1600" dirty="0" err="1">
                <a:latin typeface="Roboto Regular" pitchFamily="2" charset="0"/>
                <a:ea typeface="Roboto Regular" pitchFamily="2" charset="0"/>
                <a:cs typeface="Calibri Light"/>
              </a:rPr>
              <a:t>sed</a:t>
            </a:r>
            <a:r>
              <a:rPr lang="en-US" sz="1600" dirty="0">
                <a:latin typeface="Roboto Regular" pitchFamily="2" charset="0"/>
                <a:ea typeface="Roboto Regular" pitchFamily="2" charset="0"/>
                <a:cs typeface="Calibri Light"/>
              </a:rPr>
              <a:t> quam. </a:t>
            </a:r>
            <a:r>
              <a:rPr lang="en-US" sz="1600" dirty="0" err="1">
                <a:latin typeface="Roboto Regular" pitchFamily="2" charset="0"/>
                <a:ea typeface="Roboto Regular" pitchFamily="2" charset="0"/>
                <a:cs typeface="Calibri Light"/>
              </a:rPr>
              <a:t>Duis</a:t>
            </a:r>
            <a:r>
              <a:rPr lang="en-US" sz="1600" dirty="0">
                <a:latin typeface="Roboto Regular" pitchFamily="2" charset="0"/>
                <a:ea typeface="Roboto Regular" pitchFamily="2" charset="0"/>
                <a:cs typeface="Calibri Light"/>
              </a:rPr>
              <a:t> id </a:t>
            </a:r>
            <a:r>
              <a:rPr lang="en-US" sz="1600" dirty="0" err="1" smtClean="0">
                <a:latin typeface="Roboto Regular" pitchFamily="2" charset="0"/>
                <a:ea typeface="Roboto Regular" pitchFamily="2" charset="0"/>
                <a:cs typeface="Calibri Light"/>
              </a:rPr>
              <a:t>finibus</a:t>
            </a:r>
            <a:endParaRPr lang="en-US" sz="1600" dirty="0">
              <a:latin typeface="Roboto Regular" pitchFamily="2" charset="0"/>
              <a:ea typeface="Roboto Regular" pitchFamily="2" charset="0"/>
              <a:cs typeface="Calibri Light"/>
            </a:endParaRPr>
          </a:p>
          <a:p>
            <a:pPr algn="just">
              <a:lnSpc>
                <a:spcPct val="120000"/>
              </a:lnSpc>
              <a:defRPr/>
            </a:pPr>
            <a:r>
              <a:rPr lang="en-US" sz="1600" dirty="0" err="1">
                <a:latin typeface="Roboto Regular" pitchFamily="2" charset="0"/>
                <a:ea typeface="Roboto Regular" pitchFamily="2" charset="0"/>
                <a:cs typeface="Calibri Light"/>
              </a:rPr>
              <a:t>Aliquam</a:t>
            </a:r>
            <a:r>
              <a:rPr lang="en-US" sz="1600" dirty="0">
                <a:latin typeface="Roboto Regular" pitchFamily="2" charset="0"/>
                <a:ea typeface="Roboto Regular" pitchFamily="2" charset="0"/>
                <a:cs typeface="Calibri Light"/>
              </a:rPr>
              <a:t> et ante </a:t>
            </a:r>
            <a:r>
              <a:rPr lang="en-US" sz="1600" dirty="0" err="1">
                <a:latin typeface="Roboto Regular" pitchFamily="2" charset="0"/>
                <a:ea typeface="Roboto Regular" pitchFamily="2" charset="0"/>
                <a:cs typeface="Calibri Light"/>
              </a:rPr>
              <a:t>nunc</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Fusc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tincidun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ligula vitae </a:t>
            </a:r>
            <a:r>
              <a:rPr lang="en-US" sz="1600" dirty="0" err="1">
                <a:latin typeface="Roboto Regular" pitchFamily="2" charset="0"/>
                <a:ea typeface="Roboto Regular" pitchFamily="2" charset="0"/>
                <a:cs typeface="Calibri Light"/>
              </a:rPr>
              <a:t>hendreri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Phasellus</a:t>
            </a:r>
            <a:r>
              <a:rPr lang="en-US" sz="1600" dirty="0">
                <a:latin typeface="Roboto Regular" pitchFamily="2" charset="0"/>
                <a:ea typeface="Roboto Regular" pitchFamily="2" charset="0"/>
                <a:cs typeface="Calibri Light"/>
              </a:rPr>
              <a:t> id ligula </a:t>
            </a:r>
            <a:r>
              <a:rPr lang="en-US" sz="1600" dirty="0" err="1">
                <a:latin typeface="Roboto Regular" pitchFamily="2" charset="0"/>
                <a:ea typeface="Roboto Regular" pitchFamily="2" charset="0"/>
                <a:cs typeface="Calibri Light"/>
              </a:rPr>
              <a:t>u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ni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lement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bibend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magna. </a:t>
            </a:r>
            <a:r>
              <a:rPr lang="en-US" sz="1600" dirty="0" err="1">
                <a:latin typeface="Roboto Regular" pitchFamily="2" charset="0"/>
                <a:ea typeface="Roboto Regular" pitchFamily="2" charset="0"/>
                <a:cs typeface="Calibri Light"/>
              </a:rPr>
              <a:t>Fusce</a:t>
            </a:r>
            <a:r>
              <a:rPr lang="en-US" sz="1600" dirty="0">
                <a:latin typeface="Roboto Regular" pitchFamily="2" charset="0"/>
                <a:ea typeface="Roboto Regular" pitchFamily="2" charset="0"/>
                <a:cs typeface="Calibri Light"/>
              </a:rPr>
              <a:t> in magna diam. </a:t>
            </a:r>
            <a:r>
              <a:rPr lang="en-US" sz="1600" dirty="0" err="1">
                <a:latin typeface="Roboto Regular" pitchFamily="2" charset="0"/>
                <a:ea typeface="Roboto Regular" pitchFamily="2" charset="0"/>
                <a:cs typeface="Calibri Light"/>
              </a:rPr>
              <a:t>Cras</a:t>
            </a:r>
            <a:r>
              <a:rPr lang="en-US" sz="1600" dirty="0">
                <a:latin typeface="Roboto Regular" pitchFamily="2" charset="0"/>
                <a:ea typeface="Roboto Regular" pitchFamily="2" charset="0"/>
                <a:cs typeface="Calibri Light"/>
              </a:rPr>
              <a:t> dictum </a:t>
            </a:r>
            <a:r>
              <a:rPr lang="en-US" sz="1600" dirty="0" err="1">
                <a:latin typeface="Roboto Regular" pitchFamily="2" charset="0"/>
                <a:ea typeface="Roboto Regular" pitchFamily="2" charset="0"/>
                <a:cs typeface="Calibri Light"/>
              </a:rPr>
              <a:t>suscipi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mauris</a:t>
            </a:r>
            <a:r>
              <a:rPr lang="en-US" sz="1600" dirty="0">
                <a:latin typeface="Roboto Regular" pitchFamily="2" charset="0"/>
                <a:ea typeface="Roboto Regular" pitchFamily="2" charset="0"/>
                <a:cs typeface="Calibri Light"/>
              </a:rPr>
              <a:t>, convallis </a:t>
            </a:r>
            <a:r>
              <a:rPr lang="en-US" sz="1600" dirty="0" err="1">
                <a:latin typeface="Roboto Regular" pitchFamily="2" charset="0"/>
                <a:ea typeface="Roboto Regular" pitchFamily="2" charset="0"/>
                <a:cs typeface="Calibri Light"/>
              </a:rPr>
              <a:t>vehicula</a:t>
            </a:r>
            <a:r>
              <a:rPr lang="en-US" sz="1600" dirty="0">
                <a:latin typeface="Roboto Regular" pitchFamily="2" charset="0"/>
                <a:ea typeface="Roboto Regular" pitchFamily="2" charset="0"/>
                <a:cs typeface="Calibri Light"/>
              </a:rPr>
              <a:t> ex </a:t>
            </a:r>
            <a:r>
              <a:rPr lang="en-US" sz="1600" dirty="0" err="1">
                <a:latin typeface="Roboto Regular" pitchFamily="2" charset="0"/>
                <a:ea typeface="Roboto Regular" pitchFamily="2" charset="0"/>
                <a:cs typeface="Calibri Light"/>
              </a:rPr>
              <a:t>dapibus</a:t>
            </a:r>
            <a:r>
              <a:rPr lang="en-US" sz="1600" dirty="0">
                <a:latin typeface="Roboto Regular" pitchFamily="2" charset="0"/>
                <a:ea typeface="Roboto Regular" pitchFamily="2" charset="0"/>
                <a:cs typeface="Calibri Light"/>
              </a:rPr>
              <a:t> id. </a:t>
            </a:r>
            <a:r>
              <a:rPr lang="en-US" sz="1600" dirty="0" err="1">
                <a:latin typeface="Roboto Regular" pitchFamily="2" charset="0"/>
                <a:ea typeface="Roboto Regular" pitchFamily="2" charset="0"/>
                <a:cs typeface="Calibri Light"/>
              </a:rPr>
              <a:t>Aliqua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nequ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maur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faucib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ulputate</a:t>
            </a:r>
            <a:r>
              <a:rPr lang="en-US" sz="1600" dirty="0">
                <a:latin typeface="Roboto Regular" pitchFamily="2" charset="0"/>
                <a:ea typeface="Roboto Regular" pitchFamily="2" charset="0"/>
                <a:cs typeface="Calibri Light"/>
              </a:rPr>
              <a:t> a, </a:t>
            </a:r>
            <a:r>
              <a:rPr lang="en-US" sz="1600" dirty="0" err="1">
                <a:latin typeface="Roboto Regular" pitchFamily="2" charset="0"/>
                <a:ea typeface="Roboto Regular" pitchFamily="2" charset="0"/>
                <a:cs typeface="Calibri Light"/>
              </a:rPr>
              <a:t>viverra</a:t>
            </a:r>
            <a:r>
              <a:rPr lang="en-US" sz="1600" dirty="0">
                <a:latin typeface="Roboto Regular" pitchFamily="2" charset="0"/>
                <a:ea typeface="Roboto Regular" pitchFamily="2" charset="0"/>
                <a:cs typeface="Calibri Light"/>
              </a:rPr>
              <a:t> et diam. Maecenas </a:t>
            </a:r>
            <a:r>
              <a:rPr lang="en-US" sz="1600" dirty="0" err="1">
                <a:latin typeface="Roboto Regular" pitchFamily="2" charset="0"/>
                <a:ea typeface="Roboto Regular" pitchFamily="2" charset="0"/>
                <a:cs typeface="Calibri Light"/>
              </a:rPr>
              <a:t>facilis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facilis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odio</a:t>
            </a:r>
            <a:r>
              <a:rPr lang="en-US" sz="1600" dirty="0">
                <a:latin typeface="Roboto Regular" pitchFamily="2" charset="0"/>
                <a:ea typeface="Roboto Regular" pitchFamily="2" charset="0"/>
                <a:cs typeface="Calibri Light"/>
              </a:rPr>
              <a:t> id </a:t>
            </a:r>
            <a:r>
              <a:rPr lang="en-US" sz="1600" dirty="0" err="1">
                <a:latin typeface="Roboto Regular" pitchFamily="2" charset="0"/>
                <a:ea typeface="Roboto Regular" pitchFamily="2" charset="0"/>
                <a:cs typeface="Calibri Light"/>
              </a:rPr>
              <a:t>vari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tia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congu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sta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orci</a:t>
            </a:r>
            <a:r>
              <a:rPr lang="en-US" sz="1600" dirty="0">
                <a:latin typeface="Roboto Regular" pitchFamily="2" charset="0"/>
                <a:ea typeface="Roboto Regular" pitchFamily="2" charset="0"/>
                <a:cs typeface="Calibri Light"/>
              </a:rPr>
              <a:t> at </a:t>
            </a:r>
            <a:r>
              <a:rPr lang="en-US" sz="1600" dirty="0" err="1">
                <a:latin typeface="Roboto Regular" pitchFamily="2" charset="0"/>
                <a:ea typeface="Roboto Regular" pitchFamily="2" charset="0"/>
                <a:cs typeface="Calibri Light"/>
              </a:rPr>
              <a:t>bibendum</a:t>
            </a:r>
            <a:r>
              <a:rPr lang="en-US" sz="1600" dirty="0">
                <a:latin typeface="Roboto Regular" pitchFamily="2" charset="0"/>
                <a:ea typeface="Roboto Regular" pitchFamily="2" charset="0"/>
                <a:cs typeface="Calibri Light"/>
              </a:rPr>
              <a:t>. </a:t>
            </a:r>
          </a:p>
          <a:p>
            <a:pPr algn="just">
              <a:lnSpc>
                <a:spcPct val="120000"/>
              </a:lnSpc>
              <a:defRPr/>
            </a:pPr>
            <a:r>
              <a:rPr lang="en-US" sz="1600" dirty="0" err="1">
                <a:latin typeface="Roboto Regular" pitchFamily="2" charset="0"/>
                <a:ea typeface="Roboto Regular" pitchFamily="2" charset="0"/>
                <a:cs typeface="Calibri Light"/>
              </a:rPr>
              <a:t>Donec</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iverra</a:t>
            </a:r>
            <a:r>
              <a:rPr lang="en-US" sz="1600" dirty="0">
                <a:latin typeface="Roboto Regular" pitchFamily="2" charset="0"/>
                <a:ea typeface="Roboto Regular" pitchFamily="2" charset="0"/>
                <a:cs typeface="Calibri Light"/>
              </a:rPr>
              <a:t> nisi, non </a:t>
            </a:r>
            <a:r>
              <a:rPr lang="en-US" sz="1600" dirty="0" err="1">
                <a:latin typeface="Roboto Regular" pitchFamily="2" charset="0"/>
                <a:ea typeface="Roboto Regular" pitchFamily="2" charset="0"/>
                <a:cs typeface="Calibri Light"/>
              </a:rPr>
              <a:t>luct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arcu</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ed</a:t>
            </a:r>
            <a:r>
              <a:rPr lang="en-US" sz="1600" dirty="0">
                <a:latin typeface="Roboto Regular" pitchFamily="2" charset="0"/>
                <a:ea typeface="Roboto Regular" pitchFamily="2" charset="0"/>
                <a:cs typeface="Calibri Light"/>
              </a:rPr>
              <a:t> ipsum </a:t>
            </a:r>
            <a:r>
              <a:rPr lang="en-US" sz="1600" dirty="0" err="1">
                <a:latin typeface="Roboto Regular" pitchFamily="2" charset="0"/>
                <a:ea typeface="Roboto Regular" pitchFamily="2" charset="0"/>
                <a:cs typeface="Calibri Light"/>
              </a:rPr>
              <a:t>leo</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olutpat</a:t>
            </a:r>
            <a:r>
              <a:rPr lang="en-US" sz="1600" dirty="0">
                <a:latin typeface="Roboto Regular" pitchFamily="2" charset="0"/>
                <a:ea typeface="Roboto Regular" pitchFamily="2" charset="0"/>
                <a:cs typeface="Calibri Light"/>
              </a:rPr>
              <a:t> id convallis vitae, </a:t>
            </a:r>
            <a:r>
              <a:rPr lang="en-US" sz="1600" dirty="0" err="1">
                <a:latin typeface="Roboto Regular" pitchFamily="2" charset="0"/>
                <a:ea typeface="Roboto Regular" pitchFamily="2" charset="0"/>
                <a:cs typeface="Calibri Light"/>
              </a:rPr>
              <a:t>mollis</a:t>
            </a:r>
            <a:r>
              <a:rPr lang="en-US" sz="1600" dirty="0">
                <a:latin typeface="Roboto Regular" pitchFamily="2" charset="0"/>
                <a:ea typeface="Roboto Regular" pitchFamily="2" charset="0"/>
                <a:cs typeface="Calibri Light"/>
              </a:rPr>
              <a:t> ac dui. Cum </a:t>
            </a:r>
            <a:r>
              <a:rPr lang="en-US" sz="1600" dirty="0" err="1">
                <a:latin typeface="Roboto Regular" pitchFamily="2" charset="0"/>
                <a:ea typeface="Roboto Regular" pitchFamily="2" charset="0"/>
                <a:cs typeface="Calibri Light"/>
              </a:rPr>
              <a:t>soci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natoqu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penatibus</a:t>
            </a:r>
            <a:r>
              <a:rPr lang="en-US" sz="1600" dirty="0">
                <a:latin typeface="Roboto Regular" pitchFamily="2" charset="0"/>
                <a:ea typeface="Roboto Regular" pitchFamily="2" charset="0"/>
                <a:cs typeface="Calibri Light"/>
              </a:rPr>
              <a:t> et </a:t>
            </a:r>
            <a:r>
              <a:rPr lang="en-US" sz="1600" dirty="0" err="1">
                <a:latin typeface="Roboto Regular" pitchFamily="2" charset="0"/>
                <a:ea typeface="Roboto Regular" pitchFamily="2" charset="0"/>
                <a:cs typeface="Calibri Light"/>
              </a:rPr>
              <a:t>magnis</a:t>
            </a:r>
            <a:r>
              <a:rPr lang="en-US" sz="1600" dirty="0">
                <a:latin typeface="Roboto Regular" pitchFamily="2" charset="0"/>
                <a:ea typeface="Roboto Regular" pitchFamily="2" charset="0"/>
                <a:cs typeface="Calibri Light"/>
              </a:rPr>
              <a:t> dis parturient </a:t>
            </a:r>
            <a:r>
              <a:rPr lang="en-US" sz="1600" dirty="0" err="1">
                <a:latin typeface="Roboto Regular" pitchFamily="2" charset="0"/>
                <a:ea typeface="Roboto Regular" pitchFamily="2" charset="0"/>
                <a:cs typeface="Calibri Light"/>
              </a:rPr>
              <a:t>monte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nascetur</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ridiculus</a:t>
            </a:r>
            <a:r>
              <a:rPr lang="en-US" sz="1600" dirty="0">
                <a:latin typeface="Roboto Regular" pitchFamily="2" charset="0"/>
                <a:ea typeface="Roboto Regular" pitchFamily="2" charset="0"/>
                <a:cs typeface="Calibri Light"/>
              </a:rPr>
              <a:t> mus. </a:t>
            </a:r>
            <a:r>
              <a:rPr lang="en-US" sz="1600" dirty="0" err="1">
                <a:latin typeface="Roboto Regular" pitchFamily="2" charset="0"/>
                <a:ea typeface="Roboto Regular" pitchFamily="2" charset="0"/>
                <a:cs typeface="Calibri Light"/>
              </a:rPr>
              <a:t>Null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luct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dapib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met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nec</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moll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tiam</a:t>
            </a:r>
            <a:r>
              <a:rPr lang="en-US" sz="1600" dirty="0">
                <a:latin typeface="Roboto Regular" pitchFamily="2" charset="0"/>
                <a:ea typeface="Roboto Regular" pitchFamily="2" charset="0"/>
                <a:cs typeface="Calibri Light"/>
              </a:rPr>
              <a:t> lacus </a:t>
            </a:r>
            <a:r>
              <a:rPr lang="en-US" sz="1600" dirty="0" err="1">
                <a:latin typeface="Roboto Regular" pitchFamily="2" charset="0"/>
                <a:ea typeface="Roboto Regular" pitchFamily="2" charset="0"/>
                <a:cs typeface="Calibri Light"/>
              </a:rPr>
              <a:t>null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bibend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sta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uscipi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u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ollicitudin</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u</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mass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Phasellus</a:t>
            </a:r>
            <a:r>
              <a:rPr lang="en-US" sz="1600" dirty="0">
                <a:latin typeface="Roboto Regular" pitchFamily="2" charset="0"/>
                <a:ea typeface="Roboto Regular" pitchFamily="2" charset="0"/>
                <a:cs typeface="Calibri Light"/>
              </a:rPr>
              <a:t> semper quam </a:t>
            </a:r>
            <a:r>
              <a:rPr lang="en-US" sz="1600" dirty="0" err="1">
                <a:latin typeface="Roboto Regular" pitchFamily="2" charset="0"/>
                <a:ea typeface="Roboto Regular" pitchFamily="2" charset="0"/>
                <a:cs typeface="Calibri Light"/>
              </a:rPr>
              <a:t>justo</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el</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aliquam</a:t>
            </a:r>
            <a:r>
              <a:rPr lang="en-US" sz="1600" dirty="0">
                <a:latin typeface="Roboto Regular" pitchFamily="2" charset="0"/>
                <a:ea typeface="Roboto Regular" pitchFamily="2" charset="0"/>
                <a:cs typeface="Calibri Light"/>
              </a:rPr>
              <a:t> magna </a:t>
            </a:r>
            <a:r>
              <a:rPr lang="en-US" sz="1600" dirty="0" err="1">
                <a:latin typeface="Roboto Regular" pitchFamily="2" charset="0"/>
                <a:ea typeface="Roboto Regular" pitchFamily="2" charset="0"/>
                <a:cs typeface="Calibri Light"/>
              </a:rPr>
              <a:t>lobortis</a:t>
            </a:r>
            <a:r>
              <a:rPr lang="en-US" sz="1600" dirty="0">
                <a:latin typeface="Roboto Regular" pitchFamily="2" charset="0"/>
                <a:ea typeface="Roboto Regular" pitchFamily="2" charset="0"/>
                <a:cs typeface="Calibri Light"/>
              </a:rPr>
              <a:t> at. </a:t>
            </a:r>
            <a:r>
              <a:rPr lang="en-US" sz="1600" dirty="0" err="1">
                <a:latin typeface="Roboto Regular" pitchFamily="2" charset="0"/>
                <a:ea typeface="Roboto Regular" pitchFamily="2" charset="0"/>
                <a:cs typeface="Calibri Light"/>
              </a:rPr>
              <a:t>Donec</a:t>
            </a:r>
            <a:r>
              <a:rPr lang="en-US" sz="1600" dirty="0">
                <a:latin typeface="Roboto Regular" pitchFamily="2" charset="0"/>
                <a:ea typeface="Roboto Regular" pitchFamily="2" charset="0"/>
                <a:cs typeface="Calibri Light"/>
              </a:rPr>
              <a:t> vitae dolor </a:t>
            </a:r>
            <a:r>
              <a:rPr lang="en-US" sz="1600" dirty="0" err="1">
                <a:latin typeface="Roboto Regular" pitchFamily="2" charset="0"/>
                <a:ea typeface="Roboto Regular" pitchFamily="2" charset="0"/>
                <a:cs typeface="Calibri Light"/>
              </a:rPr>
              <a:t>sed</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urn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laore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consectetur</a:t>
            </a:r>
            <a:r>
              <a:rPr lang="en-US" sz="1600" dirty="0">
                <a:latin typeface="Roboto Regular" pitchFamily="2" charset="0"/>
                <a:ea typeface="Roboto Regular" pitchFamily="2" charset="0"/>
                <a:cs typeface="Calibri Light"/>
              </a:rPr>
              <a:t> et a </a:t>
            </a:r>
            <a:r>
              <a:rPr lang="en-US" sz="1600" dirty="0" err="1">
                <a:latin typeface="Roboto Regular" pitchFamily="2" charset="0"/>
                <a:ea typeface="Roboto Regular" pitchFamily="2" charset="0"/>
                <a:cs typeface="Calibri Light"/>
              </a:rPr>
              <a:t>odio</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Cra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estibul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diam</a:t>
            </a:r>
            <a:r>
              <a:rPr lang="en-US" sz="1600" dirty="0">
                <a:latin typeface="Roboto Regular" pitchFamily="2" charset="0"/>
                <a:ea typeface="Roboto Regular" pitchFamily="2" charset="0"/>
                <a:cs typeface="Calibri Light"/>
              </a:rPr>
              <a:t> id </a:t>
            </a:r>
            <a:r>
              <a:rPr lang="en-US" sz="1600" dirty="0" err="1">
                <a:latin typeface="Roboto Regular" pitchFamily="2" charset="0"/>
                <a:ea typeface="Roboto Regular" pitchFamily="2" charset="0"/>
                <a:cs typeface="Calibri Light"/>
              </a:rPr>
              <a:t>risus</a:t>
            </a:r>
            <a:r>
              <a:rPr lang="en-US" sz="1600" dirty="0">
                <a:latin typeface="Roboto Regular" pitchFamily="2" charset="0"/>
                <a:ea typeface="Roboto Regular" pitchFamily="2" charset="0"/>
                <a:cs typeface="Calibri Light"/>
              </a:rPr>
              <a:t> convallis maximus. Lorem ipsum dolor sit </a:t>
            </a:r>
            <a:r>
              <a:rPr lang="en-US" sz="1600" dirty="0" err="1">
                <a:latin typeface="Roboto Regular" pitchFamily="2" charset="0"/>
                <a:ea typeface="Roboto Regular" pitchFamily="2" charset="0"/>
                <a:cs typeface="Calibri Light"/>
              </a:rPr>
              <a:t>am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consectetur</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adipiscing</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lit</a:t>
            </a:r>
            <a:r>
              <a:rPr lang="en-US" sz="1600" dirty="0">
                <a:latin typeface="Roboto Regular" pitchFamily="2" charset="0"/>
                <a:ea typeface="Roboto Regular" pitchFamily="2" charset="0"/>
                <a:cs typeface="Calibri Light"/>
              </a:rPr>
              <a:t>. </a:t>
            </a:r>
          </a:p>
          <a:p>
            <a:pPr algn="just">
              <a:lnSpc>
                <a:spcPct val="120000"/>
              </a:lnSpc>
              <a:defRPr/>
            </a:pPr>
            <a:endParaRPr lang="en-US" sz="1600" dirty="0">
              <a:latin typeface="Roboto Regular" pitchFamily="2" charset="0"/>
              <a:ea typeface="Roboto Regular" pitchFamily="2" charset="0"/>
              <a:cs typeface="Calibri Light"/>
            </a:endParaRPr>
          </a:p>
          <a:p>
            <a:pPr algn="just">
              <a:lnSpc>
                <a:spcPct val="120000"/>
              </a:lnSpc>
              <a:defRPr/>
            </a:pPr>
            <a:r>
              <a:rPr lang="en-US" sz="1600" dirty="0" err="1">
                <a:latin typeface="Roboto Regular" pitchFamily="2" charset="0"/>
                <a:ea typeface="Roboto Regular" pitchFamily="2" charset="0"/>
                <a:cs typeface="Calibri Light"/>
              </a:rPr>
              <a:t>Fusc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tincidun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ligula vitae </a:t>
            </a:r>
            <a:r>
              <a:rPr lang="en-US" sz="1600" dirty="0" err="1">
                <a:latin typeface="Roboto Regular" pitchFamily="2" charset="0"/>
                <a:ea typeface="Roboto Regular" pitchFamily="2" charset="0"/>
                <a:cs typeface="Calibri Light"/>
              </a:rPr>
              <a:t>hendreri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Phasellus</a:t>
            </a:r>
            <a:r>
              <a:rPr lang="en-US" sz="1600" dirty="0">
                <a:latin typeface="Roboto Regular" pitchFamily="2" charset="0"/>
                <a:ea typeface="Roboto Regular" pitchFamily="2" charset="0"/>
                <a:cs typeface="Calibri Light"/>
              </a:rPr>
              <a:t> id ligula </a:t>
            </a:r>
            <a:r>
              <a:rPr lang="en-US" sz="1600" dirty="0" err="1">
                <a:latin typeface="Roboto Regular" pitchFamily="2" charset="0"/>
                <a:ea typeface="Roboto Regular" pitchFamily="2" charset="0"/>
                <a:cs typeface="Calibri Light"/>
              </a:rPr>
              <a:t>u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ni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lement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bibend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magna. </a:t>
            </a:r>
            <a:r>
              <a:rPr lang="en-US" sz="1600" dirty="0" err="1">
                <a:latin typeface="Roboto Regular" pitchFamily="2" charset="0"/>
                <a:ea typeface="Roboto Regular" pitchFamily="2" charset="0"/>
                <a:cs typeface="Calibri Light"/>
              </a:rPr>
              <a:t>Fusce</a:t>
            </a:r>
            <a:r>
              <a:rPr lang="en-US" sz="1600" dirty="0">
                <a:latin typeface="Roboto Regular" pitchFamily="2" charset="0"/>
                <a:ea typeface="Roboto Regular" pitchFamily="2" charset="0"/>
                <a:cs typeface="Calibri Light"/>
              </a:rPr>
              <a:t> in magna diam. </a:t>
            </a:r>
          </a:p>
        </p:txBody>
      </p:sp>
      <p:sp>
        <p:nvSpPr>
          <p:cNvPr id="8"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3956262939"/>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column bullets</a:t>
            </a:r>
            <a:endParaRPr lang="en-US" dirty="0"/>
          </a:p>
        </p:txBody>
      </p:sp>
      <p:sp>
        <p:nvSpPr>
          <p:cNvPr id="3" name="Rectangle 2"/>
          <p:cNvSpPr/>
          <p:nvPr/>
        </p:nvSpPr>
        <p:spPr>
          <a:xfrm>
            <a:off x="489744" y="1749287"/>
            <a:ext cx="11861800" cy="4402275"/>
          </a:xfrm>
          <a:prstGeom prst="rect">
            <a:avLst/>
          </a:prstGeom>
        </p:spPr>
        <p:txBody>
          <a:bodyPr wrap="square" numCol="3" spcCol="457200">
            <a:noAutofit/>
          </a:bodyPr>
          <a:lstStyle/>
          <a:p>
            <a:pPr marL="285750" indent="-285750">
              <a:lnSpc>
                <a:spcPct val="120000"/>
              </a:lnSpc>
              <a:buFont typeface="Arial" panose="020B0604020202020204" pitchFamily="34" charset="0"/>
              <a:buChar char="•"/>
              <a:defRPr/>
            </a:pPr>
            <a:r>
              <a:rPr lang="en-US" sz="1600" b="1" dirty="0">
                <a:latin typeface="Roboto Regular" pitchFamily="2" charset="0"/>
                <a:ea typeface="Roboto Regular" pitchFamily="2" charset="0"/>
                <a:cs typeface="Lato Regular"/>
              </a:rPr>
              <a:t>Lorem ipsum dolor </a:t>
            </a:r>
            <a:r>
              <a:rPr lang="en-US" sz="1600" dirty="0">
                <a:latin typeface="Roboto Regular" pitchFamily="2" charset="0"/>
                <a:ea typeface="Roboto Regular" pitchFamily="2" charset="0"/>
                <a:cs typeface="Calibri Light"/>
              </a:rPr>
              <a:t>sit </a:t>
            </a:r>
            <a:r>
              <a:rPr lang="en-US" sz="1600" dirty="0" err="1">
                <a:latin typeface="Roboto Regular" pitchFamily="2" charset="0"/>
                <a:ea typeface="Roboto Regular" pitchFamily="2" charset="0"/>
                <a:cs typeface="Calibri Light"/>
              </a:rPr>
              <a:t>am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consectetur</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adipiscing</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li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ed</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finib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tell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ari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mass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agitt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celerisqu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tia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u</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imperdi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felis</a:t>
            </a:r>
            <a:r>
              <a:rPr lang="en-US" sz="1600" dirty="0">
                <a:latin typeface="Roboto Regular" pitchFamily="2" charset="0"/>
                <a:ea typeface="Roboto Regular" pitchFamily="2" charset="0"/>
                <a:cs typeface="Calibri Light"/>
              </a:rPr>
              <a:t>. In </a:t>
            </a:r>
            <a:r>
              <a:rPr lang="en-US" sz="1600" dirty="0" err="1">
                <a:latin typeface="Roboto Regular" pitchFamily="2" charset="0"/>
                <a:ea typeface="Roboto Regular" pitchFamily="2" charset="0"/>
                <a:cs typeface="Calibri Light"/>
              </a:rPr>
              <a:t>hac</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habitass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plate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dictums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U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bibend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enenat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lectus</a:t>
            </a:r>
            <a:r>
              <a:rPr lang="en-US" sz="1600" dirty="0">
                <a:latin typeface="Roboto Regular" pitchFamily="2" charset="0"/>
                <a:ea typeface="Roboto Regular" pitchFamily="2" charset="0"/>
                <a:cs typeface="Calibri Light"/>
              </a:rPr>
              <a:t> ac tempus. </a:t>
            </a:r>
            <a:r>
              <a:rPr lang="en-US" sz="1600" dirty="0" err="1">
                <a:latin typeface="Roboto Regular" pitchFamily="2" charset="0"/>
                <a:ea typeface="Roboto Regular" pitchFamily="2" charset="0"/>
                <a:cs typeface="Calibri Light"/>
              </a:rPr>
              <a:t>Aenean</a:t>
            </a:r>
            <a:r>
              <a:rPr lang="en-US" sz="1600" dirty="0">
                <a:latin typeface="Roboto Regular" pitchFamily="2" charset="0"/>
                <a:ea typeface="Roboto Regular" pitchFamily="2" charset="0"/>
                <a:cs typeface="Calibri Light"/>
              </a:rPr>
              <a:t> ac </a:t>
            </a:r>
            <a:r>
              <a:rPr lang="en-US" sz="1600" dirty="0" err="1">
                <a:latin typeface="Roboto Regular" pitchFamily="2" charset="0"/>
                <a:ea typeface="Roboto Regular" pitchFamily="2" charset="0"/>
                <a:cs typeface="Calibri Light"/>
              </a:rPr>
              <a:t>viverr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neque</a:t>
            </a:r>
            <a:r>
              <a:rPr lang="en-US" sz="1600" dirty="0">
                <a:latin typeface="Roboto Regular" pitchFamily="2" charset="0"/>
                <a:ea typeface="Roboto Regular" pitchFamily="2" charset="0"/>
                <a:cs typeface="Calibri Light"/>
              </a:rPr>
              <a:t>. Maecenas </a:t>
            </a:r>
            <a:r>
              <a:rPr lang="en-US" sz="1600" dirty="0" err="1">
                <a:latin typeface="Roboto Regular" pitchFamily="2" charset="0"/>
                <a:ea typeface="Roboto Regular" pitchFamily="2" charset="0"/>
                <a:cs typeface="Calibri Light"/>
              </a:rPr>
              <a:t>ullamcorper</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turp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ed</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tell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estibul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bibendum</a:t>
            </a:r>
            <a:r>
              <a:rPr lang="en-US" sz="1600" dirty="0">
                <a:latin typeface="Roboto Regular" pitchFamily="2" charset="0"/>
                <a:ea typeface="Roboto Regular" pitchFamily="2" charset="0"/>
                <a:cs typeface="Calibri Light"/>
              </a:rPr>
              <a:t>. </a:t>
            </a:r>
          </a:p>
          <a:p>
            <a:pPr marL="285750" indent="-285750">
              <a:lnSpc>
                <a:spcPct val="120000"/>
              </a:lnSpc>
              <a:buFont typeface="Arial" panose="020B0604020202020204" pitchFamily="34" charset="0"/>
              <a:buChar char="•"/>
              <a:defRPr/>
            </a:pPr>
            <a:endParaRPr lang="en-US" sz="1600" dirty="0">
              <a:latin typeface="Roboto Regular" pitchFamily="2" charset="0"/>
              <a:ea typeface="Roboto Regular" pitchFamily="2" charset="0"/>
              <a:cs typeface="Calibri Light"/>
            </a:endParaRPr>
          </a:p>
          <a:p>
            <a:pPr marL="285750" indent="-285750">
              <a:lnSpc>
                <a:spcPct val="120000"/>
              </a:lnSpc>
              <a:buFont typeface="Arial" panose="020B0604020202020204" pitchFamily="34" charset="0"/>
              <a:buChar char="•"/>
              <a:defRPr/>
            </a:pPr>
            <a:r>
              <a:rPr lang="en-US" sz="1600" b="1" dirty="0" err="1">
                <a:latin typeface="Roboto Regular" pitchFamily="2" charset="0"/>
                <a:ea typeface="Roboto Regular" pitchFamily="2" charset="0"/>
                <a:cs typeface="Lato Regular"/>
              </a:rPr>
              <a:t>Quisque</a:t>
            </a:r>
            <a:r>
              <a:rPr lang="en-US" sz="1600" b="1" dirty="0">
                <a:latin typeface="Roboto Regular" pitchFamily="2" charset="0"/>
                <a:ea typeface="Roboto Regular" pitchFamily="2" charset="0"/>
                <a:cs typeface="Lato Regular"/>
              </a:rPr>
              <a:t> </a:t>
            </a:r>
            <a:r>
              <a:rPr lang="en-US" sz="1600" b="1" dirty="0" err="1">
                <a:latin typeface="Roboto Regular" pitchFamily="2" charset="0"/>
                <a:ea typeface="Roboto Regular" pitchFamily="2" charset="0"/>
                <a:cs typeface="Lato Regular"/>
              </a:rPr>
              <a:t>sed</a:t>
            </a:r>
            <a:r>
              <a:rPr lang="en-US" sz="1600" b="1" dirty="0">
                <a:latin typeface="Roboto Regular" pitchFamily="2" charset="0"/>
                <a:ea typeface="Roboto Regular" pitchFamily="2" charset="0"/>
                <a:cs typeface="Lato Regular"/>
              </a:rPr>
              <a:t> ex </a:t>
            </a:r>
            <a:r>
              <a:rPr lang="en-US" sz="1600" b="1" dirty="0" err="1">
                <a:latin typeface="Roboto Regular" pitchFamily="2" charset="0"/>
                <a:ea typeface="Roboto Regular" pitchFamily="2" charset="0"/>
                <a:cs typeface="Lato Regular"/>
              </a:rPr>
              <a:t>nec</a:t>
            </a:r>
            <a:r>
              <a:rPr lang="en-US" sz="1600" b="1" dirty="0">
                <a:latin typeface="Roboto Regular" pitchFamily="2" charset="0"/>
                <a:ea typeface="Roboto Regular" pitchFamily="2" charset="0"/>
                <a:cs typeface="Lato Regular"/>
              </a:rPr>
              <a:t> </a:t>
            </a:r>
            <a:r>
              <a:rPr lang="en-US" sz="1600" dirty="0">
                <a:latin typeface="Roboto Regular" pitchFamily="2" charset="0"/>
                <a:ea typeface="Roboto Regular" pitchFamily="2" charset="0"/>
                <a:cs typeface="Calibri Light"/>
              </a:rPr>
              <a:t>quam dictum </a:t>
            </a:r>
            <a:r>
              <a:rPr lang="en-US" sz="1600" dirty="0" err="1">
                <a:latin typeface="Roboto Regular" pitchFamily="2" charset="0"/>
                <a:ea typeface="Roboto Regular" pitchFamily="2" charset="0"/>
                <a:cs typeface="Calibri Light"/>
              </a:rPr>
              <a:t>venenat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ut</a:t>
            </a:r>
            <a:r>
              <a:rPr lang="en-US" sz="1600" dirty="0">
                <a:latin typeface="Roboto Regular" pitchFamily="2" charset="0"/>
                <a:ea typeface="Roboto Regular" pitchFamily="2" charset="0"/>
                <a:cs typeface="Calibri Light"/>
              </a:rPr>
              <a:t> ac diam. </a:t>
            </a:r>
            <a:r>
              <a:rPr lang="en-US" sz="1600" dirty="0" err="1">
                <a:latin typeface="Roboto Regular" pitchFamily="2" charset="0"/>
                <a:ea typeface="Roboto Regular" pitchFamily="2" charset="0"/>
                <a:cs typeface="Calibri Light"/>
              </a:rPr>
              <a:t>Aliqua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interdum</a:t>
            </a:r>
            <a:r>
              <a:rPr lang="en-US" sz="1600" dirty="0">
                <a:latin typeface="Roboto Regular" pitchFamily="2" charset="0"/>
                <a:ea typeface="Roboto Regular" pitchFamily="2" charset="0"/>
                <a:cs typeface="Calibri Light"/>
              </a:rPr>
              <a:t> gravida </a:t>
            </a:r>
            <a:r>
              <a:rPr lang="en-US" sz="1600" dirty="0" err="1">
                <a:latin typeface="Roboto Regular" pitchFamily="2" charset="0"/>
                <a:ea typeface="Roboto Regular" pitchFamily="2" charset="0"/>
                <a:cs typeface="Calibri Light"/>
              </a:rPr>
              <a:t>molestie</a:t>
            </a:r>
            <a:r>
              <a:rPr lang="en-US" sz="1600" dirty="0">
                <a:latin typeface="Roboto Regular" pitchFamily="2" charset="0"/>
                <a:ea typeface="Roboto Regular" pitchFamily="2" charset="0"/>
                <a:cs typeface="Calibri Light"/>
              </a:rPr>
              <a:t>. </a:t>
            </a:r>
            <a:r>
              <a:rPr lang="en-US" sz="1600" dirty="0" err="1" smtClean="0">
                <a:latin typeface="Roboto Regular" pitchFamily="2" charset="0"/>
                <a:ea typeface="Roboto Regular" pitchFamily="2" charset="0"/>
                <a:cs typeface="Calibri Light"/>
              </a:rPr>
              <a:t>Nulla</a:t>
            </a:r>
            <a:endParaRPr lang="en-US" sz="1600" dirty="0" smtClean="0">
              <a:latin typeface="Roboto Regular" pitchFamily="2" charset="0"/>
              <a:ea typeface="Roboto Regular" pitchFamily="2" charset="0"/>
              <a:cs typeface="Calibri Light"/>
            </a:endParaRPr>
          </a:p>
          <a:p>
            <a:pPr marL="285750" indent="-285750">
              <a:lnSpc>
                <a:spcPct val="120000"/>
              </a:lnSpc>
              <a:buFont typeface="Arial" panose="020B0604020202020204" pitchFamily="34" charset="0"/>
              <a:buChar char="•"/>
              <a:defRPr/>
            </a:pPr>
            <a:endParaRPr lang="en-US" sz="1600" dirty="0">
              <a:latin typeface="Roboto Regular" pitchFamily="2" charset="0"/>
              <a:ea typeface="Roboto Regular" pitchFamily="2" charset="0"/>
              <a:cs typeface="Calibri Light"/>
            </a:endParaRPr>
          </a:p>
          <a:p>
            <a:pPr marL="285750" indent="-285750">
              <a:lnSpc>
                <a:spcPct val="120000"/>
              </a:lnSpc>
              <a:buFont typeface="Arial" panose="020B0604020202020204" pitchFamily="34" charset="0"/>
              <a:buChar char="•"/>
              <a:defRPr/>
            </a:pPr>
            <a:r>
              <a:rPr lang="en-US" sz="1600" dirty="0" err="1" smtClean="0">
                <a:latin typeface="Roboto Regular" pitchFamily="2" charset="0"/>
                <a:ea typeface="Roboto Regular" pitchFamily="2" charset="0"/>
                <a:cs typeface="Calibri Light"/>
              </a:rPr>
              <a:t>Aliquam</a:t>
            </a:r>
            <a:r>
              <a:rPr lang="en-US" sz="1600" dirty="0" smtClean="0">
                <a:latin typeface="Roboto Regular" pitchFamily="2" charset="0"/>
                <a:ea typeface="Roboto Regular" pitchFamily="2" charset="0"/>
                <a:cs typeface="Calibri Light"/>
              </a:rPr>
              <a:t> </a:t>
            </a:r>
            <a:r>
              <a:rPr lang="en-US" sz="1600" dirty="0">
                <a:latin typeface="Roboto Regular" pitchFamily="2" charset="0"/>
                <a:ea typeface="Roboto Regular" pitchFamily="2" charset="0"/>
                <a:cs typeface="Calibri Light"/>
              </a:rPr>
              <a:t>et ante </a:t>
            </a:r>
            <a:r>
              <a:rPr lang="en-US" sz="1600" dirty="0" err="1">
                <a:latin typeface="Roboto Regular" pitchFamily="2" charset="0"/>
                <a:ea typeface="Roboto Regular" pitchFamily="2" charset="0"/>
                <a:cs typeface="Calibri Light"/>
              </a:rPr>
              <a:t>nunc</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Fusc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tincidun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ligula vitae </a:t>
            </a:r>
            <a:r>
              <a:rPr lang="en-US" sz="1600" dirty="0" err="1">
                <a:latin typeface="Roboto Regular" pitchFamily="2" charset="0"/>
                <a:ea typeface="Roboto Regular" pitchFamily="2" charset="0"/>
                <a:cs typeface="Calibri Light"/>
              </a:rPr>
              <a:t>hendreri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Phasellus</a:t>
            </a:r>
            <a:r>
              <a:rPr lang="en-US" sz="1600" dirty="0">
                <a:latin typeface="Roboto Regular" pitchFamily="2" charset="0"/>
                <a:ea typeface="Roboto Regular" pitchFamily="2" charset="0"/>
                <a:cs typeface="Calibri Light"/>
              </a:rPr>
              <a:t> id ligula </a:t>
            </a:r>
            <a:r>
              <a:rPr lang="en-US" sz="1600" dirty="0" err="1">
                <a:latin typeface="Roboto Regular" pitchFamily="2" charset="0"/>
                <a:ea typeface="Roboto Regular" pitchFamily="2" charset="0"/>
                <a:cs typeface="Calibri Light"/>
              </a:rPr>
              <a:t>u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ni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lement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bibend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magna. </a:t>
            </a:r>
            <a:r>
              <a:rPr lang="en-US" sz="1600" dirty="0" err="1">
                <a:latin typeface="Roboto Regular" pitchFamily="2" charset="0"/>
                <a:ea typeface="Roboto Regular" pitchFamily="2" charset="0"/>
                <a:cs typeface="Calibri Light"/>
              </a:rPr>
              <a:t>Fusce</a:t>
            </a:r>
            <a:r>
              <a:rPr lang="en-US" sz="1600" dirty="0">
                <a:latin typeface="Roboto Regular" pitchFamily="2" charset="0"/>
                <a:ea typeface="Roboto Regular" pitchFamily="2" charset="0"/>
                <a:cs typeface="Calibri Light"/>
              </a:rPr>
              <a:t> in magna diam. </a:t>
            </a:r>
            <a:r>
              <a:rPr lang="en-US" sz="1600" dirty="0" err="1">
                <a:latin typeface="Roboto Regular" pitchFamily="2" charset="0"/>
                <a:ea typeface="Roboto Regular" pitchFamily="2" charset="0"/>
                <a:cs typeface="Calibri Light"/>
              </a:rPr>
              <a:t>Cras</a:t>
            </a:r>
            <a:r>
              <a:rPr lang="en-US" sz="1600" dirty="0">
                <a:latin typeface="Roboto Regular" pitchFamily="2" charset="0"/>
                <a:ea typeface="Roboto Regular" pitchFamily="2" charset="0"/>
                <a:cs typeface="Calibri Light"/>
              </a:rPr>
              <a:t> dictum </a:t>
            </a:r>
            <a:r>
              <a:rPr lang="en-US" sz="1600" dirty="0" err="1">
                <a:latin typeface="Roboto Regular" pitchFamily="2" charset="0"/>
                <a:ea typeface="Roboto Regular" pitchFamily="2" charset="0"/>
                <a:cs typeface="Calibri Light"/>
              </a:rPr>
              <a:t>suscipi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mauris</a:t>
            </a:r>
            <a:r>
              <a:rPr lang="en-US" sz="1600" dirty="0">
                <a:latin typeface="Roboto Regular" pitchFamily="2" charset="0"/>
                <a:ea typeface="Roboto Regular" pitchFamily="2" charset="0"/>
                <a:cs typeface="Calibri Light"/>
              </a:rPr>
              <a:t>, convallis </a:t>
            </a:r>
            <a:r>
              <a:rPr lang="en-US" sz="1600" dirty="0" err="1">
                <a:latin typeface="Roboto Regular" pitchFamily="2" charset="0"/>
                <a:ea typeface="Roboto Regular" pitchFamily="2" charset="0"/>
                <a:cs typeface="Calibri Light"/>
              </a:rPr>
              <a:t>vehicula</a:t>
            </a:r>
            <a:r>
              <a:rPr lang="en-US" sz="1600" dirty="0">
                <a:latin typeface="Roboto Regular" pitchFamily="2" charset="0"/>
                <a:ea typeface="Roboto Regular" pitchFamily="2" charset="0"/>
                <a:cs typeface="Calibri Light"/>
              </a:rPr>
              <a:t> ex </a:t>
            </a:r>
            <a:r>
              <a:rPr lang="en-US" sz="1600" dirty="0" err="1">
                <a:latin typeface="Roboto Regular" pitchFamily="2" charset="0"/>
                <a:ea typeface="Roboto Regular" pitchFamily="2" charset="0"/>
                <a:cs typeface="Calibri Light"/>
              </a:rPr>
              <a:t>dapibus</a:t>
            </a:r>
            <a:r>
              <a:rPr lang="en-US" sz="1600" dirty="0">
                <a:latin typeface="Roboto Regular" pitchFamily="2" charset="0"/>
                <a:ea typeface="Roboto Regular" pitchFamily="2" charset="0"/>
                <a:cs typeface="Calibri Light"/>
              </a:rPr>
              <a:t> id. </a:t>
            </a:r>
            <a:r>
              <a:rPr lang="en-US" sz="1600" dirty="0" err="1">
                <a:latin typeface="Roboto Regular" pitchFamily="2" charset="0"/>
                <a:ea typeface="Roboto Regular" pitchFamily="2" charset="0"/>
                <a:cs typeface="Calibri Light"/>
              </a:rPr>
              <a:t>Aliqua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nequ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maur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faucib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ulputate</a:t>
            </a:r>
            <a:r>
              <a:rPr lang="en-US" sz="1600" dirty="0">
                <a:latin typeface="Roboto Regular" pitchFamily="2" charset="0"/>
                <a:ea typeface="Roboto Regular" pitchFamily="2" charset="0"/>
                <a:cs typeface="Calibri Light"/>
              </a:rPr>
              <a:t> a, </a:t>
            </a:r>
            <a:r>
              <a:rPr lang="en-US" sz="1600" dirty="0" err="1">
                <a:latin typeface="Roboto Regular" pitchFamily="2" charset="0"/>
                <a:ea typeface="Roboto Regular" pitchFamily="2" charset="0"/>
                <a:cs typeface="Calibri Light"/>
              </a:rPr>
              <a:t>viverra</a:t>
            </a:r>
            <a:r>
              <a:rPr lang="en-US" sz="1600" dirty="0">
                <a:latin typeface="Roboto Regular" pitchFamily="2" charset="0"/>
                <a:ea typeface="Roboto Regular" pitchFamily="2" charset="0"/>
                <a:cs typeface="Calibri Light"/>
              </a:rPr>
              <a:t> et diam. Maecenas </a:t>
            </a:r>
            <a:r>
              <a:rPr lang="en-US" sz="1600" dirty="0" err="1">
                <a:latin typeface="Roboto Regular" pitchFamily="2" charset="0"/>
                <a:ea typeface="Roboto Regular" pitchFamily="2" charset="0"/>
                <a:cs typeface="Calibri Light"/>
              </a:rPr>
              <a:t>facilis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facilis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odio</a:t>
            </a:r>
            <a:r>
              <a:rPr lang="en-US" sz="1600" dirty="0">
                <a:latin typeface="Roboto Regular" pitchFamily="2" charset="0"/>
                <a:ea typeface="Roboto Regular" pitchFamily="2" charset="0"/>
                <a:cs typeface="Calibri Light"/>
              </a:rPr>
              <a:t> id </a:t>
            </a:r>
            <a:r>
              <a:rPr lang="en-US" sz="1600" dirty="0" err="1">
                <a:latin typeface="Roboto Regular" pitchFamily="2" charset="0"/>
                <a:ea typeface="Roboto Regular" pitchFamily="2" charset="0"/>
                <a:cs typeface="Calibri Light"/>
              </a:rPr>
              <a:t>varius</a:t>
            </a:r>
            <a:r>
              <a:rPr lang="en-US" sz="1600" dirty="0">
                <a:latin typeface="Roboto Regular" pitchFamily="2" charset="0"/>
                <a:ea typeface="Roboto Regular" pitchFamily="2" charset="0"/>
                <a:cs typeface="Calibri Light"/>
              </a:rPr>
              <a:t>. </a:t>
            </a:r>
            <a:endParaRPr lang="en-US" sz="1600" dirty="0" smtClean="0">
              <a:latin typeface="Roboto Regular" pitchFamily="2" charset="0"/>
              <a:ea typeface="Roboto Regular" pitchFamily="2" charset="0"/>
              <a:cs typeface="Calibri Light"/>
            </a:endParaRPr>
          </a:p>
          <a:p>
            <a:pPr marL="285750" indent="-285750">
              <a:lnSpc>
                <a:spcPct val="120000"/>
              </a:lnSpc>
              <a:buFont typeface="Arial" panose="020B0604020202020204" pitchFamily="34" charset="0"/>
              <a:buChar char="•"/>
              <a:defRPr/>
            </a:pPr>
            <a:endParaRPr lang="en-US" sz="1600" dirty="0">
              <a:latin typeface="Roboto Regular" pitchFamily="2" charset="0"/>
              <a:ea typeface="Roboto Regular" pitchFamily="2" charset="0"/>
              <a:cs typeface="Calibri Light"/>
            </a:endParaRPr>
          </a:p>
          <a:p>
            <a:pPr marL="285750" indent="-285750">
              <a:lnSpc>
                <a:spcPct val="120000"/>
              </a:lnSpc>
              <a:buFont typeface="Arial" panose="020B0604020202020204" pitchFamily="34" charset="0"/>
              <a:buChar char="•"/>
              <a:defRPr/>
            </a:pPr>
            <a:r>
              <a:rPr lang="en-US" sz="1600" dirty="0" err="1" smtClean="0">
                <a:latin typeface="Roboto Regular" pitchFamily="2" charset="0"/>
                <a:ea typeface="Roboto Regular" pitchFamily="2" charset="0"/>
                <a:cs typeface="Calibri Light"/>
              </a:rPr>
              <a:t>Donec</a:t>
            </a:r>
            <a:r>
              <a:rPr lang="en-US" sz="1600" dirty="0" smtClean="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iverra</a:t>
            </a:r>
            <a:r>
              <a:rPr lang="en-US" sz="1600" dirty="0">
                <a:latin typeface="Roboto Regular" pitchFamily="2" charset="0"/>
                <a:ea typeface="Roboto Regular" pitchFamily="2" charset="0"/>
                <a:cs typeface="Calibri Light"/>
              </a:rPr>
              <a:t> nisi, non </a:t>
            </a:r>
            <a:r>
              <a:rPr lang="en-US" sz="1600" dirty="0" err="1">
                <a:latin typeface="Roboto Regular" pitchFamily="2" charset="0"/>
                <a:ea typeface="Roboto Regular" pitchFamily="2" charset="0"/>
                <a:cs typeface="Calibri Light"/>
              </a:rPr>
              <a:t>luct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arcu</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ed</a:t>
            </a:r>
            <a:r>
              <a:rPr lang="en-US" sz="1600" dirty="0">
                <a:latin typeface="Roboto Regular" pitchFamily="2" charset="0"/>
                <a:ea typeface="Roboto Regular" pitchFamily="2" charset="0"/>
                <a:cs typeface="Calibri Light"/>
              </a:rPr>
              <a:t> ipsum </a:t>
            </a:r>
            <a:r>
              <a:rPr lang="en-US" sz="1600" dirty="0" err="1">
                <a:latin typeface="Roboto Regular" pitchFamily="2" charset="0"/>
                <a:ea typeface="Roboto Regular" pitchFamily="2" charset="0"/>
                <a:cs typeface="Calibri Light"/>
              </a:rPr>
              <a:t>leo</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volutpat</a:t>
            </a:r>
            <a:r>
              <a:rPr lang="en-US" sz="1600" dirty="0">
                <a:latin typeface="Roboto Regular" pitchFamily="2" charset="0"/>
                <a:ea typeface="Roboto Regular" pitchFamily="2" charset="0"/>
                <a:cs typeface="Calibri Light"/>
              </a:rPr>
              <a:t> id </a:t>
            </a:r>
            <a:endParaRPr lang="en-US" sz="1600" dirty="0" smtClean="0">
              <a:latin typeface="Roboto Regular" pitchFamily="2" charset="0"/>
              <a:ea typeface="Roboto Regular" pitchFamily="2" charset="0"/>
              <a:cs typeface="Calibri Light"/>
            </a:endParaRPr>
          </a:p>
          <a:p>
            <a:pPr marL="285750" indent="-285750">
              <a:lnSpc>
                <a:spcPct val="120000"/>
              </a:lnSpc>
              <a:buFont typeface="Arial" panose="020B0604020202020204" pitchFamily="34" charset="0"/>
              <a:buChar char="•"/>
              <a:defRPr/>
            </a:pPr>
            <a:r>
              <a:rPr lang="en-US" sz="1600" dirty="0">
                <a:latin typeface="Roboto Regular" pitchFamily="2" charset="0"/>
                <a:ea typeface="Roboto Regular" pitchFamily="2" charset="0"/>
                <a:cs typeface="Calibri Light"/>
              </a:rPr>
              <a:t>C</a:t>
            </a:r>
            <a:r>
              <a:rPr lang="en-US" sz="1600" dirty="0" smtClean="0">
                <a:latin typeface="Roboto Regular" pitchFamily="2" charset="0"/>
                <a:ea typeface="Roboto Regular" pitchFamily="2" charset="0"/>
                <a:cs typeface="Calibri Light"/>
              </a:rPr>
              <a:t>onvallis </a:t>
            </a:r>
            <a:r>
              <a:rPr lang="en-US" sz="1600" dirty="0">
                <a:latin typeface="Roboto Regular" pitchFamily="2" charset="0"/>
                <a:ea typeface="Roboto Regular" pitchFamily="2" charset="0"/>
                <a:cs typeface="Calibri Light"/>
              </a:rPr>
              <a:t>vitae, </a:t>
            </a:r>
            <a:r>
              <a:rPr lang="en-US" sz="1600" dirty="0" err="1">
                <a:latin typeface="Roboto Regular" pitchFamily="2" charset="0"/>
                <a:ea typeface="Roboto Regular" pitchFamily="2" charset="0"/>
                <a:cs typeface="Calibri Light"/>
              </a:rPr>
              <a:t>mollis</a:t>
            </a:r>
            <a:r>
              <a:rPr lang="en-US" sz="1600" dirty="0">
                <a:latin typeface="Roboto Regular" pitchFamily="2" charset="0"/>
                <a:ea typeface="Roboto Regular" pitchFamily="2" charset="0"/>
                <a:cs typeface="Calibri Light"/>
              </a:rPr>
              <a:t> ac dui. Cum </a:t>
            </a:r>
            <a:r>
              <a:rPr lang="en-US" sz="1600" dirty="0" err="1">
                <a:latin typeface="Roboto Regular" pitchFamily="2" charset="0"/>
                <a:ea typeface="Roboto Regular" pitchFamily="2" charset="0"/>
                <a:cs typeface="Calibri Light"/>
              </a:rPr>
              <a:t>soci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natoqu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penatibus</a:t>
            </a:r>
            <a:r>
              <a:rPr lang="en-US" sz="1600" dirty="0">
                <a:latin typeface="Roboto Regular" pitchFamily="2" charset="0"/>
                <a:ea typeface="Roboto Regular" pitchFamily="2" charset="0"/>
                <a:cs typeface="Calibri Light"/>
              </a:rPr>
              <a:t> et </a:t>
            </a:r>
            <a:r>
              <a:rPr lang="en-US" sz="1600" dirty="0" err="1">
                <a:latin typeface="Roboto Regular" pitchFamily="2" charset="0"/>
                <a:ea typeface="Roboto Regular" pitchFamily="2" charset="0"/>
                <a:cs typeface="Calibri Light"/>
              </a:rPr>
              <a:t>magnis</a:t>
            </a:r>
            <a:r>
              <a:rPr lang="en-US" sz="1600" dirty="0">
                <a:latin typeface="Roboto Regular" pitchFamily="2" charset="0"/>
                <a:ea typeface="Roboto Regular" pitchFamily="2" charset="0"/>
                <a:cs typeface="Calibri Light"/>
              </a:rPr>
              <a:t> dis parturient </a:t>
            </a:r>
            <a:r>
              <a:rPr lang="en-US" sz="1600" dirty="0" err="1">
                <a:latin typeface="Roboto Regular" pitchFamily="2" charset="0"/>
                <a:ea typeface="Roboto Regular" pitchFamily="2" charset="0"/>
                <a:cs typeface="Calibri Light"/>
              </a:rPr>
              <a:t>monte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nascetur</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ridiculus</a:t>
            </a:r>
            <a:r>
              <a:rPr lang="en-US" sz="1600" dirty="0">
                <a:latin typeface="Roboto Regular" pitchFamily="2" charset="0"/>
                <a:ea typeface="Roboto Regular" pitchFamily="2" charset="0"/>
                <a:cs typeface="Calibri Light"/>
              </a:rPr>
              <a:t> mus. </a:t>
            </a:r>
            <a:r>
              <a:rPr lang="en-US" sz="1600" dirty="0" err="1">
                <a:latin typeface="Roboto Regular" pitchFamily="2" charset="0"/>
                <a:ea typeface="Roboto Regular" pitchFamily="2" charset="0"/>
                <a:cs typeface="Calibri Light"/>
              </a:rPr>
              <a:t>Null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luct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dapib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metu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nec</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molli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tiam</a:t>
            </a:r>
            <a:r>
              <a:rPr lang="en-US" sz="1600" dirty="0">
                <a:latin typeface="Roboto Regular" pitchFamily="2" charset="0"/>
                <a:ea typeface="Roboto Regular" pitchFamily="2" charset="0"/>
                <a:cs typeface="Calibri Light"/>
              </a:rPr>
              <a:t> lacus </a:t>
            </a:r>
            <a:r>
              <a:rPr lang="en-US" sz="1600" dirty="0" err="1">
                <a:latin typeface="Roboto Regular" pitchFamily="2" charset="0"/>
                <a:ea typeface="Roboto Regular" pitchFamily="2" charset="0"/>
                <a:cs typeface="Calibri Light"/>
              </a:rPr>
              <a:t>nulla</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bibend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stas</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uscipi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u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sollicitudin</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u</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massa</a:t>
            </a:r>
            <a:r>
              <a:rPr lang="en-US" sz="1600" dirty="0">
                <a:latin typeface="Roboto Regular" pitchFamily="2" charset="0"/>
                <a:ea typeface="Roboto Regular" pitchFamily="2" charset="0"/>
                <a:cs typeface="Calibri Light"/>
              </a:rPr>
              <a:t>. </a:t>
            </a:r>
            <a:r>
              <a:rPr lang="en-US" sz="1600" dirty="0" err="1" smtClean="0">
                <a:latin typeface="Roboto Regular" pitchFamily="2" charset="0"/>
                <a:ea typeface="Roboto Regular" pitchFamily="2" charset="0"/>
                <a:cs typeface="Calibri Light"/>
              </a:rPr>
              <a:t>Phasellus</a:t>
            </a:r>
            <a:endParaRPr lang="en-US" sz="1600" dirty="0" smtClean="0">
              <a:latin typeface="Roboto Regular" pitchFamily="2" charset="0"/>
              <a:ea typeface="Roboto Regular" pitchFamily="2" charset="0"/>
              <a:cs typeface="Calibri Light"/>
            </a:endParaRPr>
          </a:p>
          <a:p>
            <a:pPr marL="285750" indent="-285750">
              <a:lnSpc>
                <a:spcPct val="120000"/>
              </a:lnSpc>
              <a:buFont typeface="Arial" panose="020B0604020202020204" pitchFamily="34" charset="0"/>
              <a:buChar char="•"/>
              <a:defRPr/>
            </a:pPr>
            <a:endParaRPr lang="en-US" sz="1600" dirty="0">
              <a:latin typeface="Roboto Regular" pitchFamily="2" charset="0"/>
              <a:ea typeface="Roboto Regular" pitchFamily="2" charset="0"/>
              <a:cs typeface="Calibri Light"/>
            </a:endParaRPr>
          </a:p>
          <a:p>
            <a:pPr marL="285750" indent="-285750">
              <a:lnSpc>
                <a:spcPct val="120000"/>
              </a:lnSpc>
              <a:buFont typeface="Arial" panose="020B0604020202020204" pitchFamily="34" charset="0"/>
              <a:buChar char="•"/>
              <a:defRPr/>
            </a:pPr>
            <a:r>
              <a:rPr lang="en-US" sz="1600" dirty="0" err="1">
                <a:latin typeface="Roboto Regular" pitchFamily="2" charset="0"/>
                <a:ea typeface="Roboto Regular" pitchFamily="2" charset="0"/>
                <a:cs typeface="Calibri Light"/>
              </a:rPr>
              <a:t>Fusce</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tincidun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ligula vitae </a:t>
            </a:r>
            <a:r>
              <a:rPr lang="en-US" sz="1600" dirty="0" err="1">
                <a:latin typeface="Roboto Regular" pitchFamily="2" charset="0"/>
                <a:ea typeface="Roboto Regular" pitchFamily="2" charset="0"/>
                <a:cs typeface="Calibri Light"/>
              </a:rPr>
              <a:t>hendreri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Phasellus</a:t>
            </a:r>
            <a:r>
              <a:rPr lang="en-US" sz="1600" dirty="0">
                <a:latin typeface="Roboto Regular" pitchFamily="2" charset="0"/>
                <a:ea typeface="Roboto Regular" pitchFamily="2" charset="0"/>
                <a:cs typeface="Calibri Light"/>
              </a:rPr>
              <a:t> id ligula </a:t>
            </a:r>
            <a:r>
              <a:rPr lang="en-US" sz="1600" dirty="0" err="1">
                <a:latin typeface="Roboto Regular" pitchFamily="2" charset="0"/>
                <a:ea typeface="Roboto Regular" pitchFamily="2" charset="0"/>
                <a:cs typeface="Calibri Light"/>
              </a:rPr>
              <a:t>u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ni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lement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bibendum</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a:t>
            </a:r>
            <a:r>
              <a:rPr lang="en-US" sz="1600" dirty="0" err="1">
                <a:latin typeface="Roboto Regular" pitchFamily="2" charset="0"/>
                <a:ea typeface="Roboto Regular" pitchFamily="2" charset="0"/>
                <a:cs typeface="Calibri Light"/>
              </a:rPr>
              <a:t>eget</a:t>
            </a:r>
            <a:r>
              <a:rPr lang="en-US" sz="1600" dirty="0">
                <a:latin typeface="Roboto Regular" pitchFamily="2" charset="0"/>
                <a:ea typeface="Roboto Regular" pitchFamily="2" charset="0"/>
                <a:cs typeface="Calibri Light"/>
              </a:rPr>
              <a:t> magna. </a:t>
            </a:r>
            <a:r>
              <a:rPr lang="en-US" sz="1600" dirty="0" err="1">
                <a:latin typeface="Roboto Regular" pitchFamily="2" charset="0"/>
                <a:ea typeface="Roboto Regular" pitchFamily="2" charset="0"/>
                <a:cs typeface="Calibri Light"/>
              </a:rPr>
              <a:t>Fusce</a:t>
            </a:r>
            <a:r>
              <a:rPr lang="en-US" sz="1600" dirty="0">
                <a:latin typeface="Roboto Regular" pitchFamily="2" charset="0"/>
                <a:ea typeface="Roboto Regular" pitchFamily="2" charset="0"/>
                <a:cs typeface="Calibri Light"/>
              </a:rPr>
              <a:t> in magna diam. </a:t>
            </a:r>
          </a:p>
        </p:txBody>
      </p:sp>
      <p:sp>
        <p:nvSpPr>
          <p:cNvPr id="6" name="TextBox 5"/>
          <p:cNvSpPr txBox="1"/>
          <p:nvPr>
            <p:custDataLst>
              <p:tags r:id="rId1"/>
            </p:custDataLst>
          </p:nvPr>
        </p:nvSpPr>
        <p:spPr>
          <a:xfrm>
            <a:off x="355600" y="1230675"/>
            <a:ext cx="3806296" cy="366767"/>
          </a:xfrm>
          <a:prstGeom prst="rect">
            <a:avLst/>
          </a:prstGeom>
          <a:blipFill dpi="0" rotWithShape="1">
            <a:blip r:embed="rId5"/>
            <a:srcRect/>
            <a:tile tx="0" ty="0" sx="100000" sy="100000" flip="xy" algn="b"/>
          </a:blipFill>
        </p:spPr>
        <p:txBody>
          <a:bodyPr vert="horz" wrap="square" lIns="0" tIns="0" rIns="0" bIns="88900" rtlCol="0" anchor="b">
            <a:spAutoFit/>
          </a:bodyPr>
          <a:lstStyle/>
          <a:p>
            <a:pPr algn="ctr"/>
            <a:r>
              <a:rPr lang="en-US" b="1" cap="all" dirty="0" smtClean="0"/>
              <a:t>Insert text here</a:t>
            </a:r>
          </a:p>
        </p:txBody>
      </p:sp>
      <p:sp>
        <p:nvSpPr>
          <p:cNvPr id="7" name="TextBox 6"/>
          <p:cNvSpPr txBox="1"/>
          <p:nvPr>
            <p:custDataLst>
              <p:tags r:id="rId2"/>
            </p:custDataLst>
          </p:nvPr>
        </p:nvSpPr>
        <p:spPr>
          <a:xfrm>
            <a:off x="4517496" y="1230675"/>
            <a:ext cx="3806296" cy="366767"/>
          </a:xfrm>
          <a:prstGeom prst="rect">
            <a:avLst/>
          </a:prstGeom>
          <a:blipFill dpi="0" rotWithShape="1">
            <a:blip r:embed="rId5"/>
            <a:srcRect/>
            <a:tile tx="0" ty="0" sx="100000" sy="100000" flip="xy" algn="b"/>
          </a:blipFill>
        </p:spPr>
        <p:txBody>
          <a:bodyPr vert="horz" wrap="square" lIns="0" tIns="0" rIns="0" bIns="88900" rtlCol="0" anchor="b">
            <a:spAutoFit/>
          </a:bodyPr>
          <a:lstStyle/>
          <a:p>
            <a:pPr algn="ctr"/>
            <a:r>
              <a:rPr lang="en-US" b="1" cap="all" smtClean="0"/>
              <a:t>Insert text here</a:t>
            </a:r>
            <a:endParaRPr lang="en-US" b="1" cap="all" dirty="0" err="1" smtClean="0"/>
          </a:p>
        </p:txBody>
      </p:sp>
      <p:sp>
        <p:nvSpPr>
          <p:cNvPr id="8" name="TextBox 7"/>
          <p:cNvSpPr txBox="1"/>
          <p:nvPr>
            <p:custDataLst>
              <p:tags r:id="rId3"/>
            </p:custDataLst>
          </p:nvPr>
        </p:nvSpPr>
        <p:spPr>
          <a:xfrm>
            <a:off x="8679392" y="1230675"/>
            <a:ext cx="3806296" cy="366767"/>
          </a:xfrm>
          <a:prstGeom prst="rect">
            <a:avLst/>
          </a:prstGeom>
          <a:blipFill dpi="0" rotWithShape="1">
            <a:blip r:embed="rId5"/>
            <a:srcRect/>
            <a:tile tx="0" ty="0" sx="100000" sy="100000" flip="xy" algn="b"/>
          </a:blipFill>
        </p:spPr>
        <p:txBody>
          <a:bodyPr vert="horz" wrap="square" lIns="0" tIns="0" rIns="0" bIns="88900" rtlCol="0" anchor="b">
            <a:spAutoFit/>
          </a:bodyPr>
          <a:lstStyle/>
          <a:p>
            <a:pPr algn="ctr"/>
            <a:r>
              <a:rPr lang="en-US" b="1" cap="all" smtClean="0"/>
              <a:t>Insert text here</a:t>
            </a:r>
            <a:endParaRPr lang="en-US" b="1" cap="all" dirty="0" err="1" smtClean="0"/>
          </a:p>
        </p:txBody>
      </p:sp>
      <p:sp>
        <p:nvSpPr>
          <p:cNvPr id="9"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17541270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bout –  3 key points</a:t>
            </a:r>
            <a:endParaRPr lang="en-US" dirty="0"/>
          </a:p>
        </p:txBody>
      </p:sp>
      <p:sp>
        <p:nvSpPr>
          <p:cNvPr id="4" name="TextBox 3"/>
          <p:cNvSpPr txBox="1"/>
          <p:nvPr/>
        </p:nvSpPr>
        <p:spPr>
          <a:xfrm>
            <a:off x="1459122" y="1284530"/>
            <a:ext cx="10837862" cy="1809690"/>
          </a:xfrm>
          <a:prstGeom prst="rect">
            <a:avLst/>
          </a:prstGeom>
          <a:noFill/>
        </p:spPr>
        <p:txBody>
          <a:bodyPr wrap="square" lIns="182843" tIns="91422" rIns="182843" bIns="91422" rtlCol="0">
            <a:spAutoFit/>
          </a:bodyPr>
          <a:lstStyle/>
          <a:p>
            <a:pPr>
              <a:lnSpc>
                <a:spcPct val="110000"/>
              </a:lnSpc>
            </a:pPr>
            <a:r>
              <a:rPr lang="en-US" sz="1600" dirty="0">
                <a:solidFill>
                  <a:srgbClr val="41B5E8"/>
                </a:solidFill>
                <a:latin typeface="Roboto Regular" pitchFamily="2" charset="0"/>
                <a:ea typeface="Roboto Regular" pitchFamily="2" charset="0"/>
                <a:cs typeface="Calibri Light"/>
              </a:rPr>
              <a:t>Creativity is the key </a:t>
            </a:r>
            <a:r>
              <a:rPr lang="en-US" sz="1600" dirty="0">
                <a:latin typeface="Roboto Regular" pitchFamily="2" charset="0"/>
                <a:ea typeface="Roboto Regular" pitchFamily="2" charset="0"/>
                <a:cs typeface="Calibri Light"/>
              </a:rPr>
              <a:t>to success in the future, and primary education </a:t>
            </a:r>
            <a:r>
              <a:rPr lang="en-US" sz="1600" dirty="0" smtClean="0">
                <a:latin typeface="Roboto Regular" pitchFamily="2" charset="0"/>
                <a:ea typeface="Roboto Regular" pitchFamily="2" charset="0"/>
                <a:cs typeface="Calibri Light"/>
              </a:rPr>
              <a:t>where </a:t>
            </a:r>
            <a:r>
              <a:rPr lang="en-US" sz="1600" dirty="0">
                <a:latin typeface="Roboto Regular" pitchFamily="2" charset="0"/>
                <a:ea typeface="Roboto Regular" pitchFamily="2" charset="0"/>
                <a:cs typeface="Calibri Light"/>
              </a:rPr>
              <a:t>teachers can bring creativity in children at that level keep growing</a:t>
            </a:r>
            <a:r>
              <a:rPr lang="en-US" sz="1600" dirty="0" smtClean="0">
                <a:latin typeface="Roboto Regular" pitchFamily="2" charset="0"/>
                <a:ea typeface="Roboto Regular" pitchFamily="2" charset="0"/>
                <a:cs typeface="Calibri Light"/>
              </a:rPr>
              <a:t>.</a:t>
            </a:r>
          </a:p>
          <a:p>
            <a:pPr>
              <a:lnSpc>
                <a:spcPct val="110000"/>
              </a:lnSpc>
            </a:pPr>
            <a:endParaRPr lang="en-US" sz="1600" dirty="0" smtClean="0">
              <a:latin typeface="Roboto Regular" pitchFamily="2" charset="0"/>
              <a:ea typeface="Roboto Regular" pitchFamily="2" charset="0"/>
              <a:cs typeface="Calibri Light"/>
            </a:endParaRPr>
          </a:p>
          <a:p>
            <a:pPr>
              <a:lnSpc>
                <a:spcPct val="110000"/>
              </a:lnSpc>
            </a:pPr>
            <a:r>
              <a:rPr lang="pt-BR" sz="1600" dirty="0" smtClean="0">
                <a:latin typeface="Roboto Regular" pitchFamily="2" charset="0"/>
                <a:ea typeface="Roboto Regular" pitchFamily="2" charset="0"/>
                <a:cs typeface="Calibri Light"/>
              </a:rPr>
              <a:t>Lorem </a:t>
            </a:r>
            <a:r>
              <a:rPr lang="pt-BR" sz="1600" dirty="0">
                <a:latin typeface="Roboto Regular" pitchFamily="2" charset="0"/>
                <a:ea typeface="Roboto Regular" pitchFamily="2" charset="0"/>
                <a:cs typeface="Calibri Light"/>
              </a:rPr>
              <a:t>ipsum dolor sit amet, consectetur adipiscing elit. Aliquam tincidunt ante nec sem congue convallis. Pellentesque vel mauris quis nisl ornare rutrum in id risus. Proin vehicula ut sem et tempus. Interdum et malesuada fames ac ante ipsum primis in faucibus. Pellentesque</a:t>
            </a:r>
            <a:r>
              <a:rPr lang="pt-BR" sz="1600" dirty="0" smtClean="0">
                <a:latin typeface="Roboto Regular" pitchFamily="2" charset="0"/>
                <a:ea typeface="Roboto Regular" pitchFamily="2" charset="0"/>
                <a:cs typeface="Calibri Light"/>
              </a:rPr>
              <a:t>‹</a:t>
            </a:r>
            <a:endParaRPr lang="en-US" sz="1600" dirty="0">
              <a:latin typeface="Roboto Regular" pitchFamily="2" charset="0"/>
              <a:ea typeface="Roboto Regular" pitchFamily="2" charset="0"/>
              <a:cs typeface="Calibri Light"/>
            </a:endParaRPr>
          </a:p>
        </p:txBody>
      </p:sp>
      <p:grpSp>
        <p:nvGrpSpPr>
          <p:cNvPr id="22" name="Group 21"/>
          <p:cNvGrpSpPr/>
          <p:nvPr>
            <p:custDataLst>
              <p:tags r:id="rId1"/>
            </p:custDataLst>
          </p:nvPr>
        </p:nvGrpSpPr>
        <p:grpSpPr>
          <a:xfrm>
            <a:off x="1584379" y="3567016"/>
            <a:ext cx="9672530" cy="2367188"/>
            <a:chOff x="1666259" y="3567016"/>
            <a:chExt cx="9672530" cy="2367188"/>
          </a:xfrm>
        </p:grpSpPr>
        <p:grpSp>
          <p:nvGrpSpPr>
            <p:cNvPr id="21" name="Group 20"/>
            <p:cNvGrpSpPr/>
            <p:nvPr>
              <p:custDataLst>
                <p:tags r:id="rId2"/>
              </p:custDataLst>
            </p:nvPr>
          </p:nvGrpSpPr>
          <p:grpSpPr>
            <a:xfrm>
              <a:off x="1666259" y="3567016"/>
              <a:ext cx="3058095" cy="2326909"/>
              <a:chOff x="1666259" y="3607295"/>
              <a:chExt cx="3058095" cy="2326909"/>
            </a:xfrm>
          </p:grpSpPr>
          <p:sp>
            <p:nvSpPr>
              <p:cNvPr id="5" name="Rectangle 4"/>
              <p:cNvSpPr/>
              <p:nvPr/>
            </p:nvSpPr>
            <p:spPr>
              <a:xfrm>
                <a:off x="1666259" y="5139151"/>
                <a:ext cx="3058095" cy="795053"/>
              </a:xfrm>
              <a:prstGeom prst="rect">
                <a:avLst/>
              </a:prstGeom>
            </p:spPr>
            <p:txBody>
              <a:bodyPr wrap="square" lIns="182843" tIns="91422" rIns="182843" bIns="91422">
                <a:spAutoFit/>
              </a:bodyPr>
              <a:lstStyle/>
              <a:p>
                <a:pPr algn="ctr">
                  <a:lnSpc>
                    <a:spcPct val="150000"/>
                  </a:lnSpc>
                </a:pPr>
                <a:r>
                  <a:rPr lang="pt-BR" sz="1400" dirty="0">
                    <a:solidFill>
                      <a:srgbClr val="494A4C"/>
                    </a:solidFill>
                    <a:latin typeface="+mj-lt"/>
                    <a:cs typeface="Calibri Light"/>
                  </a:rPr>
                  <a:t>Lorem ipsum dolor sit amet, consectetur</a:t>
                </a:r>
                <a:endParaRPr lang="en-US" sz="1400" dirty="0">
                  <a:solidFill>
                    <a:srgbClr val="494A4C"/>
                  </a:solidFill>
                  <a:latin typeface="+mj-lt"/>
                  <a:cs typeface="Calibri Light"/>
                </a:endParaRPr>
              </a:p>
            </p:txBody>
          </p:sp>
          <p:sp>
            <p:nvSpPr>
              <p:cNvPr id="6" name="TextBox 5"/>
              <p:cNvSpPr txBox="1"/>
              <p:nvPr/>
            </p:nvSpPr>
            <p:spPr>
              <a:xfrm>
                <a:off x="2353446" y="4720148"/>
                <a:ext cx="1683720" cy="461628"/>
              </a:xfrm>
              <a:prstGeom prst="rect">
                <a:avLst/>
              </a:prstGeom>
              <a:noFill/>
            </p:spPr>
            <p:txBody>
              <a:bodyPr wrap="none" lIns="182843" tIns="91422" rIns="182843" bIns="91422" rtlCol="0">
                <a:spAutoFit/>
              </a:bodyPr>
              <a:lstStyle/>
              <a:p>
                <a:pPr algn="ctr"/>
                <a:r>
                  <a:rPr lang="id-ID" b="1" dirty="0" smtClean="0">
                    <a:solidFill>
                      <a:srgbClr val="494A4C"/>
                    </a:solidFill>
                    <a:latin typeface="+mj-lt"/>
                    <a:cs typeface="Lato Regular"/>
                  </a:rPr>
                  <a:t>Drink Coffee</a:t>
                </a:r>
                <a:endParaRPr lang="id-ID" b="1" dirty="0">
                  <a:solidFill>
                    <a:srgbClr val="494A4C"/>
                  </a:solidFill>
                  <a:latin typeface="+mj-lt"/>
                  <a:cs typeface="Lato Regular"/>
                </a:endParaRPr>
              </a:p>
            </p:txBody>
          </p:sp>
          <p:sp>
            <p:nvSpPr>
              <p:cNvPr id="11" name="Freeform 8"/>
              <p:cNvSpPr>
                <a:spLocks noEditPoints="1"/>
              </p:cNvSpPr>
              <p:nvPr/>
            </p:nvSpPr>
            <p:spPr bwMode="auto">
              <a:xfrm>
                <a:off x="2827200" y="3607295"/>
                <a:ext cx="690659" cy="792567"/>
              </a:xfrm>
              <a:custGeom>
                <a:avLst/>
                <a:gdLst>
                  <a:gd name="T0" fmla="*/ 179 w 192"/>
                  <a:gd name="T1" fmla="*/ 35 h 220"/>
                  <a:gd name="T2" fmla="*/ 171 w 192"/>
                  <a:gd name="T3" fmla="*/ 9 h 220"/>
                  <a:gd name="T4" fmla="*/ 158 w 192"/>
                  <a:gd name="T5" fmla="*/ 0 h 220"/>
                  <a:gd name="T6" fmla="*/ 34 w 192"/>
                  <a:gd name="T7" fmla="*/ 0 h 220"/>
                  <a:gd name="T8" fmla="*/ 21 w 192"/>
                  <a:gd name="T9" fmla="*/ 9 h 220"/>
                  <a:gd name="T10" fmla="*/ 13 w 192"/>
                  <a:gd name="T11" fmla="*/ 35 h 220"/>
                  <a:gd name="T12" fmla="*/ 0 w 192"/>
                  <a:gd name="T13" fmla="*/ 48 h 220"/>
                  <a:gd name="T14" fmla="*/ 0 w 192"/>
                  <a:gd name="T15" fmla="*/ 69 h 220"/>
                  <a:gd name="T16" fmla="*/ 13 w 192"/>
                  <a:gd name="T17" fmla="*/ 82 h 220"/>
                  <a:gd name="T18" fmla="*/ 21 w 192"/>
                  <a:gd name="T19" fmla="*/ 82 h 220"/>
                  <a:gd name="T20" fmla="*/ 20 w 192"/>
                  <a:gd name="T21" fmla="*/ 84 h 220"/>
                  <a:gd name="T22" fmla="*/ 34 w 192"/>
                  <a:gd name="T23" fmla="*/ 208 h 220"/>
                  <a:gd name="T24" fmla="*/ 48 w 192"/>
                  <a:gd name="T25" fmla="*/ 220 h 220"/>
                  <a:gd name="T26" fmla="*/ 144 w 192"/>
                  <a:gd name="T27" fmla="*/ 220 h 220"/>
                  <a:gd name="T28" fmla="*/ 158 w 192"/>
                  <a:gd name="T29" fmla="*/ 208 h 220"/>
                  <a:gd name="T30" fmla="*/ 172 w 192"/>
                  <a:gd name="T31" fmla="*/ 84 h 220"/>
                  <a:gd name="T32" fmla="*/ 171 w 192"/>
                  <a:gd name="T33" fmla="*/ 82 h 220"/>
                  <a:gd name="T34" fmla="*/ 179 w 192"/>
                  <a:gd name="T35" fmla="*/ 82 h 220"/>
                  <a:gd name="T36" fmla="*/ 192 w 192"/>
                  <a:gd name="T37" fmla="*/ 69 h 220"/>
                  <a:gd name="T38" fmla="*/ 192 w 192"/>
                  <a:gd name="T39" fmla="*/ 48 h 220"/>
                  <a:gd name="T40" fmla="*/ 179 w 192"/>
                  <a:gd name="T41" fmla="*/ 35 h 220"/>
                  <a:gd name="T42" fmla="*/ 34 w 192"/>
                  <a:gd name="T43" fmla="*/ 14 h 220"/>
                  <a:gd name="T44" fmla="*/ 158 w 192"/>
                  <a:gd name="T45" fmla="*/ 14 h 220"/>
                  <a:gd name="T46" fmla="*/ 165 w 192"/>
                  <a:gd name="T47" fmla="*/ 34 h 220"/>
                  <a:gd name="T48" fmla="*/ 27 w 192"/>
                  <a:gd name="T49" fmla="*/ 34 h 220"/>
                  <a:gd name="T50" fmla="*/ 34 w 192"/>
                  <a:gd name="T51" fmla="*/ 14 h 220"/>
                  <a:gd name="T52" fmla="*/ 48 w 192"/>
                  <a:gd name="T53" fmla="*/ 206 h 220"/>
                  <a:gd name="T54" fmla="*/ 46 w 192"/>
                  <a:gd name="T55" fmla="*/ 186 h 220"/>
                  <a:gd name="T56" fmla="*/ 146 w 192"/>
                  <a:gd name="T57" fmla="*/ 186 h 220"/>
                  <a:gd name="T58" fmla="*/ 144 w 192"/>
                  <a:gd name="T59" fmla="*/ 206 h 220"/>
                  <a:gd name="T60" fmla="*/ 48 w 192"/>
                  <a:gd name="T61" fmla="*/ 206 h 220"/>
                  <a:gd name="T62" fmla="*/ 147 w 192"/>
                  <a:gd name="T63" fmla="*/ 179 h 220"/>
                  <a:gd name="T64" fmla="*/ 45 w 192"/>
                  <a:gd name="T65" fmla="*/ 179 h 220"/>
                  <a:gd name="T66" fmla="*/ 37 w 192"/>
                  <a:gd name="T67" fmla="*/ 110 h 220"/>
                  <a:gd name="T68" fmla="*/ 155 w 192"/>
                  <a:gd name="T69" fmla="*/ 110 h 220"/>
                  <a:gd name="T70" fmla="*/ 147 w 192"/>
                  <a:gd name="T71" fmla="*/ 179 h 220"/>
                  <a:gd name="T72" fmla="*/ 156 w 192"/>
                  <a:gd name="T73" fmla="*/ 103 h 220"/>
                  <a:gd name="T74" fmla="*/ 36 w 192"/>
                  <a:gd name="T75" fmla="*/ 103 h 220"/>
                  <a:gd name="T76" fmla="*/ 34 w 192"/>
                  <a:gd name="T77" fmla="*/ 82 h 220"/>
                  <a:gd name="T78" fmla="*/ 158 w 192"/>
                  <a:gd name="T79" fmla="*/ 82 h 220"/>
                  <a:gd name="T80" fmla="*/ 156 w 192"/>
                  <a:gd name="T81" fmla="*/ 103 h 220"/>
                  <a:gd name="T82" fmla="*/ 179 w 192"/>
                  <a:gd name="T83" fmla="*/ 69 h 220"/>
                  <a:gd name="T84" fmla="*/ 13 w 192"/>
                  <a:gd name="T85" fmla="*/ 69 h 220"/>
                  <a:gd name="T86" fmla="*/ 13 w 192"/>
                  <a:gd name="T87" fmla="*/ 48 h 220"/>
                  <a:gd name="T88" fmla="*/ 179 w 192"/>
                  <a:gd name="T89" fmla="*/ 48 h 220"/>
                  <a:gd name="T90" fmla="*/ 179 w 192"/>
                  <a:gd name="T91" fmla="*/ 69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220">
                    <a:moveTo>
                      <a:pt x="179" y="35"/>
                    </a:moveTo>
                    <a:cubicBezTo>
                      <a:pt x="171" y="9"/>
                      <a:pt x="171" y="9"/>
                      <a:pt x="171" y="9"/>
                    </a:cubicBezTo>
                    <a:cubicBezTo>
                      <a:pt x="169" y="4"/>
                      <a:pt x="164" y="0"/>
                      <a:pt x="158" y="0"/>
                    </a:cubicBezTo>
                    <a:cubicBezTo>
                      <a:pt x="34" y="0"/>
                      <a:pt x="34" y="0"/>
                      <a:pt x="34" y="0"/>
                    </a:cubicBezTo>
                    <a:cubicBezTo>
                      <a:pt x="28" y="0"/>
                      <a:pt x="23" y="4"/>
                      <a:pt x="21" y="9"/>
                    </a:cubicBezTo>
                    <a:cubicBezTo>
                      <a:pt x="13" y="35"/>
                      <a:pt x="13" y="35"/>
                      <a:pt x="13" y="35"/>
                    </a:cubicBezTo>
                    <a:cubicBezTo>
                      <a:pt x="5" y="35"/>
                      <a:pt x="0" y="41"/>
                      <a:pt x="0" y="48"/>
                    </a:cubicBezTo>
                    <a:cubicBezTo>
                      <a:pt x="0" y="69"/>
                      <a:pt x="0" y="69"/>
                      <a:pt x="0" y="69"/>
                    </a:cubicBezTo>
                    <a:cubicBezTo>
                      <a:pt x="0" y="76"/>
                      <a:pt x="6" y="82"/>
                      <a:pt x="13" y="82"/>
                    </a:cubicBezTo>
                    <a:cubicBezTo>
                      <a:pt x="21" y="82"/>
                      <a:pt x="21" y="82"/>
                      <a:pt x="21" y="82"/>
                    </a:cubicBezTo>
                    <a:cubicBezTo>
                      <a:pt x="21" y="83"/>
                      <a:pt x="20" y="83"/>
                      <a:pt x="20" y="84"/>
                    </a:cubicBezTo>
                    <a:cubicBezTo>
                      <a:pt x="34" y="208"/>
                      <a:pt x="34" y="208"/>
                      <a:pt x="34" y="208"/>
                    </a:cubicBezTo>
                    <a:cubicBezTo>
                      <a:pt x="35" y="215"/>
                      <a:pt x="41" y="220"/>
                      <a:pt x="48" y="220"/>
                    </a:cubicBezTo>
                    <a:cubicBezTo>
                      <a:pt x="144" y="220"/>
                      <a:pt x="144" y="220"/>
                      <a:pt x="144" y="220"/>
                    </a:cubicBezTo>
                    <a:cubicBezTo>
                      <a:pt x="151" y="220"/>
                      <a:pt x="157" y="215"/>
                      <a:pt x="158" y="208"/>
                    </a:cubicBezTo>
                    <a:cubicBezTo>
                      <a:pt x="172" y="84"/>
                      <a:pt x="172" y="84"/>
                      <a:pt x="172" y="84"/>
                    </a:cubicBezTo>
                    <a:cubicBezTo>
                      <a:pt x="172" y="83"/>
                      <a:pt x="171" y="83"/>
                      <a:pt x="171" y="82"/>
                    </a:cubicBezTo>
                    <a:cubicBezTo>
                      <a:pt x="179" y="82"/>
                      <a:pt x="179" y="82"/>
                      <a:pt x="179" y="82"/>
                    </a:cubicBezTo>
                    <a:cubicBezTo>
                      <a:pt x="186" y="82"/>
                      <a:pt x="192" y="76"/>
                      <a:pt x="192" y="69"/>
                    </a:cubicBezTo>
                    <a:cubicBezTo>
                      <a:pt x="192" y="48"/>
                      <a:pt x="192" y="48"/>
                      <a:pt x="192" y="48"/>
                    </a:cubicBezTo>
                    <a:cubicBezTo>
                      <a:pt x="192" y="41"/>
                      <a:pt x="186" y="35"/>
                      <a:pt x="179" y="35"/>
                    </a:cubicBezTo>
                    <a:close/>
                    <a:moveTo>
                      <a:pt x="34" y="14"/>
                    </a:moveTo>
                    <a:cubicBezTo>
                      <a:pt x="158" y="14"/>
                      <a:pt x="158" y="14"/>
                      <a:pt x="158" y="14"/>
                    </a:cubicBezTo>
                    <a:cubicBezTo>
                      <a:pt x="165" y="34"/>
                      <a:pt x="165" y="34"/>
                      <a:pt x="165" y="34"/>
                    </a:cubicBezTo>
                    <a:cubicBezTo>
                      <a:pt x="27" y="34"/>
                      <a:pt x="27" y="34"/>
                      <a:pt x="27" y="34"/>
                    </a:cubicBezTo>
                    <a:lnTo>
                      <a:pt x="34" y="14"/>
                    </a:lnTo>
                    <a:close/>
                    <a:moveTo>
                      <a:pt x="48" y="206"/>
                    </a:moveTo>
                    <a:cubicBezTo>
                      <a:pt x="46" y="186"/>
                      <a:pt x="46" y="186"/>
                      <a:pt x="46" y="186"/>
                    </a:cubicBezTo>
                    <a:cubicBezTo>
                      <a:pt x="146" y="186"/>
                      <a:pt x="146" y="186"/>
                      <a:pt x="146" y="186"/>
                    </a:cubicBezTo>
                    <a:cubicBezTo>
                      <a:pt x="144" y="206"/>
                      <a:pt x="144" y="206"/>
                      <a:pt x="144" y="206"/>
                    </a:cubicBezTo>
                    <a:lnTo>
                      <a:pt x="48" y="206"/>
                    </a:lnTo>
                    <a:close/>
                    <a:moveTo>
                      <a:pt x="147" y="179"/>
                    </a:moveTo>
                    <a:cubicBezTo>
                      <a:pt x="45" y="179"/>
                      <a:pt x="45" y="179"/>
                      <a:pt x="45" y="179"/>
                    </a:cubicBezTo>
                    <a:cubicBezTo>
                      <a:pt x="37" y="110"/>
                      <a:pt x="37" y="110"/>
                      <a:pt x="37" y="110"/>
                    </a:cubicBezTo>
                    <a:cubicBezTo>
                      <a:pt x="155" y="110"/>
                      <a:pt x="155" y="110"/>
                      <a:pt x="155" y="110"/>
                    </a:cubicBezTo>
                    <a:lnTo>
                      <a:pt x="147" y="179"/>
                    </a:lnTo>
                    <a:close/>
                    <a:moveTo>
                      <a:pt x="156" y="103"/>
                    </a:moveTo>
                    <a:cubicBezTo>
                      <a:pt x="36" y="103"/>
                      <a:pt x="36" y="103"/>
                      <a:pt x="36" y="103"/>
                    </a:cubicBezTo>
                    <a:cubicBezTo>
                      <a:pt x="34" y="82"/>
                      <a:pt x="34" y="82"/>
                      <a:pt x="34" y="82"/>
                    </a:cubicBezTo>
                    <a:cubicBezTo>
                      <a:pt x="158" y="82"/>
                      <a:pt x="158" y="82"/>
                      <a:pt x="158" y="82"/>
                    </a:cubicBezTo>
                    <a:lnTo>
                      <a:pt x="156" y="103"/>
                    </a:lnTo>
                    <a:close/>
                    <a:moveTo>
                      <a:pt x="179" y="69"/>
                    </a:moveTo>
                    <a:cubicBezTo>
                      <a:pt x="13" y="69"/>
                      <a:pt x="13" y="69"/>
                      <a:pt x="13" y="69"/>
                    </a:cubicBezTo>
                    <a:cubicBezTo>
                      <a:pt x="13" y="48"/>
                      <a:pt x="13" y="48"/>
                      <a:pt x="13" y="48"/>
                    </a:cubicBezTo>
                    <a:cubicBezTo>
                      <a:pt x="179" y="48"/>
                      <a:pt x="179" y="48"/>
                      <a:pt x="179" y="48"/>
                    </a:cubicBezTo>
                    <a:lnTo>
                      <a:pt x="179" y="69"/>
                    </a:lnTo>
                    <a:close/>
                  </a:path>
                </a:pathLst>
              </a:custGeom>
              <a:solidFill>
                <a:srgbClr val="494A4C"/>
              </a:solidFill>
              <a:ln>
                <a:noFill/>
              </a:ln>
            </p:spPr>
            <p:txBody>
              <a:bodyPr vert="horz" wrap="square" lIns="182843" tIns="91422" rIns="182843" bIns="91422" numCol="1" anchor="t" anchorCtr="0" compatLnSpc="1">
                <a:prstTxWarp prst="textNoShape">
                  <a:avLst/>
                </a:prstTxWarp>
              </a:bodyPr>
              <a:lstStyle/>
              <a:p>
                <a:endParaRPr lang="id-ID" sz="1200" dirty="0">
                  <a:latin typeface="+mj-lt"/>
                </a:endParaRPr>
              </a:p>
            </p:txBody>
          </p:sp>
        </p:grpSp>
        <p:grpSp>
          <p:nvGrpSpPr>
            <p:cNvPr id="20" name="Group 19"/>
            <p:cNvGrpSpPr/>
            <p:nvPr>
              <p:custDataLst>
                <p:tags r:id="rId3"/>
              </p:custDataLst>
            </p:nvPr>
          </p:nvGrpSpPr>
          <p:grpSpPr>
            <a:xfrm>
              <a:off x="4973477" y="3567016"/>
              <a:ext cx="3058095" cy="2367188"/>
              <a:chOff x="4966921" y="3567016"/>
              <a:chExt cx="3058095" cy="2367188"/>
            </a:xfrm>
          </p:grpSpPr>
          <p:sp>
            <p:nvSpPr>
              <p:cNvPr id="7" name="Rectangle 6"/>
              <p:cNvSpPr/>
              <p:nvPr/>
            </p:nvSpPr>
            <p:spPr>
              <a:xfrm>
                <a:off x="4966921" y="5139151"/>
                <a:ext cx="3058095" cy="795053"/>
              </a:xfrm>
              <a:prstGeom prst="rect">
                <a:avLst/>
              </a:prstGeom>
            </p:spPr>
            <p:txBody>
              <a:bodyPr wrap="square" lIns="182843" tIns="91422" rIns="182843" bIns="91422">
                <a:spAutoFit/>
              </a:bodyPr>
              <a:lstStyle/>
              <a:p>
                <a:pPr algn="ctr">
                  <a:lnSpc>
                    <a:spcPct val="150000"/>
                  </a:lnSpc>
                </a:pPr>
                <a:r>
                  <a:rPr lang="pt-BR" sz="1400" dirty="0">
                    <a:solidFill>
                      <a:srgbClr val="767676"/>
                    </a:solidFill>
                    <a:latin typeface="+mj-lt"/>
                    <a:cs typeface="Calibri Light"/>
                  </a:rPr>
                  <a:t>Lorem ipsum dolor sit amet, consectetur</a:t>
                </a:r>
                <a:endParaRPr lang="en-US" sz="1400" dirty="0">
                  <a:solidFill>
                    <a:srgbClr val="767676"/>
                  </a:solidFill>
                  <a:latin typeface="+mj-lt"/>
                  <a:cs typeface="Calibri Light"/>
                </a:endParaRPr>
              </a:p>
            </p:txBody>
          </p:sp>
          <p:sp>
            <p:nvSpPr>
              <p:cNvPr id="8" name="TextBox 7"/>
              <p:cNvSpPr txBox="1"/>
              <p:nvPr/>
            </p:nvSpPr>
            <p:spPr>
              <a:xfrm>
                <a:off x="5689375" y="4720148"/>
                <a:ext cx="1613187" cy="461628"/>
              </a:xfrm>
              <a:prstGeom prst="rect">
                <a:avLst/>
              </a:prstGeom>
              <a:noFill/>
            </p:spPr>
            <p:txBody>
              <a:bodyPr wrap="none" lIns="182843" tIns="91422" rIns="182843" bIns="91422" rtlCol="0">
                <a:spAutoFit/>
              </a:bodyPr>
              <a:lstStyle/>
              <a:p>
                <a:pPr algn="ctr"/>
                <a:r>
                  <a:rPr lang="id-ID" b="1" dirty="0" smtClean="0">
                    <a:solidFill>
                      <a:srgbClr val="767676"/>
                    </a:solidFill>
                    <a:latin typeface="+mj-lt"/>
                    <a:cs typeface="Lato Regular"/>
                  </a:rPr>
                  <a:t>Mobile Data</a:t>
                </a:r>
                <a:endParaRPr lang="id-ID" b="1" dirty="0">
                  <a:solidFill>
                    <a:srgbClr val="767676"/>
                  </a:solidFill>
                  <a:latin typeface="+mj-lt"/>
                  <a:cs typeface="Lato Regular"/>
                </a:endParaRPr>
              </a:p>
            </p:txBody>
          </p:sp>
          <p:grpSp>
            <p:nvGrpSpPr>
              <p:cNvPr id="12" name="Group 11"/>
              <p:cNvGrpSpPr/>
              <p:nvPr>
                <p:custDataLst>
                  <p:tags r:id="rId6"/>
                </p:custDataLst>
              </p:nvPr>
            </p:nvGrpSpPr>
            <p:grpSpPr>
              <a:xfrm>
                <a:off x="6173026" y="3567016"/>
                <a:ext cx="605921" cy="878812"/>
                <a:chOff x="-990600" y="3375025"/>
                <a:chExt cx="571500" cy="828675"/>
              </a:xfrm>
              <a:solidFill>
                <a:srgbClr val="002060"/>
              </a:solidFill>
            </p:grpSpPr>
            <p:sp>
              <p:nvSpPr>
                <p:cNvPr id="13" name="Freeform 5"/>
                <p:cNvSpPr>
                  <a:spLocks noEditPoints="1"/>
                </p:cNvSpPr>
                <p:nvPr/>
              </p:nvSpPr>
              <p:spPr bwMode="auto">
                <a:xfrm>
                  <a:off x="-990600" y="3375025"/>
                  <a:ext cx="571500" cy="828675"/>
                </a:xfrm>
                <a:custGeom>
                  <a:avLst/>
                  <a:gdLst>
                    <a:gd name="T0" fmla="*/ 131 w 152"/>
                    <a:gd name="T1" fmla="*/ 0 h 220"/>
                    <a:gd name="T2" fmla="*/ 21 w 152"/>
                    <a:gd name="T3" fmla="*/ 0 h 220"/>
                    <a:gd name="T4" fmla="*/ 0 w 152"/>
                    <a:gd name="T5" fmla="*/ 21 h 220"/>
                    <a:gd name="T6" fmla="*/ 0 w 152"/>
                    <a:gd name="T7" fmla="*/ 199 h 220"/>
                    <a:gd name="T8" fmla="*/ 21 w 152"/>
                    <a:gd name="T9" fmla="*/ 220 h 220"/>
                    <a:gd name="T10" fmla="*/ 131 w 152"/>
                    <a:gd name="T11" fmla="*/ 220 h 220"/>
                    <a:gd name="T12" fmla="*/ 152 w 152"/>
                    <a:gd name="T13" fmla="*/ 199 h 220"/>
                    <a:gd name="T14" fmla="*/ 152 w 152"/>
                    <a:gd name="T15" fmla="*/ 21 h 220"/>
                    <a:gd name="T16" fmla="*/ 131 w 152"/>
                    <a:gd name="T17" fmla="*/ 0 h 220"/>
                    <a:gd name="T18" fmla="*/ 138 w 152"/>
                    <a:gd name="T19" fmla="*/ 199 h 220"/>
                    <a:gd name="T20" fmla="*/ 131 w 152"/>
                    <a:gd name="T21" fmla="*/ 206 h 220"/>
                    <a:gd name="T22" fmla="*/ 21 w 152"/>
                    <a:gd name="T23" fmla="*/ 206 h 220"/>
                    <a:gd name="T24" fmla="*/ 14 w 152"/>
                    <a:gd name="T25" fmla="*/ 199 h 220"/>
                    <a:gd name="T26" fmla="*/ 14 w 152"/>
                    <a:gd name="T27" fmla="*/ 186 h 220"/>
                    <a:gd name="T28" fmla="*/ 138 w 152"/>
                    <a:gd name="T29" fmla="*/ 186 h 220"/>
                    <a:gd name="T30" fmla="*/ 138 w 152"/>
                    <a:gd name="T31" fmla="*/ 199 h 220"/>
                    <a:gd name="T32" fmla="*/ 138 w 152"/>
                    <a:gd name="T33" fmla="*/ 179 h 220"/>
                    <a:gd name="T34" fmla="*/ 14 w 152"/>
                    <a:gd name="T35" fmla="*/ 179 h 220"/>
                    <a:gd name="T36" fmla="*/ 14 w 152"/>
                    <a:gd name="T37" fmla="*/ 41 h 220"/>
                    <a:gd name="T38" fmla="*/ 138 w 152"/>
                    <a:gd name="T39" fmla="*/ 41 h 220"/>
                    <a:gd name="T40" fmla="*/ 138 w 152"/>
                    <a:gd name="T41" fmla="*/ 179 h 220"/>
                    <a:gd name="T42" fmla="*/ 138 w 152"/>
                    <a:gd name="T43" fmla="*/ 34 h 220"/>
                    <a:gd name="T44" fmla="*/ 14 w 152"/>
                    <a:gd name="T45" fmla="*/ 34 h 220"/>
                    <a:gd name="T46" fmla="*/ 14 w 152"/>
                    <a:gd name="T47" fmla="*/ 21 h 220"/>
                    <a:gd name="T48" fmla="*/ 21 w 152"/>
                    <a:gd name="T49" fmla="*/ 14 h 220"/>
                    <a:gd name="T50" fmla="*/ 131 w 152"/>
                    <a:gd name="T51" fmla="*/ 14 h 220"/>
                    <a:gd name="T52" fmla="*/ 138 w 152"/>
                    <a:gd name="T53" fmla="*/ 21 h 220"/>
                    <a:gd name="T54" fmla="*/ 138 w 152"/>
                    <a:gd name="T55" fmla="*/ 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2" h="220">
                      <a:moveTo>
                        <a:pt x="131" y="0"/>
                      </a:moveTo>
                      <a:cubicBezTo>
                        <a:pt x="21" y="0"/>
                        <a:pt x="21" y="0"/>
                        <a:pt x="21" y="0"/>
                      </a:cubicBezTo>
                      <a:cubicBezTo>
                        <a:pt x="10" y="0"/>
                        <a:pt x="0" y="9"/>
                        <a:pt x="0" y="21"/>
                      </a:cubicBezTo>
                      <a:cubicBezTo>
                        <a:pt x="0" y="199"/>
                        <a:pt x="0" y="199"/>
                        <a:pt x="0" y="199"/>
                      </a:cubicBezTo>
                      <a:cubicBezTo>
                        <a:pt x="0" y="211"/>
                        <a:pt x="10" y="220"/>
                        <a:pt x="21" y="220"/>
                      </a:cubicBezTo>
                      <a:cubicBezTo>
                        <a:pt x="131" y="220"/>
                        <a:pt x="131" y="220"/>
                        <a:pt x="131" y="220"/>
                      </a:cubicBezTo>
                      <a:cubicBezTo>
                        <a:pt x="142" y="220"/>
                        <a:pt x="152" y="211"/>
                        <a:pt x="152" y="199"/>
                      </a:cubicBezTo>
                      <a:cubicBezTo>
                        <a:pt x="152" y="21"/>
                        <a:pt x="152" y="21"/>
                        <a:pt x="152" y="21"/>
                      </a:cubicBezTo>
                      <a:cubicBezTo>
                        <a:pt x="152" y="9"/>
                        <a:pt x="142" y="0"/>
                        <a:pt x="131" y="0"/>
                      </a:cubicBezTo>
                      <a:close/>
                      <a:moveTo>
                        <a:pt x="138" y="199"/>
                      </a:moveTo>
                      <a:cubicBezTo>
                        <a:pt x="138" y="203"/>
                        <a:pt x="135" y="206"/>
                        <a:pt x="131" y="206"/>
                      </a:cubicBezTo>
                      <a:cubicBezTo>
                        <a:pt x="21" y="206"/>
                        <a:pt x="21" y="206"/>
                        <a:pt x="21" y="206"/>
                      </a:cubicBezTo>
                      <a:cubicBezTo>
                        <a:pt x="17" y="206"/>
                        <a:pt x="14" y="203"/>
                        <a:pt x="14" y="199"/>
                      </a:cubicBezTo>
                      <a:cubicBezTo>
                        <a:pt x="14" y="186"/>
                        <a:pt x="14" y="186"/>
                        <a:pt x="14" y="186"/>
                      </a:cubicBezTo>
                      <a:cubicBezTo>
                        <a:pt x="138" y="186"/>
                        <a:pt x="138" y="186"/>
                        <a:pt x="138" y="186"/>
                      </a:cubicBezTo>
                      <a:lnTo>
                        <a:pt x="138" y="199"/>
                      </a:lnTo>
                      <a:close/>
                      <a:moveTo>
                        <a:pt x="138" y="179"/>
                      </a:moveTo>
                      <a:cubicBezTo>
                        <a:pt x="14" y="179"/>
                        <a:pt x="14" y="179"/>
                        <a:pt x="14" y="179"/>
                      </a:cubicBezTo>
                      <a:cubicBezTo>
                        <a:pt x="14" y="41"/>
                        <a:pt x="14" y="41"/>
                        <a:pt x="14" y="41"/>
                      </a:cubicBezTo>
                      <a:cubicBezTo>
                        <a:pt x="138" y="41"/>
                        <a:pt x="138" y="41"/>
                        <a:pt x="138" y="41"/>
                      </a:cubicBezTo>
                      <a:lnTo>
                        <a:pt x="138" y="179"/>
                      </a:lnTo>
                      <a:close/>
                      <a:moveTo>
                        <a:pt x="138" y="34"/>
                      </a:moveTo>
                      <a:cubicBezTo>
                        <a:pt x="14" y="34"/>
                        <a:pt x="14" y="34"/>
                        <a:pt x="14" y="34"/>
                      </a:cubicBezTo>
                      <a:cubicBezTo>
                        <a:pt x="14" y="21"/>
                        <a:pt x="14" y="21"/>
                        <a:pt x="14" y="21"/>
                      </a:cubicBezTo>
                      <a:cubicBezTo>
                        <a:pt x="14" y="17"/>
                        <a:pt x="17" y="14"/>
                        <a:pt x="21" y="14"/>
                      </a:cubicBezTo>
                      <a:cubicBezTo>
                        <a:pt x="131" y="14"/>
                        <a:pt x="131" y="14"/>
                        <a:pt x="131" y="14"/>
                      </a:cubicBezTo>
                      <a:cubicBezTo>
                        <a:pt x="135" y="14"/>
                        <a:pt x="138" y="17"/>
                        <a:pt x="138" y="21"/>
                      </a:cubicBezTo>
                      <a:lnTo>
                        <a:pt x="138" y="34"/>
                      </a:lnTo>
                      <a:close/>
                    </a:path>
                  </a:pathLst>
                </a:custGeom>
                <a:solidFill>
                  <a:srgbClr val="76767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200" dirty="0">
                    <a:solidFill>
                      <a:srgbClr val="767676"/>
                    </a:solidFill>
                    <a:latin typeface="+mj-lt"/>
                  </a:endParaRPr>
                </a:p>
              </p:txBody>
            </p:sp>
            <p:sp>
              <p:nvSpPr>
                <p:cNvPr id="14" name="Freeform 6"/>
                <p:cNvSpPr>
                  <a:spLocks/>
                </p:cNvSpPr>
                <p:nvPr/>
              </p:nvSpPr>
              <p:spPr bwMode="auto">
                <a:xfrm>
                  <a:off x="-757238" y="3454400"/>
                  <a:ext cx="104775" cy="22225"/>
                </a:xfrm>
                <a:custGeom>
                  <a:avLst/>
                  <a:gdLst>
                    <a:gd name="T0" fmla="*/ 28 w 28"/>
                    <a:gd name="T1" fmla="*/ 3 h 6"/>
                    <a:gd name="T2" fmla="*/ 24 w 28"/>
                    <a:gd name="T3" fmla="*/ 6 h 6"/>
                    <a:gd name="T4" fmla="*/ 4 w 28"/>
                    <a:gd name="T5" fmla="*/ 6 h 6"/>
                    <a:gd name="T6" fmla="*/ 0 w 28"/>
                    <a:gd name="T7" fmla="*/ 3 h 6"/>
                    <a:gd name="T8" fmla="*/ 0 w 28"/>
                    <a:gd name="T9" fmla="*/ 3 h 6"/>
                    <a:gd name="T10" fmla="*/ 4 w 28"/>
                    <a:gd name="T11" fmla="*/ 0 h 6"/>
                    <a:gd name="T12" fmla="*/ 24 w 28"/>
                    <a:gd name="T13" fmla="*/ 0 h 6"/>
                    <a:gd name="T14" fmla="*/ 28 w 28"/>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6">
                      <a:moveTo>
                        <a:pt x="28" y="3"/>
                      </a:moveTo>
                      <a:cubicBezTo>
                        <a:pt x="28" y="5"/>
                        <a:pt x="26" y="6"/>
                        <a:pt x="24" y="6"/>
                      </a:cubicBezTo>
                      <a:cubicBezTo>
                        <a:pt x="4" y="6"/>
                        <a:pt x="4" y="6"/>
                        <a:pt x="4" y="6"/>
                      </a:cubicBezTo>
                      <a:cubicBezTo>
                        <a:pt x="2" y="6"/>
                        <a:pt x="0" y="5"/>
                        <a:pt x="0" y="3"/>
                      </a:cubicBezTo>
                      <a:cubicBezTo>
                        <a:pt x="0" y="3"/>
                        <a:pt x="0" y="3"/>
                        <a:pt x="0" y="3"/>
                      </a:cubicBezTo>
                      <a:cubicBezTo>
                        <a:pt x="0" y="1"/>
                        <a:pt x="2" y="0"/>
                        <a:pt x="4" y="0"/>
                      </a:cubicBezTo>
                      <a:cubicBezTo>
                        <a:pt x="24" y="0"/>
                        <a:pt x="24" y="0"/>
                        <a:pt x="24" y="0"/>
                      </a:cubicBezTo>
                      <a:cubicBezTo>
                        <a:pt x="26" y="0"/>
                        <a:pt x="28" y="1"/>
                        <a:pt x="28"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200" dirty="0">
                    <a:latin typeface="+mj-lt"/>
                  </a:endParaRPr>
                </a:p>
              </p:txBody>
            </p:sp>
            <p:sp>
              <p:nvSpPr>
                <p:cNvPr id="15" name="Freeform 7"/>
                <p:cNvSpPr>
                  <a:spLocks/>
                </p:cNvSpPr>
                <p:nvPr/>
              </p:nvSpPr>
              <p:spPr bwMode="auto">
                <a:xfrm>
                  <a:off x="-730250" y="4097338"/>
                  <a:ext cx="52387" cy="26988"/>
                </a:xfrm>
                <a:custGeom>
                  <a:avLst/>
                  <a:gdLst>
                    <a:gd name="T0" fmla="*/ 14 w 14"/>
                    <a:gd name="T1" fmla="*/ 4 h 7"/>
                    <a:gd name="T2" fmla="*/ 10 w 14"/>
                    <a:gd name="T3" fmla="*/ 7 h 7"/>
                    <a:gd name="T4" fmla="*/ 4 w 14"/>
                    <a:gd name="T5" fmla="*/ 7 h 7"/>
                    <a:gd name="T6" fmla="*/ 0 w 14"/>
                    <a:gd name="T7" fmla="*/ 4 h 7"/>
                    <a:gd name="T8" fmla="*/ 0 w 14"/>
                    <a:gd name="T9" fmla="*/ 4 h 7"/>
                    <a:gd name="T10" fmla="*/ 4 w 14"/>
                    <a:gd name="T11" fmla="*/ 0 h 7"/>
                    <a:gd name="T12" fmla="*/ 10 w 14"/>
                    <a:gd name="T13" fmla="*/ 0 h 7"/>
                    <a:gd name="T14" fmla="*/ 14 w 14"/>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14" y="4"/>
                      </a:moveTo>
                      <a:cubicBezTo>
                        <a:pt x="14" y="6"/>
                        <a:pt x="12" y="7"/>
                        <a:pt x="10" y="7"/>
                      </a:cubicBezTo>
                      <a:cubicBezTo>
                        <a:pt x="4" y="7"/>
                        <a:pt x="4" y="7"/>
                        <a:pt x="4" y="7"/>
                      </a:cubicBezTo>
                      <a:cubicBezTo>
                        <a:pt x="2" y="7"/>
                        <a:pt x="0" y="6"/>
                        <a:pt x="0" y="4"/>
                      </a:cubicBezTo>
                      <a:cubicBezTo>
                        <a:pt x="0" y="4"/>
                        <a:pt x="0" y="4"/>
                        <a:pt x="0" y="4"/>
                      </a:cubicBezTo>
                      <a:cubicBezTo>
                        <a:pt x="0" y="2"/>
                        <a:pt x="2" y="0"/>
                        <a:pt x="4" y="0"/>
                      </a:cubicBezTo>
                      <a:cubicBezTo>
                        <a:pt x="10" y="0"/>
                        <a:pt x="10" y="0"/>
                        <a:pt x="10" y="0"/>
                      </a:cubicBezTo>
                      <a:cubicBezTo>
                        <a:pt x="12" y="0"/>
                        <a:pt x="14" y="2"/>
                        <a:pt x="14"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200" dirty="0">
                    <a:latin typeface="+mj-lt"/>
                  </a:endParaRPr>
                </a:p>
              </p:txBody>
            </p:sp>
          </p:grpSp>
        </p:grpSp>
        <p:grpSp>
          <p:nvGrpSpPr>
            <p:cNvPr id="19" name="Group 18"/>
            <p:cNvGrpSpPr/>
            <p:nvPr>
              <p:custDataLst>
                <p:tags r:id="rId4"/>
              </p:custDataLst>
            </p:nvPr>
          </p:nvGrpSpPr>
          <p:grpSpPr>
            <a:xfrm>
              <a:off x="8280694" y="3567016"/>
              <a:ext cx="3058095" cy="2287001"/>
              <a:chOff x="8280694" y="3647203"/>
              <a:chExt cx="3058095" cy="2287001"/>
            </a:xfrm>
          </p:grpSpPr>
          <p:sp>
            <p:nvSpPr>
              <p:cNvPr id="9" name="Rectangle 8"/>
              <p:cNvSpPr/>
              <p:nvPr/>
            </p:nvSpPr>
            <p:spPr>
              <a:xfrm>
                <a:off x="8280694" y="5139151"/>
                <a:ext cx="3058095" cy="795053"/>
              </a:xfrm>
              <a:prstGeom prst="rect">
                <a:avLst/>
              </a:prstGeom>
            </p:spPr>
            <p:txBody>
              <a:bodyPr wrap="square" lIns="182843" tIns="91422" rIns="182843" bIns="91422">
                <a:spAutoFit/>
              </a:bodyPr>
              <a:lstStyle/>
              <a:p>
                <a:pPr algn="ctr">
                  <a:lnSpc>
                    <a:spcPct val="150000"/>
                  </a:lnSpc>
                </a:pPr>
                <a:r>
                  <a:rPr lang="pt-BR" sz="1400" dirty="0">
                    <a:solidFill>
                      <a:srgbClr val="41B5E8"/>
                    </a:solidFill>
                    <a:latin typeface="+mj-lt"/>
                    <a:cs typeface="Calibri Light"/>
                  </a:rPr>
                  <a:t>Lorem ipsum dolor sit amet, consectetur</a:t>
                </a:r>
                <a:endParaRPr lang="en-US" sz="1400" dirty="0">
                  <a:solidFill>
                    <a:srgbClr val="41B5E8"/>
                  </a:solidFill>
                  <a:latin typeface="+mj-lt"/>
                  <a:cs typeface="Calibri Light"/>
                </a:endParaRPr>
              </a:p>
            </p:txBody>
          </p:sp>
          <p:sp>
            <p:nvSpPr>
              <p:cNvPr id="10" name="TextBox 9"/>
              <p:cNvSpPr txBox="1"/>
              <p:nvPr/>
            </p:nvSpPr>
            <p:spPr>
              <a:xfrm>
                <a:off x="9375845" y="4720148"/>
                <a:ext cx="867792" cy="461628"/>
              </a:xfrm>
              <a:prstGeom prst="rect">
                <a:avLst/>
              </a:prstGeom>
              <a:noFill/>
            </p:spPr>
            <p:txBody>
              <a:bodyPr wrap="none" lIns="182843" tIns="91422" rIns="182843" bIns="91422" rtlCol="0">
                <a:spAutoFit/>
              </a:bodyPr>
              <a:lstStyle/>
              <a:p>
                <a:pPr algn="ctr"/>
                <a:r>
                  <a:rPr lang="id-ID" b="1" dirty="0" smtClean="0">
                    <a:solidFill>
                      <a:srgbClr val="41B5E8"/>
                    </a:solidFill>
                    <a:latin typeface="+mj-lt"/>
                    <a:cs typeface="Lato Regular"/>
                  </a:rPr>
                  <a:t>Love</a:t>
                </a:r>
                <a:endParaRPr lang="id-ID" b="1" dirty="0">
                  <a:solidFill>
                    <a:srgbClr val="41B5E8"/>
                  </a:solidFill>
                  <a:latin typeface="+mj-lt"/>
                  <a:cs typeface="Lato Regular"/>
                </a:endParaRPr>
              </a:p>
            </p:txBody>
          </p:sp>
          <p:grpSp>
            <p:nvGrpSpPr>
              <p:cNvPr id="16" name="Group 15"/>
              <p:cNvGrpSpPr/>
              <p:nvPr>
                <p:custDataLst>
                  <p:tags r:id="rId5"/>
                </p:custDataLst>
              </p:nvPr>
            </p:nvGrpSpPr>
            <p:grpSpPr>
              <a:xfrm>
                <a:off x="9372936" y="3647203"/>
                <a:ext cx="819556" cy="707114"/>
                <a:chOff x="-122237" y="-128588"/>
                <a:chExt cx="4632324" cy="3995738"/>
              </a:xfrm>
              <a:solidFill>
                <a:schemeClr val="accent3"/>
              </a:solidFill>
            </p:grpSpPr>
            <p:sp>
              <p:nvSpPr>
                <p:cNvPr id="17" name="Freeform 16"/>
                <p:cNvSpPr>
                  <a:spLocks noEditPoints="1"/>
                </p:cNvSpPr>
                <p:nvPr/>
              </p:nvSpPr>
              <p:spPr bwMode="auto">
                <a:xfrm>
                  <a:off x="-122237" y="-128588"/>
                  <a:ext cx="4632324" cy="3995738"/>
                </a:xfrm>
                <a:custGeom>
                  <a:avLst/>
                  <a:gdLst>
                    <a:gd name="T0" fmla="*/ 1096 w 1232"/>
                    <a:gd name="T1" fmla="*/ 134 h 1062"/>
                    <a:gd name="T2" fmla="*/ 616 w 1232"/>
                    <a:gd name="T3" fmla="*/ 123 h 1062"/>
                    <a:gd name="T4" fmla="*/ 136 w 1232"/>
                    <a:gd name="T5" fmla="*/ 134 h 1062"/>
                    <a:gd name="T6" fmla="*/ 136 w 1232"/>
                    <a:gd name="T7" fmla="*/ 622 h 1062"/>
                    <a:gd name="T8" fmla="*/ 538 w 1232"/>
                    <a:gd name="T9" fmla="*/ 1020 h 1062"/>
                    <a:gd name="T10" fmla="*/ 694 w 1232"/>
                    <a:gd name="T11" fmla="*/ 1020 h 1062"/>
                    <a:gd name="T12" fmla="*/ 1096 w 1232"/>
                    <a:gd name="T13" fmla="*/ 622 h 1062"/>
                    <a:gd name="T14" fmla="*/ 1096 w 1232"/>
                    <a:gd name="T15" fmla="*/ 134 h 1062"/>
                    <a:gd name="T16" fmla="*/ 1044 w 1232"/>
                    <a:gd name="T17" fmla="*/ 570 h 1062"/>
                    <a:gd name="T18" fmla="*/ 642 w 1232"/>
                    <a:gd name="T19" fmla="*/ 968 h 1062"/>
                    <a:gd name="T20" fmla="*/ 590 w 1232"/>
                    <a:gd name="T21" fmla="*/ 968 h 1062"/>
                    <a:gd name="T22" fmla="*/ 188 w 1232"/>
                    <a:gd name="T23" fmla="*/ 570 h 1062"/>
                    <a:gd name="T24" fmla="*/ 188 w 1232"/>
                    <a:gd name="T25" fmla="*/ 185 h 1062"/>
                    <a:gd name="T26" fmla="*/ 567 w 1232"/>
                    <a:gd name="T27" fmla="*/ 177 h 1062"/>
                    <a:gd name="T28" fmla="*/ 616 w 1232"/>
                    <a:gd name="T29" fmla="*/ 221 h 1062"/>
                    <a:gd name="T30" fmla="*/ 665 w 1232"/>
                    <a:gd name="T31" fmla="*/ 177 h 1062"/>
                    <a:gd name="T32" fmla="*/ 1044 w 1232"/>
                    <a:gd name="T33" fmla="*/ 185 h 1062"/>
                    <a:gd name="T34" fmla="*/ 1044 w 1232"/>
                    <a:gd name="T35" fmla="*/ 570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32" h="1062">
                      <a:moveTo>
                        <a:pt x="1096" y="134"/>
                      </a:moveTo>
                      <a:cubicBezTo>
                        <a:pt x="964" y="3"/>
                        <a:pt x="753" y="0"/>
                        <a:pt x="616" y="123"/>
                      </a:cubicBezTo>
                      <a:cubicBezTo>
                        <a:pt x="479" y="0"/>
                        <a:pt x="268" y="3"/>
                        <a:pt x="136" y="134"/>
                      </a:cubicBezTo>
                      <a:cubicBezTo>
                        <a:pt x="0" y="268"/>
                        <a:pt x="0" y="487"/>
                        <a:pt x="136" y="622"/>
                      </a:cubicBezTo>
                      <a:cubicBezTo>
                        <a:pt x="175" y="660"/>
                        <a:pt x="538" y="1020"/>
                        <a:pt x="538" y="1020"/>
                      </a:cubicBezTo>
                      <a:cubicBezTo>
                        <a:pt x="581" y="1062"/>
                        <a:pt x="651" y="1062"/>
                        <a:pt x="694" y="1020"/>
                      </a:cubicBezTo>
                      <a:cubicBezTo>
                        <a:pt x="694" y="1020"/>
                        <a:pt x="1092" y="626"/>
                        <a:pt x="1096" y="622"/>
                      </a:cubicBezTo>
                      <a:cubicBezTo>
                        <a:pt x="1232" y="487"/>
                        <a:pt x="1232" y="268"/>
                        <a:pt x="1096" y="134"/>
                      </a:cubicBezTo>
                      <a:close/>
                      <a:moveTo>
                        <a:pt x="1044" y="570"/>
                      </a:moveTo>
                      <a:cubicBezTo>
                        <a:pt x="642" y="968"/>
                        <a:pt x="642" y="968"/>
                        <a:pt x="642" y="968"/>
                      </a:cubicBezTo>
                      <a:cubicBezTo>
                        <a:pt x="628" y="982"/>
                        <a:pt x="604" y="982"/>
                        <a:pt x="590" y="968"/>
                      </a:cubicBezTo>
                      <a:cubicBezTo>
                        <a:pt x="188" y="570"/>
                        <a:pt x="188" y="570"/>
                        <a:pt x="188" y="570"/>
                      </a:cubicBezTo>
                      <a:cubicBezTo>
                        <a:pt x="81" y="464"/>
                        <a:pt x="81" y="291"/>
                        <a:pt x="188" y="185"/>
                      </a:cubicBezTo>
                      <a:cubicBezTo>
                        <a:pt x="291" y="82"/>
                        <a:pt x="458" y="79"/>
                        <a:pt x="567" y="177"/>
                      </a:cubicBezTo>
                      <a:cubicBezTo>
                        <a:pt x="616" y="221"/>
                        <a:pt x="616" y="221"/>
                        <a:pt x="616" y="221"/>
                      </a:cubicBezTo>
                      <a:cubicBezTo>
                        <a:pt x="665" y="177"/>
                        <a:pt x="665" y="177"/>
                        <a:pt x="665" y="177"/>
                      </a:cubicBezTo>
                      <a:cubicBezTo>
                        <a:pt x="774" y="79"/>
                        <a:pt x="941" y="82"/>
                        <a:pt x="1044" y="185"/>
                      </a:cubicBezTo>
                      <a:cubicBezTo>
                        <a:pt x="1151" y="291"/>
                        <a:pt x="1151" y="464"/>
                        <a:pt x="1044" y="5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200" dirty="0">
                    <a:latin typeface="+mj-lt"/>
                  </a:endParaRPr>
                </a:p>
              </p:txBody>
            </p:sp>
            <p:sp>
              <p:nvSpPr>
                <p:cNvPr id="18" name="Freeform 17"/>
                <p:cNvSpPr>
                  <a:spLocks/>
                </p:cNvSpPr>
                <p:nvPr/>
              </p:nvSpPr>
              <p:spPr bwMode="auto">
                <a:xfrm>
                  <a:off x="688975" y="681038"/>
                  <a:ext cx="650875" cy="650875"/>
                </a:xfrm>
                <a:custGeom>
                  <a:avLst/>
                  <a:gdLst>
                    <a:gd name="T0" fmla="*/ 154 w 173"/>
                    <a:gd name="T1" fmla="*/ 0 h 173"/>
                    <a:gd name="T2" fmla="*/ 154 w 173"/>
                    <a:gd name="T3" fmla="*/ 0 h 173"/>
                    <a:gd name="T4" fmla="*/ 0 w 173"/>
                    <a:gd name="T5" fmla="*/ 154 h 173"/>
                    <a:gd name="T6" fmla="*/ 0 w 173"/>
                    <a:gd name="T7" fmla="*/ 154 h 173"/>
                    <a:gd name="T8" fmla="*/ 18 w 173"/>
                    <a:gd name="T9" fmla="*/ 173 h 173"/>
                    <a:gd name="T10" fmla="*/ 36 w 173"/>
                    <a:gd name="T11" fmla="*/ 154 h 173"/>
                    <a:gd name="T12" fmla="*/ 36 w 173"/>
                    <a:gd name="T13" fmla="*/ 154 h 173"/>
                    <a:gd name="T14" fmla="*/ 154 w 173"/>
                    <a:gd name="T15" fmla="*/ 36 h 173"/>
                    <a:gd name="T16" fmla="*/ 154 w 173"/>
                    <a:gd name="T17" fmla="*/ 36 h 173"/>
                    <a:gd name="T18" fmla="*/ 173 w 173"/>
                    <a:gd name="T19" fmla="*/ 18 h 173"/>
                    <a:gd name="T20" fmla="*/ 154 w 173"/>
                    <a:gd name="T21"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3" h="173">
                      <a:moveTo>
                        <a:pt x="154" y="0"/>
                      </a:moveTo>
                      <a:cubicBezTo>
                        <a:pt x="154" y="0"/>
                        <a:pt x="154" y="0"/>
                        <a:pt x="154" y="0"/>
                      </a:cubicBezTo>
                      <a:cubicBezTo>
                        <a:pt x="69" y="0"/>
                        <a:pt x="0" y="69"/>
                        <a:pt x="0" y="154"/>
                      </a:cubicBezTo>
                      <a:cubicBezTo>
                        <a:pt x="0" y="154"/>
                        <a:pt x="0" y="154"/>
                        <a:pt x="0" y="154"/>
                      </a:cubicBezTo>
                      <a:cubicBezTo>
                        <a:pt x="0" y="165"/>
                        <a:pt x="8" y="173"/>
                        <a:pt x="18" y="173"/>
                      </a:cubicBezTo>
                      <a:cubicBezTo>
                        <a:pt x="28" y="173"/>
                        <a:pt x="36" y="165"/>
                        <a:pt x="36" y="154"/>
                      </a:cubicBezTo>
                      <a:cubicBezTo>
                        <a:pt x="36" y="154"/>
                        <a:pt x="36" y="154"/>
                        <a:pt x="36" y="154"/>
                      </a:cubicBezTo>
                      <a:cubicBezTo>
                        <a:pt x="36" y="89"/>
                        <a:pt x="89" y="36"/>
                        <a:pt x="154" y="36"/>
                      </a:cubicBezTo>
                      <a:cubicBezTo>
                        <a:pt x="154" y="36"/>
                        <a:pt x="154" y="36"/>
                        <a:pt x="154" y="36"/>
                      </a:cubicBezTo>
                      <a:cubicBezTo>
                        <a:pt x="165" y="36"/>
                        <a:pt x="173" y="28"/>
                        <a:pt x="173" y="18"/>
                      </a:cubicBezTo>
                      <a:cubicBezTo>
                        <a:pt x="173" y="8"/>
                        <a:pt x="165" y="0"/>
                        <a:pt x="15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200" dirty="0">
                    <a:latin typeface="+mj-lt"/>
                  </a:endParaRPr>
                </a:p>
              </p:txBody>
            </p:sp>
          </p:grpSp>
        </p:grpSp>
      </p:grpSp>
      <p:sp>
        <p:nvSpPr>
          <p:cNvPr id="2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22_84</a:t>
            </a:r>
            <a:endParaRPr lang="en-US" sz="100" dirty="0" err="1" smtClean="0">
              <a:solidFill>
                <a:srgbClr val="FFFFFF"/>
              </a:solidFill>
            </a:endParaRPr>
          </a:p>
        </p:txBody>
      </p:sp>
    </p:spTree>
    <p:extLst>
      <p:ext uri="{BB962C8B-B14F-4D97-AF65-F5344CB8AC3E}">
        <p14:creationId xmlns:p14="http://schemas.microsoft.com/office/powerpoint/2010/main" val="37202143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8230" y="222376"/>
            <a:ext cx="4844828" cy="800219"/>
          </a:xfrm>
        </p:spPr>
        <p:txBody>
          <a:bodyPr/>
          <a:lstStyle/>
          <a:p>
            <a:r>
              <a:rPr lang="en-US" dirty="0"/>
              <a:t>Tag line: </a:t>
            </a:r>
            <a:r>
              <a:rPr lang="en-US" dirty="0" err="1" smtClean="0"/>
              <a:t>Roboto</a:t>
            </a:r>
            <a:r>
              <a:rPr lang="en-US" dirty="0" smtClean="0"/>
              <a:t> BLACK 20pt on </a:t>
            </a:r>
            <a:r>
              <a:rPr lang="en-US" dirty="0" err="1" smtClean="0"/>
              <a:t>oneor</a:t>
            </a:r>
            <a:r>
              <a:rPr lang="en-US" dirty="0" smtClean="0"/>
              <a:t> </a:t>
            </a:r>
            <a:r>
              <a:rPr lang="en-US" dirty="0"/>
              <a:t>two lines</a:t>
            </a:r>
          </a:p>
        </p:txBody>
      </p:sp>
      <p:sp>
        <p:nvSpPr>
          <p:cNvPr id="4" name="Rectangle 3"/>
          <p:cNvSpPr/>
          <p:nvPr/>
        </p:nvSpPr>
        <p:spPr>
          <a:xfrm>
            <a:off x="11134818" y="5483387"/>
            <a:ext cx="1419670" cy="246979"/>
          </a:xfrm>
          <a:prstGeom prst="rect">
            <a:avLst/>
          </a:prstGeom>
          <a:solidFill>
            <a:srgbClr val="CCCC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4352" tIns="44352" rIns="44352" bIns="44352" rtlCol="0" anchor="ctr"/>
          <a:lstStyle/>
          <a:p>
            <a:pPr algn="ctr"/>
            <a:r>
              <a:rPr lang="en-US" sz="1164" dirty="0">
                <a:solidFill>
                  <a:srgbClr val="000000"/>
                </a:solidFill>
              </a:rPr>
              <a:t>Page # </a:t>
            </a:r>
            <a:r>
              <a:rPr lang="en-US" sz="1164" dirty="0" smtClean="0">
                <a:solidFill>
                  <a:srgbClr val="000000"/>
                </a:solidFill>
              </a:rPr>
              <a:t>(</a:t>
            </a:r>
            <a:r>
              <a:rPr lang="en-US" sz="1164" dirty="0" err="1" smtClean="0">
                <a:solidFill>
                  <a:srgbClr val="000000"/>
                </a:solidFill>
              </a:rPr>
              <a:t>Roboto</a:t>
            </a:r>
            <a:r>
              <a:rPr lang="en-US" sz="1164" dirty="0" smtClean="0">
                <a:solidFill>
                  <a:srgbClr val="000000"/>
                </a:solidFill>
              </a:rPr>
              <a:t>)</a:t>
            </a:r>
            <a:endParaRPr lang="en-US" sz="1164" dirty="0">
              <a:solidFill>
                <a:srgbClr val="000000"/>
              </a:solidFill>
            </a:endParaRPr>
          </a:p>
        </p:txBody>
      </p:sp>
      <p:cxnSp>
        <p:nvCxnSpPr>
          <p:cNvPr id="5" name="Straight Arrow Connector 4"/>
          <p:cNvCxnSpPr>
            <a:stCxn id="4" idx="2"/>
          </p:cNvCxnSpPr>
          <p:nvPr/>
        </p:nvCxnSpPr>
        <p:spPr>
          <a:xfrm>
            <a:off x="11844653" y="5730367"/>
            <a:ext cx="266790" cy="776530"/>
          </a:xfrm>
          <a:prstGeom prst="straightConnector1">
            <a:avLst/>
          </a:prstGeom>
          <a:ln w="19050">
            <a:solidFill>
              <a:srgbClr val="CC0000"/>
            </a:solidFill>
            <a:tailEnd type="arrow"/>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4909332" y="5483387"/>
            <a:ext cx="1419670" cy="246979"/>
          </a:xfrm>
          <a:prstGeom prst="rect">
            <a:avLst/>
          </a:prstGeom>
          <a:solidFill>
            <a:srgbClr val="CCCC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4352" tIns="44352" rIns="44352" bIns="44352" rtlCol="0" anchor="ctr"/>
          <a:lstStyle/>
          <a:p>
            <a:pPr algn="ctr"/>
            <a:r>
              <a:rPr lang="en-US" sz="1164" b="1" dirty="0" smtClean="0">
                <a:solidFill>
                  <a:srgbClr val="000000"/>
                </a:solidFill>
              </a:rPr>
              <a:t>TAMID Branding</a:t>
            </a:r>
            <a:endParaRPr lang="en-US" sz="1164" dirty="0">
              <a:solidFill>
                <a:srgbClr val="000000"/>
              </a:solidFill>
            </a:endParaRPr>
          </a:p>
        </p:txBody>
      </p:sp>
      <p:cxnSp>
        <p:nvCxnSpPr>
          <p:cNvPr id="7" name="Straight Arrow Connector 6"/>
          <p:cNvCxnSpPr/>
          <p:nvPr/>
        </p:nvCxnSpPr>
        <p:spPr>
          <a:xfrm>
            <a:off x="5650523" y="5733099"/>
            <a:ext cx="598354" cy="439191"/>
          </a:xfrm>
          <a:prstGeom prst="straightConnector1">
            <a:avLst/>
          </a:prstGeom>
          <a:ln w="19050">
            <a:solidFill>
              <a:srgbClr val="CC0000"/>
            </a:solidFill>
            <a:tailEnd type="arrow"/>
          </a:ln>
        </p:spPr>
        <p:style>
          <a:lnRef idx="1">
            <a:schemeClr val="accent1"/>
          </a:lnRef>
          <a:fillRef idx="0">
            <a:schemeClr val="accent1"/>
          </a:fillRef>
          <a:effectRef idx="0">
            <a:schemeClr val="accent1"/>
          </a:effectRef>
          <a:fontRef idx="minor">
            <a:schemeClr val="tx1"/>
          </a:fontRef>
        </p:style>
      </p:cxnSp>
      <p:sp>
        <p:nvSpPr>
          <p:cNvPr id="10" name="Source"/>
          <p:cNvSpPr>
            <a:spLocks noGrp="1"/>
          </p:cNvSpPr>
          <p:nvPr>
            <p:custDataLst>
              <p:tags r:id="rId1"/>
            </p:custDataLst>
          </p:nvPr>
        </p:nvSpPr>
        <p:spPr bwMode="auto">
          <a:xfrm>
            <a:off x="9082525" y="2432486"/>
            <a:ext cx="2762128" cy="92333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173038" indent="-173038" algn="l" defTabSz="981075" rtl="0" eaLnBrk="0" fontAlgn="base" hangingPunct="0">
              <a:spcBef>
                <a:spcPct val="40000"/>
              </a:spcBef>
              <a:spcAft>
                <a:spcPct val="0"/>
              </a:spcAft>
              <a:buClr>
                <a:schemeClr val="tx1"/>
              </a:buClr>
              <a:buFont typeface="Verdana" pitchFamily="34" charset="0"/>
              <a:buChar char="•"/>
              <a:defRPr sz="1400">
                <a:solidFill>
                  <a:schemeClr val="tx1"/>
                </a:solidFill>
                <a:latin typeface="Verdana" pitchFamily="34" charset="0"/>
                <a:ea typeface="+mn-ea"/>
                <a:cs typeface="+mn-cs"/>
              </a:defRPr>
            </a:lvl1pPr>
            <a:lvl2pPr marL="447675" indent="-119063"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2pPr>
            <a:lvl3pPr marL="812800" indent="-200025" algn="l" defTabSz="981075" rtl="0" eaLnBrk="0" fontAlgn="base" hangingPunct="0">
              <a:spcBef>
                <a:spcPct val="20000"/>
              </a:spcBef>
              <a:spcAft>
                <a:spcPct val="0"/>
              </a:spcAft>
              <a:buClr>
                <a:schemeClr val="tx1"/>
              </a:buClr>
              <a:buFont typeface="Marlett" pitchFamily="2" charset="2"/>
              <a:buChar char="8"/>
              <a:defRPr sz="1200">
                <a:solidFill>
                  <a:schemeClr val="tx1"/>
                </a:solidFill>
                <a:latin typeface="Verdana" pitchFamily="34" charset="0"/>
              </a:defRPr>
            </a:lvl3pPr>
            <a:lvl4pPr marL="971550" indent="-206375" algn="l" defTabSz="981075" rtl="0" eaLnBrk="0" fontAlgn="base" hangingPunct="0">
              <a:spcBef>
                <a:spcPct val="20000"/>
              </a:spcBef>
              <a:spcAft>
                <a:spcPct val="0"/>
              </a:spcAft>
              <a:buClr>
                <a:schemeClr val="tx1"/>
              </a:buClr>
              <a:buChar char="-"/>
              <a:defRPr sz="12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182563" indent="-182563">
              <a:spcBef>
                <a:spcPts val="960"/>
              </a:spcBef>
              <a:spcAft>
                <a:spcPts val="0"/>
              </a:spcAft>
              <a:buClrTx/>
              <a:buSzPct val="100000"/>
            </a:pPr>
            <a:r>
              <a:rPr lang="en-US" sz="2000" dirty="0" smtClean="0">
                <a:solidFill>
                  <a:srgbClr val="000000"/>
                </a:solidFill>
                <a:latin typeface="+mn-lt"/>
              </a:rPr>
              <a:t>TAMID theme </a:t>
            </a:r>
            <a:r>
              <a:rPr lang="en-US" sz="2000" dirty="0">
                <a:solidFill>
                  <a:srgbClr val="000000"/>
                </a:solidFill>
                <a:latin typeface="+mn-lt"/>
              </a:rPr>
              <a:t>colors available in the fill drop down menus</a:t>
            </a:r>
          </a:p>
        </p:txBody>
      </p:sp>
      <p:sp>
        <p:nvSpPr>
          <p:cNvPr id="11" name="Rectangle 10"/>
          <p:cNvSpPr/>
          <p:nvPr/>
        </p:nvSpPr>
        <p:spPr>
          <a:xfrm>
            <a:off x="2875054" y="6104578"/>
            <a:ext cx="1419670" cy="246979"/>
          </a:xfrm>
          <a:prstGeom prst="rect">
            <a:avLst/>
          </a:prstGeom>
          <a:solidFill>
            <a:srgbClr val="CCCC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4352" tIns="44352" rIns="44352" bIns="44352" rtlCol="0" anchor="ctr"/>
          <a:lstStyle/>
          <a:p>
            <a:pPr algn="ctr"/>
            <a:r>
              <a:rPr lang="en-US" sz="1164" dirty="0" smtClean="0">
                <a:solidFill>
                  <a:srgbClr val="000000"/>
                </a:solidFill>
              </a:rPr>
              <a:t>Disclaimer</a:t>
            </a:r>
            <a:endParaRPr lang="en-US" sz="1164" dirty="0">
              <a:solidFill>
                <a:srgbClr val="000000"/>
              </a:solidFill>
            </a:endParaRPr>
          </a:p>
        </p:txBody>
      </p:sp>
      <p:cxnSp>
        <p:nvCxnSpPr>
          <p:cNvPr id="12" name="Straight Arrow Connector 11"/>
          <p:cNvCxnSpPr/>
          <p:nvPr/>
        </p:nvCxnSpPr>
        <p:spPr>
          <a:xfrm>
            <a:off x="3546956" y="6374625"/>
            <a:ext cx="5251" cy="264544"/>
          </a:xfrm>
          <a:prstGeom prst="straightConnector1">
            <a:avLst/>
          </a:prstGeom>
          <a:ln w="19050">
            <a:solidFill>
              <a:srgbClr val="CC0000"/>
            </a:solidFill>
            <a:tailEnd type="arrow"/>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55600" y="2123378"/>
            <a:ext cx="5887244" cy="358426"/>
          </a:xfrm>
          <a:prstGeom prst="rect">
            <a:avLst/>
          </a:prstGeom>
          <a:noFill/>
        </p:spPr>
        <p:txBody>
          <a:bodyPr wrap="none" lIns="44352" tIns="44352" rIns="44352" bIns="44352" rtlCol="0">
            <a:spAutoFit/>
          </a:bodyPr>
          <a:lstStyle/>
          <a:p>
            <a:r>
              <a:rPr lang="en-US" sz="1747" dirty="0"/>
              <a:t>Default text box: Arial, not bold</a:t>
            </a:r>
          </a:p>
        </p:txBody>
      </p:sp>
      <p:sp>
        <p:nvSpPr>
          <p:cNvPr id="14" name="TextBox 13"/>
          <p:cNvSpPr txBox="1"/>
          <p:nvPr>
            <p:custDataLst>
              <p:tags r:id="rId2"/>
            </p:custDataLst>
          </p:nvPr>
        </p:nvSpPr>
        <p:spPr>
          <a:xfrm>
            <a:off x="355600" y="1570780"/>
            <a:ext cx="5887244" cy="326012"/>
          </a:xfrm>
          <a:prstGeom prst="rect">
            <a:avLst/>
          </a:prstGeom>
          <a:blipFill dpi="0" rotWithShape="1">
            <a:blip r:embed="rId6"/>
            <a:srcRect/>
            <a:tile tx="0" ty="0" sx="100000" sy="100000" flip="xy" algn="b"/>
          </a:blipFill>
        </p:spPr>
        <p:txBody>
          <a:bodyPr vert="horz" wrap="square" lIns="0" tIns="0" rIns="0" bIns="86247" rtlCol="0" anchor="b">
            <a:spAutoFit/>
          </a:bodyPr>
          <a:lstStyle/>
          <a:p>
            <a:pPr algn="ctr"/>
            <a:r>
              <a:rPr lang="en-US" sz="1553" b="1" cap="all" dirty="0"/>
              <a:t>Default text: </a:t>
            </a:r>
            <a:r>
              <a:rPr lang="en-US" sz="1553" b="1" cap="all" dirty="0" smtClean="0"/>
              <a:t>ROBOTO</a:t>
            </a:r>
            <a:endParaRPr lang="en-US" sz="1553" b="1" cap="all" dirty="0"/>
          </a:p>
        </p:txBody>
      </p:sp>
      <p:sp>
        <p:nvSpPr>
          <p:cNvPr id="15" name="TextBox 14"/>
          <p:cNvSpPr txBox="1"/>
          <p:nvPr>
            <p:custDataLst>
              <p:tags r:id="rId3"/>
            </p:custDataLst>
          </p:nvPr>
        </p:nvSpPr>
        <p:spPr>
          <a:xfrm>
            <a:off x="6598444" y="1570780"/>
            <a:ext cx="5887244" cy="326012"/>
          </a:xfrm>
          <a:prstGeom prst="rect">
            <a:avLst/>
          </a:prstGeom>
          <a:blipFill dpi="0" rotWithShape="1">
            <a:blip r:embed="rId6"/>
            <a:srcRect/>
            <a:tile tx="0" ty="0" sx="100000" sy="100000" flip="xy" algn="b"/>
          </a:blipFill>
        </p:spPr>
        <p:txBody>
          <a:bodyPr vert="horz" wrap="square" lIns="0" tIns="0" rIns="0" bIns="86247" rtlCol="0" anchor="b">
            <a:spAutoFit/>
          </a:bodyPr>
          <a:lstStyle/>
          <a:p>
            <a:pPr algn="ctr"/>
            <a:r>
              <a:rPr lang="en-US" sz="1553" b="1" cap="all" dirty="0"/>
              <a:t>colors</a:t>
            </a:r>
          </a:p>
        </p:txBody>
      </p:sp>
      <p:grpSp>
        <p:nvGrpSpPr>
          <p:cNvPr id="18" name="Group 17"/>
          <p:cNvGrpSpPr/>
          <p:nvPr>
            <p:custDataLst>
              <p:tags r:id="rId4"/>
            </p:custDataLst>
          </p:nvPr>
        </p:nvGrpSpPr>
        <p:grpSpPr>
          <a:xfrm>
            <a:off x="355599" y="3739332"/>
            <a:ext cx="5887244" cy="358426"/>
            <a:chOff x="1925037" y="4195356"/>
            <a:chExt cx="3970283" cy="358426"/>
          </a:xfrm>
        </p:grpSpPr>
        <p:cxnSp>
          <p:nvCxnSpPr>
            <p:cNvPr id="23" name="Straight Connector 22"/>
            <p:cNvCxnSpPr/>
            <p:nvPr/>
          </p:nvCxnSpPr>
          <p:spPr>
            <a:xfrm>
              <a:off x="3233439" y="4387219"/>
              <a:ext cx="2661881" cy="0"/>
            </a:xfrm>
            <a:prstGeom prst="line">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1925037" y="4195356"/>
              <a:ext cx="1229306" cy="358426"/>
            </a:xfrm>
            <a:prstGeom prst="rect">
              <a:avLst/>
            </a:prstGeom>
            <a:noFill/>
          </p:spPr>
          <p:txBody>
            <a:bodyPr wrap="none" lIns="44352" tIns="44352" rIns="44352" bIns="44352" rtlCol="0">
              <a:spAutoFit/>
            </a:bodyPr>
            <a:lstStyle/>
            <a:p>
              <a:r>
                <a:rPr lang="en-US" sz="1747" dirty="0"/>
                <a:t>Default line</a:t>
              </a:r>
            </a:p>
          </p:txBody>
        </p:sp>
      </p:grpSp>
      <p:pic>
        <p:nvPicPr>
          <p:cNvPr id="25" name="Picture 24"/>
          <p:cNvPicPr>
            <a:picLocks noChangeAspect="1"/>
          </p:cNvPicPr>
          <p:nvPr/>
        </p:nvPicPr>
        <p:blipFill rotWithShape="1">
          <a:blip r:embed="rId7">
            <a:extLst>
              <a:ext uri="{28A0092B-C50C-407E-A947-70E740481C1C}">
                <a14:useLocalDpi xmlns:a14="http://schemas.microsoft.com/office/drawing/2010/main" val="0"/>
              </a:ext>
            </a:extLst>
          </a:blip>
          <a:srcRect b="21929"/>
          <a:stretch/>
        </p:blipFill>
        <p:spPr>
          <a:xfrm>
            <a:off x="7227165" y="1953548"/>
            <a:ext cx="1608220" cy="2698718"/>
          </a:xfrm>
          <a:prstGeom prst="rect">
            <a:avLst/>
          </a:prstGeom>
          <a:effectLst>
            <a:outerShdw blurRad="50800" dist="38100" dir="2700000" algn="tl" rotWithShape="0">
              <a:prstClr val="black">
                <a:alpha val="40000"/>
              </a:prstClr>
            </a:outerShdw>
          </a:effectLst>
        </p:spPr>
      </p:pic>
      <p:sp>
        <p:nvSpPr>
          <p:cNvPr id="37" name="BainBulletsConfiguration" hidden="1"/>
          <p:cNvSpPr txBox="1"/>
          <p:nvPr/>
        </p:nvSpPr>
        <p:spPr>
          <a:xfrm>
            <a:off x="1712288" y="12323"/>
            <a:ext cx="8626466" cy="107722"/>
          </a:xfrm>
          <a:prstGeom prst="rect">
            <a:avLst/>
          </a:prstGeom>
          <a:noFill/>
        </p:spPr>
        <p:txBody>
          <a:bodyPr vert="horz" wrap="square" lIns="44365" rIns="44365" rtlCol="0">
            <a:spAutoFit/>
          </a:bodyPr>
          <a:lstStyle/>
          <a:p>
            <a:r>
              <a:rPr lang="en-US" sz="100" smtClean="0">
                <a:solidFill>
                  <a:srgbClr val="FFFFFF"/>
                </a:solidFill>
              </a:rPr>
              <a:t>10_85 18_84</a:t>
            </a:r>
            <a:endParaRPr lang="en-US" sz="100" dirty="0" err="1">
              <a:solidFill>
                <a:srgbClr val="FFFFFF"/>
              </a:solidFill>
            </a:endParaRPr>
          </a:p>
        </p:txBody>
      </p:sp>
      <p:sp>
        <p:nvSpPr>
          <p:cNvPr id="19" name="Rectangle 18"/>
          <p:cNvSpPr/>
          <p:nvPr/>
        </p:nvSpPr>
        <p:spPr>
          <a:xfrm>
            <a:off x="355600" y="2687736"/>
            <a:ext cx="5887244" cy="463373"/>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buClrTx/>
            </a:pPr>
            <a:r>
              <a:rPr lang="en-US" sz="2000" dirty="0">
                <a:solidFill>
                  <a:srgbClr val="000000"/>
                </a:solidFill>
              </a:rPr>
              <a:t>Default </a:t>
            </a:r>
            <a:r>
              <a:rPr lang="en-US" sz="2000" dirty="0" smtClean="0">
                <a:solidFill>
                  <a:srgbClr val="000000"/>
                </a:solidFill>
              </a:rPr>
              <a:t>shape</a:t>
            </a:r>
            <a:endParaRPr lang="en-US" sz="2000" dirty="0">
              <a:solidFill>
                <a:srgbClr val="000000"/>
              </a:solidFill>
            </a:endParaRPr>
          </a:p>
        </p:txBody>
      </p:sp>
      <p:sp>
        <p:nvSpPr>
          <p:cNvPr id="32" name="Rectangle 31"/>
          <p:cNvSpPr/>
          <p:nvPr/>
        </p:nvSpPr>
        <p:spPr>
          <a:xfrm>
            <a:off x="876063" y="5451885"/>
            <a:ext cx="1419670" cy="246979"/>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4352" tIns="44352" rIns="44352" bIns="44352" rtlCol="0" anchor="ctr"/>
          <a:lstStyle/>
          <a:p>
            <a:pPr algn="ctr"/>
            <a:r>
              <a:rPr lang="en-US" sz="1164" dirty="0" smtClean="0">
                <a:solidFill>
                  <a:schemeClr val="tx2"/>
                </a:solidFill>
              </a:rPr>
              <a:t>Client Name</a:t>
            </a:r>
            <a:endParaRPr lang="en-US" sz="1164" dirty="0">
              <a:solidFill>
                <a:schemeClr val="tx2"/>
              </a:solidFill>
            </a:endParaRPr>
          </a:p>
        </p:txBody>
      </p:sp>
      <p:cxnSp>
        <p:nvCxnSpPr>
          <p:cNvPr id="33" name="Straight Arrow Connector 7"/>
          <p:cNvCxnSpPr>
            <a:stCxn id="32" idx="2"/>
          </p:cNvCxnSpPr>
          <p:nvPr/>
        </p:nvCxnSpPr>
        <p:spPr>
          <a:xfrm rot="5400000">
            <a:off x="864560" y="5630238"/>
            <a:ext cx="652713" cy="789964"/>
          </a:xfrm>
          <a:prstGeom prst="bentConnector2">
            <a:avLst/>
          </a:prstGeom>
          <a:ln w="19050">
            <a:solidFill>
              <a:srgbClr val="CC0000"/>
            </a:solidFill>
            <a:headEnd type="none"/>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205770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4 HEADING COLUMNS</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
        <p:nvSpPr>
          <p:cNvPr id="4" name="TextBox 3"/>
          <p:cNvSpPr txBox="1"/>
          <p:nvPr>
            <p:custDataLst>
              <p:tags r:id="rId1"/>
            </p:custDataLst>
          </p:nvPr>
        </p:nvSpPr>
        <p:spPr>
          <a:xfrm>
            <a:off x="355600" y="1449333"/>
            <a:ext cx="2765822" cy="366767"/>
          </a:xfrm>
          <a:prstGeom prst="rect">
            <a:avLst/>
          </a:prstGeom>
          <a:blipFill dpi="0" rotWithShape="1">
            <a:blip r:embed="rId6"/>
            <a:srcRect/>
            <a:tile tx="0" ty="0" sx="100000" sy="100000" flip="xy" algn="b"/>
          </a:blipFill>
        </p:spPr>
        <p:txBody>
          <a:bodyPr vert="horz" wrap="square" lIns="0" tIns="0" rIns="0" bIns="88900" rtlCol="0" anchor="b">
            <a:spAutoFit/>
          </a:bodyPr>
          <a:lstStyle/>
          <a:p>
            <a:pPr algn="ctr"/>
            <a:r>
              <a:rPr lang="en-US" b="1" cap="all" dirty="0" smtClean="0"/>
              <a:t>Text here</a:t>
            </a:r>
          </a:p>
        </p:txBody>
      </p:sp>
      <p:sp>
        <p:nvSpPr>
          <p:cNvPr id="5" name="TextBox 4"/>
          <p:cNvSpPr txBox="1"/>
          <p:nvPr>
            <p:custDataLst>
              <p:tags r:id="rId2"/>
            </p:custDataLst>
          </p:nvPr>
        </p:nvSpPr>
        <p:spPr>
          <a:xfrm>
            <a:off x="3477022" y="1449333"/>
            <a:ext cx="2765822" cy="366767"/>
          </a:xfrm>
          <a:prstGeom prst="rect">
            <a:avLst/>
          </a:prstGeom>
          <a:blipFill dpi="0" rotWithShape="1">
            <a:blip r:embed="rId6"/>
            <a:srcRect/>
            <a:tile tx="0" ty="0" sx="100000" sy="100000" flip="xy" algn="b"/>
          </a:blipFill>
        </p:spPr>
        <p:txBody>
          <a:bodyPr vert="horz" wrap="square" lIns="0" tIns="0" rIns="0" bIns="88900" rtlCol="0" anchor="b">
            <a:spAutoFit/>
          </a:bodyPr>
          <a:lstStyle/>
          <a:p>
            <a:pPr algn="ctr"/>
            <a:r>
              <a:rPr lang="en-US" b="1" cap="all" dirty="0" smtClean="0"/>
              <a:t>Text here</a:t>
            </a:r>
          </a:p>
        </p:txBody>
      </p:sp>
      <p:sp>
        <p:nvSpPr>
          <p:cNvPr id="6" name="TextBox 5"/>
          <p:cNvSpPr txBox="1"/>
          <p:nvPr>
            <p:custDataLst>
              <p:tags r:id="rId3"/>
            </p:custDataLst>
          </p:nvPr>
        </p:nvSpPr>
        <p:spPr>
          <a:xfrm>
            <a:off x="6598444" y="1449333"/>
            <a:ext cx="2765822" cy="366767"/>
          </a:xfrm>
          <a:prstGeom prst="rect">
            <a:avLst/>
          </a:prstGeom>
          <a:blipFill dpi="0" rotWithShape="1">
            <a:blip r:embed="rId6"/>
            <a:srcRect/>
            <a:tile tx="0" ty="0" sx="100000" sy="100000" flip="xy" algn="b"/>
          </a:blipFill>
        </p:spPr>
        <p:txBody>
          <a:bodyPr vert="horz" wrap="square" lIns="0" tIns="0" rIns="0" bIns="88900" rtlCol="0" anchor="b">
            <a:spAutoFit/>
          </a:bodyPr>
          <a:lstStyle/>
          <a:p>
            <a:pPr algn="ctr"/>
            <a:r>
              <a:rPr lang="en-US" b="1" cap="all" dirty="0" smtClean="0"/>
              <a:t>Text here</a:t>
            </a:r>
          </a:p>
        </p:txBody>
      </p:sp>
      <p:sp>
        <p:nvSpPr>
          <p:cNvPr id="7" name="TextBox 6"/>
          <p:cNvSpPr txBox="1"/>
          <p:nvPr>
            <p:custDataLst>
              <p:tags r:id="rId4"/>
            </p:custDataLst>
          </p:nvPr>
        </p:nvSpPr>
        <p:spPr>
          <a:xfrm>
            <a:off x="9719866" y="1449333"/>
            <a:ext cx="2765822" cy="366767"/>
          </a:xfrm>
          <a:prstGeom prst="rect">
            <a:avLst/>
          </a:prstGeom>
          <a:blipFill dpi="0" rotWithShape="1">
            <a:blip r:embed="rId6"/>
            <a:srcRect/>
            <a:tile tx="0" ty="0" sx="100000" sy="100000" flip="xy" algn="b"/>
          </a:blipFill>
        </p:spPr>
        <p:txBody>
          <a:bodyPr vert="horz" wrap="square" lIns="0" tIns="0" rIns="0" bIns="88900" rtlCol="0" anchor="b">
            <a:spAutoFit/>
          </a:bodyPr>
          <a:lstStyle/>
          <a:p>
            <a:pPr algn="ctr"/>
            <a:r>
              <a:rPr lang="en-US" b="1" cap="all" dirty="0" smtClean="0"/>
              <a:t>Text here</a:t>
            </a:r>
          </a:p>
        </p:txBody>
      </p:sp>
      <p:sp>
        <p:nvSpPr>
          <p:cNvPr id="8" name="Rectangle 7"/>
          <p:cNvSpPr/>
          <p:nvPr/>
        </p:nvSpPr>
        <p:spPr>
          <a:xfrm>
            <a:off x="355600" y="1987814"/>
            <a:ext cx="2765822" cy="3661002"/>
          </a:xfrm>
          <a:prstGeom prst="rect">
            <a:avLst/>
          </a:prstGeom>
        </p:spPr>
        <p:txBody>
          <a:bodyPr wrap="square">
            <a:spAutoFit/>
          </a:bodyPr>
          <a:lstStyle/>
          <a:p>
            <a:pPr>
              <a:lnSpc>
                <a:spcPct val="130000"/>
              </a:lnSpc>
            </a:pPr>
            <a:r>
              <a:rPr lang="pt-BR" dirty="0">
                <a:solidFill>
                  <a:srgbClr val="58595B"/>
                </a:solidFill>
                <a:latin typeface="Roboto Regular" pitchFamily="2" charset="0"/>
                <a:ea typeface="Roboto Regular" pitchFamily="2" charset="0"/>
                <a:cs typeface="Open Sans Light"/>
              </a:rPr>
              <a:t>Lorem ipsum dolor sit amet, consectetur adipiscing elit. Aliquam tincidunt ante nec sem congue convallis. Pellentesque vel mauris quis nisl ornare rutrum in id risus. Proin vehicula ut sem et tempus. Interdum et </a:t>
            </a:r>
            <a:r>
              <a:rPr lang="pt-BR" dirty="0" smtClean="0">
                <a:solidFill>
                  <a:srgbClr val="58595B"/>
                </a:solidFill>
                <a:latin typeface="Roboto Regular" pitchFamily="2" charset="0"/>
                <a:ea typeface="Roboto Regular" pitchFamily="2" charset="0"/>
                <a:cs typeface="Open Sans Light"/>
              </a:rPr>
              <a:t>malesuada.</a:t>
            </a:r>
            <a:endParaRPr lang="pt-BR" dirty="0">
              <a:solidFill>
                <a:srgbClr val="58595B"/>
              </a:solidFill>
              <a:latin typeface="Roboto Regular" pitchFamily="2" charset="0"/>
              <a:ea typeface="Roboto Regular" pitchFamily="2" charset="0"/>
              <a:cs typeface="Open Sans Light"/>
            </a:endParaRPr>
          </a:p>
        </p:txBody>
      </p:sp>
      <p:sp>
        <p:nvSpPr>
          <p:cNvPr id="9" name="Rectangle 8"/>
          <p:cNvSpPr/>
          <p:nvPr/>
        </p:nvSpPr>
        <p:spPr>
          <a:xfrm>
            <a:off x="3477022" y="1987814"/>
            <a:ext cx="2765822" cy="3661002"/>
          </a:xfrm>
          <a:prstGeom prst="rect">
            <a:avLst/>
          </a:prstGeom>
        </p:spPr>
        <p:txBody>
          <a:bodyPr wrap="square">
            <a:spAutoFit/>
          </a:bodyPr>
          <a:lstStyle/>
          <a:p>
            <a:pPr>
              <a:lnSpc>
                <a:spcPct val="130000"/>
              </a:lnSpc>
            </a:pPr>
            <a:r>
              <a:rPr lang="pt-BR" dirty="0">
                <a:solidFill>
                  <a:srgbClr val="58595B"/>
                </a:solidFill>
                <a:latin typeface="Roboto Regular" pitchFamily="2" charset="0"/>
                <a:ea typeface="Roboto Regular" pitchFamily="2" charset="0"/>
                <a:cs typeface="Open Sans Light"/>
              </a:rPr>
              <a:t>Lorem ipsum dolor sit amet, consectetur adipiscing elit. Aliquam tincidunt ante nec sem congue convallis. Pellentesque vel mauris quis nisl ornare rutrum in id risus. Proin vehicula ut sem et tempus. Interdum et </a:t>
            </a:r>
            <a:r>
              <a:rPr lang="pt-BR" dirty="0" smtClean="0">
                <a:solidFill>
                  <a:srgbClr val="58595B"/>
                </a:solidFill>
                <a:latin typeface="Roboto Regular" pitchFamily="2" charset="0"/>
                <a:ea typeface="Roboto Regular" pitchFamily="2" charset="0"/>
                <a:cs typeface="Open Sans Light"/>
              </a:rPr>
              <a:t>malesuada.</a:t>
            </a:r>
            <a:endParaRPr lang="pt-BR" dirty="0">
              <a:solidFill>
                <a:srgbClr val="58595B"/>
              </a:solidFill>
              <a:latin typeface="Roboto Regular" pitchFamily="2" charset="0"/>
              <a:ea typeface="Roboto Regular" pitchFamily="2" charset="0"/>
              <a:cs typeface="Open Sans Light"/>
            </a:endParaRPr>
          </a:p>
        </p:txBody>
      </p:sp>
      <p:sp>
        <p:nvSpPr>
          <p:cNvPr id="10" name="Rectangle 9"/>
          <p:cNvSpPr/>
          <p:nvPr/>
        </p:nvSpPr>
        <p:spPr>
          <a:xfrm>
            <a:off x="6598444" y="1987814"/>
            <a:ext cx="2765822" cy="3661002"/>
          </a:xfrm>
          <a:prstGeom prst="rect">
            <a:avLst/>
          </a:prstGeom>
        </p:spPr>
        <p:txBody>
          <a:bodyPr wrap="square">
            <a:spAutoFit/>
          </a:bodyPr>
          <a:lstStyle/>
          <a:p>
            <a:pPr>
              <a:lnSpc>
                <a:spcPct val="130000"/>
              </a:lnSpc>
            </a:pPr>
            <a:r>
              <a:rPr lang="pt-BR" dirty="0">
                <a:solidFill>
                  <a:srgbClr val="58595B"/>
                </a:solidFill>
                <a:latin typeface="Roboto Regular" pitchFamily="2" charset="0"/>
                <a:ea typeface="Roboto Regular" pitchFamily="2" charset="0"/>
                <a:cs typeface="Open Sans Light"/>
              </a:rPr>
              <a:t>Lorem ipsum dolor sit amet, consectetur adipiscing elit. Aliquam tincidunt ante nec sem congue convallis. Pellentesque vel mauris quis nisl ornare rutrum in id risus. Proin vehicula ut sem et tempus. Interdum et </a:t>
            </a:r>
            <a:r>
              <a:rPr lang="pt-BR" dirty="0" smtClean="0">
                <a:solidFill>
                  <a:srgbClr val="58595B"/>
                </a:solidFill>
                <a:latin typeface="Roboto Regular" pitchFamily="2" charset="0"/>
                <a:ea typeface="Roboto Regular" pitchFamily="2" charset="0"/>
                <a:cs typeface="Open Sans Light"/>
              </a:rPr>
              <a:t>malesuada.</a:t>
            </a:r>
            <a:endParaRPr lang="pt-BR" dirty="0">
              <a:solidFill>
                <a:srgbClr val="58595B"/>
              </a:solidFill>
              <a:latin typeface="Roboto Regular" pitchFamily="2" charset="0"/>
              <a:ea typeface="Roboto Regular" pitchFamily="2" charset="0"/>
              <a:cs typeface="Open Sans Light"/>
            </a:endParaRPr>
          </a:p>
        </p:txBody>
      </p:sp>
      <p:sp>
        <p:nvSpPr>
          <p:cNvPr id="11" name="Rectangle 10"/>
          <p:cNvSpPr/>
          <p:nvPr/>
        </p:nvSpPr>
        <p:spPr>
          <a:xfrm>
            <a:off x="9719866" y="1987814"/>
            <a:ext cx="2765822" cy="3661002"/>
          </a:xfrm>
          <a:prstGeom prst="rect">
            <a:avLst/>
          </a:prstGeom>
        </p:spPr>
        <p:txBody>
          <a:bodyPr wrap="square">
            <a:spAutoFit/>
          </a:bodyPr>
          <a:lstStyle/>
          <a:p>
            <a:pPr>
              <a:lnSpc>
                <a:spcPct val="130000"/>
              </a:lnSpc>
            </a:pPr>
            <a:r>
              <a:rPr lang="pt-BR" dirty="0">
                <a:solidFill>
                  <a:srgbClr val="58595B"/>
                </a:solidFill>
                <a:latin typeface="Roboto Regular" pitchFamily="2" charset="0"/>
                <a:ea typeface="Roboto Regular" pitchFamily="2" charset="0"/>
                <a:cs typeface="Open Sans Light"/>
              </a:rPr>
              <a:t>Lorem ipsum dolor sit amet, consectetur adipiscing elit. Aliquam tincidunt ante nec sem congue convallis. Pellentesque vel mauris quis nisl ornare rutrum in id risus. Proin vehicula ut sem et tempus. Interdum et </a:t>
            </a:r>
            <a:r>
              <a:rPr lang="pt-BR" dirty="0" smtClean="0">
                <a:solidFill>
                  <a:srgbClr val="58595B"/>
                </a:solidFill>
                <a:latin typeface="Roboto Regular" pitchFamily="2" charset="0"/>
                <a:ea typeface="Roboto Regular" pitchFamily="2" charset="0"/>
                <a:cs typeface="Open Sans Light"/>
              </a:rPr>
              <a:t>malesuada.</a:t>
            </a:r>
            <a:endParaRPr lang="pt-BR" dirty="0">
              <a:solidFill>
                <a:srgbClr val="58595B"/>
              </a:solidFill>
              <a:latin typeface="Roboto Regular" pitchFamily="2" charset="0"/>
              <a:ea typeface="Roboto Regular" pitchFamily="2" charset="0"/>
              <a:cs typeface="Open Sans Light"/>
            </a:endParaRPr>
          </a:p>
        </p:txBody>
      </p:sp>
    </p:spTree>
    <p:extLst>
      <p:ext uri="{BB962C8B-B14F-4D97-AF65-F5344CB8AC3E}">
        <p14:creationId xmlns:p14="http://schemas.microsoft.com/office/powerpoint/2010/main" val="174717089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reeform 1"/>
          <p:cNvSpPr>
            <a:spLocks noChangeArrowheads="1"/>
          </p:cNvSpPr>
          <p:nvPr/>
        </p:nvSpPr>
        <p:spPr bwMode="auto">
          <a:xfrm>
            <a:off x="1199819" y="1235166"/>
            <a:ext cx="2992561" cy="1194891"/>
          </a:xfrm>
          <a:custGeom>
            <a:avLst/>
            <a:gdLst>
              <a:gd name="T0" fmla="*/ 5639 w 7144"/>
              <a:gd name="T1" fmla="*/ 0 h 3558"/>
              <a:gd name="T2" fmla="*/ 0 w 7144"/>
              <a:gd name="T3" fmla="*/ 0 h 3558"/>
              <a:gd name="T4" fmla="*/ 1475 w 7144"/>
              <a:gd name="T5" fmla="*/ 1792 h 3558"/>
              <a:gd name="T6" fmla="*/ 0 w 7144"/>
              <a:gd name="T7" fmla="*/ 3557 h 3558"/>
              <a:gd name="T8" fmla="*/ 5669 w 7144"/>
              <a:gd name="T9" fmla="*/ 3557 h 3558"/>
              <a:gd name="T10" fmla="*/ 7143 w 7144"/>
              <a:gd name="T11" fmla="*/ 1792 h 3558"/>
              <a:gd name="T12" fmla="*/ 5639 w 7144"/>
              <a:gd name="T13" fmla="*/ 0 h 3558"/>
            </a:gdLst>
            <a:ahLst/>
            <a:cxnLst>
              <a:cxn ang="0">
                <a:pos x="T0" y="T1"/>
              </a:cxn>
              <a:cxn ang="0">
                <a:pos x="T2" y="T3"/>
              </a:cxn>
              <a:cxn ang="0">
                <a:pos x="T4" y="T5"/>
              </a:cxn>
              <a:cxn ang="0">
                <a:pos x="T6" y="T7"/>
              </a:cxn>
              <a:cxn ang="0">
                <a:pos x="T8" y="T9"/>
              </a:cxn>
              <a:cxn ang="0">
                <a:pos x="T10" y="T11"/>
              </a:cxn>
              <a:cxn ang="0">
                <a:pos x="T12" y="T13"/>
              </a:cxn>
            </a:cxnLst>
            <a:rect l="0" t="0" r="r" b="b"/>
            <a:pathLst>
              <a:path w="7144" h="3558">
                <a:moveTo>
                  <a:pt x="5639" y="0"/>
                </a:moveTo>
                <a:lnTo>
                  <a:pt x="0" y="0"/>
                </a:lnTo>
                <a:lnTo>
                  <a:pt x="1475" y="1792"/>
                </a:lnTo>
                <a:lnTo>
                  <a:pt x="0" y="3557"/>
                </a:lnTo>
                <a:lnTo>
                  <a:pt x="5669" y="3557"/>
                </a:lnTo>
                <a:lnTo>
                  <a:pt x="7143" y="1792"/>
                </a:lnTo>
                <a:lnTo>
                  <a:pt x="5639" y="0"/>
                </a:lnTo>
              </a:path>
            </a:pathLst>
          </a:custGeom>
          <a:solidFill>
            <a:schemeClr val="accent4"/>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lIns="128402" tIns="64201" rIns="128402" bIns="64201" anchor="ctr"/>
          <a:lstStyle/>
          <a:p>
            <a:endParaRPr lang="en-US" sz="948"/>
          </a:p>
        </p:txBody>
      </p:sp>
      <p:sp>
        <p:nvSpPr>
          <p:cNvPr id="21" name="Freeform 2"/>
          <p:cNvSpPr>
            <a:spLocks noChangeArrowheads="1"/>
          </p:cNvSpPr>
          <p:nvPr/>
        </p:nvSpPr>
        <p:spPr bwMode="auto">
          <a:xfrm>
            <a:off x="3688223" y="1235166"/>
            <a:ext cx="2992561" cy="1194891"/>
          </a:xfrm>
          <a:custGeom>
            <a:avLst/>
            <a:gdLst>
              <a:gd name="T0" fmla="*/ 5668 w 7144"/>
              <a:gd name="T1" fmla="*/ 0 h 3558"/>
              <a:gd name="T2" fmla="*/ 0 w 7144"/>
              <a:gd name="T3" fmla="*/ 0 h 3558"/>
              <a:gd name="T4" fmla="*/ 1475 w 7144"/>
              <a:gd name="T5" fmla="*/ 1792 h 3558"/>
              <a:gd name="T6" fmla="*/ 0 w 7144"/>
              <a:gd name="T7" fmla="*/ 3557 h 3558"/>
              <a:gd name="T8" fmla="*/ 5668 w 7144"/>
              <a:gd name="T9" fmla="*/ 3557 h 3558"/>
              <a:gd name="T10" fmla="*/ 7143 w 7144"/>
              <a:gd name="T11" fmla="*/ 1792 h 3558"/>
              <a:gd name="T12" fmla="*/ 5668 w 7144"/>
              <a:gd name="T13" fmla="*/ 0 h 3558"/>
            </a:gdLst>
            <a:ahLst/>
            <a:cxnLst>
              <a:cxn ang="0">
                <a:pos x="T0" y="T1"/>
              </a:cxn>
              <a:cxn ang="0">
                <a:pos x="T2" y="T3"/>
              </a:cxn>
              <a:cxn ang="0">
                <a:pos x="T4" y="T5"/>
              </a:cxn>
              <a:cxn ang="0">
                <a:pos x="T6" y="T7"/>
              </a:cxn>
              <a:cxn ang="0">
                <a:pos x="T8" y="T9"/>
              </a:cxn>
              <a:cxn ang="0">
                <a:pos x="T10" y="T11"/>
              </a:cxn>
              <a:cxn ang="0">
                <a:pos x="T12" y="T13"/>
              </a:cxn>
            </a:cxnLst>
            <a:rect l="0" t="0" r="r" b="b"/>
            <a:pathLst>
              <a:path w="7144" h="3558">
                <a:moveTo>
                  <a:pt x="5668" y="0"/>
                </a:moveTo>
                <a:lnTo>
                  <a:pt x="0" y="0"/>
                </a:lnTo>
                <a:lnTo>
                  <a:pt x="1475" y="1792"/>
                </a:lnTo>
                <a:lnTo>
                  <a:pt x="0" y="3557"/>
                </a:lnTo>
                <a:lnTo>
                  <a:pt x="5668" y="3557"/>
                </a:lnTo>
                <a:lnTo>
                  <a:pt x="7143" y="1792"/>
                </a:lnTo>
                <a:lnTo>
                  <a:pt x="5668" y="0"/>
                </a:lnTo>
              </a:path>
            </a:pathLst>
          </a:custGeom>
          <a:solidFill>
            <a:schemeClr val="accent3"/>
          </a:solidFill>
          <a:ln>
            <a:noFill/>
          </a:ln>
          <a:effectLst/>
        </p:spPr>
        <p:txBody>
          <a:bodyPr wrap="none" lIns="128402" tIns="64201" rIns="128402" bIns="64201" anchor="ctr"/>
          <a:lstStyle/>
          <a:p>
            <a:endParaRPr lang="en-US" sz="948"/>
          </a:p>
        </p:txBody>
      </p:sp>
      <p:sp>
        <p:nvSpPr>
          <p:cNvPr id="29" name="Freeform 1"/>
          <p:cNvSpPr>
            <a:spLocks noChangeArrowheads="1"/>
          </p:cNvSpPr>
          <p:nvPr/>
        </p:nvSpPr>
        <p:spPr bwMode="auto">
          <a:xfrm>
            <a:off x="6174910" y="1235166"/>
            <a:ext cx="2992561" cy="1194891"/>
          </a:xfrm>
          <a:custGeom>
            <a:avLst/>
            <a:gdLst>
              <a:gd name="T0" fmla="*/ 5639 w 7144"/>
              <a:gd name="T1" fmla="*/ 0 h 3558"/>
              <a:gd name="T2" fmla="*/ 0 w 7144"/>
              <a:gd name="T3" fmla="*/ 0 h 3558"/>
              <a:gd name="T4" fmla="*/ 1475 w 7144"/>
              <a:gd name="T5" fmla="*/ 1792 h 3558"/>
              <a:gd name="T6" fmla="*/ 0 w 7144"/>
              <a:gd name="T7" fmla="*/ 3557 h 3558"/>
              <a:gd name="T8" fmla="*/ 5669 w 7144"/>
              <a:gd name="T9" fmla="*/ 3557 h 3558"/>
              <a:gd name="T10" fmla="*/ 7143 w 7144"/>
              <a:gd name="T11" fmla="*/ 1792 h 3558"/>
              <a:gd name="T12" fmla="*/ 5639 w 7144"/>
              <a:gd name="T13" fmla="*/ 0 h 3558"/>
            </a:gdLst>
            <a:ahLst/>
            <a:cxnLst>
              <a:cxn ang="0">
                <a:pos x="T0" y="T1"/>
              </a:cxn>
              <a:cxn ang="0">
                <a:pos x="T2" y="T3"/>
              </a:cxn>
              <a:cxn ang="0">
                <a:pos x="T4" y="T5"/>
              </a:cxn>
              <a:cxn ang="0">
                <a:pos x="T6" y="T7"/>
              </a:cxn>
              <a:cxn ang="0">
                <a:pos x="T8" y="T9"/>
              </a:cxn>
              <a:cxn ang="0">
                <a:pos x="T10" y="T11"/>
              </a:cxn>
              <a:cxn ang="0">
                <a:pos x="T12" y="T13"/>
              </a:cxn>
            </a:cxnLst>
            <a:rect l="0" t="0" r="r" b="b"/>
            <a:pathLst>
              <a:path w="7144" h="3558">
                <a:moveTo>
                  <a:pt x="5639" y="0"/>
                </a:moveTo>
                <a:lnTo>
                  <a:pt x="0" y="0"/>
                </a:lnTo>
                <a:lnTo>
                  <a:pt x="1475" y="1792"/>
                </a:lnTo>
                <a:lnTo>
                  <a:pt x="0" y="3557"/>
                </a:lnTo>
                <a:lnTo>
                  <a:pt x="5669" y="3557"/>
                </a:lnTo>
                <a:lnTo>
                  <a:pt x="7143" y="1792"/>
                </a:lnTo>
                <a:lnTo>
                  <a:pt x="5639" y="0"/>
                </a:lnTo>
              </a:path>
            </a:pathLst>
          </a:custGeom>
          <a:solidFill>
            <a:schemeClr val="accent4"/>
          </a:solidFill>
          <a:ln>
            <a:noFill/>
          </a:ln>
          <a:effectLst/>
        </p:spPr>
        <p:txBody>
          <a:bodyPr wrap="none" lIns="128402" tIns="64201" rIns="128402" bIns="64201" anchor="ctr"/>
          <a:lstStyle/>
          <a:p>
            <a:endParaRPr lang="en-US" sz="948"/>
          </a:p>
        </p:txBody>
      </p:sp>
      <p:sp>
        <p:nvSpPr>
          <p:cNvPr id="30" name="Freeform 2"/>
          <p:cNvSpPr>
            <a:spLocks noChangeArrowheads="1"/>
          </p:cNvSpPr>
          <p:nvPr/>
        </p:nvSpPr>
        <p:spPr bwMode="auto">
          <a:xfrm>
            <a:off x="8665125" y="1235166"/>
            <a:ext cx="2992561" cy="1194891"/>
          </a:xfrm>
          <a:custGeom>
            <a:avLst/>
            <a:gdLst>
              <a:gd name="T0" fmla="*/ 5668 w 7144"/>
              <a:gd name="T1" fmla="*/ 0 h 3558"/>
              <a:gd name="T2" fmla="*/ 0 w 7144"/>
              <a:gd name="T3" fmla="*/ 0 h 3558"/>
              <a:gd name="T4" fmla="*/ 1475 w 7144"/>
              <a:gd name="T5" fmla="*/ 1792 h 3558"/>
              <a:gd name="T6" fmla="*/ 0 w 7144"/>
              <a:gd name="T7" fmla="*/ 3557 h 3558"/>
              <a:gd name="T8" fmla="*/ 5668 w 7144"/>
              <a:gd name="T9" fmla="*/ 3557 h 3558"/>
              <a:gd name="T10" fmla="*/ 7143 w 7144"/>
              <a:gd name="T11" fmla="*/ 1792 h 3558"/>
              <a:gd name="T12" fmla="*/ 5668 w 7144"/>
              <a:gd name="T13" fmla="*/ 0 h 3558"/>
            </a:gdLst>
            <a:ahLst/>
            <a:cxnLst>
              <a:cxn ang="0">
                <a:pos x="T0" y="T1"/>
              </a:cxn>
              <a:cxn ang="0">
                <a:pos x="T2" y="T3"/>
              </a:cxn>
              <a:cxn ang="0">
                <a:pos x="T4" y="T5"/>
              </a:cxn>
              <a:cxn ang="0">
                <a:pos x="T6" y="T7"/>
              </a:cxn>
              <a:cxn ang="0">
                <a:pos x="T8" y="T9"/>
              </a:cxn>
              <a:cxn ang="0">
                <a:pos x="T10" y="T11"/>
              </a:cxn>
              <a:cxn ang="0">
                <a:pos x="T12" y="T13"/>
              </a:cxn>
            </a:cxnLst>
            <a:rect l="0" t="0" r="r" b="b"/>
            <a:pathLst>
              <a:path w="7144" h="3558">
                <a:moveTo>
                  <a:pt x="5668" y="0"/>
                </a:moveTo>
                <a:lnTo>
                  <a:pt x="0" y="0"/>
                </a:lnTo>
                <a:lnTo>
                  <a:pt x="1475" y="1792"/>
                </a:lnTo>
                <a:lnTo>
                  <a:pt x="0" y="3557"/>
                </a:lnTo>
                <a:lnTo>
                  <a:pt x="5668" y="3557"/>
                </a:lnTo>
                <a:lnTo>
                  <a:pt x="7143" y="1792"/>
                </a:lnTo>
                <a:lnTo>
                  <a:pt x="5668" y="0"/>
                </a:lnTo>
              </a:path>
            </a:pathLst>
          </a:custGeom>
          <a:solidFill>
            <a:schemeClr val="accent5"/>
          </a:solidFill>
          <a:ln>
            <a:noFill/>
          </a:ln>
          <a:effectLst/>
        </p:spPr>
        <p:txBody>
          <a:bodyPr wrap="none" lIns="128402" tIns="64201" rIns="128402" bIns="64201" anchor="ctr"/>
          <a:lstStyle/>
          <a:p>
            <a:endParaRPr lang="en-US" sz="948"/>
          </a:p>
        </p:txBody>
      </p:sp>
      <p:sp>
        <p:nvSpPr>
          <p:cNvPr id="32" name="Subtitle 2"/>
          <p:cNvSpPr txBox="1">
            <a:spLocks/>
          </p:cNvSpPr>
          <p:nvPr/>
        </p:nvSpPr>
        <p:spPr>
          <a:xfrm>
            <a:off x="1200368" y="2634302"/>
            <a:ext cx="2638878" cy="3479122"/>
          </a:xfrm>
          <a:prstGeom prst="rect">
            <a:avLst/>
          </a:prstGeom>
        </p:spPr>
        <p:txBody>
          <a:bodyPr vert="horz" lIns="128402" tIns="64201" rIns="128402" bIns="64201"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20000"/>
              </a:lnSpc>
              <a:buNone/>
            </a:pPr>
            <a:r>
              <a:rPr lang="en-US" sz="1600" b="1" dirty="0">
                <a:latin typeface="Roboto Regular" pitchFamily="2" charset="0"/>
                <a:ea typeface="Roboto Regular" pitchFamily="2" charset="0"/>
                <a:cs typeface="Roboto Regular"/>
              </a:rPr>
              <a:t>ELEMENT ONE</a:t>
            </a:r>
          </a:p>
          <a:p>
            <a:pPr marL="0" indent="0">
              <a:lnSpc>
                <a:spcPct val="120000"/>
              </a:lnSpc>
              <a:buNone/>
            </a:pPr>
            <a:r>
              <a:rPr lang="en-US" sz="1600" dirty="0">
                <a:latin typeface="Roboto Regular" pitchFamily="2" charset="0"/>
                <a:ea typeface="Roboto Regular" pitchFamily="2" charset="0"/>
                <a:cs typeface="Roboto Light"/>
              </a:rPr>
              <a:t>Entrepreneur  It is defined as an individual who organizes or operates a business or businesses. Credit for coining the term entrepreneur generally goes to the French economist Jean-Baptiste Say, but</a:t>
            </a:r>
          </a:p>
        </p:txBody>
      </p:sp>
      <p:sp>
        <p:nvSpPr>
          <p:cNvPr id="16" name="Subtitle 2"/>
          <p:cNvSpPr txBox="1">
            <a:spLocks/>
          </p:cNvSpPr>
          <p:nvPr/>
        </p:nvSpPr>
        <p:spPr>
          <a:xfrm>
            <a:off x="3807416" y="2634302"/>
            <a:ext cx="2638878" cy="3479122"/>
          </a:xfrm>
          <a:prstGeom prst="rect">
            <a:avLst/>
          </a:prstGeom>
        </p:spPr>
        <p:txBody>
          <a:bodyPr vert="horz" lIns="128402" tIns="64201" rIns="128402" bIns="64201"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20000"/>
              </a:lnSpc>
              <a:buNone/>
            </a:pPr>
            <a:r>
              <a:rPr lang="en-US" sz="1600" b="1" dirty="0">
                <a:latin typeface="Roboto Regular" pitchFamily="2" charset="0"/>
                <a:ea typeface="Roboto Regular" pitchFamily="2" charset="0"/>
                <a:cs typeface="Roboto Regular"/>
              </a:rPr>
              <a:t>ELEMENT TWO</a:t>
            </a:r>
          </a:p>
          <a:p>
            <a:pPr marL="0" indent="0">
              <a:lnSpc>
                <a:spcPct val="120000"/>
              </a:lnSpc>
              <a:buNone/>
            </a:pPr>
            <a:r>
              <a:rPr lang="en-US" sz="1600" dirty="0">
                <a:latin typeface="Roboto Regular" pitchFamily="2" charset="0"/>
                <a:ea typeface="Roboto Regular" pitchFamily="2" charset="0"/>
                <a:cs typeface="Roboto Light"/>
              </a:rPr>
              <a:t>Entrepreneur  It is defined as an individual who organizes or operates a business or businesses. Credit for coining the term entrepreneur generally goes to the French economist Jean-Baptiste Say, but</a:t>
            </a:r>
          </a:p>
        </p:txBody>
      </p:sp>
      <p:sp>
        <p:nvSpPr>
          <p:cNvPr id="17" name="Subtitle 2"/>
          <p:cNvSpPr txBox="1">
            <a:spLocks/>
          </p:cNvSpPr>
          <p:nvPr/>
        </p:nvSpPr>
        <p:spPr>
          <a:xfrm>
            <a:off x="6401526" y="2634302"/>
            <a:ext cx="2638878" cy="3479122"/>
          </a:xfrm>
          <a:prstGeom prst="rect">
            <a:avLst/>
          </a:prstGeom>
        </p:spPr>
        <p:txBody>
          <a:bodyPr vert="horz" lIns="128402" tIns="64201" rIns="128402" bIns="64201"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20000"/>
              </a:lnSpc>
              <a:buNone/>
            </a:pPr>
            <a:r>
              <a:rPr lang="en-US" sz="1600" b="1" dirty="0">
                <a:latin typeface="Roboto Regular" pitchFamily="2" charset="0"/>
                <a:ea typeface="Roboto Regular" pitchFamily="2" charset="0"/>
                <a:cs typeface="Roboto Regular"/>
              </a:rPr>
              <a:t>ELEMENT THREE</a:t>
            </a:r>
          </a:p>
          <a:p>
            <a:pPr marL="0" indent="0">
              <a:lnSpc>
                <a:spcPct val="120000"/>
              </a:lnSpc>
              <a:buNone/>
            </a:pPr>
            <a:r>
              <a:rPr lang="en-US" sz="1600" dirty="0">
                <a:latin typeface="Roboto Regular" pitchFamily="2" charset="0"/>
                <a:ea typeface="Roboto Regular" pitchFamily="2" charset="0"/>
                <a:cs typeface="Roboto Light"/>
              </a:rPr>
              <a:t>Entrepreneur  It is defined as an individual who organizes or operates a business or businesses. Credit for coining the term entrepreneur generally goes to the French economist Jean-Baptiste Say, but</a:t>
            </a:r>
          </a:p>
        </p:txBody>
      </p:sp>
      <p:sp>
        <p:nvSpPr>
          <p:cNvPr id="18" name="Subtitle 2"/>
          <p:cNvSpPr txBox="1">
            <a:spLocks/>
          </p:cNvSpPr>
          <p:nvPr/>
        </p:nvSpPr>
        <p:spPr>
          <a:xfrm>
            <a:off x="9008574" y="2634302"/>
            <a:ext cx="2638878" cy="3479122"/>
          </a:xfrm>
          <a:prstGeom prst="rect">
            <a:avLst/>
          </a:prstGeom>
        </p:spPr>
        <p:txBody>
          <a:bodyPr vert="horz" lIns="128402" tIns="64201" rIns="128402" bIns="64201"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20000"/>
              </a:lnSpc>
              <a:buNone/>
            </a:pPr>
            <a:r>
              <a:rPr lang="en-US" sz="1600" b="1" dirty="0">
                <a:latin typeface="Roboto Regular" pitchFamily="2" charset="0"/>
                <a:ea typeface="Roboto Regular" pitchFamily="2" charset="0"/>
                <a:cs typeface="Roboto Regular"/>
              </a:rPr>
              <a:t>ELEMENT FOUR</a:t>
            </a:r>
          </a:p>
          <a:p>
            <a:pPr marL="0" indent="0">
              <a:lnSpc>
                <a:spcPct val="120000"/>
              </a:lnSpc>
              <a:buNone/>
            </a:pPr>
            <a:r>
              <a:rPr lang="en-US" sz="1600" dirty="0">
                <a:latin typeface="Roboto Regular" pitchFamily="2" charset="0"/>
                <a:ea typeface="Roboto Regular" pitchFamily="2" charset="0"/>
                <a:cs typeface="Roboto Light"/>
              </a:rPr>
              <a:t>Entrepreneur  It is defined as an individual who organizes or operates a business or businesses. Credit for coining the term entrepreneur generally goes to the French economist Jean-Baptiste Say, but</a:t>
            </a:r>
          </a:p>
        </p:txBody>
      </p:sp>
      <p:sp>
        <p:nvSpPr>
          <p:cNvPr id="22" name="Freeform 74"/>
          <p:cNvSpPr>
            <a:spLocks noChangeArrowheads="1"/>
          </p:cNvSpPr>
          <p:nvPr/>
        </p:nvSpPr>
        <p:spPr bwMode="auto">
          <a:xfrm>
            <a:off x="2362702" y="1415206"/>
            <a:ext cx="832044" cy="736953"/>
          </a:xfrm>
          <a:custGeom>
            <a:avLst/>
            <a:gdLst>
              <a:gd name="T0" fmla="*/ 451 w 461"/>
              <a:gd name="T1" fmla="*/ 213 h 409"/>
              <a:gd name="T2" fmla="*/ 451 w 461"/>
              <a:gd name="T3" fmla="*/ 213 h 409"/>
              <a:gd name="T4" fmla="*/ 247 w 461"/>
              <a:gd name="T5" fmla="*/ 17 h 409"/>
              <a:gd name="T6" fmla="*/ 212 w 461"/>
              <a:gd name="T7" fmla="*/ 17 h 409"/>
              <a:gd name="T8" fmla="*/ 9 w 461"/>
              <a:gd name="T9" fmla="*/ 213 h 409"/>
              <a:gd name="T10" fmla="*/ 18 w 461"/>
              <a:gd name="T11" fmla="*/ 230 h 409"/>
              <a:gd name="T12" fmla="*/ 62 w 461"/>
              <a:gd name="T13" fmla="*/ 230 h 409"/>
              <a:gd name="T14" fmla="*/ 62 w 461"/>
              <a:gd name="T15" fmla="*/ 390 h 409"/>
              <a:gd name="T16" fmla="*/ 79 w 461"/>
              <a:gd name="T17" fmla="*/ 408 h 409"/>
              <a:gd name="T18" fmla="*/ 177 w 461"/>
              <a:gd name="T19" fmla="*/ 408 h 409"/>
              <a:gd name="T20" fmla="*/ 177 w 461"/>
              <a:gd name="T21" fmla="*/ 248 h 409"/>
              <a:gd name="T22" fmla="*/ 283 w 461"/>
              <a:gd name="T23" fmla="*/ 248 h 409"/>
              <a:gd name="T24" fmla="*/ 283 w 461"/>
              <a:gd name="T25" fmla="*/ 408 h 409"/>
              <a:gd name="T26" fmla="*/ 381 w 461"/>
              <a:gd name="T27" fmla="*/ 408 h 409"/>
              <a:gd name="T28" fmla="*/ 398 w 461"/>
              <a:gd name="T29" fmla="*/ 390 h 409"/>
              <a:gd name="T30" fmla="*/ 398 w 461"/>
              <a:gd name="T31" fmla="*/ 230 h 409"/>
              <a:gd name="T32" fmla="*/ 443 w 461"/>
              <a:gd name="T33" fmla="*/ 230 h 409"/>
              <a:gd name="T34" fmla="*/ 451 w 461"/>
              <a:gd name="T35" fmla="*/ 213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1" h="409">
                <a:moveTo>
                  <a:pt x="451" y="213"/>
                </a:moveTo>
                <a:lnTo>
                  <a:pt x="451" y="213"/>
                </a:lnTo>
                <a:cubicBezTo>
                  <a:pt x="247" y="17"/>
                  <a:pt x="247" y="17"/>
                  <a:pt x="247" y="17"/>
                </a:cubicBezTo>
                <a:cubicBezTo>
                  <a:pt x="238" y="0"/>
                  <a:pt x="221" y="0"/>
                  <a:pt x="212" y="17"/>
                </a:cubicBezTo>
                <a:cubicBezTo>
                  <a:pt x="9" y="213"/>
                  <a:pt x="9" y="213"/>
                  <a:pt x="9" y="213"/>
                </a:cubicBezTo>
                <a:cubicBezTo>
                  <a:pt x="0" y="221"/>
                  <a:pt x="9" y="230"/>
                  <a:pt x="18" y="230"/>
                </a:cubicBezTo>
                <a:cubicBezTo>
                  <a:pt x="62" y="230"/>
                  <a:pt x="62" y="230"/>
                  <a:pt x="62" y="230"/>
                </a:cubicBezTo>
                <a:cubicBezTo>
                  <a:pt x="62" y="390"/>
                  <a:pt x="62" y="390"/>
                  <a:pt x="62" y="390"/>
                </a:cubicBezTo>
                <a:cubicBezTo>
                  <a:pt x="62" y="399"/>
                  <a:pt x="62" y="408"/>
                  <a:pt x="79" y="408"/>
                </a:cubicBezTo>
                <a:cubicBezTo>
                  <a:pt x="177" y="408"/>
                  <a:pt x="177" y="408"/>
                  <a:pt x="177" y="408"/>
                </a:cubicBezTo>
                <a:cubicBezTo>
                  <a:pt x="177" y="248"/>
                  <a:pt x="177" y="248"/>
                  <a:pt x="177" y="248"/>
                </a:cubicBezTo>
                <a:cubicBezTo>
                  <a:pt x="283" y="248"/>
                  <a:pt x="283" y="248"/>
                  <a:pt x="283" y="248"/>
                </a:cubicBezTo>
                <a:cubicBezTo>
                  <a:pt x="283" y="408"/>
                  <a:pt x="283" y="408"/>
                  <a:pt x="283" y="408"/>
                </a:cubicBezTo>
                <a:cubicBezTo>
                  <a:pt x="381" y="408"/>
                  <a:pt x="381" y="408"/>
                  <a:pt x="381" y="408"/>
                </a:cubicBezTo>
                <a:cubicBezTo>
                  <a:pt x="398" y="408"/>
                  <a:pt x="398" y="399"/>
                  <a:pt x="398" y="390"/>
                </a:cubicBezTo>
                <a:cubicBezTo>
                  <a:pt x="398" y="230"/>
                  <a:pt x="398" y="230"/>
                  <a:pt x="398" y="230"/>
                </a:cubicBezTo>
                <a:cubicBezTo>
                  <a:pt x="443" y="230"/>
                  <a:pt x="443" y="230"/>
                  <a:pt x="443" y="230"/>
                </a:cubicBezTo>
                <a:cubicBezTo>
                  <a:pt x="451" y="230"/>
                  <a:pt x="460" y="221"/>
                  <a:pt x="451" y="213"/>
                </a:cubicBezTo>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p>
        </p:txBody>
      </p:sp>
      <p:sp>
        <p:nvSpPr>
          <p:cNvPr id="23" name="Freeform 68"/>
          <p:cNvSpPr>
            <a:spLocks noChangeArrowheads="1"/>
          </p:cNvSpPr>
          <p:nvPr/>
        </p:nvSpPr>
        <p:spPr bwMode="auto">
          <a:xfrm>
            <a:off x="4959478" y="1444927"/>
            <a:ext cx="698767" cy="756404"/>
          </a:xfrm>
          <a:custGeom>
            <a:avLst/>
            <a:gdLst>
              <a:gd name="T0" fmla="*/ 327 w 426"/>
              <a:gd name="T1" fmla="*/ 186 h 462"/>
              <a:gd name="T2" fmla="*/ 327 w 426"/>
              <a:gd name="T3" fmla="*/ 186 h 462"/>
              <a:gd name="T4" fmla="*/ 150 w 426"/>
              <a:gd name="T5" fmla="*/ 18 h 462"/>
              <a:gd name="T6" fmla="*/ 97 w 426"/>
              <a:gd name="T7" fmla="*/ 10 h 462"/>
              <a:gd name="T8" fmla="*/ 70 w 426"/>
              <a:gd name="T9" fmla="*/ 54 h 462"/>
              <a:gd name="T10" fmla="*/ 35 w 426"/>
              <a:gd name="T11" fmla="*/ 293 h 462"/>
              <a:gd name="T12" fmla="*/ 26 w 426"/>
              <a:gd name="T13" fmla="*/ 408 h 462"/>
              <a:gd name="T14" fmla="*/ 248 w 426"/>
              <a:gd name="T15" fmla="*/ 417 h 462"/>
              <a:gd name="T16" fmla="*/ 407 w 426"/>
              <a:gd name="T17" fmla="*/ 266 h 462"/>
              <a:gd name="T18" fmla="*/ 327 w 426"/>
              <a:gd name="T19" fmla="*/ 186 h 462"/>
              <a:gd name="T20" fmla="*/ 238 w 426"/>
              <a:gd name="T21" fmla="*/ 391 h 462"/>
              <a:gd name="T22" fmla="*/ 238 w 426"/>
              <a:gd name="T23" fmla="*/ 391 h 462"/>
              <a:gd name="T24" fmla="*/ 53 w 426"/>
              <a:gd name="T25" fmla="*/ 391 h 462"/>
              <a:gd name="T26" fmla="*/ 194 w 426"/>
              <a:gd name="T27" fmla="*/ 284 h 462"/>
              <a:gd name="T28" fmla="*/ 372 w 426"/>
              <a:gd name="T29" fmla="*/ 275 h 462"/>
              <a:gd name="T30" fmla="*/ 238 w 426"/>
              <a:gd name="T31" fmla="*/ 391 h 462"/>
              <a:gd name="T32" fmla="*/ 203 w 426"/>
              <a:gd name="T33" fmla="*/ 301 h 462"/>
              <a:gd name="T34" fmla="*/ 203 w 426"/>
              <a:gd name="T35" fmla="*/ 301 h 462"/>
              <a:gd name="T36" fmla="*/ 97 w 426"/>
              <a:gd name="T37" fmla="*/ 363 h 462"/>
              <a:gd name="T38" fmla="*/ 167 w 426"/>
              <a:gd name="T39" fmla="*/ 363 h 462"/>
              <a:gd name="T40" fmla="*/ 221 w 426"/>
              <a:gd name="T41" fmla="*/ 293 h 462"/>
              <a:gd name="T42" fmla="*/ 221 w 426"/>
              <a:gd name="T43" fmla="*/ 293 h 462"/>
              <a:gd name="T44" fmla="*/ 203 w 426"/>
              <a:gd name="T45" fmla="*/ 301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6" h="462">
                <a:moveTo>
                  <a:pt x="327" y="186"/>
                </a:moveTo>
                <a:lnTo>
                  <a:pt x="327" y="186"/>
                </a:lnTo>
                <a:cubicBezTo>
                  <a:pt x="274" y="63"/>
                  <a:pt x="238" y="18"/>
                  <a:pt x="150" y="18"/>
                </a:cubicBezTo>
                <a:cubicBezTo>
                  <a:pt x="114" y="18"/>
                  <a:pt x="123" y="0"/>
                  <a:pt x="97" y="10"/>
                </a:cubicBezTo>
                <a:cubicBezTo>
                  <a:pt x="70" y="18"/>
                  <a:pt x="97" y="27"/>
                  <a:pt x="70" y="54"/>
                </a:cubicBezTo>
                <a:cubicBezTo>
                  <a:pt x="0" y="107"/>
                  <a:pt x="8" y="169"/>
                  <a:pt x="35" y="293"/>
                </a:cubicBezTo>
                <a:cubicBezTo>
                  <a:pt x="53" y="346"/>
                  <a:pt x="8" y="354"/>
                  <a:pt x="26" y="408"/>
                </a:cubicBezTo>
                <a:cubicBezTo>
                  <a:pt x="35" y="444"/>
                  <a:pt x="141" y="461"/>
                  <a:pt x="248" y="417"/>
                </a:cubicBezTo>
                <a:cubicBezTo>
                  <a:pt x="354" y="382"/>
                  <a:pt x="425" y="301"/>
                  <a:pt x="407" y="266"/>
                </a:cubicBezTo>
                <a:cubicBezTo>
                  <a:pt x="389" y="213"/>
                  <a:pt x="354" y="239"/>
                  <a:pt x="327" y="186"/>
                </a:cubicBezTo>
                <a:close/>
                <a:moveTo>
                  <a:pt x="238" y="391"/>
                </a:moveTo>
                <a:lnTo>
                  <a:pt x="238" y="391"/>
                </a:lnTo>
                <a:cubicBezTo>
                  <a:pt x="141" y="426"/>
                  <a:pt x="61" y="399"/>
                  <a:pt x="53" y="391"/>
                </a:cubicBezTo>
                <a:cubicBezTo>
                  <a:pt x="53" y="382"/>
                  <a:pt x="88" y="319"/>
                  <a:pt x="194" y="284"/>
                </a:cubicBezTo>
                <a:cubicBezTo>
                  <a:pt x="310" y="239"/>
                  <a:pt x="372" y="257"/>
                  <a:pt x="372" y="275"/>
                </a:cubicBezTo>
                <a:cubicBezTo>
                  <a:pt x="380" y="284"/>
                  <a:pt x="336" y="354"/>
                  <a:pt x="238" y="391"/>
                </a:cubicBezTo>
                <a:close/>
                <a:moveTo>
                  <a:pt x="203" y="301"/>
                </a:moveTo>
                <a:lnTo>
                  <a:pt x="203" y="301"/>
                </a:lnTo>
                <a:cubicBezTo>
                  <a:pt x="150" y="319"/>
                  <a:pt x="123" y="337"/>
                  <a:pt x="97" y="363"/>
                </a:cubicBezTo>
                <a:cubicBezTo>
                  <a:pt x="114" y="373"/>
                  <a:pt x="141" y="382"/>
                  <a:pt x="167" y="363"/>
                </a:cubicBezTo>
                <a:cubicBezTo>
                  <a:pt x="212" y="354"/>
                  <a:pt x="230" y="319"/>
                  <a:pt x="221" y="293"/>
                </a:cubicBezTo>
                <a:lnTo>
                  <a:pt x="221" y="293"/>
                </a:lnTo>
                <a:cubicBezTo>
                  <a:pt x="221" y="293"/>
                  <a:pt x="212" y="301"/>
                  <a:pt x="203" y="301"/>
                </a:cubicBez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p>
        </p:txBody>
      </p:sp>
      <p:sp>
        <p:nvSpPr>
          <p:cNvPr id="26" name="Freeform 145"/>
          <p:cNvSpPr>
            <a:spLocks noChangeArrowheads="1"/>
          </p:cNvSpPr>
          <p:nvPr/>
        </p:nvSpPr>
        <p:spPr bwMode="auto">
          <a:xfrm>
            <a:off x="7317290" y="1473746"/>
            <a:ext cx="727590" cy="727585"/>
          </a:xfrm>
          <a:custGeom>
            <a:avLst/>
            <a:gdLst>
              <a:gd name="T0" fmla="*/ 70 w 444"/>
              <a:gd name="T1" fmla="*/ 400 h 445"/>
              <a:gd name="T2" fmla="*/ 70 w 444"/>
              <a:gd name="T3" fmla="*/ 400 h 445"/>
              <a:gd name="T4" fmla="*/ 124 w 444"/>
              <a:gd name="T5" fmla="*/ 444 h 445"/>
              <a:gd name="T6" fmla="*/ 168 w 444"/>
              <a:gd name="T7" fmla="*/ 400 h 445"/>
              <a:gd name="T8" fmla="*/ 124 w 444"/>
              <a:gd name="T9" fmla="*/ 346 h 445"/>
              <a:gd name="T10" fmla="*/ 70 w 444"/>
              <a:gd name="T11" fmla="*/ 400 h 445"/>
              <a:gd name="T12" fmla="*/ 319 w 444"/>
              <a:gd name="T13" fmla="*/ 400 h 445"/>
              <a:gd name="T14" fmla="*/ 319 w 444"/>
              <a:gd name="T15" fmla="*/ 400 h 445"/>
              <a:gd name="T16" fmla="*/ 372 w 444"/>
              <a:gd name="T17" fmla="*/ 444 h 445"/>
              <a:gd name="T18" fmla="*/ 417 w 444"/>
              <a:gd name="T19" fmla="*/ 400 h 445"/>
              <a:gd name="T20" fmla="*/ 372 w 444"/>
              <a:gd name="T21" fmla="*/ 346 h 445"/>
              <a:gd name="T22" fmla="*/ 319 w 444"/>
              <a:gd name="T23" fmla="*/ 400 h 445"/>
              <a:gd name="T24" fmla="*/ 159 w 444"/>
              <a:gd name="T25" fmla="*/ 284 h 445"/>
              <a:gd name="T26" fmla="*/ 159 w 444"/>
              <a:gd name="T27" fmla="*/ 284 h 445"/>
              <a:gd name="T28" fmla="*/ 434 w 444"/>
              <a:gd name="T29" fmla="*/ 204 h 445"/>
              <a:gd name="T30" fmla="*/ 443 w 444"/>
              <a:gd name="T31" fmla="*/ 187 h 445"/>
              <a:gd name="T32" fmla="*/ 443 w 444"/>
              <a:gd name="T33" fmla="*/ 54 h 445"/>
              <a:gd name="T34" fmla="*/ 98 w 444"/>
              <a:gd name="T35" fmla="*/ 54 h 445"/>
              <a:gd name="T36" fmla="*/ 98 w 444"/>
              <a:gd name="T37" fmla="*/ 10 h 445"/>
              <a:gd name="T38" fmla="*/ 89 w 444"/>
              <a:gd name="T39" fmla="*/ 0 h 445"/>
              <a:gd name="T40" fmla="*/ 9 w 444"/>
              <a:gd name="T41" fmla="*/ 0 h 445"/>
              <a:gd name="T42" fmla="*/ 0 w 444"/>
              <a:gd name="T43" fmla="*/ 10 h 445"/>
              <a:gd name="T44" fmla="*/ 0 w 444"/>
              <a:gd name="T45" fmla="*/ 54 h 445"/>
              <a:gd name="T46" fmla="*/ 45 w 444"/>
              <a:gd name="T47" fmla="*/ 54 h 445"/>
              <a:gd name="T48" fmla="*/ 98 w 444"/>
              <a:gd name="T49" fmla="*/ 275 h 445"/>
              <a:gd name="T50" fmla="*/ 98 w 444"/>
              <a:gd name="T51" fmla="*/ 302 h 445"/>
              <a:gd name="T52" fmla="*/ 98 w 444"/>
              <a:gd name="T53" fmla="*/ 338 h 445"/>
              <a:gd name="T54" fmla="*/ 106 w 444"/>
              <a:gd name="T55" fmla="*/ 346 h 445"/>
              <a:gd name="T56" fmla="*/ 124 w 444"/>
              <a:gd name="T57" fmla="*/ 346 h 445"/>
              <a:gd name="T58" fmla="*/ 372 w 444"/>
              <a:gd name="T59" fmla="*/ 346 h 445"/>
              <a:gd name="T60" fmla="*/ 434 w 444"/>
              <a:gd name="T61" fmla="*/ 346 h 445"/>
              <a:gd name="T62" fmla="*/ 443 w 444"/>
              <a:gd name="T63" fmla="*/ 338 h 445"/>
              <a:gd name="T64" fmla="*/ 443 w 444"/>
              <a:gd name="T65" fmla="*/ 302 h 445"/>
              <a:gd name="T66" fmla="*/ 168 w 444"/>
              <a:gd name="T67" fmla="*/ 302 h 445"/>
              <a:gd name="T68" fmla="*/ 159 w 444"/>
              <a:gd name="T69" fmla="*/ 28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4" h="445">
                <a:moveTo>
                  <a:pt x="70" y="400"/>
                </a:moveTo>
                <a:lnTo>
                  <a:pt x="70" y="400"/>
                </a:lnTo>
                <a:cubicBezTo>
                  <a:pt x="70" y="426"/>
                  <a:pt x="98" y="444"/>
                  <a:pt x="124" y="444"/>
                </a:cubicBezTo>
                <a:cubicBezTo>
                  <a:pt x="151" y="444"/>
                  <a:pt x="168" y="426"/>
                  <a:pt x="168" y="400"/>
                </a:cubicBezTo>
                <a:cubicBezTo>
                  <a:pt x="168" y="373"/>
                  <a:pt x="151" y="346"/>
                  <a:pt x="124" y="346"/>
                </a:cubicBezTo>
                <a:cubicBezTo>
                  <a:pt x="98" y="346"/>
                  <a:pt x="70" y="373"/>
                  <a:pt x="70" y="400"/>
                </a:cubicBezTo>
                <a:close/>
                <a:moveTo>
                  <a:pt x="319" y="400"/>
                </a:moveTo>
                <a:lnTo>
                  <a:pt x="319" y="400"/>
                </a:lnTo>
                <a:cubicBezTo>
                  <a:pt x="319" y="426"/>
                  <a:pt x="345" y="444"/>
                  <a:pt x="372" y="444"/>
                </a:cubicBezTo>
                <a:cubicBezTo>
                  <a:pt x="399" y="444"/>
                  <a:pt x="417" y="426"/>
                  <a:pt x="417" y="400"/>
                </a:cubicBezTo>
                <a:cubicBezTo>
                  <a:pt x="417" y="373"/>
                  <a:pt x="399" y="346"/>
                  <a:pt x="372" y="346"/>
                </a:cubicBezTo>
                <a:cubicBezTo>
                  <a:pt x="345" y="346"/>
                  <a:pt x="319" y="373"/>
                  <a:pt x="319" y="400"/>
                </a:cubicBezTo>
                <a:close/>
                <a:moveTo>
                  <a:pt x="159" y="284"/>
                </a:moveTo>
                <a:lnTo>
                  <a:pt x="159" y="284"/>
                </a:lnTo>
                <a:cubicBezTo>
                  <a:pt x="434" y="204"/>
                  <a:pt x="434" y="204"/>
                  <a:pt x="434" y="204"/>
                </a:cubicBezTo>
                <a:cubicBezTo>
                  <a:pt x="443" y="204"/>
                  <a:pt x="443" y="195"/>
                  <a:pt x="443" y="187"/>
                </a:cubicBezTo>
                <a:cubicBezTo>
                  <a:pt x="443" y="54"/>
                  <a:pt x="443" y="54"/>
                  <a:pt x="443" y="54"/>
                </a:cubicBezTo>
                <a:cubicBezTo>
                  <a:pt x="98" y="54"/>
                  <a:pt x="98" y="54"/>
                  <a:pt x="98" y="54"/>
                </a:cubicBezTo>
                <a:cubicBezTo>
                  <a:pt x="98" y="10"/>
                  <a:pt x="98" y="10"/>
                  <a:pt x="98" y="10"/>
                </a:cubicBezTo>
                <a:lnTo>
                  <a:pt x="89" y="0"/>
                </a:lnTo>
                <a:cubicBezTo>
                  <a:pt x="9" y="0"/>
                  <a:pt x="9" y="0"/>
                  <a:pt x="9" y="0"/>
                </a:cubicBezTo>
                <a:cubicBezTo>
                  <a:pt x="0" y="0"/>
                  <a:pt x="0" y="10"/>
                  <a:pt x="0" y="10"/>
                </a:cubicBezTo>
                <a:cubicBezTo>
                  <a:pt x="0" y="54"/>
                  <a:pt x="0" y="54"/>
                  <a:pt x="0" y="54"/>
                </a:cubicBezTo>
                <a:cubicBezTo>
                  <a:pt x="45" y="54"/>
                  <a:pt x="45" y="54"/>
                  <a:pt x="45" y="54"/>
                </a:cubicBezTo>
                <a:cubicBezTo>
                  <a:pt x="98" y="275"/>
                  <a:pt x="98" y="275"/>
                  <a:pt x="98" y="275"/>
                </a:cubicBezTo>
                <a:cubicBezTo>
                  <a:pt x="98" y="302"/>
                  <a:pt x="98" y="302"/>
                  <a:pt x="98" y="302"/>
                </a:cubicBezTo>
                <a:cubicBezTo>
                  <a:pt x="98" y="338"/>
                  <a:pt x="98" y="338"/>
                  <a:pt x="98" y="338"/>
                </a:cubicBezTo>
                <a:cubicBezTo>
                  <a:pt x="98" y="346"/>
                  <a:pt x="106" y="346"/>
                  <a:pt x="106" y="346"/>
                </a:cubicBezTo>
                <a:cubicBezTo>
                  <a:pt x="124" y="346"/>
                  <a:pt x="124" y="346"/>
                  <a:pt x="124" y="346"/>
                </a:cubicBezTo>
                <a:cubicBezTo>
                  <a:pt x="372" y="346"/>
                  <a:pt x="372" y="346"/>
                  <a:pt x="372" y="346"/>
                </a:cubicBezTo>
                <a:cubicBezTo>
                  <a:pt x="434" y="346"/>
                  <a:pt x="434" y="346"/>
                  <a:pt x="434" y="346"/>
                </a:cubicBezTo>
                <a:cubicBezTo>
                  <a:pt x="443" y="346"/>
                  <a:pt x="443" y="346"/>
                  <a:pt x="443" y="338"/>
                </a:cubicBezTo>
                <a:cubicBezTo>
                  <a:pt x="443" y="302"/>
                  <a:pt x="443" y="302"/>
                  <a:pt x="443" y="302"/>
                </a:cubicBezTo>
                <a:cubicBezTo>
                  <a:pt x="168" y="302"/>
                  <a:pt x="168" y="302"/>
                  <a:pt x="168" y="302"/>
                </a:cubicBezTo>
                <a:cubicBezTo>
                  <a:pt x="133" y="302"/>
                  <a:pt x="133" y="284"/>
                  <a:pt x="159" y="284"/>
                </a:cubicBez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p>
        </p:txBody>
      </p:sp>
      <p:sp>
        <p:nvSpPr>
          <p:cNvPr id="27" name="Freeform 101"/>
          <p:cNvSpPr>
            <a:spLocks noChangeArrowheads="1"/>
          </p:cNvSpPr>
          <p:nvPr/>
        </p:nvSpPr>
        <p:spPr bwMode="auto">
          <a:xfrm>
            <a:off x="9770060" y="1567544"/>
            <a:ext cx="740027" cy="569754"/>
          </a:xfrm>
          <a:custGeom>
            <a:avLst/>
            <a:gdLst>
              <a:gd name="T0" fmla="*/ 80 w 497"/>
              <a:gd name="T1" fmla="*/ 248 h 382"/>
              <a:gd name="T2" fmla="*/ 80 w 497"/>
              <a:gd name="T3" fmla="*/ 248 h 382"/>
              <a:gd name="T4" fmla="*/ 159 w 497"/>
              <a:gd name="T5" fmla="*/ 328 h 382"/>
              <a:gd name="T6" fmla="*/ 248 w 497"/>
              <a:gd name="T7" fmla="*/ 381 h 382"/>
              <a:gd name="T8" fmla="*/ 337 w 497"/>
              <a:gd name="T9" fmla="*/ 337 h 382"/>
              <a:gd name="T10" fmla="*/ 390 w 497"/>
              <a:gd name="T11" fmla="*/ 258 h 382"/>
              <a:gd name="T12" fmla="*/ 248 w 497"/>
              <a:gd name="T13" fmla="*/ 328 h 382"/>
              <a:gd name="T14" fmla="*/ 80 w 497"/>
              <a:gd name="T15" fmla="*/ 248 h 382"/>
              <a:gd name="T16" fmla="*/ 487 w 497"/>
              <a:gd name="T17" fmla="*/ 124 h 382"/>
              <a:gd name="T18" fmla="*/ 487 w 497"/>
              <a:gd name="T19" fmla="*/ 124 h 382"/>
              <a:gd name="T20" fmla="*/ 274 w 497"/>
              <a:gd name="T21" fmla="*/ 9 h 382"/>
              <a:gd name="T22" fmla="*/ 221 w 497"/>
              <a:gd name="T23" fmla="*/ 9 h 382"/>
              <a:gd name="T24" fmla="*/ 9 w 497"/>
              <a:gd name="T25" fmla="*/ 124 h 382"/>
              <a:gd name="T26" fmla="*/ 9 w 497"/>
              <a:gd name="T27" fmla="*/ 160 h 382"/>
              <a:gd name="T28" fmla="*/ 221 w 497"/>
              <a:gd name="T29" fmla="*/ 275 h 382"/>
              <a:gd name="T30" fmla="*/ 274 w 497"/>
              <a:gd name="T31" fmla="*/ 275 h 382"/>
              <a:gd name="T32" fmla="*/ 408 w 497"/>
              <a:gd name="T33" fmla="*/ 195 h 382"/>
              <a:gd name="T34" fmla="*/ 266 w 497"/>
              <a:gd name="T35" fmla="*/ 160 h 382"/>
              <a:gd name="T36" fmla="*/ 248 w 497"/>
              <a:gd name="T37" fmla="*/ 168 h 382"/>
              <a:gd name="T38" fmla="*/ 203 w 497"/>
              <a:gd name="T39" fmla="*/ 133 h 382"/>
              <a:gd name="T40" fmla="*/ 248 w 497"/>
              <a:gd name="T41" fmla="*/ 107 h 382"/>
              <a:gd name="T42" fmla="*/ 293 w 497"/>
              <a:gd name="T43" fmla="*/ 124 h 382"/>
              <a:gd name="T44" fmla="*/ 443 w 497"/>
              <a:gd name="T45" fmla="*/ 177 h 382"/>
              <a:gd name="T46" fmla="*/ 487 w 497"/>
              <a:gd name="T47" fmla="*/ 160 h 382"/>
              <a:gd name="T48" fmla="*/ 487 w 497"/>
              <a:gd name="T49" fmla="*/ 124 h 382"/>
              <a:gd name="T50" fmla="*/ 425 w 497"/>
              <a:gd name="T51" fmla="*/ 346 h 382"/>
              <a:gd name="T52" fmla="*/ 425 w 497"/>
              <a:gd name="T53" fmla="*/ 346 h 382"/>
              <a:gd name="T54" fmla="*/ 461 w 497"/>
              <a:gd name="T55" fmla="*/ 337 h 382"/>
              <a:gd name="T56" fmla="*/ 443 w 497"/>
              <a:gd name="T57" fmla="*/ 177 h 382"/>
              <a:gd name="T58" fmla="*/ 408 w 497"/>
              <a:gd name="T59" fmla="*/ 195 h 382"/>
              <a:gd name="T60" fmla="*/ 425 w 497"/>
              <a:gd name="T61" fmla="*/ 3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p>
        </p:txBody>
      </p:sp>
      <p:sp>
        <p:nvSpPr>
          <p:cNvPr id="4" name="Title 3"/>
          <p:cNvSpPr>
            <a:spLocks noGrp="1"/>
          </p:cNvSpPr>
          <p:nvPr>
            <p:ph type="title"/>
          </p:nvPr>
        </p:nvSpPr>
        <p:spPr>
          <a:xfrm>
            <a:off x="3998230" y="376264"/>
            <a:ext cx="4844828" cy="492443"/>
          </a:xfrm>
        </p:spPr>
        <p:txBody>
          <a:bodyPr/>
          <a:lstStyle/>
          <a:p>
            <a:r>
              <a:rPr lang="en-US" dirty="0" smtClean="0"/>
              <a:t>Value Chain</a:t>
            </a:r>
            <a:endParaRPr lang="en-US" dirty="0"/>
          </a:p>
        </p:txBody>
      </p:sp>
      <p:sp>
        <p:nvSpPr>
          <p:cNvPr id="5"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3196717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45" descr="iMac.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39778" y="1073286"/>
            <a:ext cx="6222826" cy="5453414"/>
          </a:xfrm>
          <a:prstGeom prst="rect">
            <a:avLst/>
          </a:prstGeom>
        </p:spPr>
      </p:pic>
      <p:sp>
        <p:nvSpPr>
          <p:cNvPr id="5" name="Title 4"/>
          <p:cNvSpPr>
            <a:spLocks noGrp="1"/>
          </p:cNvSpPr>
          <p:nvPr>
            <p:ph type="title"/>
          </p:nvPr>
        </p:nvSpPr>
        <p:spPr>
          <a:xfrm>
            <a:off x="3998230" y="376264"/>
            <a:ext cx="4844828" cy="492443"/>
          </a:xfrm>
        </p:spPr>
        <p:txBody>
          <a:bodyPr/>
          <a:lstStyle/>
          <a:p>
            <a:r>
              <a:rPr lang="en-US" dirty="0" smtClean="0"/>
              <a:t>FEATURES SLIDE</a:t>
            </a:r>
            <a:endParaRPr lang="en-US" dirty="0"/>
          </a:p>
        </p:txBody>
      </p:sp>
      <p:sp>
        <p:nvSpPr>
          <p:cNvPr id="21" name="Oval 20"/>
          <p:cNvSpPr/>
          <p:nvPr/>
        </p:nvSpPr>
        <p:spPr>
          <a:xfrm>
            <a:off x="1096273" y="1734116"/>
            <a:ext cx="973026" cy="9728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6302" tIns="48151" rIns="96302" bIns="48151" rtlCol="0" anchor="ctr"/>
          <a:lstStyle/>
          <a:p>
            <a:pPr algn="ctr"/>
            <a:endParaRPr lang="id-ID" sz="948" dirty="0">
              <a:latin typeface="Roboto Light"/>
              <a:cs typeface="Roboto Light"/>
            </a:endParaRPr>
          </a:p>
        </p:txBody>
      </p:sp>
      <p:sp>
        <p:nvSpPr>
          <p:cNvPr id="22" name="TextBox 21"/>
          <p:cNvSpPr txBox="1"/>
          <p:nvPr/>
        </p:nvSpPr>
        <p:spPr>
          <a:xfrm>
            <a:off x="2154134" y="1713380"/>
            <a:ext cx="2162972" cy="324099"/>
          </a:xfrm>
          <a:prstGeom prst="rect">
            <a:avLst/>
          </a:prstGeom>
          <a:noFill/>
        </p:spPr>
        <p:txBody>
          <a:bodyPr wrap="none" lIns="96302" tIns="48151" rIns="96302" bIns="48151" rtlCol="0">
            <a:spAutoFit/>
          </a:bodyPr>
          <a:lstStyle/>
          <a:p>
            <a:r>
              <a:rPr lang="id-ID" sz="1474" b="1" dirty="0">
                <a:latin typeface="Roboto Regular"/>
                <a:cs typeface="Roboto Regular"/>
              </a:rPr>
              <a:t>FACTOR NUMBER ONE</a:t>
            </a:r>
          </a:p>
        </p:txBody>
      </p:sp>
      <p:sp>
        <p:nvSpPr>
          <p:cNvPr id="23" name="Rectangle 22"/>
          <p:cNvSpPr/>
          <p:nvPr/>
        </p:nvSpPr>
        <p:spPr>
          <a:xfrm>
            <a:off x="2140772" y="2042627"/>
            <a:ext cx="3596790" cy="680864"/>
          </a:xfrm>
          <a:prstGeom prst="rect">
            <a:avLst/>
          </a:prstGeom>
        </p:spPr>
        <p:txBody>
          <a:bodyPr wrap="square" lIns="96302" tIns="48151" rIns="96302" bIns="48151">
            <a:spAutoFit/>
          </a:bodyPr>
          <a:lstStyle/>
          <a:p>
            <a:r>
              <a:rPr lang="fr-FR" sz="1264" dirty="0" err="1">
                <a:cs typeface="Roboto Light"/>
              </a:rPr>
              <a:t>Lorem</a:t>
            </a:r>
            <a:r>
              <a:rPr lang="fr-FR" sz="1264" dirty="0">
                <a:cs typeface="Roboto Light"/>
              </a:rPr>
              <a:t> </a:t>
            </a:r>
            <a:r>
              <a:rPr lang="fr-FR" sz="1264" dirty="0" err="1">
                <a:cs typeface="Roboto Light"/>
              </a:rPr>
              <a:t>ipsum</a:t>
            </a:r>
            <a:r>
              <a:rPr lang="fr-FR" sz="1264" dirty="0">
                <a:cs typeface="Roboto Light"/>
              </a:rPr>
              <a:t> </a:t>
            </a:r>
            <a:r>
              <a:rPr lang="fr-FR" sz="1264" dirty="0" err="1">
                <a:cs typeface="Roboto Light"/>
              </a:rPr>
              <a:t>dolor</a:t>
            </a:r>
            <a:r>
              <a:rPr lang="fr-FR" sz="1264" dirty="0">
                <a:cs typeface="Roboto Light"/>
              </a:rPr>
              <a:t> </a:t>
            </a:r>
            <a:r>
              <a:rPr lang="fr-FR" sz="1264" dirty="0" err="1">
                <a:cs typeface="Roboto Light"/>
              </a:rPr>
              <a:t>sit</a:t>
            </a:r>
            <a:r>
              <a:rPr lang="fr-FR" sz="1264" dirty="0">
                <a:cs typeface="Roboto Light"/>
              </a:rPr>
              <a:t> </a:t>
            </a:r>
            <a:r>
              <a:rPr lang="fr-FR" sz="1264" dirty="0" err="1">
                <a:cs typeface="Roboto Light"/>
              </a:rPr>
              <a:t>amet</a:t>
            </a:r>
            <a:r>
              <a:rPr lang="fr-FR" sz="1264" dirty="0">
                <a:cs typeface="Roboto Light"/>
              </a:rPr>
              <a:t>, </a:t>
            </a:r>
            <a:r>
              <a:rPr lang="fr-FR" sz="1264" dirty="0" err="1">
                <a:cs typeface="Roboto Light"/>
              </a:rPr>
              <a:t>consectetur</a:t>
            </a:r>
            <a:r>
              <a:rPr lang="fr-FR" sz="1264" dirty="0">
                <a:cs typeface="Roboto Light"/>
              </a:rPr>
              <a:t> </a:t>
            </a:r>
            <a:r>
              <a:rPr lang="fr-FR" sz="1264" dirty="0" err="1">
                <a:cs typeface="Roboto Light"/>
              </a:rPr>
              <a:t>adipiscing</a:t>
            </a:r>
            <a:r>
              <a:rPr lang="fr-FR" sz="1264" dirty="0">
                <a:cs typeface="Roboto Light"/>
              </a:rPr>
              <a:t> </a:t>
            </a:r>
            <a:r>
              <a:rPr lang="fr-FR" sz="1264" dirty="0" err="1">
                <a:cs typeface="Roboto Light"/>
              </a:rPr>
              <a:t>elit</a:t>
            </a:r>
            <a:r>
              <a:rPr lang="fr-FR" sz="1264" dirty="0">
                <a:cs typeface="Roboto Light"/>
              </a:rPr>
              <a:t>. </a:t>
            </a:r>
            <a:r>
              <a:rPr lang="fr-FR" sz="1264" dirty="0" err="1">
                <a:cs typeface="Roboto Light"/>
              </a:rPr>
              <a:t>Aliquam</a:t>
            </a:r>
            <a:r>
              <a:rPr lang="fr-FR" sz="1264" dirty="0">
                <a:cs typeface="Roboto Light"/>
              </a:rPr>
              <a:t> </a:t>
            </a:r>
            <a:r>
              <a:rPr lang="fr-FR" sz="1264" dirty="0" err="1">
                <a:cs typeface="Roboto Light"/>
              </a:rPr>
              <a:t>tincidunt</a:t>
            </a:r>
            <a:r>
              <a:rPr lang="fr-FR" sz="1264" dirty="0">
                <a:cs typeface="Roboto Light"/>
              </a:rPr>
              <a:t> ante nec </a:t>
            </a:r>
            <a:r>
              <a:rPr lang="fr-FR" sz="1264" dirty="0" err="1">
                <a:cs typeface="Roboto Light"/>
              </a:rPr>
              <a:t>sem</a:t>
            </a:r>
            <a:r>
              <a:rPr lang="fr-FR" sz="1264" dirty="0">
                <a:cs typeface="Roboto Light"/>
              </a:rPr>
              <a:t> </a:t>
            </a:r>
            <a:r>
              <a:rPr lang="fr-FR" sz="1264" dirty="0" err="1">
                <a:cs typeface="Roboto Light"/>
              </a:rPr>
              <a:t>congue</a:t>
            </a:r>
            <a:r>
              <a:rPr lang="fr-FR" sz="1264" dirty="0">
                <a:cs typeface="Roboto Light"/>
              </a:rPr>
              <a:t> </a:t>
            </a:r>
            <a:r>
              <a:rPr lang="fr-FR" sz="1264" dirty="0" err="1">
                <a:cs typeface="Roboto Light"/>
              </a:rPr>
              <a:t>convallis</a:t>
            </a:r>
            <a:r>
              <a:rPr lang="fr-FR" sz="1264" dirty="0">
                <a:cs typeface="Roboto Light"/>
              </a:rPr>
              <a:t>. </a:t>
            </a:r>
            <a:endParaRPr lang="en-US" sz="1264" dirty="0">
              <a:cs typeface="Roboto Light"/>
            </a:endParaRPr>
          </a:p>
        </p:txBody>
      </p:sp>
      <p:sp>
        <p:nvSpPr>
          <p:cNvPr id="26" name="Oval 25"/>
          <p:cNvSpPr/>
          <p:nvPr/>
        </p:nvSpPr>
        <p:spPr>
          <a:xfrm>
            <a:off x="1096273" y="3111212"/>
            <a:ext cx="973026" cy="9728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6302" tIns="48151" rIns="96302" bIns="48151" rtlCol="0" anchor="ctr"/>
          <a:lstStyle/>
          <a:p>
            <a:pPr algn="ctr"/>
            <a:endParaRPr lang="id-ID" sz="948" dirty="0">
              <a:latin typeface="Roboto Light"/>
              <a:cs typeface="Roboto Light"/>
            </a:endParaRPr>
          </a:p>
        </p:txBody>
      </p:sp>
      <p:sp>
        <p:nvSpPr>
          <p:cNvPr id="27" name="Oval 26"/>
          <p:cNvSpPr/>
          <p:nvPr/>
        </p:nvSpPr>
        <p:spPr>
          <a:xfrm>
            <a:off x="1096273" y="4486943"/>
            <a:ext cx="973026" cy="9728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6302" tIns="48151" rIns="96302" bIns="48151" rtlCol="0" anchor="ctr"/>
          <a:lstStyle/>
          <a:p>
            <a:pPr algn="ctr"/>
            <a:endParaRPr lang="id-ID" sz="948" dirty="0">
              <a:latin typeface="Roboto Light"/>
              <a:cs typeface="Roboto Light"/>
            </a:endParaRPr>
          </a:p>
        </p:txBody>
      </p:sp>
      <p:sp>
        <p:nvSpPr>
          <p:cNvPr id="42" name="TextBox 41"/>
          <p:cNvSpPr txBox="1"/>
          <p:nvPr/>
        </p:nvSpPr>
        <p:spPr>
          <a:xfrm>
            <a:off x="2155519" y="3092236"/>
            <a:ext cx="2195033" cy="324099"/>
          </a:xfrm>
          <a:prstGeom prst="rect">
            <a:avLst/>
          </a:prstGeom>
          <a:noFill/>
        </p:spPr>
        <p:txBody>
          <a:bodyPr wrap="none" lIns="96302" tIns="48151" rIns="96302" bIns="48151" rtlCol="0">
            <a:spAutoFit/>
          </a:bodyPr>
          <a:lstStyle/>
          <a:p>
            <a:r>
              <a:rPr lang="id-ID" sz="1474" b="1" dirty="0">
                <a:latin typeface="Roboto Regular"/>
                <a:cs typeface="Roboto Regular"/>
              </a:rPr>
              <a:t>FACTOR NUMBER TWO</a:t>
            </a:r>
          </a:p>
        </p:txBody>
      </p:sp>
      <p:sp>
        <p:nvSpPr>
          <p:cNvPr id="43" name="Rectangle 42"/>
          <p:cNvSpPr/>
          <p:nvPr/>
        </p:nvSpPr>
        <p:spPr>
          <a:xfrm>
            <a:off x="2140772" y="3421483"/>
            <a:ext cx="3596790" cy="680864"/>
          </a:xfrm>
          <a:prstGeom prst="rect">
            <a:avLst/>
          </a:prstGeom>
        </p:spPr>
        <p:txBody>
          <a:bodyPr wrap="square" lIns="96302" tIns="48151" rIns="96302" bIns="48151">
            <a:spAutoFit/>
          </a:bodyPr>
          <a:lstStyle/>
          <a:p>
            <a:r>
              <a:rPr lang="fr-FR" sz="1264" dirty="0" err="1">
                <a:cs typeface="Roboto Light"/>
              </a:rPr>
              <a:t>Lorem</a:t>
            </a:r>
            <a:r>
              <a:rPr lang="fr-FR" sz="1264" dirty="0">
                <a:cs typeface="Roboto Light"/>
              </a:rPr>
              <a:t> </a:t>
            </a:r>
            <a:r>
              <a:rPr lang="fr-FR" sz="1264" dirty="0" err="1">
                <a:cs typeface="Roboto Light"/>
              </a:rPr>
              <a:t>ipsum</a:t>
            </a:r>
            <a:r>
              <a:rPr lang="fr-FR" sz="1264" dirty="0">
                <a:cs typeface="Roboto Light"/>
              </a:rPr>
              <a:t> </a:t>
            </a:r>
            <a:r>
              <a:rPr lang="fr-FR" sz="1264" dirty="0" err="1">
                <a:cs typeface="Roboto Light"/>
              </a:rPr>
              <a:t>dolor</a:t>
            </a:r>
            <a:r>
              <a:rPr lang="fr-FR" sz="1264" dirty="0">
                <a:cs typeface="Roboto Light"/>
              </a:rPr>
              <a:t> </a:t>
            </a:r>
            <a:r>
              <a:rPr lang="fr-FR" sz="1264" dirty="0" err="1">
                <a:cs typeface="Roboto Light"/>
              </a:rPr>
              <a:t>sit</a:t>
            </a:r>
            <a:r>
              <a:rPr lang="fr-FR" sz="1264" dirty="0">
                <a:cs typeface="Roboto Light"/>
              </a:rPr>
              <a:t> </a:t>
            </a:r>
            <a:r>
              <a:rPr lang="fr-FR" sz="1264" dirty="0" err="1">
                <a:cs typeface="Roboto Light"/>
              </a:rPr>
              <a:t>amet</a:t>
            </a:r>
            <a:r>
              <a:rPr lang="fr-FR" sz="1264" dirty="0">
                <a:cs typeface="Roboto Light"/>
              </a:rPr>
              <a:t>, </a:t>
            </a:r>
            <a:r>
              <a:rPr lang="fr-FR" sz="1264" dirty="0" err="1">
                <a:cs typeface="Roboto Light"/>
              </a:rPr>
              <a:t>consectetur</a:t>
            </a:r>
            <a:r>
              <a:rPr lang="fr-FR" sz="1264" dirty="0">
                <a:cs typeface="Roboto Light"/>
              </a:rPr>
              <a:t> </a:t>
            </a:r>
            <a:r>
              <a:rPr lang="fr-FR" sz="1264" dirty="0" err="1">
                <a:cs typeface="Roboto Light"/>
              </a:rPr>
              <a:t>adipiscing</a:t>
            </a:r>
            <a:r>
              <a:rPr lang="fr-FR" sz="1264" dirty="0">
                <a:cs typeface="Roboto Light"/>
              </a:rPr>
              <a:t> </a:t>
            </a:r>
            <a:r>
              <a:rPr lang="fr-FR" sz="1264" dirty="0" err="1">
                <a:cs typeface="Roboto Light"/>
              </a:rPr>
              <a:t>elit</a:t>
            </a:r>
            <a:r>
              <a:rPr lang="fr-FR" sz="1264" dirty="0">
                <a:cs typeface="Roboto Light"/>
              </a:rPr>
              <a:t>. </a:t>
            </a:r>
            <a:r>
              <a:rPr lang="fr-FR" sz="1264" dirty="0" err="1">
                <a:cs typeface="Roboto Light"/>
              </a:rPr>
              <a:t>Aliquam</a:t>
            </a:r>
            <a:r>
              <a:rPr lang="fr-FR" sz="1264" dirty="0">
                <a:cs typeface="Roboto Light"/>
              </a:rPr>
              <a:t> </a:t>
            </a:r>
            <a:r>
              <a:rPr lang="fr-FR" sz="1264" dirty="0" err="1">
                <a:cs typeface="Roboto Light"/>
              </a:rPr>
              <a:t>tincidunt</a:t>
            </a:r>
            <a:r>
              <a:rPr lang="fr-FR" sz="1264" dirty="0">
                <a:cs typeface="Roboto Light"/>
              </a:rPr>
              <a:t> ante nec </a:t>
            </a:r>
            <a:r>
              <a:rPr lang="fr-FR" sz="1264" dirty="0" err="1">
                <a:cs typeface="Roboto Light"/>
              </a:rPr>
              <a:t>sem</a:t>
            </a:r>
            <a:r>
              <a:rPr lang="fr-FR" sz="1264" dirty="0">
                <a:cs typeface="Roboto Light"/>
              </a:rPr>
              <a:t> </a:t>
            </a:r>
            <a:r>
              <a:rPr lang="fr-FR" sz="1264" dirty="0" err="1">
                <a:cs typeface="Roboto Light"/>
              </a:rPr>
              <a:t>congue</a:t>
            </a:r>
            <a:r>
              <a:rPr lang="fr-FR" sz="1264" dirty="0">
                <a:cs typeface="Roboto Light"/>
              </a:rPr>
              <a:t> </a:t>
            </a:r>
            <a:r>
              <a:rPr lang="fr-FR" sz="1264" dirty="0" err="1">
                <a:cs typeface="Roboto Light"/>
              </a:rPr>
              <a:t>convallis</a:t>
            </a:r>
            <a:r>
              <a:rPr lang="fr-FR" sz="1264" dirty="0">
                <a:cs typeface="Roboto Light"/>
              </a:rPr>
              <a:t>. </a:t>
            </a:r>
            <a:endParaRPr lang="en-US" sz="1264" dirty="0">
              <a:cs typeface="Roboto Light"/>
            </a:endParaRPr>
          </a:p>
        </p:txBody>
      </p:sp>
      <p:sp>
        <p:nvSpPr>
          <p:cNvPr id="44" name="TextBox 43"/>
          <p:cNvSpPr txBox="1"/>
          <p:nvPr/>
        </p:nvSpPr>
        <p:spPr>
          <a:xfrm>
            <a:off x="2160793" y="4480043"/>
            <a:ext cx="2380981" cy="324099"/>
          </a:xfrm>
          <a:prstGeom prst="rect">
            <a:avLst/>
          </a:prstGeom>
          <a:noFill/>
        </p:spPr>
        <p:txBody>
          <a:bodyPr wrap="none" lIns="96302" tIns="48151" rIns="96302" bIns="48151" rtlCol="0">
            <a:spAutoFit/>
          </a:bodyPr>
          <a:lstStyle/>
          <a:p>
            <a:r>
              <a:rPr lang="id-ID" sz="1474" b="1" dirty="0">
                <a:latin typeface="Roboto Regular"/>
                <a:cs typeface="Roboto Regular"/>
              </a:rPr>
              <a:t>FACTOR NUMBER THREE</a:t>
            </a:r>
          </a:p>
        </p:txBody>
      </p:sp>
      <p:sp>
        <p:nvSpPr>
          <p:cNvPr id="45" name="Rectangle 44"/>
          <p:cNvSpPr/>
          <p:nvPr/>
        </p:nvSpPr>
        <p:spPr>
          <a:xfrm>
            <a:off x="2140772" y="4809290"/>
            <a:ext cx="3596790" cy="680864"/>
          </a:xfrm>
          <a:prstGeom prst="rect">
            <a:avLst/>
          </a:prstGeom>
        </p:spPr>
        <p:txBody>
          <a:bodyPr wrap="square" lIns="96302" tIns="48151" rIns="96302" bIns="48151">
            <a:spAutoFit/>
          </a:bodyPr>
          <a:lstStyle/>
          <a:p>
            <a:r>
              <a:rPr lang="fr-FR" sz="1264" dirty="0" err="1">
                <a:cs typeface="Roboto Light"/>
              </a:rPr>
              <a:t>Lorem</a:t>
            </a:r>
            <a:r>
              <a:rPr lang="fr-FR" sz="1264" dirty="0">
                <a:cs typeface="Roboto Light"/>
              </a:rPr>
              <a:t> </a:t>
            </a:r>
            <a:r>
              <a:rPr lang="fr-FR" sz="1264" dirty="0" err="1">
                <a:cs typeface="Roboto Light"/>
              </a:rPr>
              <a:t>ipsum</a:t>
            </a:r>
            <a:r>
              <a:rPr lang="fr-FR" sz="1264" dirty="0">
                <a:cs typeface="Roboto Light"/>
              </a:rPr>
              <a:t> </a:t>
            </a:r>
            <a:r>
              <a:rPr lang="fr-FR" sz="1264" dirty="0" err="1">
                <a:cs typeface="Roboto Light"/>
              </a:rPr>
              <a:t>dolor</a:t>
            </a:r>
            <a:r>
              <a:rPr lang="fr-FR" sz="1264" dirty="0">
                <a:cs typeface="Roboto Light"/>
              </a:rPr>
              <a:t> </a:t>
            </a:r>
            <a:r>
              <a:rPr lang="fr-FR" sz="1264" dirty="0" err="1">
                <a:cs typeface="Roboto Light"/>
              </a:rPr>
              <a:t>sit</a:t>
            </a:r>
            <a:r>
              <a:rPr lang="fr-FR" sz="1264" dirty="0">
                <a:cs typeface="Roboto Light"/>
              </a:rPr>
              <a:t> </a:t>
            </a:r>
            <a:r>
              <a:rPr lang="fr-FR" sz="1264" dirty="0" err="1">
                <a:cs typeface="Roboto Light"/>
              </a:rPr>
              <a:t>amet</a:t>
            </a:r>
            <a:r>
              <a:rPr lang="fr-FR" sz="1264" dirty="0">
                <a:cs typeface="Roboto Light"/>
              </a:rPr>
              <a:t>, </a:t>
            </a:r>
            <a:r>
              <a:rPr lang="fr-FR" sz="1264" dirty="0" err="1">
                <a:cs typeface="Roboto Light"/>
              </a:rPr>
              <a:t>consectetur</a:t>
            </a:r>
            <a:r>
              <a:rPr lang="fr-FR" sz="1264" dirty="0">
                <a:cs typeface="Roboto Light"/>
              </a:rPr>
              <a:t> </a:t>
            </a:r>
            <a:r>
              <a:rPr lang="fr-FR" sz="1264" dirty="0" err="1">
                <a:cs typeface="Roboto Light"/>
              </a:rPr>
              <a:t>adipiscing</a:t>
            </a:r>
            <a:r>
              <a:rPr lang="fr-FR" sz="1264" dirty="0">
                <a:cs typeface="Roboto Light"/>
              </a:rPr>
              <a:t> </a:t>
            </a:r>
            <a:r>
              <a:rPr lang="fr-FR" sz="1264" dirty="0" err="1">
                <a:cs typeface="Roboto Light"/>
              </a:rPr>
              <a:t>elit</a:t>
            </a:r>
            <a:r>
              <a:rPr lang="fr-FR" sz="1264" dirty="0">
                <a:cs typeface="Roboto Light"/>
              </a:rPr>
              <a:t>. </a:t>
            </a:r>
            <a:r>
              <a:rPr lang="fr-FR" sz="1264" dirty="0" err="1">
                <a:cs typeface="Roboto Light"/>
              </a:rPr>
              <a:t>Aliquam</a:t>
            </a:r>
            <a:r>
              <a:rPr lang="fr-FR" sz="1264" dirty="0">
                <a:cs typeface="Roboto Light"/>
              </a:rPr>
              <a:t> </a:t>
            </a:r>
            <a:r>
              <a:rPr lang="fr-FR" sz="1264" dirty="0" err="1">
                <a:cs typeface="Roboto Light"/>
              </a:rPr>
              <a:t>tincidunt</a:t>
            </a:r>
            <a:r>
              <a:rPr lang="fr-FR" sz="1264" dirty="0">
                <a:cs typeface="Roboto Light"/>
              </a:rPr>
              <a:t> ante nec </a:t>
            </a:r>
            <a:r>
              <a:rPr lang="fr-FR" sz="1264" dirty="0" err="1">
                <a:cs typeface="Roboto Light"/>
              </a:rPr>
              <a:t>sem</a:t>
            </a:r>
            <a:r>
              <a:rPr lang="fr-FR" sz="1264" dirty="0">
                <a:cs typeface="Roboto Light"/>
              </a:rPr>
              <a:t> </a:t>
            </a:r>
            <a:r>
              <a:rPr lang="fr-FR" sz="1264" dirty="0" err="1">
                <a:cs typeface="Roboto Light"/>
              </a:rPr>
              <a:t>congue</a:t>
            </a:r>
            <a:r>
              <a:rPr lang="fr-FR" sz="1264" dirty="0">
                <a:cs typeface="Roboto Light"/>
              </a:rPr>
              <a:t> </a:t>
            </a:r>
            <a:r>
              <a:rPr lang="fr-FR" sz="1264" dirty="0" err="1">
                <a:cs typeface="Roboto Light"/>
              </a:rPr>
              <a:t>convallis</a:t>
            </a:r>
            <a:r>
              <a:rPr lang="fr-FR" sz="1264" dirty="0">
                <a:cs typeface="Roboto Light"/>
              </a:rPr>
              <a:t>. </a:t>
            </a:r>
            <a:endParaRPr lang="en-US" sz="1264" dirty="0">
              <a:cs typeface="Roboto Light"/>
            </a:endParaRPr>
          </a:p>
        </p:txBody>
      </p:sp>
      <p:sp>
        <p:nvSpPr>
          <p:cNvPr id="47" name="Freeform 67"/>
          <p:cNvSpPr>
            <a:spLocks noChangeArrowheads="1"/>
          </p:cNvSpPr>
          <p:nvPr/>
        </p:nvSpPr>
        <p:spPr bwMode="auto">
          <a:xfrm>
            <a:off x="1362422" y="1890783"/>
            <a:ext cx="506794" cy="595356"/>
          </a:xfrm>
          <a:custGeom>
            <a:avLst/>
            <a:gdLst>
              <a:gd name="T0" fmla="*/ 434 w 453"/>
              <a:gd name="T1" fmla="*/ 186 h 533"/>
              <a:gd name="T2" fmla="*/ 434 w 453"/>
              <a:gd name="T3" fmla="*/ 186 h 533"/>
              <a:gd name="T4" fmla="*/ 44 w 453"/>
              <a:gd name="T5" fmla="*/ 160 h 533"/>
              <a:gd name="T6" fmla="*/ 0 w 453"/>
              <a:gd name="T7" fmla="*/ 178 h 533"/>
              <a:gd name="T8" fmla="*/ 88 w 453"/>
              <a:gd name="T9" fmla="*/ 532 h 533"/>
              <a:gd name="T10" fmla="*/ 141 w 453"/>
              <a:gd name="T11" fmla="*/ 532 h 533"/>
              <a:gd name="T12" fmla="*/ 97 w 453"/>
              <a:gd name="T13" fmla="*/ 355 h 533"/>
              <a:gd name="T14" fmla="*/ 443 w 453"/>
              <a:gd name="T15" fmla="*/ 195 h 533"/>
              <a:gd name="T16" fmla="*/ 434 w 453"/>
              <a:gd name="T17" fmla="*/ 186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533">
                <a:moveTo>
                  <a:pt x="434" y="186"/>
                </a:moveTo>
                <a:lnTo>
                  <a:pt x="434" y="186"/>
                </a:lnTo>
                <a:cubicBezTo>
                  <a:pt x="151" y="301"/>
                  <a:pt x="266" y="0"/>
                  <a:pt x="44" y="160"/>
                </a:cubicBezTo>
                <a:cubicBezTo>
                  <a:pt x="0" y="178"/>
                  <a:pt x="0" y="178"/>
                  <a:pt x="0" y="178"/>
                </a:cubicBezTo>
                <a:cubicBezTo>
                  <a:pt x="88" y="532"/>
                  <a:pt x="88" y="532"/>
                  <a:pt x="88" y="532"/>
                </a:cubicBezTo>
                <a:cubicBezTo>
                  <a:pt x="141" y="532"/>
                  <a:pt x="141" y="532"/>
                  <a:pt x="141" y="532"/>
                </a:cubicBezTo>
                <a:cubicBezTo>
                  <a:pt x="97" y="355"/>
                  <a:pt x="97" y="355"/>
                  <a:pt x="97" y="355"/>
                </a:cubicBezTo>
                <a:cubicBezTo>
                  <a:pt x="293" y="195"/>
                  <a:pt x="213" y="532"/>
                  <a:pt x="443" y="195"/>
                </a:cubicBezTo>
                <a:cubicBezTo>
                  <a:pt x="452" y="195"/>
                  <a:pt x="443" y="186"/>
                  <a:pt x="434" y="186"/>
                </a:cubicBezTo>
              </a:path>
            </a:pathLst>
          </a:custGeom>
          <a:solidFill>
            <a:schemeClr val="bg1"/>
          </a:solidFill>
          <a:ln>
            <a:noFill/>
          </a:ln>
          <a:effectLst/>
          <a:extLst/>
        </p:spPr>
        <p:txBody>
          <a:bodyPr wrap="none" anchor="ctr"/>
          <a:lstStyle/>
          <a:p>
            <a:endParaRPr lang="en-US" sz="948"/>
          </a:p>
        </p:txBody>
      </p:sp>
      <p:sp>
        <p:nvSpPr>
          <p:cNvPr id="48" name="Freeform 82"/>
          <p:cNvSpPr>
            <a:spLocks noChangeArrowheads="1"/>
          </p:cNvSpPr>
          <p:nvPr/>
        </p:nvSpPr>
        <p:spPr bwMode="auto">
          <a:xfrm>
            <a:off x="1313559" y="4739573"/>
            <a:ext cx="555993" cy="496953"/>
          </a:xfrm>
          <a:custGeom>
            <a:avLst/>
            <a:gdLst>
              <a:gd name="T0" fmla="*/ 443 w 497"/>
              <a:gd name="T1" fmla="*/ 0 h 444"/>
              <a:gd name="T2" fmla="*/ 443 w 497"/>
              <a:gd name="T3" fmla="*/ 0 h 444"/>
              <a:gd name="T4" fmla="*/ 53 w 497"/>
              <a:gd name="T5" fmla="*/ 0 h 444"/>
              <a:gd name="T6" fmla="*/ 0 w 497"/>
              <a:gd name="T7" fmla="*/ 53 h 444"/>
              <a:gd name="T8" fmla="*/ 0 w 497"/>
              <a:gd name="T9" fmla="*/ 345 h 444"/>
              <a:gd name="T10" fmla="*/ 53 w 497"/>
              <a:gd name="T11" fmla="*/ 399 h 444"/>
              <a:gd name="T12" fmla="*/ 151 w 497"/>
              <a:gd name="T13" fmla="*/ 399 h 444"/>
              <a:gd name="T14" fmla="*/ 151 w 497"/>
              <a:gd name="T15" fmla="*/ 345 h 444"/>
              <a:gd name="T16" fmla="*/ 44 w 497"/>
              <a:gd name="T17" fmla="*/ 345 h 444"/>
              <a:gd name="T18" fmla="*/ 44 w 497"/>
              <a:gd name="T19" fmla="*/ 124 h 444"/>
              <a:gd name="T20" fmla="*/ 443 w 497"/>
              <a:gd name="T21" fmla="*/ 124 h 444"/>
              <a:gd name="T22" fmla="*/ 443 w 497"/>
              <a:gd name="T23" fmla="*/ 345 h 444"/>
              <a:gd name="T24" fmla="*/ 345 w 497"/>
              <a:gd name="T25" fmla="*/ 345 h 444"/>
              <a:gd name="T26" fmla="*/ 345 w 497"/>
              <a:gd name="T27" fmla="*/ 399 h 444"/>
              <a:gd name="T28" fmla="*/ 443 w 497"/>
              <a:gd name="T29" fmla="*/ 399 h 444"/>
              <a:gd name="T30" fmla="*/ 496 w 497"/>
              <a:gd name="T31" fmla="*/ 345 h 444"/>
              <a:gd name="T32" fmla="*/ 496 w 497"/>
              <a:gd name="T33" fmla="*/ 53 h 444"/>
              <a:gd name="T34" fmla="*/ 443 w 497"/>
              <a:gd name="T35" fmla="*/ 0 h 444"/>
              <a:gd name="T36" fmla="*/ 62 w 497"/>
              <a:gd name="T37" fmla="*/ 80 h 444"/>
              <a:gd name="T38" fmla="*/ 62 w 497"/>
              <a:gd name="T39" fmla="*/ 80 h 444"/>
              <a:gd name="T40" fmla="*/ 44 w 497"/>
              <a:gd name="T41" fmla="*/ 62 h 444"/>
              <a:gd name="T42" fmla="*/ 62 w 497"/>
              <a:gd name="T43" fmla="*/ 45 h 444"/>
              <a:gd name="T44" fmla="*/ 79 w 497"/>
              <a:gd name="T45" fmla="*/ 62 h 444"/>
              <a:gd name="T46" fmla="*/ 62 w 497"/>
              <a:gd name="T47" fmla="*/ 80 h 444"/>
              <a:gd name="T48" fmla="*/ 116 w 497"/>
              <a:gd name="T49" fmla="*/ 80 h 444"/>
              <a:gd name="T50" fmla="*/ 116 w 497"/>
              <a:gd name="T51" fmla="*/ 80 h 444"/>
              <a:gd name="T52" fmla="*/ 97 w 497"/>
              <a:gd name="T53" fmla="*/ 62 h 444"/>
              <a:gd name="T54" fmla="*/ 116 w 497"/>
              <a:gd name="T55" fmla="*/ 45 h 444"/>
              <a:gd name="T56" fmla="*/ 132 w 497"/>
              <a:gd name="T57" fmla="*/ 62 h 444"/>
              <a:gd name="T58" fmla="*/ 116 w 497"/>
              <a:gd name="T59" fmla="*/ 80 h 444"/>
              <a:gd name="T60" fmla="*/ 443 w 497"/>
              <a:gd name="T61" fmla="*/ 80 h 444"/>
              <a:gd name="T62" fmla="*/ 443 w 497"/>
              <a:gd name="T63" fmla="*/ 80 h 444"/>
              <a:gd name="T64" fmla="*/ 151 w 497"/>
              <a:gd name="T65" fmla="*/ 80 h 444"/>
              <a:gd name="T66" fmla="*/ 151 w 497"/>
              <a:gd name="T67" fmla="*/ 53 h 444"/>
              <a:gd name="T68" fmla="*/ 443 w 497"/>
              <a:gd name="T69" fmla="*/ 53 h 444"/>
              <a:gd name="T70" fmla="*/ 443 w 497"/>
              <a:gd name="T71" fmla="*/ 80 h 444"/>
              <a:gd name="T72" fmla="*/ 248 w 497"/>
              <a:gd name="T73" fmla="*/ 177 h 444"/>
              <a:gd name="T74" fmla="*/ 248 w 497"/>
              <a:gd name="T75" fmla="*/ 177 h 444"/>
              <a:gd name="T76" fmla="*/ 124 w 497"/>
              <a:gd name="T77" fmla="*/ 301 h 444"/>
              <a:gd name="T78" fmla="*/ 204 w 497"/>
              <a:gd name="T79" fmla="*/ 301 h 444"/>
              <a:gd name="T80" fmla="*/ 204 w 497"/>
              <a:gd name="T81" fmla="*/ 443 h 444"/>
              <a:gd name="T82" fmla="*/ 292 w 497"/>
              <a:gd name="T83" fmla="*/ 443 h 444"/>
              <a:gd name="T84" fmla="*/ 292 w 497"/>
              <a:gd name="T85" fmla="*/ 301 h 444"/>
              <a:gd name="T86" fmla="*/ 363 w 497"/>
              <a:gd name="T87" fmla="*/ 301 h 444"/>
              <a:gd name="T88" fmla="*/ 248 w 497"/>
              <a:gd name="T89" fmla="*/ 177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7" h="444">
                <a:moveTo>
                  <a:pt x="443" y="0"/>
                </a:moveTo>
                <a:lnTo>
                  <a:pt x="443" y="0"/>
                </a:lnTo>
                <a:cubicBezTo>
                  <a:pt x="53" y="0"/>
                  <a:pt x="53" y="0"/>
                  <a:pt x="53" y="0"/>
                </a:cubicBezTo>
                <a:cubicBezTo>
                  <a:pt x="17" y="0"/>
                  <a:pt x="0" y="26"/>
                  <a:pt x="0" y="53"/>
                </a:cubicBezTo>
                <a:cubicBezTo>
                  <a:pt x="0" y="345"/>
                  <a:pt x="0" y="345"/>
                  <a:pt x="0" y="345"/>
                </a:cubicBezTo>
                <a:cubicBezTo>
                  <a:pt x="0" y="373"/>
                  <a:pt x="17" y="399"/>
                  <a:pt x="53" y="399"/>
                </a:cubicBezTo>
                <a:cubicBezTo>
                  <a:pt x="151" y="399"/>
                  <a:pt x="151" y="399"/>
                  <a:pt x="151" y="399"/>
                </a:cubicBezTo>
                <a:cubicBezTo>
                  <a:pt x="151" y="345"/>
                  <a:pt x="151" y="345"/>
                  <a:pt x="151" y="345"/>
                </a:cubicBezTo>
                <a:cubicBezTo>
                  <a:pt x="44" y="345"/>
                  <a:pt x="44" y="345"/>
                  <a:pt x="44" y="345"/>
                </a:cubicBezTo>
                <a:cubicBezTo>
                  <a:pt x="44" y="124"/>
                  <a:pt x="44" y="124"/>
                  <a:pt x="44" y="124"/>
                </a:cubicBezTo>
                <a:cubicBezTo>
                  <a:pt x="443" y="124"/>
                  <a:pt x="443" y="124"/>
                  <a:pt x="443" y="124"/>
                </a:cubicBezTo>
                <a:cubicBezTo>
                  <a:pt x="443" y="345"/>
                  <a:pt x="443" y="345"/>
                  <a:pt x="443" y="345"/>
                </a:cubicBezTo>
                <a:cubicBezTo>
                  <a:pt x="345" y="345"/>
                  <a:pt x="345" y="345"/>
                  <a:pt x="345" y="345"/>
                </a:cubicBezTo>
                <a:cubicBezTo>
                  <a:pt x="345" y="399"/>
                  <a:pt x="345" y="399"/>
                  <a:pt x="345" y="399"/>
                </a:cubicBezTo>
                <a:cubicBezTo>
                  <a:pt x="443" y="399"/>
                  <a:pt x="443" y="399"/>
                  <a:pt x="443" y="399"/>
                </a:cubicBezTo>
                <a:cubicBezTo>
                  <a:pt x="470" y="399"/>
                  <a:pt x="496" y="373"/>
                  <a:pt x="496" y="345"/>
                </a:cubicBezTo>
                <a:cubicBezTo>
                  <a:pt x="496" y="53"/>
                  <a:pt x="496" y="53"/>
                  <a:pt x="496" y="53"/>
                </a:cubicBezTo>
                <a:cubicBezTo>
                  <a:pt x="496" y="26"/>
                  <a:pt x="470" y="0"/>
                  <a:pt x="443" y="0"/>
                </a:cubicBezTo>
                <a:close/>
                <a:moveTo>
                  <a:pt x="62" y="80"/>
                </a:moveTo>
                <a:lnTo>
                  <a:pt x="62" y="80"/>
                </a:lnTo>
                <a:cubicBezTo>
                  <a:pt x="53" y="80"/>
                  <a:pt x="44" y="71"/>
                  <a:pt x="44" y="62"/>
                </a:cubicBezTo>
                <a:cubicBezTo>
                  <a:pt x="44" y="53"/>
                  <a:pt x="53" y="45"/>
                  <a:pt x="62" y="45"/>
                </a:cubicBezTo>
                <a:cubicBezTo>
                  <a:pt x="71" y="45"/>
                  <a:pt x="79" y="53"/>
                  <a:pt x="79" y="62"/>
                </a:cubicBezTo>
                <a:cubicBezTo>
                  <a:pt x="79" y="71"/>
                  <a:pt x="71" y="80"/>
                  <a:pt x="62" y="80"/>
                </a:cubicBezTo>
                <a:close/>
                <a:moveTo>
                  <a:pt x="116" y="80"/>
                </a:moveTo>
                <a:lnTo>
                  <a:pt x="116" y="80"/>
                </a:lnTo>
                <a:cubicBezTo>
                  <a:pt x="107" y="80"/>
                  <a:pt x="97" y="71"/>
                  <a:pt x="97" y="62"/>
                </a:cubicBezTo>
                <a:cubicBezTo>
                  <a:pt x="97" y="53"/>
                  <a:pt x="107" y="45"/>
                  <a:pt x="116" y="45"/>
                </a:cubicBezTo>
                <a:cubicBezTo>
                  <a:pt x="124" y="45"/>
                  <a:pt x="132" y="53"/>
                  <a:pt x="132" y="62"/>
                </a:cubicBezTo>
                <a:cubicBezTo>
                  <a:pt x="132" y="71"/>
                  <a:pt x="124" y="80"/>
                  <a:pt x="116" y="80"/>
                </a:cubicBezTo>
                <a:close/>
                <a:moveTo>
                  <a:pt x="443" y="80"/>
                </a:moveTo>
                <a:lnTo>
                  <a:pt x="443" y="80"/>
                </a:lnTo>
                <a:cubicBezTo>
                  <a:pt x="151" y="80"/>
                  <a:pt x="151" y="80"/>
                  <a:pt x="151" y="80"/>
                </a:cubicBezTo>
                <a:cubicBezTo>
                  <a:pt x="151" y="53"/>
                  <a:pt x="151" y="53"/>
                  <a:pt x="151" y="53"/>
                </a:cubicBezTo>
                <a:cubicBezTo>
                  <a:pt x="443" y="53"/>
                  <a:pt x="443" y="53"/>
                  <a:pt x="443" y="53"/>
                </a:cubicBezTo>
                <a:lnTo>
                  <a:pt x="443" y="80"/>
                </a:lnTo>
                <a:close/>
                <a:moveTo>
                  <a:pt x="248" y="177"/>
                </a:moveTo>
                <a:lnTo>
                  <a:pt x="248" y="177"/>
                </a:lnTo>
                <a:cubicBezTo>
                  <a:pt x="124" y="301"/>
                  <a:pt x="124" y="301"/>
                  <a:pt x="124" y="301"/>
                </a:cubicBezTo>
                <a:cubicBezTo>
                  <a:pt x="204" y="301"/>
                  <a:pt x="204" y="301"/>
                  <a:pt x="204" y="301"/>
                </a:cubicBezTo>
                <a:cubicBezTo>
                  <a:pt x="204" y="443"/>
                  <a:pt x="204" y="443"/>
                  <a:pt x="204" y="443"/>
                </a:cubicBezTo>
                <a:cubicBezTo>
                  <a:pt x="292" y="443"/>
                  <a:pt x="292" y="443"/>
                  <a:pt x="292" y="443"/>
                </a:cubicBezTo>
                <a:cubicBezTo>
                  <a:pt x="292" y="301"/>
                  <a:pt x="292" y="301"/>
                  <a:pt x="292" y="301"/>
                </a:cubicBezTo>
                <a:cubicBezTo>
                  <a:pt x="363" y="301"/>
                  <a:pt x="363" y="301"/>
                  <a:pt x="363" y="301"/>
                </a:cubicBezTo>
                <a:lnTo>
                  <a:pt x="248" y="177"/>
                </a:lnTo>
                <a:close/>
              </a:path>
            </a:pathLst>
          </a:custGeom>
          <a:solidFill>
            <a:schemeClr val="bg1"/>
          </a:solidFill>
          <a:ln>
            <a:noFill/>
          </a:ln>
          <a:effectLst/>
          <a:extLst/>
        </p:spPr>
        <p:txBody>
          <a:bodyPr wrap="none" anchor="ctr"/>
          <a:lstStyle/>
          <a:p>
            <a:endParaRPr lang="en-US" sz="948"/>
          </a:p>
        </p:txBody>
      </p:sp>
      <p:sp>
        <p:nvSpPr>
          <p:cNvPr id="49" name="Freeform 102"/>
          <p:cNvSpPr>
            <a:spLocks noChangeArrowheads="1"/>
          </p:cNvSpPr>
          <p:nvPr/>
        </p:nvSpPr>
        <p:spPr bwMode="auto">
          <a:xfrm>
            <a:off x="1307819" y="3359899"/>
            <a:ext cx="555996" cy="496950"/>
          </a:xfrm>
          <a:custGeom>
            <a:avLst/>
            <a:gdLst>
              <a:gd name="T0" fmla="*/ 80 w 498"/>
              <a:gd name="T1" fmla="*/ 151 h 445"/>
              <a:gd name="T2" fmla="*/ 80 w 498"/>
              <a:gd name="T3" fmla="*/ 151 h 445"/>
              <a:gd name="T4" fmla="*/ 142 w 498"/>
              <a:gd name="T5" fmla="*/ 169 h 445"/>
              <a:gd name="T6" fmla="*/ 151 w 498"/>
              <a:gd name="T7" fmla="*/ 169 h 445"/>
              <a:gd name="T8" fmla="*/ 195 w 498"/>
              <a:gd name="T9" fmla="*/ 134 h 445"/>
              <a:gd name="T10" fmla="*/ 195 w 498"/>
              <a:gd name="T11" fmla="*/ 125 h 445"/>
              <a:gd name="T12" fmla="*/ 178 w 498"/>
              <a:gd name="T13" fmla="*/ 107 h 445"/>
              <a:gd name="T14" fmla="*/ 275 w 498"/>
              <a:gd name="T15" fmla="*/ 10 h 445"/>
              <a:gd name="T16" fmla="*/ 195 w 498"/>
              <a:gd name="T17" fmla="*/ 0 h 445"/>
              <a:gd name="T18" fmla="*/ 107 w 498"/>
              <a:gd name="T19" fmla="*/ 54 h 445"/>
              <a:gd name="T20" fmla="*/ 72 w 498"/>
              <a:gd name="T21" fmla="*/ 81 h 445"/>
              <a:gd name="T22" fmla="*/ 53 w 498"/>
              <a:gd name="T23" fmla="*/ 116 h 445"/>
              <a:gd name="T24" fmla="*/ 18 w 498"/>
              <a:gd name="T25" fmla="*/ 125 h 445"/>
              <a:gd name="T26" fmla="*/ 0 w 498"/>
              <a:gd name="T27" fmla="*/ 143 h 445"/>
              <a:gd name="T28" fmla="*/ 0 w 498"/>
              <a:gd name="T29" fmla="*/ 151 h 445"/>
              <a:gd name="T30" fmla="*/ 36 w 498"/>
              <a:gd name="T31" fmla="*/ 187 h 445"/>
              <a:gd name="T32" fmla="*/ 53 w 498"/>
              <a:gd name="T33" fmla="*/ 196 h 445"/>
              <a:gd name="T34" fmla="*/ 72 w 498"/>
              <a:gd name="T35" fmla="*/ 178 h 445"/>
              <a:gd name="T36" fmla="*/ 80 w 498"/>
              <a:gd name="T37" fmla="*/ 151 h 445"/>
              <a:gd name="T38" fmla="*/ 222 w 498"/>
              <a:gd name="T39" fmla="*/ 160 h 445"/>
              <a:gd name="T40" fmla="*/ 222 w 498"/>
              <a:gd name="T41" fmla="*/ 160 h 445"/>
              <a:gd name="T42" fmla="*/ 213 w 498"/>
              <a:gd name="T43" fmla="*/ 160 h 445"/>
              <a:gd name="T44" fmla="*/ 178 w 498"/>
              <a:gd name="T45" fmla="*/ 187 h 445"/>
              <a:gd name="T46" fmla="*/ 169 w 498"/>
              <a:gd name="T47" fmla="*/ 204 h 445"/>
              <a:gd name="T48" fmla="*/ 381 w 498"/>
              <a:gd name="T49" fmla="*/ 435 h 445"/>
              <a:gd name="T50" fmla="*/ 399 w 498"/>
              <a:gd name="T51" fmla="*/ 435 h 445"/>
              <a:gd name="T52" fmla="*/ 426 w 498"/>
              <a:gd name="T53" fmla="*/ 417 h 445"/>
              <a:gd name="T54" fmla="*/ 426 w 498"/>
              <a:gd name="T55" fmla="*/ 400 h 445"/>
              <a:gd name="T56" fmla="*/ 222 w 498"/>
              <a:gd name="T57" fmla="*/ 160 h 445"/>
              <a:gd name="T58" fmla="*/ 497 w 498"/>
              <a:gd name="T59" fmla="*/ 63 h 445"/>
              <a:gd name="T60" fmla="*/ 497 w 498"/>
              <a:gd name="T61" fmla="*/ 63 h 445"/>
              <a:gd name="T62" fmla="*/ 479 w 498"/>
              <a:gd name="T63" fmla="*/ 54 h 445"/>
              <a:gd name="T64" fmla="*/ 461 w 498"/>
              <a:gd name="T65" fmla="*/ 89 h 445"/>
              <a:gd name="T66" fmla="*/ 408 w 498"/>
              <a:gd name="T67" fmla="*/ 107 h 445"/>
              <a:gd name="T68" fmla="*/ 399 w 498"/>
              <a:gd name="T69" fmla="*/ 63 h 445"/>
              <a:gd name="T70" fmla="*/ 417 w 498"/>
              <a:gd name="T71" fmla="*/ 19 h 445"/>
              <a:gd name="T72" fmla="*/ 408 w 498"/>
              <a:gd name="T73" fmla="*/ 10 h 445"/>
              <a:gd name="T74" fmla="*/ 337 w 498"/>
              <a:gd name="T75" fmla="*/ 72 h 445"/>
              <a:gd name="T76" fmla="*/ 319 w 498"/>
              <a:gd name="T77" fmla="*/ 151 h 445"/>
              <a:gd name="T78" fmla="*/ 284 w 498"/>
              <a:gd name="T79" fmla="*/ 187 h 445"/>
              <a:gd name="T80" fmla="*/ 319 w 498"/>
              <a:gd name="T81" fmla="*/ 231 h 445"/>
              <a:gd name="T82" fmla="*/ 364 w 498"/>
              <a:gd name="T83" fmla="*/ 187 h 445"/>
              <a:gd name="T84" fmla="*/ 408 w 498"/>
              <a:gd name="T85" fmla="*/ 178 h 445"/>
              <a:gd name="T86" fmla="*/ 488 w 498"/>
              <a:gd name="T87" fmla="*/ 143 h 445"/>
              <a:gd name="T88" fmla="*/ 497 w 498"/>
              <a:gd name="T89" fmla="*/ 63 h 445"/>
              <a:gd name="T90" fmla="*/ 72 w 498"/>
              <a:gd name="T91" fmla="*/ 400 h 445"/>
              <a:gd name="T92" fmla="*/ 72 w 498"/>
              <a:gd name="T93" fmla="*/ 400 h 445"/>
              <a:gd name="T94" fmla="*/ 72 w 498"/>
              <a:gd name="T95" fmla="*/ 417 h 445"/>
              <a:gd name="T96" fmla="*/ 89 w 498"/>
              <a:gd name="T97" fmla="*/ 444 h 445"/>
              <a:gd name="T98" fmla="*/ 107 w 498"/>
              <a:gd name="T99" fmla="*/ 435 h 445"/>
              <a:gd name="T100" fmla="*/ 231 w 498"/>
              <a:gd name="T101" fmla="*/ 320 h 445"/>
              <a:gd name="T102" fmla="*/ 195 w 498"/>
              <a:gd name="T103" fmla="*/ 275 h 445"/>
              <a:gd name="T104" fmla="*/ 72 w 498"/>
              <a:gd name="T105" fmla="*/ 40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chemeClr val="bg1"/>
          </a:solidFill>
          <a:ln>
            <a:noFill/>
          </a:ln>
          <a:effectLst/>
          <a:extLst/>
        </p:spPr>
        <p:txBody>
          <a:bodyPr wrap="none" anchor="ctr"/>
          <a:lstStyle/>
          <a:p>
            <a:endParaRPr lang="en-US" sz="948"/>
          </a:p>
        </p:txBody>
      </p:sp>
      <p:sp>
        <p:nvSpPr>
          <p:cNvPr id="6"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5969308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6" name="Group 75"/>
          <p:cNvGrpSpPr/>
          <p:nvPr>
            <p:custDataLst>
              <p:tags r:id="rId1"/>
            </p:custDataLst>
          </p:nvPr>
        </p:nvGrpSpPr>
        <p:grpSpPr>
          <a:xfrm>
            <a:off x="355600" y="2337467"/>
            <a:ext cx="2141538" cy="1023241"/>
            <a:chOff x="2564013" y="6612406"/>
            <a:chExt cx="4186968" cy="1943034"/>
          </a:xfrm>
        </p:grpSpPr>
        <p:sp>
          <p:nvSpPr>
            <p:cNvPr id="77" name="Content Placeholder 19"/>
            <p:cNvSpPr txBox="1">
              <a:spLocks/>
            </p:cNvSpPr>
            <p:nvPr/>
          </p:nvSpPr>
          <p:spPr>
            <a:xfrm>
              <a:off x="2564013" y="7308925"/>
              <a:ext cx="4186968" cy="1246515"/>
            </a:xfrm>
            <a:prstGeom prst="rect">
              <a:avLst/>
            </a:prstGeom>
          </p:spPr>
          <p:txBody>
            <a:bodyPr vert="horz" lIns="96289" tIns="48145" rIns="96289" bIns="4814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64" dirty="0">
                  <a:latin typeface="Calibri Light"/>
                  <a:ea typeface="Open Sans Light" panose="020B0306030504020204" pitchFamily="34" charset="0"/>
                  <a:cs typeface="Calibri Light"/>
                </a:rPr>
                <a:t>Lorem Ipsum has two main statistical methodologies are used in data analysis</a:t>
              </a:r>
            </a:p>
          </p:txBody>
        </p:sp>
        <p:sp>
          <p:nvSpPr>
            <p:cNvPr id="79" name="TextBox 78"/>
            <p:cNvSpPr txBox="1"/>
            <p:nvPr/>
          </p:nvSpPr>
          <p:spPr>
            <a:xfrm>
              <a:off x="3315866" y="6612406"/>
              <a:ext cx="2655311" cy="831045"/>
            </a:xfrm>
            <a:prstGeom prst="rect">
              <a:avLst/>
            </a:prstGeom>
            <a:noFill/>
          </p:spPr>
          <p:txBody>
            <a:bodyPr wrap="square" lIns="96289" tIns="48145" rIns="96289" bIns="48145" rtlCol="0">
              <a:spAutoFit/>
            </a:bodyPr>
            <a:lstStyle/>
            <a:p>
              <a:pPr algn="ctr"/>
              <a:r>
                <a:rPr lang="id-ID" sz="2212" b="1" dirty="0">
                  <a:latin typeface="Lato Regular"/>
                  <a:cs typeface="Lato Regular"/>
                </a:rPr>
                <a:t>Start</a:t>
              </a:r>
              <a:endParaRPr lang="en-US" sz="2212" b="1" dirty="0">
                <a:latin typeface="Lato Regular"/>
                <a:cs typeface="Lato Regular"/>
              </a:endParaRPr>
            </a:p>
          </p:txBody>
        </p:sp>
      </p:grpSp>
      <p:grpSp>
        <p:nvGrpSpPr>
          <p:cNvPr id="83" name="Group 82"/>
          <p:cNvGrpSpPr/>
          <p:nvPr>
            <p:custDataLst>
              <p:tags r:id="rId2"/>
            </p:custDataLst>
          </p:nvPr>
        </p:nvGrpSpPr>
        <p:grpSpPr>
          <a:xfrm>
            <a:off x="5349875" y="2337467"/>
            <a:ext cx="2141538" cy="1023241"/>
            <a:chOff x="2564013" y="6612406"/>
            <a:chExt cx="4186968" cy="1943034"/>
          </a:xfrm>
        </p:grpSpPr>
        <p:sp>
          <p:nvSpPr>
            <p:cNvPr id="84" name="Content Placeholder 19"/>
            <p:cNvSpPr txBox="1">
              <a:spLocks/>
            </p:cNvSpPr>
            <p:nvPr/>
          </p:nvSpPr>
          <p:spPr>
            <a:xfrm>
              <a:off x="2564013" y="7308925"/>
              <a:ext cx="4186968" cy="1246515"/>
            </a:xfrm>
            <a:prstGeom prst="rect">
              <a:avLst/>
            </a:prstGeom>
          </p:spPr>
          <p:txBody>
            <a:bodyPr vert="horz" lIns="96289" tIns="48145" rIns="96289" bIns="4814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64" dirty="0">
                  <a:latin typeface="Calibri Light"/>
                  <a:ea typeface="Open Sans Light" panose="020B0306030504020204" pitchFamily="34" charset="0"/>
                  <a:cs typeface="Calibri Light"/>
                </a:rPr>
                <a:t>Lorem Ipsum has two main statistical methodologies are used in data analysis</a:t>
              </a:r>
            </a:p>
          </p:txBody>
        </p:sp>
        <p:sp>
          <p:nvSpPr>
            <p:cNvPr id="85" name="TextBox 84"/>
            <p:cNvSpPr txBox="1"/>
            <p:nvPr/>
          </p:nvSpPr>
          <p:spPr>
            <a:xfrm>
              <a:off x="3315866" y="6612406"/>
              <a:ext cx="2655311" cy="831045"/>
            </a:xfrm>
            <a:prstGeom prst="rect">
              <a:avLst/>
            </a:prstGeom>
            <a:noFill/>
          </p:spPr>
          <p:txBody>
            <a:bodyPr wrap="square" lIns="96289" tIns="48145" rIns="96289" bIns="48145" rtlCol="0">
              <a:spAutoFit/>
            </a:bodyPr>
            <a:lstStyle/>
            <a:p>
              <a:pPr algn="ctr"/>
              <a:r>
                <a:rPr lang="id-ID" sz="2212" b="1" dirty="0">
                  <a:latin typeface="Lato Regular"/>
                  <a:cs typeface="Lato Regular"/>
                </a:rPr>
                <a:t>Team</a:t>
              </a:r>
              <a:endParaRPr lang="en-US" sz="2212" b="1" dirty="0">
                <a:latin typeface="Lato Regular"/>
                <a:cs typeface="Lato Regular"/>
              </a:endParaRPr>
            </a:p>
          </p:txBody>
        </p:sp>
      </p:grpSp>
      <p:grpSp>
        <p:nvGrpSpPr>
          <p:cNvPr id="115" name="Group 114"/>
          <p:cNvGrpSpPr/>
          <p:nvPr>
            <p:custDataLst>
              <p:tags r:id="rId3"/>
            </p:custDataLst>
          </p:nvPr>
        </p:nvGrpSpPr>
        <p:grpSpPr>
          <a:xfrm>
            <a:off x="7847013" y="2347053"/>
            <a:ext cx="2141538" cy="1023241"/>
            <a:chOff x="2564013" y="6612406"/>
            <a:chExt cx="4186968" cy="1943034"/>
          </a:xfrm>
        </p:grpSpPr>
        <p:sp>
          <p:nvSpPr>
            <p:cNvPr id="116" name="Content Placeholder 19"/>
            <p:cNvSpPr txBox="1">
              <a:spLocks/>
            </p:cNvSpPr>
            <p:nvPr/>
          </p:nvSpPr>
          <p:spPr>
            <a:xfrm>
              <a:off x="2564013" y="7308925"/>
              <a:ext cx="4186968" cy="1246515"/>
            </a:xfrm>
            <a:prstGeom prst="rect">
              <a:avLst/>
            </a:prstGeom>
          </p:spPr>
          <p:txBody>
            <a:bodyPr vert="horz" lIns="96289" tIns="48145" rIns="96289" bIns="4814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64" dirty="0">
                  <a:latin typeface="Calibri Light"/>
                  <a:ea typeface="Open Sans Light" panose="020B0306030504020204" pitchFamily="34" charset="0"/>
                  <a:cs typeface="Calibri Light"/>
                </a:rPr>
                <a:t>Lorem Ipsum has two main statistical methodologies are used in data analysis</a:t>
              </a:r>
            </a:p>
          </p:txBody>
        </p:sp>
        <p:sp>
          <p:nvSpPr>
            <p:cNvPr id="117" name="TextBox 116"/>
            <p:cNvSpPr txBox="1"/>
            <p:nvPr/>
          </p:nvSpPr>
          <p:spPr>
            <a:xfrm>
              <a:off x="3028811" y="6612406"/>
              <a:ext cx="3240298" cy="831045"/>
            </a:xfrm>
            <a:prstGeom prst="rect">
              <a:avLst/>
            </a:prstGeom>
            <a:noFill/>
          </p:spPr>
          <p:txBody>
            <a:bodyPr wrap="square" lIns="96289" tIns="48145" rIns="96289" bIns="48145" rtlCol="0">
              <a:spAutoFit/>
            </a:bodyPr>
            <a:lstStyle/>
            <a:p>
              <a:pPr algn="ctr"/>
              <a:r>
                <a:rPr lang="id-ID" sz="2212" b="1" dirty="0">
                  <a:latin typeface="Lato Regular"/>
                  <a:cs typeface="Lato Regular"/>
                </a:rPr>
                <a:t>About Us</a:t>
              </a:r>
              <a:endParaRPr lang="en-US" sz="2212" b="1" dirty="0">
                <a:latin typeface="Lato Regular"/>
                <a:cs typeface="Lato Regular"/>
              </a:endParaRPr>
            </a:p>
          </p:txBody>
        </p:sp>
      </p:grpSp>
      <p:grpSp>
        <p:nvGrpSpPr>
          <p:cNvPr id="118" name="Group 117"/>
          <p:cNvGrpSpPr/>
          <p:nvPr>
            <p:custDataLst>
              <p:tags r:id="rId4"/>
            </p:custDataLst>
          </p:nvPr>
        </p:nvGrpSpPr>
        <p:grpSpPr>
          <a:xfrm>
            <a:off x="10344150" y="2347053"/>
            <a:ext cx="2141538" cy="1023241"/>
            <a:chOff x="2564013" y="6612406"/>
            <a:chExt cx="4186968" cy="1943034"/>
          </a:xfrm>
        </p:grpSpPr>
        <p:sp>
          <p:nvSpPr>
            <p:cNvPr id="119" name="Content Placeholder 19"/>
            <p:cNvSpPr txBox="1">
              <a:spLocks/>
            </p:cNvSpPr>
            <p:nvPr/>
          </p:nvSpPr>
          <p:spPr>
            <a:xfrm>
              <a:off x="2564013" y="7308925"/>
              <a:ext cx="4186968" cy="1246515"/>
            </a:xfrm>
            <a:prstGeom prst="rect">
              <a:avLst/>
            </a:prstGeom>
          </p:spPr>
          <p:txBody>
            <a:bodyPr vert="horz" lIns="96289" tIns="48145" rIns="96289" bIns="4814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64" dirty="0">
                  <a:latin typeface="Calibri Light"/>
                  <a:ea typeface="Open Sans Light" panose="020B0306030504020204" pitchFamily="34" charset="0"/>
                  <a:cs typeface="Calibri Light"/>
                </a:rPr>
                <a:t>Lorem Ipsum has two main statistical methodologies are used in data analysis</a:t>
              </a:r>
            </a:p>
          </p:txBody>
        </p:sp>
        <p:sp>
          <p:nvSpPr>
            <p:cNvPr id="120" name="TextBox 119"/>
            <p:cNvSpPr txBox="1"/>
            <p:nvPr/>
          </p:nvSpPr>
          <p:spPr>
            <a:xfrm>
              <a:off x="2564013" y="6612406"/>
              <a:ext cx="4186968" cy="831045"/>
            </a:xfrm>
            <a:prstGeom prst="rect">
              <a:avLst/>
            </a:prstGeom>
            <a:noFill/>
          </p:spPr>
          <p:txBody>
            <a:bodyPr wrap="square" lIns="96289" tIns="48145" rIns="96289" bIns="48145" rtlCol="0">
              <a:spAutoFit/>
            </a:bodyPr>
            <a:lstStyle/>
            <a:p>
              <a:pPr algn="ctr"/>
              <a:r>
                <a:rPr lang="id-ID" sz="2212" b="1" dirty="0">
                  <a:latin typeface="Lato Regular"/>
                  <a:cs typeface="Lato Regular"/>
                </a:rPr>
                <a:t>Services</a:t>
              </a:r>
              <a:endParaRPr lang="en-US" sz="2212" b="1" dirty="0">
                <a:latin typeface="Lato Regular"/>
                <a:cs typeface="Lato Regular"/>
              </a:endParaRPr>
            </a:p>
          </p:txBody>
        </p:sp>
      </p:grpSp>
      <p:grpSp>
        <p:nvGrpSpPr>
          <p:cNvPr id="133" name="Group 132"/>
          <p:cNvGrpSpPr/>
          <p:nvPr>
            <p:custDataLst>
              <p:tags r:id="rId5"/>
            </p:custDataLst>
          </p:nvPr>
        </p:nvGrpSpPr>
        <p:grpSpPr>
          <a:xfrm>
            <a:off x="355600" y="4684069"/>
            <a:ext cx="2141538" cy="1023241"/>
            <a:chOff x="2564013" y="6612406"/>
            <a:chExt cx="4186968" cy="1943034"/>
          </a:xfrm>
        </p:grpSpPr>
        <p:sp>
          <p:nvSpPr>
            <p:cNvPr id="134" name="Content Placeholder 19"/>
            <p:cNvSpPr txBox="1">
              <a:spLocks/>
            </p:cNvSpPr>
            <p:nvPr/>
          </p:nvSpPr>
          <p:spPr>
            <a:xfrm>
              <a:off x="2564013" y="7308925"/>
              <a:ext cx="4186968" cy="1246515"/>
            </a:xfrm>
            <a:prstGeom prst="rect">
              <a:avLst/>
            </a:prstGeom>
          </p:spPr>
          <p:txBody>
            <a:bodyPr vert="horz" lIns="96289" tIns="48145" rIns="96289" bIns="4814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64" dirty="0">
                  <a:latin typeface="Calibri Light"/>
                  <a:ea typeface="Open Sans Light" panose="020B0306030504020204" pitchFamily="34" charset="0"/>
                  <a:cs typeface="Calibri Light"/>
                </a:rPr>
                <a:t>Lorem Ipsum has two main statistical methodologies are used in data analysis</a:t>
              </a:r>
            </a:p>
          </p:txBody>
        </p:sp>
        <p:sp>
          <p:nvSpPr>
            <p:cNvPr id="135" name="TextBox 134"/>
            <p:cNvSpPr txBox="1"/>
            <p:nvPr/>
          </p:nvSpPr>
          <p:spPr>
            <a:xfrm>
              <a:off x="3315866" y="6612406"/>
              <a:ext cx="2655311" cy="831045"/>
            </a:xfrm>
            <a:prstGeom prst="rect">
              <a:avLst/>
            </a:prstGeom>
            <a:noFill/>
          </p:spPr>
          <p:txBody>
            <a:bodyPr wrap="square" lIns="96289" tIns="48145" rIns="96289" bIns="48145" rtlCol="0">
              <a:spAutoFit/>
            </a:bodyPr>
            <a:lstStyle/>
            <a:p>
              <a:pPr algn="ctr"/>
              <a:r>
                <a:rPr lang="id-ID" sz="2212" b="1" dirty="0">
                  <a:latin typeface="Lato Regular"/>
                  <a:cs typeface="Lato Regular"/>
                </a:rPr>
                <a:t>Analysis</a:t>
              </a:r>
              <a:endParaRPr lang="en-US" sz="2212" b="1" dirty="0">
                <a:latin typeface="Lato Regular"/>
                <a:cs typeface="Lato Regular"/>
              </a:endParaRPr>
            </a:p>
          </p:txBody>
        </p:sp>
      </p:grpSp>
      <p:grpSp>
        <p:nvGrpSpPr>
          <p:cNvPr id="136" name="Group 135"/>
          <p:cNvGrpSpPr/>
          <p:nvPr>
            <p:custDataLst>
              <p:tags r:id="rId6"/>
            </p:custDataLst>
          </p:nvPr>
        </p:nvGrpSpPr>
        <p:grpSpPr>
          <a:xfrm>
            <a:off x="2852738" y="4684069"/>
            <a:ext cx="2141538" cy="1023241"/>
            <a:chOff x="2564013" y="6612406"/>
            <a:chExt cx="4186968" cy="1943034"/>
          </a:xfrm>
        </p:grpSpPr>
        <p:sp>
          <p:nvSpPr>
            <p:cNvPr id="137" name="Content Placeholder 19"/>
            <p:cNvSpPr txBox="1">
              <a:spLocks/>
            </p:cNvSpPr>
            <p:nvPr/>
          </p:nvSpPr>
          <p:spPr>
            <a:xfrm>
              <a:off x="2564013" y="7308925"/>
              <a:ext cx="4186968" cy="1246515"/>
            </a:xfrm>
            <a:prstGeom prst="rect">
              <a:avLst/>
            </a:prstGeom>
          </p:spPr>
          <p:txBody>
            <a:bodyPr vert="horz" lIns="96289" tIns="48145" rIns="96289" bIns="4814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64" dirty="0">
                  <a:latin typeface="Calibri Light"/>
                  <a:ea typeface="Open Sans Light" panose="020B0306030504020204" pitchFamily="34" charset="0"/>
                  <a:cs typeface="Calibri Light"/>
                </a:rPr>
                <a:t>Lorem Ipsum has two main statistical methodologies are used in data analysis</a:t>
              </a:r>
            </a:p>
          </p:txBody>
        </p:sp>
        <p:sp>
          <p:nvSpPr>
            <p:cNvPr id="138" name="TextBox 137"/>
            <p:cNvSpPr txBox="1"/>
            <p:nvPr/>
          </p:nvSpPr>
          <p:spPr>
            <a:xfrm>
              <a:off x="3315866" y="6612406"/>
              <a:ext cx="2655311" cy="831045"/>
            </a:xfrm>
            <a:prstGeom prst="rect">
              <a:avLst/>
            </a:prstGeom>
            <a:noFill/>
          </p:spPr>
          <p:txBody>
            <a:bodyPr wrap="square" lIns="96289" tIns="48145" rIns="96289" bIns="48145" rtlCol="0">
              <a:spAutoFit/>
            </a:bodyPr>
            <a:lstStyle/>
            <a:p>
              <a:pPr algn="ctr"/>
              <a:r>
                <a:rPr lang="id-ID" sz="2212" b="1" dirty="0">
                  <a:latin typeface="Lato Regular"/>
                  <a:cs typeface="Lato Regular"/>
                </a:rPr>
                <a:t>Coffee</a:t>
              </a:r>
              <a:endParaRPr lang="en-US" sz="2212" b="1" dirty="0">
                <a:latin typeface="Lato Regular"/>
                <a:cs typeface="Lato Regular"/>
              </a:endParaRPr>
            </a:p>
          </p:txBody>
        </p:sp>
      </p:grpSp>
      <p:grpSp>
        <p:nvGrpSpPr>
          <p:cNvPr id="139" name="Group 138"/>
          <p:cNvGrpSpPr/>
          <p:nvPr>
            <p:custDataLst>
              <p:tags r:id="rId7"/>
            </p:custDataLst>
          </p:nvPr>
        </p:nvGrpSpPr>
        <p:grpSpPr>
          <a:xfrm>
            <a:off x="5349875" y="4684069"/>
            <a:ext cx="2141538" cy="1023241"/>
            <a:chOff x="2564013" y="6612406"/>
            <a:chExt cx="4186968" cy="1943034"/>
          </a:xfrm>
        </p:grpSpPr>
        <p:sp>
          <p:nvSpPr>
            <p:cNvPr id="140" name="Content Placeholder 19"/>
            <p:cNvSpPr txBox="1">
              <a:spLocks/>
            </p:cNvSpPr>
            <p:nvPr/>
          </p:nvSpPr>
          <p:spPr>
            <a:xfrm>
              <a:off x="2564013" y="7308925"/>
              <a:ext cx="4186968" cy="1246515"/>
            </a:xfrm>
            <a:prstGeom prst="rect">
              <a:avLst/>
            </a:prstGeom>
          </p:spPr>
          <p:txBody>
            <a:bodyPr vert="horz" lIns="96289" tIns="48145" rIns="96289" bIns="4814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64" dirty="0">
                  <a:latin typeface="Calibri Light"/>
                  <a:ea typeface="Open Sans Light" panose="020B0306030504020204" pitchFamily="34" charset="0"/>
                  <a:cs typeface="Calibri Light"/>
                </a:rPr>
                <a:t>Lorem Ipsum has two main statistical methodologies are used in data analysis</a:t>
              </a:r>
            </a:p>
          </p:txBody>
        </p:sp>
        <p:sp>
          <p:nvSpPr>
            <p:cNvPr id="141" name="TextBox 140"/>
            <p:cNvSpPr txBox="1"/>
            <p:nvPr/>
          </p:nvSpPr>
          <p:spPr>
            <a:xfrm>
              <a:off x="3315866" y="6612406"/>
              <a:ext cx="2655311" cy="831045"/>
            </a:xfrm>
            <a:prstGeom prst="rect">
              <a:avLst/>
            </a:prstGeom>
            <a:noFill/>
          </p:spPr>
          <p:txBody>
            <a:bodyPr wrap="square" lIns="96289" tIns="48145" rIns="96289" bIns="48145" rtlCol="0">
              <a:spAutoFit/>
            </a:bodyPr>
            <a:lstStyle/>
            <a:p>
              <a:pPr algn="ctr"/>
              <a:r>
                <a:rPr lang="id-ID" sz="2212" b="1" dirty="0">
                  <a:latin typeface="Lato Regular"/>
                  <a:cs typeface="Lato Regular"/>
                </a:rPr>
                <a:t>Sales</a:t>
              </a:r>
              <a:endParaRPr lang="en-US" sz="2212" b="1" dirty="0">
                <a:latin typeface="Lato Regular"/>
                <a:cs typeface="Lato Regular"/>
              </a:endParaRPr>
            </a:p>
          </p:txBody>
        </p:sp>
      </p:grpSp>
      <p:grpSp>
        <p:nvGrpSpPr>
          <p:cNvPr id="144" name="Group 143"/>
          <p:cNvGrpSpPr/>
          <p:nvPr>
            <p:custDataLst>
              <p:tags r:id="rId8"/>
            </p:custDataLst>
          </p:nvPr>
        </p:nvGrpSpPr>
        <p:grpSpPr>
          <a:xfrm>
            <a:off x="7847013" y="4693655"/>
            <a:ext cx="2141538" cy="1023241"/>
            <a:chOff x="2564013" y="6612406"/>
            <a:chExt cx="4186968" cy="1943034"/>
          </a:xfrm>
        </p:grpSpPr>
        <p:sp>
          <p:nvSpPr>
            <p:cNvPr id="145" name="Content Placeholder 19"/>
            <p:cNvSpPr txBox="1">
              <a:spLocks/>
            </p:cNvSpPr>
            <p:nvPr/>
          </p:nvSpPr>
          <p:spPr>
            <a:xfrm>
              <a:off x="2564013" y="7308925"/>
              <a:ext cx="4186968" cy="1246515"/>
            </a:xfrm>
            <a:prstGeom prst="rect">
              <a:avLst/>
            </a:prstGeom>
          </p:spPr>
          <p:txBody>
            <a:bodyPr vert="horz" lIns="96289" tIns="48145" rIns="96289" bIns="4814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64" dirty="0">
                  <a:latin typeface="Calibri Light"/>
                  <a:ea typeface="Open Sans Light" panose="020B0306030504020204" pitchFamily="34" charset="0"/>
                  <a:cs typeface="Calibri Light"/>
                </a:rPr>
                <a:t>Lorem Ipsum has two main statistical methodologies are used in data analysis</a:t>
              </a:r>
            </a:p>
          </p:txBody>
        </p:sp>
        <p:sp>
          <p:nvSpPr>
            <p:cNvPr id="146" name="TextBox 145"/>
            <p:cNvSpPr txBox="1"/>
            <p:nvPr/>
          </p:nvSpPr>
          <p:spPr>
            <a:xfrm>
              <a:off x="3159905" y="6612406"/>
              <a:ext cx="2953243" cy="831045"/>
            </a:xfrm>
            <a:prstGeom prst="rect">
              <a:avLst/>
            </a:prstGeom>
            <a:noFill/>
          </p:spPr>
          <p:txBody>
            <a:bodyPr wrap="square" lIns="96289" tIns="48145" rIns="96289" bIns="48145" rtlCol="0">
              <a:spAutoFit/>
            </a:bodyPr>
            <a:lstStyle/>
            <a:p>
              <a:pPr algn="ctr"/>
              <a:r>
                <a:rPr lang="id-ID" sz="2212" b="1" dirty="0">
                  <a:latin typeface="Lato Regular"/>
                  <a:cs typeface="Lato Regular"/>
                </a:rPr>
                <a:t>Costumers</a:t>
              </a:r>
              <a:endParaRPr lang="en-US" sz="2212" b="1" dirty="0">
                <a:latin typeface="Lato Regular"/>
                <a:cs typeface="Lato Regular"/>
              </a:endParaRPr>
            </a:p>
          </p:txBody>
        </p:sp>
      </p:grpSp>
      <p:grpSp>
        <p:nvGrpSpPr>
          <p:cNvPr id="147" name="Group 146"/>
          <p:cNvGrpSpPr/>
          <p:nvPr>
            <p:custDataLst>
              <p:tags r:id="rId9"/>
            </p:custDataLst>
          </p:nvPr>
        </p:nvGrpSpPr>
        <p:grpSpPr>
          <a:xfrm>
            <a:off x="10344150" y="4693655"/>
            <a:ext cx="2141538" cy="1023241"/>
            <a:chOff x="2564013" y="6612406"/>
            <a:chExt cx="4186968" cy="1943034"/>
          </a:xfrm>
        </p:grpSpPr>
        <p:sp>
          <p:nvSpPr>
            <p:cNvPr id="148" name="Content Placeholder 19"/>
            <p:cNvSpPr txBox="1">
              <a:spLocks/>
            </p:cNvSpPr>
            <p:nvPr/>
          </p:nvSpPr>
          <p:spPr>
            <a:xfrm>
              <a:off x="2564013" y="7308925"/>
              <a:ext cx="4186968" cy="1246515"/>
            </a:xfrm>
            <a:prstGeom prst="rect">
              <a:avLst/>
            </a:prstGeom>
          </p:spPr>
          <p:txBody>
            <a:bodyPr vert="horz" lIns="96289" tIns="48145" rIns="96289" bIns="4814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64" dirty="0">
                  <a:latin typeface="Calibri Light"/>
                  <a:ea typeface="Open Sans Light" panose="020B0306030504020204" pitchFamily="34" charset="0"/>
                  <a:cs typeface="Calibri Light"/>
                </a:rPr>
                <a:t>Lorem Ipsum has two main statistical methodologies are used in data analysis</a:t>
              </a:r>
            </a:p>
          </p:txBody>
        </p:sp>
        <p:sp>
          <p:nvSpPr>
            <p:cNvPr id="149" name="TextBox 148"/>
            <p:cNvSpPr txBox="1"/>
            <p:nvPr/>
          </p:nvSpPr>
          <p:spPr>
            <a:xfrm>
              <a:off x="2845367" y="6612406"/>
              <a:ext cx="3563549" cy="831045"/>
            </a:xfrm>
            <a:prstGeom prst="rect">
              <a:avLst/>
            </a:prstGeom>
            <a:noFill/>
          </p:spPr>
          <p:txBody>
            <a:bodyPr wrap="square" lIns="96289" tIns="48145" rIns="96289" bIns="48145" rtlCol="0">
              <a:spAutoFit/>
            </a:bodyPr>
            <a:lstStyle/>
            <a:p>
              <a:pPr algn="ctr"/>
              <a:r>
                <a:rPr lang="id-ID" sz="2212" b="1" dirty="0">
                  <a:latin typeface="Lato Regular"/>
                  <a:cs typeface="Lato Regular"/>
                </a:rPr>
                <a:t>Thank You</a:t>
              </a:r>
              <a:endParaRPr lang="en-US" sz="2212" b="1" dirty="0">
                <a:latin typeface="Lato Regular"/>
                <a:cs typeface="Lato Regular"/>
              </a:endParaRPr>
            </a:p>
          </p:txBody>
        </p:sp>
      </p:grpSp>
      <p:grpSp>
        <p:nvGrpSpPr>
          <p:cNvPr id="80" name="Group 79"/>
          <p:cNvGrpSpPr/>
          <p:nvPr>
            <p:custDataLst>
              <p:tags r:id="rId10"/>
            </p:custDataLst>
          </p:nvPr>
        </p:nvGrpSpPr>
        <p:grpSpPr>
          <a:xfrm>
            <a:off x="2852738" y="2337468"/>
            <a:ext cx="2141538" cy="1023241"/>
            <a:chOff x="2564013" y="6612406"/>
            <a:chExt cx="4186968" cy="1943034"/>
          </a:xfrm>
        </p:grpSpPr>
        <p:sp>
          <p:nvSpPr>
            <p:cNvPr id="81" name="Content Placeholder 19"/>
            <p:cNvSpPr txBox="1">
              <a:spLocks/>
            </p:cNvSpPr>
            <p:nvPr/>
          </p:nvSpPr>
          <p:spPr>
            <a:xfrm>
              <a:off x="2564013" y="7308925"/>
              <a:ext cx="4186968" cy="1246515"/>
            </a:xfrm>
            <a:prstGeom prst="rect">
              <a:avLst/>
            </a:prstGeom>
          </p:spPr>
          <p:txBody>
            <a:bodyPr vert="horz" lIns="96289" tIns="48145" rIns="96289" bIns="48145"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1264" dirty="0">
                  <a:latin typeface="Calibri Light"/>
                  <a:ea typeface="Open Sans Light" panose="020B0306030504020204" pitchFamily="34" charset="0"/>
                  <a:cs typeface="Calibri Light"/>
                </a:rPr>
                <a:t>Lorem Ipsum has two main statistical methodologies are used in data analysis</a:t>
              </a:r>
            </a:p>
          </p:txBody>
        </p:sp>
        <p:sp>
          <p:nvSpPr>
            <p:cNvPr id="82" name="TextBox 81"/>
            <p:cNvSpPr txBox="1"/>
            <p:nvPr/>
          </p:nvSpPr>
          <p:spPr>
            <a:xfrm>
              <a:off x="2956766" y="6612406"/>
              <a:ext cx="3437172" cy="831045"/>
            </a:xfrm>
            <a:prstGeom prst="rect">
              <a:avLst/>
            </a:prstGeom>
            <a:noFill/>
          </p:spPr>
          <p:txBody>
            <a:bodyPr wrap="square" lIns="96289" tIns="48145" rIns="96289" bIns="48145" rtlCol="0">
              <a:spAutoFit/>
            </a:bodyPr>
            <a:lstStyle/>
            <a:p>
              <a:pPr algn="ctr"/>
              <a:r>
                <a:rPr lang="id-ID" sz="2212" b="1" dirty="0">
                  <a:latin typeface="Lato Regular"/>
                  <a:cs typeface="Lato Regular"/>
                </a:rPr>
                <a:t>Mission</a:t>
              </a:r>
              <a:endParaRPr lang="en-US" sz="2212" b="1" dirty="0">
                <a:latin typeface="Lato Regular"/>
                <a:cs typeface="Lato Regular"/>
              </a:endParaRPr>
            </a:p>
          </p:txBody>
        </p:sp>
      </p:grpSp>
      <p:sp>
        <p:nvSpPr>
          <p:cNvPr id="15" name="Title 14"/>
          <p:cNvSpPr>
            <a:spLocks noGrp="1"/>
          </p:cNvSpPr>
          <p:nvPr>
            <p:ph type="title"/>
          </p:nvPr>
        </p:nvSpPr>
        <p:spPr>
          <a:xfrm>
            <a:off x="3998230" y="376264"/>
            <a:ext cx="4844828" cy="492443"/>
          </a:xfrm>
        </p:spPr>
        <p:txBody>
          <a:bodyPr/>
          <a:lstStyle/>
          <a:p>
            <a:r>
              <a:rPr lang="en-US" dirty="0"/>
              <a:t>OUR </a:t>
            </a:r>
            <a:r>
              <a:rPr lang="en-US" dirty="0" smtClean="0"/>
              <a:t>AGENDA</a:t>
            </a:r>
            <a:endParaRPr lang="en-US" dirty="0"/>
          </a:p>
        </p:txBody>
      </p:sp>
      <p:sp>
        <p:nvSpPr>
          <p:cNvPr id="122" name="TextBox 121"/>
          <p:cNvSpPr txBox="1"/>
          <p:nvPr/>
        </p:nvSpPr>
        <p:spPr>
          <a:xfrm>
            <a:off x="1106329" y="1647927"/>
            <a:ext cx="640080" cy="640080"/>
          </a:xfrm>
          <a:prstGeom prst="ellipse">
            <a:avLst/>
          </a:prstGeom>
          <a:noFill/>
          <a:ln w="34925">
            <a:solidFill>
              <a:schemeClr val="accent6"/>
            </a:solidFill>
          </a:ln>
        </p:spPr>
        <p:txBody>
          <a:bodyPr wrap="none" lIns="96289" tIns="48145" rIns="96289" bIns="48145" rtlCol="0">
            <a:noAutofit/>
          </a:bodyPr>
          <a:lstStyle/>
          <a:p>
            <a:pPr algn="ctr"/>
            <a:r>
              <a:rPr lang="id-ID" sz="2212" b="1" dirty="0">
                <a:solidFill>
                  <a:schemeClr val="accent5"/>
                </a:solidFill>
                <a:latin typeface="Lato Regular"/>
                <a:cs typeface="Lato Regular"/>
              </a:rPr>
              <a:t>1</a:t>
            </a:r>
            <a:endParaRPr lang="en-US" sz="2212" b="1" dirty="0">
              <a:solidFill>
                <a:schemeClr val="accent5"/>
              </a:solidFill>
              <a:latin typeface="Lato Regular"/>
              <a:cs typeface="Lato Regular"/>
            </a:endParaRPr>
          </a:p>
        </p:txBody>
      </p:sp>
      <p:sp>
        <p:nvSpPr>
          <p:cNvPr id="88" name="TextBox 87"/>
          <p:cNvSpPr txBox="1"/>
          <p:nvPr/>
        </p:nvSpPr>
        <p:spPr>
          <a:xfrm>
            <a:off x="1106329" y="3917280"/>
            <a:ext cx="640080" cy="640080"/>
          </a:xfrm>
          <a:prstGeom prst="ellipse">
            <a:avLst/>
          </a:prstGeom>
          <a:noFill/>
          <a:ln w="34925">
            <a:solidFill>
              <a:schemeClr val="accent6"/>
            </a:solidFill>
          </a:ln>
        </p:spPr>
        <p:txBody>
          <a:bodyPr wrap="none" lIns="96289" tIns="48145" rIns="96289" bIns="48145" rtlCol="0">
            <a:noAutofit/>
          </a:bodyPr>
          <a:lstStyle/>
          <a:p>
            <a:pPr algn="ctr"/>
            <a:r>
              <a:rPr lang="en-US" sz="2212" b="1" dirty="0">
                <a:solidFill>
                  <a:schemeClr val="accent5"/>
                </a:solidFill>
                <a:latin typeface="Lato Regular"/>
                <a:cs typeface="Lato Regular"/>
              </a:rPr>
              <a:t>6</a:t>
            </a:r>
          </a:p>
        </p:txBody>
      </p:sp>
      <p:sp>
        <p:nvSpPr>
          <p:cNvPr id="99" name="TextBox 98"/>
          <p:cNvSpPr txBox="1"/>
          <p:nvPr/>
        </p:nvSpPr>
        <p:spPr>
          <a:xfrm>
            <a:off x="11094879" y="1647927"/>
            <a:ext cx="640080" cy="640080"/>
          </a:xfrm>
          <a:prstGeom prst="ellipse">
            <a:avLst/>
          </a:prstGeom>
          <a:noFill/>
          <a:ln w="34925">
            <a:solidFill>
              <a:schemeClr val="accent6"/>
            </a:solidFill>
          </a:ln>
        </p:spPr>
        <p:txBody>
          <a:bodyPr wrap="none" lIns="96289" tIns="48145" rIns="96289" bIns="48145" rtlCol="0">
            <a:noAutofit/>
          </a:bodyPr>
          <a:lstStyle/>
          <a:p>
            <a:pPr algn="ctr"/>
            <a:r>
              <a:rPr lang="en-US" sz="2212" b="1" dirty="0">
                <a:solidFill>
                  <a:schemeClr val="accent5"/>
                </a:solidFill>
                <a:latin typeface="Lato Regular"/>
                <a:cs typeface="Lato Regular"/>
              </a:rPr>
              <a:t>5</a:t>
            </a:r>
          </a:p>
        </p:txBody>
      </p:sp>
      <p:sp>
        <p:nvSpPr>
          <p:cNvPr id="100" name="TextBox 99"/>
          <p:cNvSpPr txBox="1"/>
          <p:nvPr/>
        </p:nvSpPr>
        <p:spPr>
          <a:xfrm>
            <a:off x="11094879" y="3917280"/>
            <a:ext cx="640080" cy="640080"/>
          </a:xfrm>
          <a:prstGeom prst="ellipse">
            <a:avLst/>
          </a:prstGeom>
          <a:noFill/>
          <a:ln w="34925">
            <a:solidFill>
              <a:schemeClr val="accent6"/>
            </a:solidFill>
          </a:ln>
        </p:spPr>
        <p:txBody>
          <a:bodyPr wrap="none" lIns="96289" tIns="48145" rIns="96289" bIns="48145" rtlCol="0">
            <a:noAutofit/>
          </a:bodyPr>
          <a:lstStyle/>
          <a:p>
            <a:pPr algn="ctr"/>
            <a:r>
              <a:rPr lang="id-ID" sz="2212" b="1" dirty="0" smtClean="0">
                <a:solidFill>
                  <a:schemeClr val="accent5"/>
                </a:solidFill>
                <a:latin typeface="Lato Regular"/>
                <a:cs typeface="Lato Regular"/>
              </a:rPr>
              <a:t>1</a:t>
            </a:r>
            <a:r>
              <a:rPr lang="en-US" sz="2212" b="1" dirty="0" smtClean="0">
                <a:solidFill>
                  <a:schemeClr val="accent5"/>
                </a:solidFill>
                <a:latin typeface="Lato Regular"/>
                <a:cs typeface="Lato Regular"/>
              </a:rPr>
              <a:t>0</a:t>
            </a:r>
            <a:endParaRPr lang="en-US" sz="2212" b="1" dirty="0">
              <a:solidFill>
                <a:schemeClr val="accent5"/>
              </a:solidFill>
              <a:latin typeface="Lato Regular"/>
              <a:cs typeface="Lato Regular"/>
            </a:endParaRPr>
          </a:p>
        </p:txBody>
      </p:sp>
      <p:sp>
        <p:nvSpPr>
          <p:cNvPr id="102" name="TextBox 101"/>
          <p:cNvSpPr txBox="1"/>
          <p:nvPr/>
        </p:nvSpPr>
        <p:spPr>
          <a:xfrm>
            <a:off x="3603467" y="1647927"/>
            <a:ext cx="640080" cy="640080"/>
          </a:xfrm>
          <a:prstGeom prst="ellipse">
            <a:avLst/>
          </a:prstGeom>
          <a:noFill/>
          <a:ln w="34925">
            <a:solidFill>
              <a:schemeClr val="accent6"/>
            </a:solidFill>
          </a:ln>
        </p:spPr>
        <p:txBody>
          <a:bodyPr wrap="none" lIns="96289" tIns="48145" rIns="96289" bIns="48145" rtlCol="0">
            <a:noAutofit/>
          </a:bodyPr>
          <a:lstStyle/>
          <a:p>
            <a:pPr algn="ctr"/>
            <a:r>
              <a:rPr lang="en-US" sz="2212" b="1" dirty="0" smtClean="0">
                <a:solidFill>
                  <a:schemeClr val="accent5"/>
                </a:solidFill>
                <a:latin typeface="Lato Regular"/>
                <a:cs typeface="Lato Regular"/>
              </a:rPr>
              <a:t>2</a:t>
            </a:r>
            <a:endParaRPr lang="en-US" sz="2212" b="1" dirty="0">
              <a:solidFill>
                <a:schemeClr val="accent5"/>
              </a:solidFill>
              <a:latin typeface="Lato Regular"/>
              <a:cs typeface="Lato Regular"/>
            </a:endParaRPr>
          </a:p>
        </p:txBody>
      </p:sp>
      <p:sp>
        <p:nvSpPr>
          <p:cNvPr id="103" name="TextBox 102"/>
          <p:cNvSpPr txBox="1"/>
          <p:nvPr/>
        </p:nvSpPr>
        <p:spPr>
          <a:xfrm>
            <a:off x="3603467" y="3917280"/>
            <a:ext cx="640080" cy="640080"/>
          </a:xfrm>
          <a:prstGeom prst="ellipse">
            <a:avLst/>
          </a:prstGeom>
          <a:noFill/>
          <a:ln w="34925">
            <a:solidFill>
              <a:schemeClr val="accent6"/>
            </a:solidFill>
          </a:ln>
        </p:spPr>
        <p:txBody>
          <a:bodyPr wrap="none" lIns="96289" tIns="48145" rIns="96289" bIns="48145" rtlCol="0">
            <a:noAutofit/>
          </a:bodyPr>
          <a:lstStyle/>
          <a:p>
            <a:pPr algn="ctr"/>
            <a:r>
              <a:rPr lang="en-US" sz="2212" b="1" dirty="0">
                <a:solidFill>
                  <a:schemeClr val="accent5"/>
                </a:solidFill>
                <a:latin typeface="Lato Regular"/>
                <a:cs typeface="Lato Regular"/>
              </a:rPr>
              <a:t>7</a:t>
            </a:r>
          </a:p>
        </p:txBody>
      </p:sp>
      <p:sp>
        <p:nvSpPr>
          <p:cNvPr id="105" name="TextBox 104"/>
          <p:cNvSpPr txBox="1"/>
          <p:nvPr/>
        </p:nvSpPr>
        <p:spPr>
          <a:xfrm>
            <a:off x="8597743" y="1647927"/>
            <a:ext cx="640080" cy="640080"/>
          </a:xfrm>
          <a:prstGeom prst="ellipse">
            <a:avLst/>
          </a:prstGeom>
          <a:noFill/>
          <a:ln w="34925">
            <a:solidFill>
              <a:schemeClr val="accent6"/>
            </a:solidFill>
          </a:ln>
        </p:spPr>
        <p:txBody>
          <a:bodyPr wrap="none" lIns="96289" tIns="48145" rIns="96289" bIns="48145" rtlCol="0">
            <a:noAutofit/>
          </a:bodyPr>
          <a:lstStyle/>
          <a:p>
            <a:pPr algn="ctr"/>
            <a:r>
              <a:rPr lang="en-US" sz="2212" b="1" dirty="0">
                <a:solidFill>
                  <a:schemeClr val="accent5"/>
                </a:solidFill>
                <a:latin typeface="Lato Regular"/>
                <a:cs typeface="Lato Regular"/>
              </a:rPr>
              <a:t>4</a:t>
            </a:r>
          </a:p>
        </p:txBody>
      </p:sp>
      <p:sp>
        <p:nvSpPr>
          <p:cNvPr id="106" name="TextBox 105"/>
          <p:cNvSpPr txBox="1"/>
          <p:nvPr/>
        </p:nvSpPr>
        <p:spPr>
          <a:xfrm>
            <a:off x="8597743" y="3917280"/>
            <a:ext cx="640080" cy="640080"/>
          </a:xfrm>
          <a:prstGeom prst="ellipse">
            <a:avLst/>
          </a:prstGeom>
          <a:noFill/>
          <a:ln w="34925">
            <a:solidFill>
              <a:schemeClr val="accent6"/>
            </a:solidFill>
          </a:ln>
        </p:spPr>
        <p:txBody>
          <a:bodyPr wrap="none" lIns="96289" tIns="48145" rIns="96289" bIns="48145" rtlCol="0">
            <a:noAutofit/>
          </a:bodyPr>
          <a:lstStyle/>
          <a:p>
            <a:pPr algn="ctr"/>
            <a:r>
              <a:rPr lang="en-US" sz="2212" b="1" dirty="0" smtClean="0">
                <a:solidFill>
                  <a:schemeClr val="accent5"/>
                </a:solidFill>
                <a:latin typeface="Lato Regular"/>
                <a:cs typeface="Lato Regular"/>
              </a:rPr>
              <a:t>9</a:t>
            </a:r>
            <a:endParaRPr lang="en-US" sz="2212" b="1" dirty="0">
              <a:solidFill>
                <a:schemeClr val="accent5"/>
              </a:solidFill>
              <a:latin typeface="Lato Regular"/>
              <a:cs typeface="Lato Regular"/>
            </a:endParaRPr>
          </a:p>
        </p:txBody>
      </p:sp>
      <p:sp>
        <p:nvSpPr>
          <p:cNvPr id="109" name="TextBox 108"/>
          <p:cNvSpPr txBox="1"/>
          <p:nvPr/>
        </p:nvSpPr>
        <p:spPr>
          <a:xfrm>
            <a:off x="6100605" y="1647927"/>
            <a:ext cx="640080" cy="640080"/>
          </a:xfrm>
          <a:prstGeom prst="ellipse">
            <a:avLst/>
          </a:prstGeom>
          <a:noFill/>
          <a:ln w="34925">
            <a:solidFill>
              <a:schemeClr val="accent6"/>
            </a:solidFill>
          </a:ln>
        </p:spPr>
        <p:txBody>
          <a:bodyPr wrap="none" lIns="96289" tIns="48145" rIns="96289" bIns="48145" rtlCol="0">
            <a:noAutofit/>
          </a:bodyPr>
          <a:lstStyle/>
          <a:p>
            <a:pPr algn="ctr"/>
            <a:r>
              <a:rPr lang="en-US" sz="2212" b="1" dirty="0">
                <a:solidFill>
                  <a:schemeClr val="accent5"/>
                </a:solidFill>
                <a:latin typeface="Lato Regular"/>
                <a:cs typeface="Lato Regular"/>
              </a:rPr>
              <a:t>3</a:t>
            </a:r>
          </a:p>
        </p:txBody>
      </p:sp>
      <p:sp>
        <p:nvSpPr>
          <p:cNvPr id="110" name="TextBox 109"/>
          <p:cNvSpPr txBox="1"/>
          <p:nvPr/>
        </p:nvSpPr>
        <p:spPr>
          <a:xfrm>
            <a:off x="6100605" y="3917280"/>
            <a:ext cx="640080" cy="640080"/>
          </a:xfrm>
          <a:prstGeom prst="ellipse">
            <a:avLst/>
          </a:prstGeom>
          <a:noFill/>
          <a:ln w="34925">
            <a:solidFill>
              <a:schemeClr val="accent6"/>
            </a:solidFill>
          </a:ln>
        </p:spPr>
        <p:txBody>
          <a:bodyPr wrap="none" lIns="96289" tIns="48145" rIns="96289" bIns="48145" rtlCol="0">
            <a:noAutofit/>
          </a:bodyPr>
          <a:lstStyle/>
          <a:p>
            <a:pPr algn="ctr"/>
            <a:r>
              <a:rPr lang="en-US" sz="2212" b="1" dirty="0" smtClean="0">
                <a:solidFill>
                  <a:schemeClr val="accent5"/>
                </a:solidFill>
                <a:latin typeface="Lato Regular"/>
                <a:cs typeface="Lato Regular"/>
              </a:rPr>
              <a:t>8</a:t>
            </a:r>
            <a:endParaRPr lang="en-US" sz="2212" b="1" dirty="0">
              <a:solidFill>
                <a:schemeClr val="accent5"/>
              </a:solidFill>
              <a:latin typeface="Lato Regular"/>
              <a:cs typeface="Lato Regular"/>
            </a:endParaRPr>
          </a:p>
        </p:txBody>
      </p:sp>
      <p:sp>
        <p:nvSpPr>
          <p:cNvPr id="2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76_84 83_84 115_84 118_84 133_84 136_84 139_84 144_84 147_84 80_84</a:t>
            </a:r>
            <a:endParaRPr lang="en-US" sz="100" dirty="0" err="1" smtClean="0">
              <a:solidFill>
                <a:srgbClr val="FFFFFF"/>
              </a:solidFill>
            </a:endParaRPr>
          </a:p>
        </p:txBody>
      </p:sp>
    </p:spTree>
    <p:extLst>
      <p:ext uri="{BB962C8B-B14F-4D97-AF65-F5344CB8AC3E}">
        <p14:creationId xmlns:p14="http://schemas.microsoft.com/office/powerpoint/2010/main" val="1378514744"/>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0" name="Straight Connector 279"/>
          <p:cNvCxnSpPr/>
          <p:nvPr/>
        </p:nvCxnSpPr>
        <p:spPr>
          <a:xfrm>
            <a:off x="4256932" y="1957830"/>
            <a:ext cx="0" cy="2346579"/>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a:off x="8423808" y="1957830"/>
            <a:ext cx="0" cy="2346579"/>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0" name="TextBox 30"/>
          <p:cNvSpPr txBox="1">
            <a:spLocks noChangeArrowheads="1"/>
          </p:cNvSpPr>
          <p:nvPr/>
        </p:nvSpPr>
        <p:spPr bwMode="auto">
          <a:xfrm>
            <a:off x="355600" y="3219648"/>
            <a:ext cx="3806296" cy="10650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r>
              <a:rPr lang="en-US" sz="1264" dirty="0">
                <a:latin typeface="+mn-lt"/>
                <a:ea typeface="Open Sans Light" panose="020B0306030504020204" pitchFamily="34" charset="0"/>
                <a:cs typeface="Calibri Light"/>
              </a:rPr>
              <a:t>Lorem Ipsum has two main data statistical this methodologies.</a:t>
            </a:r>
          </a:p>
          <a:p>
            <a:endParaRPr lang="en-US" sz="1264" dirty="0">
              <a:latin typeface="+mn-lt"/>
              <a:ea typeface="Open Sans Light" panose="020B0306030504020204" pitchFamily="34" charset="0"/>
              <a:cs typeface="Calibri Light"/>
            </a:endParaRPr>
          </a:p>
          <a:p>
            <a:r>
              <a:rPr lang="en-US" sz="1264" b="1" dirty="0">
                <a:latin typeface="+mn-lt"/>
                <a:ea typeface="Open Sans Light" panose="020B0306030504020204" pitchFamily="34" charset="0"/>
                <a:cs typeface="Lato Regular"/>
              </a:rPr>
              <a:t>Data analysis </a:t>
            </a:r>
            <a:r>
              <a:rPr lang="en-US" sz="1264" dirty="0">
                <a:latin typeface="+mn-lt"/>
                <a:ea typeface="Open Sans Light" panose="020B0306030504020204" pitchFamily="34" charset="0"/>
                <a:cs typeface="Calibri Light"/>
              </a:rPr>
              <a:t>which summarizes data. </a:t>
            </a:r>
            <a:r>
              <a:rPr lang="pt-BR" sz="1264" dirty="0">
                <a:latin typeface="+mn-lt"/>
                <a:cs typeface="Calibri Light"/>
              </a:rPr>
              <a:t>sed an graecie prompta invenire, in gubergreno</a:t>
            </a:r>
            <a:endParaRPr lang="en-US" sz="1264" dirty="0">
              <a:latin typeface="+mn-lt"/>
              <a:ea typeface="Open Sans Light" panose="020B0306030504020204" pitchFamily="34" charset="0"/>
              <a:cs typeface="Calibri Light"/>
            </a:endParaRPr>
          </a:p>
        </p:txBody>
      </p:sp>
      <p:sp>
        <p:nvSpPr>
          <p:cNvPr id="241" name="TextBox 30"/>
          <p:cNvSpPr txBox="1">
            <a:spLocks noChangeArrowheads="1"/>
          </p:cNvSpPr>
          <p:nvPr/>
        </p:nvSpPr>
        <p:spPr bwMode="auto">
          <a:xfrm>
            <a:off x="4517497" y="3219648"/>
            <a:ext cx="3806296" cy="10650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r>
              <a:rPr lang="en-US" sz="1264" dirty="0">
                <a:latin typeface="+mn-lt"/>
                <a:ea typeface="Open Sans Light" panose="020B0306030504020204" pitchFamily="34" charset="0"/>
                <a:cs typeface="Calibri Light"/>
              </a:rPr>
              <a:t>Lorem Ipsum has two main data statistical this methodologies.</a:t>
            </a:r>
          </a:p>
          <a:p>
            <a:endParaRPr lang="en-US" sz="1264" dirty="0">
              <a:latin typeface="+mn-lt"/>
              <a:ea typeface="Open Sans Light" panose="020B0306030504020204" pitchFamily="34" charset="0"/>
              <a:cs typeface="Calibri Light"/>
            </a:endParaRPr>
          </a:p>
          <a:p>
            <a:r>
              <a:rPr lang="en-US" sz="1264" b="1" dirty="0">
                <a:latin typeface="+mn-lt"/>
                <a:ea typeface="Open Sans Light" panose="020B0306030504020204" pitchFamily="34" charset="0"/>
                <a:cs typeface="Lato Regular"/>
              </a:rPr>
              <a:t>Data analysis </a:t>
            </a:r>
            <a:r>
              <a:rPr lang="en-US" sz="1264" dirty="0">
                <a:latin typeface="+mn-lt"/>
                <a:ea typeface="Open Sans Light" panose="020B0306030504020204" pitchFamily="34" charset="0"/>
                <a:cs typeface="Calibri Light"/>
              </a:rPr>
              <a:t>which summarizes data. </a:t>
            </a:r>
            <a:r>
              <a:rPr lang="pt-BR" sz="1264" dirty="0">
                <a:latin typeface="+mn-lt"/>
                <a:cs typeface="Calibri Light"/>
              </a:rPr>
              <a:t>sed an graecie prompta invenire, in gubergreno</a:t>
            </a:r>
            <a:endParaRPr lang="en-US" sz="1264" dirty="0">
              <a:latin typeface="+mn-lt"/>
              <a:ea typeface="Open Sans Light" panose="020B0306030504020204" pitchFamily="34" charset="0"/>
              <a:cs typeface="Calibri Light"/>
            </a:endParaRPr>
          </a:p>
        </p:txBody>
      </p:sp>
      <p:sp>
        <p:nvSpPr>
          <p:cNvPr id="242" name="TextBox 30"/>
          <p:cNvSpPr txBox="1">
            <a:spLocks noChangeArrowheads="1"/>
          </p:cNvSpPr>
          <p:nvPr/>
        </p:nvSpPr>
        <p:spPr bwMode="auto">
          <a:xfrm>
            <a:off x="8679392" y="3219648"/>
            <a:ext cx="3806296" cy="10650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r>
              <a:rPr lang="en-US" sz="1264" dirty="0">
                <a:latin typeface="+mn-lt"/>
                <a:ea typeface="Open Sans Light" panose="020B0306030504020204" pitchFamily="34" charset="0"/>
                <a:cs typeface="Calibri Light"/>
              </a:rPr>
              <a:t>Lorem Ipsum has two main data statistical this methodologies.</a:t>
            </a:r>
          </a:p>
          <a:p>
            <a:endParaRPr lang="en-US" sz="1264" dirty="0">
              <a:latin typeface="+mn-lt"/>
              <a:ea typeface="Open Sans Light" panose="020B0306030504020204" pitchFamily="34" charset="0"/>
              <a:cs typeface="Calibri Light"/>
            </a:endParaRPr>
          </a:p>
          <a:p>
            <a:r>
              <a:rPr lang="en-US" sz="1264" b="1" dirty="0">
                <a:latin typeface="+mn-lt"/>
                <a:ea typeface="Open Sans Light" panose="020B0306030504020204" pitchFamily="34" charset="0"/>
                <a:cs typeface="Lato Regular"/>
              </a:rPr>
              <a:t>Data analysis </a:t>
            </a:r>
            <a:r>
              <a:rPr lang="en-US" sz="1264" dirty="0">
                <a:latin typeface="+mn-lt"/>
                <a:ea typeface="Open Sans Light" panose="020B0306030504020204" pitchFamily="34" charset="0"/>
                <a:cs typeface="Calibri Light"/>
              </a:rPr>
              <a:t>which summarizes data. </a:t>
            </a:r>
            <a:r>
              <a:rPr lang="pt-BR" sz="1264" dirty="0">
                <a:latin typeface="+mn-lt"/>
                <a:cs typeface="Calibri Light"/>
              </a:rPr>
              <a:t>sed an graecie prompta invenire, in gubergreno</a:t>
            </a:r>
            <a:endParaRPr lang="en-US" sz="1264" dirty="0">
              <a:latin typeface="+mn-lt"/>
              <a:ea typeface="Open Sans Light" panose="020B0306030504020204" pitchFamily="34" charset="0"/>
              <a:cs typeface="Calibri Light"/>
            </a:endParaRPr>
          </a:p>
        </p:txBody>
      </p:sp>
      <p:grpSp>
        <p:nvGrpSpPr>
          <p:cNvPr id="8" name="Group 7"/>
          <p:cNvGrpSpPr/>
          <p:nvPr>
            <p:custDataLst>
              <p:tags r:id="rId1"/>
            </p:custDataLst>
          </p:nvPr>
        </p:nvGrpSpPr>
        <p:grpSpPr>
          <a:xfrm>
            <a:off x="1319586" y="1691824"/>
            <a:ext cx="2009509" cy="1329681"/>
            <a:chOff x="2524894" y="1959403"/>
            <a:chExt cx="2009509" cy="1329681"/>
          </a:xfrm>
        </p:grpSpPr>
        <p:sp>
          <p:nvSpPr>
            <p:cNvPr id="243" name="TextBox 31"/>
            <p:cNvSpPr txBox="1">
              <a:spLocks noChangeArrowheads="1"/>
            </p:cNvSpPr>
            <p:nvPr/>
          </p:nvSpPr>
          <p:spPr bwMode="auto">
            <a:xfrm>
              <a:off x="2524894" y="2780382"/>
              <a:ext cx="2005678" cy="457048"/>
            </a:xfrm>
            <a:prstGeom prst="rect">
              <a:avLst/>
            </a:prstGeom>
            <a:no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id-ID" sz="2370" b="1" dirty="0">
                  <a:solidFill>
                    <a:srgbClr val="41B5E8"/>
                  </a:solidFill>
                  <a:latin typeface="Lato Regular"/>
                  <a:cs typeface="Lato Regular"/>
                </a:rPr>
                <a:t>LIVESTRONG</a:t>
              </a:r>
            </a:p>
          </p:txBody>
        </p:sp>
        <p:sp>
          <p:nvSpPr>
            <p:cNvPr id="244" name="Rounded Rectangle 243"/>
            <p:cNvSpPr/>
            <p:nvPr/>
          </p:nvSpPr>
          <p:spPr>
            <a:xfrm>
              <a:off x="2530055" y="3231300"/>
              <a:ext cx="2004348" cy="57784"/>
            </a:xfrm>
            <a:prstGeom prst="roundRect">
              <a:avLst>
                <a:gd name="adj" fmla="val 50000"/>
              </a:avLst>
            </a:prstGeom>
            <a:solidFill>
              <a:srgbClr val="41B5E8"/>
            </a:solidFill>
            <a:ln>
              <a:noFill/>
            </a:ln>
          </p:spPr>
          <p:style>
            <a:lnRef idx="2">
              <a:schemeClr val="accent1">
                <a:shade val="50000"/>
              </a:schemeClr>
            </a:lnRef>
            <a:fillRef idx="1">
              <a:schemeClr val="accent1"/>
            </a:fillRef>
            <a:effectRef idx="0">
              <a:schemeClr val="accent1"/>
            </a:effectRef>
            <a:fontRef idx="minor">
              <a:schemeClr val="lt1"/>
            </a:fontRef>
          </p:style>
          <p:txBody>
            <a:bodyPr lIns="115551" tIns="57776" rIns="115551" bIns="57776" rtlCol="0" anchor="ctr"/>
            <a:lstStyle/>
            <a:p>
              <a:pPr algn="ctr"/>
              <a:endParaRPr lang="bg-BG" sz="948" dirty="0">
                <a:latin typeface="Calibri Light"/>
              </a:endParaRPr>
            </a:p>
          </p:txBody>
        </p:sp>
        <p:sp>
          <p:nvSpPr>
            <p:cNvPr id="166" name="Freeform 74"/>
            <p:cNvSpPr>
              <a:spLocks noChangeArrowheads="1"/>
            </p:cNvSpPr>
            <p:nvPr/>
          </p:nvSpPr>
          <p:spPr bwMode="auto">
            <a:xfrm>
              <a:off x="3130672" y="1959403"/>
              <a:ext cx="758887" cy="672156"/>
            </a:xfrm>
            <a:custGeom>
              <a:avLst/>
              <a:gdLst>
                <a:gd name="T0" fmla="*/ 451 w 461"/>
                <a:gd name="T1" fmla="*/ 213 h 409"/>
                <a:gd name="T2" fmla="*/ 451 w 461"/>
                <a:gd name="T3" fmla="*/ 213 h 409"/>
                <a:gd name="T4" fmla="*/ 247 w 461"/>
                <a:gd name="T5" fmla="*/ 17 h 409"/>
                <a:gd name="T6" fmla="*/ 212 w 461"/>
                <a:gd name="T7" fmla="*/ 17 h 409"/>
                <a:gd name="T8" fmla="*/ 9 w 461"/>
                <a:gd name="T9" fmla="*/ 213 h 409"/>
                <a:gd name="T10" fmla="*/ 18 w 461"/>
                <a:gd name="T11" fmla="*/ 230 h 409"/>
                <a:gd name="T12" fmla="*/ 62 w 461"/>
                <a:gd name="T13" fmla="*/ 230 h 409"/>
                <a:gd name="T14" fmla="*/ 62 w 461"/>
                <a:gd name="T15" fmla="*/ 390 h 409"/>
                <a:gd name="T16" fmla="*/ 79 w 461"/>
                <a:gd name="T17" fmla="*/ 408 h 409"/>
                <a:gd name="T18" fmla="*/ 177 w 461"/>
                <a:gd name="T19" fmla="*/ 408 h 409"/>
                <a:gd name="T20" fmla="*/ 177 w 461"/>
                <a:gd name="T21" fmla="*/ 248 h 409"/>
                <a:gd name="T22" fmla="*/ 283 w 461"/>
                <a:gd name="T23" fmla="*/ 248 h 409"/>
                <a:gd name="T24" fmla="*/ 283 w 461"/>
                <a:gd name="T25" fmla="*/ 408 h 409"/>
                <a:gd name="T26" fmla="*/ 381 w 461"/>
                <a:gd name="T27" fmla="*/ 408 h 409"/>
                <a:gd name="T28" fmla="*/ 398 w 461"/>
                <a:gd name="T29" fmla="*/ 390 h 409"/>
                <a:gd name="T30" fmla="*/ 398 w 461"/>
                <a:gd name="T31" fmla="*/ 230 h 409"/>
                <a:gd name="T32" fmla="*/ 443 w 461"/>
                <a:gd name="T33" fmla="*/ 230 h 409"/>
                <a:gd name="T34" fmla="*/ 451 w 461"/>
                <a:gd name="T35" fmla="*/ 213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1" h="409">
                  <a:moveTo>
                    <a:pt x="451" y="213"/>
                  </a:moveTo>
                  <a:lnTo>
                    <a:pt x="451" y="213"/>
                  </a:lnTo>
                  <a:cubicBezTo>
                    <a:pt x="247" y="17"/>
                    <a:pt x="247" y="17"/>
                    <a:pt x="247" y="17"/>
                  </a:cubicBezTo>
                  <a:cubicBezTo>
                    <a:pt x="238" y="0"/>
                    <a:pt x="221" y="0"/>
                    <a:pt x="212" y="17"/>
                  </a:cubicBezTo>
                  <a:cubicBezTo>
                    <a:pt x="9" y="213"/>
                    <a:pt x="9" y="213"/>
                    <a:pt x="9" y="213"/>
                  </a:cubicBezTo>
                  <a:cubicBezTo>
                    <a:pt x="0" y="221"/>
                    <a:pt x="9" y="230"/>
                    <a:pt x="18" y="230"/>
                  </a:cubicBezTo>
                  <a:cubicBezTo>
                    <a:pt x="62" y="230"/>
                    <a:pt x="62" y="230"/>
                    <a:pt x="62" y="230"/>
                  </a:cubicBezTo>
                  <a:cubicBezTo>
                    <a:pt x="62" y="390"/>
                    <a:pt x="62" y="390"/>
                    <a:pt x="62" y="390"/>
                  </a:cubicBezTo>
                  <a:cubicBezTo>
                    <a:pt x="62" y="399"/>
                    <a:pt x="62" y="408"/>
                    <a:pt x="79" y="408"/>
                  </a:cubicBezTo>
                  <a:cubicBezTo>
                    <a:pt x="177" y="408"/>
                    <a:pt x="177" y="408"/>
                    <a:pt x="177" y="408"/>
                  </a:cubicBezTo>
                  <a:cubicBezTo>
                    <a:pt x="177" y="248"/>
                    <a:pt x="177" y="248"/>
                    <a:pt x="177" y="248"/>
                  </a:cubicBezTo>
                  <a:cubicBezTo>
                    <a:pt x="283" y="248"/>
                    <a:pt x="283" y="248"/>
                    <a:pt x="283" y="248"/>
                  </a:cubicBezTo>
                  <a:cubicBezTo>
                    <a:pt x="283" y="408"/>
                    <a:pt x="283" y="408"/>
                    <a:pt x="283" y="408"/>
                  </a:cubicBezTo>
                  <a:cubicBezTo>
                    <a:pt x="381" y="408"/>
                    <a:pt x="381" y="408"/>
                    <a:pt x="381" y="408"/>
                  </a:cubicBezTo>
                  <a:cubicBezTo>
                    <a:pt x="398" y="408"/>
                    <a:pt x="398" y="399"/>
                    <a:pt x="398" y="390"/>
                  </a:cubicBezTo>
                  <a:cubicBezTo>
                    <a:pt x="398" y="230"/>
                    <a:pt x="398" y="230"/>
                    <a:pt x="398" y="230"/>
                  </a:cubicBezTo>
                  <a:cubicBezTo>
                    <a:pt x="443" y="230"/>
                    <a:pt x="443" y="230"/>
                    <a:pt x="443" y="230"/>
                  </a:cubicBezTo>
                  <a:cubicBezTo>
                    <a:pt x="451" y="230"/>
                    <a:pt x="460" y="221"/>
                    <a:pt x="451" y="213"/>
                  </a:cubicBezTo>
                </a:path>
              </a:pathLst>
            </a:custGeom>
            <a:solidFill>
              <a:srgbClr val="41B5E8"/>
            </a:solidFill>
            <a:ln>
              <a:noFill/>
            </a:ln>
            <a:effectLst/>
            <a:extLst/>
          </p:spPr>
          <p:txBody>
            <a:bodyPr wrap="none" anchor="ctr"/>
            <a:lstStyle/>
            <a:p>
              <a:endParaRPr lang="en-US" sz="948" dirty="0">
                <a:latin typeface="Calibri Light"/>
              </a:endParaRPr>
            </a:p>
          </p:txBody>
        </p:sp>
      </p:grpSp>
      <p:grpSp>
        <p:nvGrpSpPr>
          <p:cNvPr id="9" name="Group 8"/>
          <p:cNvGrpSpPr/>
          <p:nvPr>
            <p:custDataLst>
              <p:tags r:id="rId2"/>
            </p:custDataLst>
          </p:nvPr>
        </p:nvGrpSpPr>
        <p:grpSpPr>
          <a:xfrm>
            <a:off x="5418471" y="1671987"/>
            <a:ext cx="2004348" cy="1369355"/>
            <a:chOff x="5430707" y="1935936"/>
            <a:chExt cx="2004348" cy="1369355"/>
          </a:xfrm>
        </p:grpSpPr>
        <p:sp>
          <p:nvSpPr>
            <p:cNvPr id="245" name="TextBox 31"/>
            <p:cNvSpPr txBox="1">
              <a:spLocks noChangeArrowheads="1"/>
            </p:cNvSpPr>
            <p:nvPr/>
          </p:nvSpPr>
          <p:spPr bwMode="auto">
            <a:xfrm>
              <a:off x="5706086" y="2796589"/>
              <a:ext cx="1452642" cy="457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id-ID" sz="2370" b="1" dirty="0">
                  <a:solidFill>
                    <a:srgbClr val="41B5E8"/>
                  </a:solidFill>
                  <a:latin typeface="Lato Regular"/>
                  <a:cs typeface="Lato Regular"/>
                </a:rPr>
                <a:t>RECYCLE</a:t>
              </a:r>
            </a:p>
          </p:txBody>
        </p:sp>
        <p:sp>
          <p:nvSpPr>
            <p:cNvPr id="246" name="Rounded Rectangle 245"/>
            <p:cNvSpPr/>
            <p:nvPr/>
          </p:nvSpPr>
          <p:spPr>
            <a:xfrm>
              <a:off x="5430707" y="3247507"/>
              <a:ext cx="2004348" cy="57784"/>
            </a:xfrm>
            <a:prstGeom prst="roundRect">
              <a:avLst>
                <a:gd name="adj" fmla="val 50000"/>
              </a:avLst>
            </a:prstGeom>
            <a:solidFill>
              <a:srgbClr val="41B5E8"/>
            </a:solidFill>
            <a:ln>
              <a:noFill/>
            </a:ln>
          </p:spPr>
          <p:style>
            <a:lnRef idx="2">
              <a:schemeClr val="accent1">
                <a:shade val="50000"/>
              </a:schemeClr>
            </a:lnRef>
            <a:fillRef idx="1">
              <a:schemeClr val="accent1"/>
            </a:fillRef>
            <a:effectRef idx="0">
              <a:schemeClr val="accent1"/>
            </a:effectRef>
            <a:fontRef idx="minor">
              <a:schemeClr val="lt1"/>
            </a:fontRef>
          </p:style>
          <p:txBody>
            <a:bodyPr lIns="115551" tIns="57776" rIns="115551" bIns="57776" rtlCol="0" anchor="ctr"/>
            <a:lstStyle/>
            <a:p>
              <a:pPr algn="ctr"/>
              <a:endParaRPr lang="bg-BG" sz="948" dirty="0">
                <a:latin typeface="Calibri Light"/>
              </a:endParaRPr>
            </a:p>
          </p:txBody>
        </p:sp>
        <p:sp>
          <p:nvSpPr>
            <p:cNvPr id="167" name="Freeform 25"/>
            <p:cNvSpPr>
              <a:spLocks noEditPoints="1"/>
            </p:cNvSpPr>
            <p:nvPr/>
          </p:nvSpPr>
          <p:spPr bwMode="auto">
            <a:xfrm>
              <a:off x="6094696" y="1935936"/>
              <a:ext cx="672092" cy="715383"/>
            </a:xfrm>
            <a:custGeom>
              <a:avLst/>
              <a:gdLst>
                <a:gd name="T0" fmla="*/ 1548 w 1548"/>
                <a:gd name="T1" fmla="*/ 1327 h 1648"/>
                <a:gd name="T2" fmla="*/ 1268 w 1548"/>
                <a:gd name="T3" fmla="*/ 1408 h 1648"/>
                <a:gd name="T4" fmla="*/ 1186 w 1548"/>
                <a:gd name="T5" fmla="*/ 1129 h 1648"/>
                <a:gd name="T6" fmla="*/ 1307 w 1548"/>
                <a:gd name="T7" fmla="*/ 1195 h 1648"/>
                <a:gd name="T8" fmla="*/ 1388 w 1548"/>
                <a:gd name="T9" fmla="*/ 893 h 1648"/>
                <a:gd name="T10" fmla="*/ 1018 w 1548"/>
                <a:gd name="T11" fmla="*/ 327 h 1648"/>
                <a:gd name="T12" fmla="*/ 1061 w 1548"/>
                <a:gd name="T13" fmla="*/ 195 h 1648"/>
                <a:gd name="T14" fmla="*/ 1526 w 1548"/>
                <a:gd name="T15" fmla="*/ 893 h 1648"/>
                <a:gd name="T16" fmla="*/ 1428 w 1548"/>
                <a:gd name="T17" fmla="*/ 1261 h 1648"/>
                <a:gd name="T18" fmla="*/ 1548 w 1548"/>
                <a:gd name="T19" fmla="*/ 1327 h 1648"/>
                <a:gd name="T20" fmla="*/ 770 w 1548"/>
                <a:gd name="T21" fmla="*/ 1511 h 1648"/>
                <a:gd name="T22" fmla="*/ 235 w 1548"/>
                <a:gd name="T23" fmla="*/ 1200 h 1648"/>
                <a:gd name="T24" fmla="*/ 357 w 1548"/>
                <a:gd name="T25" fmla="*/ 1130 h 1648"/>
                <a:gd name="T26" fmla="*/ 75 w 1548"/>
                <a:gd name="T27" fmla="*/ 1055 h 1648"/>
                <a:gd name="T28" fmla="*/ 0 w 1548"/>
                <a:gd name="T29" fmla="*/ 1336 h 1648"/>
                <a:gd name="T30" fmla="*/ 116 w 1548"/>
                <a:gd name="T31" fmla="*/ 1269 h 1648"/>
                <a:gd name="T32" fmla="*/ 770 w 1548"/>
                <a:gd name="T33" fmla="*/ 1648 h 1648"/>
                <a:gd name="T34" fmla="*/ 1180 w 1548"/>
                <a:gd name="T35" fmla="*/ 1527 h 1648"/>
                <a:gd name="T36" fmla="*/ 1095 w 1548"/>
                <a:gd name="T37" fmla="*/ 1418 h 1648"/>
                <a:gd name="T38" fmla="*/ 770 w 1548"/>
                <a:gd name="T39" fmla="*/ 1511 h 1648"/>
                <a:gd name="T40" fmla="*/ 153 w 1548"/>
                <a:gd name="T41" fmla="*/ 901 h 1648"/>
                <a:gd name="T42" fmla="*/ 152 w 1548"/>
                <a:gd name="T43" fmla="*/ 893 h 1648"/>
                <a:gd name="T44" fmla="*/ 702 w 1548"/>
                <a:gd name="T45" fmla="*/ 279 h 1648"/>
                <a:gd name="T46" fmla="*/ 702 w 1548"/>
                <a:gd name="T47" fmla="*/ 412 h 1648"/>
                <a:gd name="T48" fmla="*/ 908 w 1548"/>
                <a:gd name="T49" fmla="*/ 206 h 1648"/>
                <a:gd name="T50" fmla="*/ 702 w 1548"/>
                <a:gd name="T51" fmla="*/ 0 h 1648"/>
                <a:gd name="T52" fmla="*/ 702 w 1548"/>
                <a:gd name="T53" fmla="*/ 141 h 1648"/>
                <a:gd name="T54" fmla="*/ 15 w 1548"/>
                <a:gd name="T55" fmla="*/ 893 h 1648"/>
                <a:gd name="T56" fmla="*/ 16 w 1548"/>
                <a:gd name="T57" fmla="*/ 920 h 1648"/>
                <a:gd name="T58" fmla="*/ 153 w 1548"/>
                <a:gd name="T59" fmla="*/ 901 h 1648"/>
                <a:gd name="T60" fmla="*/ 573 w 1548"/>
                <a:gd name="T61" fmla="*/ 862 h 1648"/>
                <a:gd name="T62" fmla="*/ 602 w 1548"/>
                <a:gd name="T63" fmla="*/ 1039 h 1648"/>
                <a:gd name="T64" fmla="*/ 860 w 1548"/>
                <a:gd name="T65" fmla="*/ 830 h 1648"/>
                <a:gd name="T66" fmla="*/ 592 w 1548"/>
                <a:gd name="T67" fmla="*/ 1305 h 1648"/>
                <a:gd name="T68" fmla="*/ 661 w 1548"/>
                <a:gd name="T69" fmla="*/ 1305 h 1648"/>
                <a:gd name="T70" fmla="*/ 695 w 1548"/>
                <a:gd name="T71" fmla="*/ 1103 h 1648"/>
                <a:gd name="T72" fmla="*/ 887 w 1548"/>
                <a:gd name="T73" fmla="*/ 1061 h 1648"/>
                <a:gd name="T74" fmla="*/ 1170 w 1548"/>
                <a:gd name="T75" fmla="*/ 679 h 1648"/>
                <a:gd name="T76" fmla="*/ 573 w 1548"/>
                <a:gd name="T77" fmla="*/ 862 h 1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48" h="1648">
                  <a:moveTo>
                    <a:pt x="1548" y="1327"/>
                  </a:moveTo>
                  <a:cubicBezTo>
                    <a:pt x="1268" y="1408"/>
                    <a:pt x="1268" y="1408"/>
                    <a:pt x="1268" y="1408"/>
                  </a:cubicBezTo>
                  <a:cubicBezTo>
                    <a:pt x="1186" y="1129"/>
                    <a:pt x="1186" y="1129"/>
                    <a:pt x="1186" y="1129"/>
                  </a:cubicBezTo>
                  <a:cubicBezTo>
                    <a:pt x="1307" y="1195"/>
                    <a:pt x="1307" y="1195"/>
                    <a:pt x="1307" y="1195"/>
                  </a:cubicBezTo>
                  <a:cubicBezTo>
                    <a:pt x="1358" y="1105"/>
                    <a:pt x="1388" y="1003"/>
                    <a:pt x="1388" y="893"/>
                  </a:cubicBezTo>
                  <a:cubicBezTo>
                    <a:pt x="1388" y="640"/>
                    <a:pt x="1236" y="422"/>
                    <a:pt x="1018" y="327"/>
                  </a:cubicBezTo>
                  <a:cubicBezTo>
                    <a:pt x="1061" y="195"/>
                    <a:pt x="1061" y="195"/>
                    <a:pt x="1061" y="195"/>
                  </a:cubicBezTo>
                  <a:cubicBezTo>
                    <a:pt x="1334" y="309"/>
                    <a:pt x="1526" y="578"/>
                    <a:pt x="1526" y="893"/>
                  </a:cubicBezTo>
                  <a:cubicBezTo>
                    <a:pt x="1526" y="1027"/>
                    <a:pt x="1490" y="1152"/>
                    <a:pt x="1428" y="1261"/>
                  </a:cubicBezTo>
                  <a:lnTo>
                    <a:pt x="1548" y="1327"/>
                  </a:lnTo>
                  <a:close/>
                  <a:moveTo>
                    <a:pt x="770" y="1511"/>
                  </a:moveTo>
                  <a:cubicBezTo>
                    <a:pt x="542" y="1511"/>
                    <a:pt x="342" y="1385"/>
                    <a:pt x="235" y="1200"/>
                  </a:cubicBezTo>
                  <a:cubicBezTo>
                    <a:pt x="357" y="1130"/>
                    <a:pt x="357" y="1130"/>
                    <a:pt x="357" y="1130"/>
                  </a:cubicBezTo>
                  <a:cubicBezTo>
                    <a:pt x="75" y="1055"/>
                    <a:pt x="75" y="1055"/>
                    <a:pt x="75" y="1055"/>
                  </a:cubicBezTo>
                  <a:cubicBezTo>
                    <a:pt x="0" y="1336"/>
                    <a:pt x="0" y="1336"/>
                    <a:pt x="0" y="1336"/>
                  </a:cubicBezTo>
                  <a:cubicBezTo>
                    <a:pt x="116" y="1269"/>
                    <a:pt x="116" y="1269"/>
                    <a:pt x="116" y="1269"/>
                  </a:cubicBezTo>
                  <a:cubicBezTo>
                    <a:pt x="247" y="1495"/>
                    <a:pt x="490" y="1648"/>
                    <a:pt x="770" y="1648"/>
                  </a:cubicBezTo>
                  <a:cubicBezTo>
                    <a:pt x="922" y="1648"/>
                    <a:pt x="1062" y="1603"/>
                    <a:pt x="1180" y="1527"/>
                  </a:cubicBezTo>
                  <a:cubicBezTo>
                    <a:pt x="1095" y="1418"/>
                    <a:pt x="1095" y="1418"/>
                    <a:pt x="1095" y="1418"/>
                  </a:cubicBezTo>
                  <a:cubicBezTo>
                    <a:pt x="1001" y="1476"/>
                    <a:pt x="890" y="1511"/>
                    <a:pt x="770" y="1511"/>
                  </a:cubicBezTo>
                  <a:close/>
                  <a:moveTo>
                    <a:pt x="153" y="901"/>
                  </a:moveTo>
                  <a:cubicBezTo>
                    <a:pt x="153" y="898"/>
                    <a:pt x="152" y="896"/>
                    <a:pt x="152" y="893"/>
                  </a:cubicBezTo>
                  <a:cubicBezTo>
                    <a:pt x="152" y="575"/>
                    <a:pt x="393" y="314"/>
                    <a:pt x="702" y="279"/>
                  </a:cubicBezTo>
                  <a:cubicBezTo>
                    <a:pt x="702" y="412"/>
                    <a:pt x="702" y="412"/>
                    <a:pt x="702" y="412"/>
                  </a:cubicBezTo>
                  <a:cubicBezTo>
                    <a:pt x="908" y="206"/>
                    <a:pt x="908" y="206"/>
                    <a:pt x="908" y="206"/>
                  </a:cubicBezTo>
                  <a:cubicBezTo>
                    <a:pt x="702" y="0"/>
                    <a:pt x="702" y="0"/>
                    <a:pt x="702" y="0"/>
                  </a:cubicBezTo>
                  <a:cubicBezTo>
                    <a:pt x="702" y="141"/>
                    <a:pt x="702" y="141"/>
                    <a:pt x="702" y="141"/>
                  </a:cubicBezTo>
                  <a:cubicBezTo>
                    <a:pt x="317" y="175"/>
                    <a:pt x="15" y="499"/>
                    <a:pt x="15" y="893"/>
                  </a:cubicBezTo>
                  <a:cubicBezTo>
                    <a:pt x="15" y="902"/>
                    <a:pt x="16" y="911"/>
                    <a:pt x="16" y="920"/>
                  </a:cubicBezTo>
                  <a:lnTo>
                    <a:pt x="153" y="901"/>
                  </a:lnTo>
                  <a:close/>
                  <a:moveTo>
                    <a:pt x="573" y="862"/>
                  </a:moveTo>
                  <a:cubicBezTo>
                    <a:pt x="556" y="922"/>
                    <a:pt x="563" y="984"/>
                    <a:pt x="602" y="1039"/>
                  </a:cubicBezTo>
                  <a:cubicBezTo>
                    <a:pt x="664" y="947"/>
                    <a:pt x="780" y="849"/>
                    <a:pt x="860" y="830"/>
                  </a:cubicBezTo>
                  <a:cubicBezTo>
                    <a:pt x="696" y="949"/>
                    <a:pt x="604" y="1116"/>
                    <a:pt x="592" y="1305"/>
                  </a:cubicBezTo>
                  <a:cubicBezTo>
                    <a:pt x="661" y="1305"/>
                    <a:pt x="661" y="1305"/>
                    <a:pt x="661" y="1305"/>
                  </a:cubicBezTo>
                  <a:cubicBezTo>
                    <a:pt x="660" y="1233"/>
                    <a:pt x="670" y="1144"/>
                    <a:pt x="695" y="1103"/>
                  </a:cubicBezTo>
                  <a:cubicBezTo>
                    <a:pt x="758" y="1124"/>
                    <a:pt x="827" y="1112"/>
                    <a:pt x="887" y="1061"/>
                  </a:cubicBezTo>
                  <a:cubicBezTo>
                    <a:pt x="1006" y="961"/>
                    <a:pt x="961" y="708"/>
                    <a:pt x="1170" y="679"/>
                  </a:cubicBezTo>
                  <a:cubicBezTo>
                    <a:pt x="890" y="526"/>
                    <a:pt x="624" y="688"/>
                    <a:pt x="573" y="862"/>
                  </a:cubicBezTo>
                  <a:close/>
                </a:path>
              </a:pathLst>
            </a:custGeom>
            <a:solidFill>
              <a:srgbClr val="41B5E8"/>
            </a:solidFill>
            <a:ln>
              <a:noFill/>
            </a:ln>
          </p:spPr>
          <p:txBody>
            <a:bodyPr vert="horz" wrap="square" lIns="48154" tIns="24077" rIns="48154" bIns="24077" numCol="1" anchor="t" anchorCtr="0" compatLnSpc="1">
              <a:prstTxWarp prst="textNoShape">
                <a:avLst/>
              </a:prstTxWarp>
            </a:bodyPr>
            <a:lstStyle/>
            <a:p>
              <a:endParaRPr lang="bg-BG" sz="948" dirty="0">
                <a:latin typeface="Calibri Light"/>
              </a:endParaRPr>
            </a:p>
          </p:txBody>
        </p:sp>
      </p:grpSp>
      <p:grpSp>
        <p:nvGrpSpPr>
          <p:cNvPr id="10" name="Group 9"/>
          <p:cNvGrpSpPr/>
          <p:nvPr>
            <p:custDataLst>
              <p:tags r:id="rId3"/>
            </p:custDataLst>
          </p:nvPr>
        </p:nvGrpSpPr>
        <p:grpSpPr>
          <a:xfrm>
            <a:off x="9580367" y="1689587"/>
            <a:ext cx="2004348" cy="1334155"/>
            <a:chOff x="8378883" y="1971136"/>
            <a:chExt cx="2004348" cy="1334155"/>
          </a:xfrm>
        </p:grpSpPr>
        <p:sp>
          <p:nvSpPr>
            <p:cNvPr id="247" name="TextBox 31"/>
            <p:cNvSpPr txBox="1">
              <a:spLocks noChangeArrowheads="1"/>
            </p:cNvSpPr>
            <p:nvPr/>
          </p:nvSpPr>
          <p:spPr bwMode="auto">
            <a:xfrm>
              <a:off x="8624655" y="2796589"/>
              <a:ext cx="1527983" cy="457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3600">
                  <a:solidFill>
                    <a:schemeClr val="tx1"/>
                  </a:solidFill>
                  <a:latin typeface="Lato Light" charset="0"/>
                  <a:ea typeface="ＭＳ Ｐゴシック" charset="0"/>
                  <a:cs typeface="ＭＳ Ｐゴシック" charset="0"/>
                </a:defRPr>
              </a:lvl1pPr>
              <a:lvl2pPr marL="742950" indent="-285750" eaLnBrk="0" hangingPunct="0">
                <a:defRPr sz="3600">
                  <a:solidFill>
                    <a:schemeClr val="tx1"/>
                  </a:solidFill>
                  <a:latin typeface="Lato Light" charset="0"/>
                  <a:ea typeface="ＭＳ Ｐゴシック" charset="0"/>
                </a:defRPr>
              </a:lvl2pPr>
              <a:lvl3pPr marL="1143000" indent="-228600" eaLnBrk="0" hangingPunct="0">
                <a:defRPr sz="3600">
                  <a:solidFill>
                    <a:schemeClr val="tx1"/>
                  </a:solidFill>
                  <a:latin typeface="Lato Light" charset="0"/>
                  <a:ea typeface="ＭＳ Ｐゴシック" charset="0"/>
                </a:defRPr>
              </a:lvl3pPr>
              <a:lvl4pPr marL="1600200" indent="-228600" eaLnBrk="0" hangingPunct="0">
                <a:defRPr sz="3600">
                  <a:solidFill>
                    <a:schemeClr val="tx1"/>
                  </a:solidFill>
                  <a:latin typeface="Lato Light" charset="0"/>
                  <a:ea typeface="ＭＳ Ｐゴシック" charset="0"/>
                </a:defRPr>
              </a:lvl4pPr>
              <a:lvl5pPr marL="2057400" indent="-228600" eaLnBrk="0" hangingPunct="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r>
                <a:rPr lang="id-ID" sz="2370" b="1" dirty="0">
                  <a:solidFill>
                    <a:schemeClr val="accent3"/>
                  </a:solidFill>
                  <a:latin typeface="Lato Regular"/>
                  <a:cs typeface="Lato Regular"/>
                </a:rPr>
                <a:t>SUPPORT</a:t>
              </a:r>
            </a:p>
          </p:txBody>
        </p:sp>
        <p:sp>
          <p:nvSpPr>
            <p:cNvPr id="248" name="Rounded Rectangle 247"/>
            <p:cNvSpPr/>
            <p:nvPr/>
          </p:nvSpPr>
          <p:spPr>
            <a:xfrm>
              <a:off x="8378883" y="3247507"/>
              <a:ext cx="2004348" cy="57784"/>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15551" tIns="57776" rIns="115551" bIns="57776" rtlCol="0" anchor="ctr"/>
            <a:lstStyle/>
            <a:p>
              <a:pPr algn="ctr"/>
              <a:endParaRPr lang="bg-BG" sz="948" dirty="0">
                <a:latin typeface="Calibri Light"/>
              </a:endParaRPr>
            </a:p>
          </p:txBody>
        </p:sp>
        <p:sp>
          <p:nvSpPr>
            <p:cNvPr id="168" name="Freeform 102"/>
            <p:cNvSpPr>
              <a:spLocks noChangeArrowheads="1"/>
            </p:cNvSpPr>
            <p:nvPr/>
          </p:nvSpPr>
          <p:spPr bwMode="auto">
            <a:xfrm>
              <a:off x="8981065" y="1971136"/>
              <a:ext cx="752021" cy="672156"/>
            </a:xfrm>
            <a:custGeom>
              <a:avLst/>
              <a:gdLst>
                <a:gd name="T0" fmla="*/ 80 w 498"/>
                <a:gd name="T1" fmla="*/ 151 h 445"/>
                <a:gd name="T2" fmla="*/ 80 w 498"/>
                <a:gd name="T3" fmla="*/ 151 h 445"/>
                <a:gd name="T4" fmla="*/ 142 w 498"/>
                <a:gd name="T5" fmla="*/ 169 h 445"/>
                <a:gd name="T6" fmla="*/ 151 w 498"/>
                <a:gd name="T7" fmla="*/ 169 h 445"/>
                <a:gd name="T8" fmla="*/ 195 w 498"/>
                <a:gd name="T9" fmla="*/ 134 h 445"/>
                <a:gd name="T10" fmla="*/ 195 w 498"/>
                <a:gd name="T11" fmla="*/ 125 h 445"/>
                <a:gd name="T12" fmla="*/ 178 w 498"/>
                <a:gd name="T13" fmla="*/ 107 h 445"/>
                <a:gd name="T14" fmla="*/ 275 w 498"/>
                <a:gd name="T15" fmla="*/ 10 h 445"/>
                <a:gd name="T16" fmla="*/ 195 w 498"/>
                <a:gd name="T17" fmla="*/ 0 h 445"/>
                <a:gd name="T18" fmla="*/ 107 w 498"/>
                <a:gd name="T19" fmla="*/ 54 h 445"/>
                <a:gd name="T20" fmla="*/ 72 w 498"/>
                <a:gd name="T21" fmla="*/ 81 h 445"/>
                <a:gd name="T22" fmla="*/ 53 w 498"/>
                <a:gd name="T23" fmla="*/ 116 h 445"/>
                <a:gd name="T24" fmla="*/ 18 w 498"/>
                <a:gd name="T25" fmla="*/ 125 h 445"/>
                <a:gd name="T26" fmla="*/ 0 w 498"/>
                <a:gd name="T27" fmla="*/ 143 h 445"/>
                <a:gd name="T28" fmla="*/ 0 w 498"/>
                <a:gd name="T29" fmla="*/ 151 h 445"/>
                <a:gd name="T30" fmla="*/ 36 w 498"/>
                <a:gd name="T31" fmla="*/ 187 h 445"/>
                <a:gd name="T32" fmla="*/ 53 w 498"/>
                <a:gd name="T33" fmla="*/ 196 h 445"/>
                <a:gd name="T34" fmla="*/ 72 w 498"/>
                <a:gd name="T35" fmla="*/ 178 h 445"/>
                <a:gd name="T36" fmla="*/ 80 w 498"/>
                <a:gd name="T37" fmla="*/ 151 h 445"/>
                <a:gd name="T38" fmla="*/ 222 w 498"/>
                <a:gd name="T39" fmla="*/ 160 h 445"/>
                <a:gd name="T40" fmla="*/ 222 w 498"/>
                <a:gd name="T41" fmla="*/ 160 h 445"/>
                <a:gd name="T42" fmla="*/ 213 w 498"/>
                <a:gd name="T43" fmla="*/ 160 h 445"/>
                <a:gd name="T44" fmla="*/ 178 w 498"/>
                <a:gd name="T45" fmla="*/ 187 h 445"/>
                <a:gd name="T46" fmla="*/ 169 w 498"/>
                <a:gd name="T47" fmla="*/ 204 h 445"/>
                <a:gd name="T48" fmla="*/ 381 w 498"/>
                <a:gd name="T49" fmla="*/ 435 h 445"/>
                <a:gd name="T50" fmla="*/ 399 w 498"/>
                <a:gd name="T51" fmla="*/ 435 h 445"/>
                <a:gd name="T52" fmla="*/ 426 w 498"/>
                <a:gd name="T53" fmla="*/ 417 h 445"/>
                <a:gd name="T54" fmla="*/ 426 w 498"/>
                <a:gd name="T55" fmla="*/ 400 h 445"/>
                <a:gd name="T56" fmla="*/ 222 w 498"/>
                <a:gd name="T57" fmla="*/ 160 h 445"/>
                <a:gd name="T58" fmla="*/ 497 w 498"/>
                <a:gd name="T59" fmla="*/ 63 h 445"/>
                <a:gd name="T60" fmla="*/ 497 w 498"/>
                <a:gd name="T61" fmla="*/ 63 h 445"/>
                <a:gd name="T62" fmla="*/ 479 w 498"/>
                <a:gd name="T63" fmla="*/ 54 h 445"/>
                <a:gd name="T64" fmla="*/ 461 w 498"/>
                <a:gd name="T65" fmla="*/ 89 h 445"/>
                <a:gd name="T66" fmla="*/ 408 w 498"/>
                <a:gd name="T67" fmla="*/ 107 h 445"/>
                <a:gd name="T68" fmla="*/ 399 w 498"/>
                <a:gd name="T69" fmla="*/ 63 h 445"/>
                <a:gd name="T70" fmla="*/ 417 w 498"/>
                <a:gd name="T71" fmla="*/ 19 h 445"/>
                <a:gd name="T72" fmla="*/ 408 w 498"/>
                <a:gd name="T73" fmla="*/ 10 h 445"/>
                <a:gd name="T74" fmla="*/ 337 w 498"/>
                <a:gd name="T75" fmla="*/ 72 h 445"/>
                <a:gd name="T76" fmla="*/ 319 w 498"/>
                <a:gd name="T77" fmla="*/ 151 h 445"/>
                <a:gd name="T78" fmla="*/ 284 w 498"/>
                <a:gd name="T79" fmla="*/ 187 h 445"/>
                <a:gd name="T80" fmla="*/ 319 w 498"/>
                <a:gd name="T81" fmla="*/ 231 h 445"/>
                <a:gd name="T82" fmla="*/ 364 w 498"/>
                <a:gd name="T83" fmla="*/ 187 h 445"/>
                <a:gd name="T84" fmla="*/ 408 w 498"/>
                <a:gd name="T85" fmla="*/ 178 h 445"/>
                <a:gd name="T86" fmla="*/ 488 w 498"/>
                <a:gd name="T87" fmla="*/ 143 h 445"/>
                <a:gd name="T88" fmla="*/ 497 w 498"/>
                <a:gd name="T89" fmla="*/ 63 h 445"/>
                <a:gd name="T90" fmla="*/ 72 w 498"/>
                <a:gd name="T91" fmla="*/ 400 h 445"/>
                <a:gd name="T92" fmla="*/ 72 w 498"/>
                <a:gd name="T93" fmla="*/ 400 h 445"/>
                <a:gd name="T94" fmla="*/ 72 w 498"/>
                <a:gd name="T95" fmla="*/ 417 h 445"/>
                <a:gd name="T96" fmla="*/ 89 w 498"/>
                <a:gd name="T97" fmla="*/ 444 h 445"/>
                <a:gd name="T98" fmla="*/ 107 w 498"/>
                <a:gd name="T99" fmla="*/ 435 h 445"/>
                <a:gd name="T100" fmla="*/ 231 w 498"/>
                <a:gd name="T101" fmla="*/ 320 h 445"/>
                <a:gd name="T102" fmla="*/ 195 w 498"/>
                <a:gd name="T103" fmla="*/ 275 h 445"/>
                <a:gd name="T104" fmla="*/ 72 w 498"/>
                <a:gd name="T105" fmla="*/ 40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chemeClr val="accent3"/>
            </a:solidFill>
            <a:ln>
              <a:noFill/>
            </a:ln>
            <a:effectLst/>
            <a:extLst/>
          </p:spPr>
          <p:txBody>
            <a:bodyPr wrap="none" anchor="ctr"/>
            <a:lstStyle/>
            <a:p>
              <a:endParaRPr lang="en-US" sz="948" dirty="0">
                <a:latin typeface="Calibri Light"/>
              </a:endParaRPr>
            </a:p>
          </p:txBody>
        </p:sp>
      </p:grpSp>
      <p:sp>
        <p:nvSpPr>
          <p:cNvPr id="169" name="TextBox 168"/>
          <p:cNvSpPr txBox="1"/>
          <p:nvPr/>
        </p:nvSpPr>
        <p:spPr>
          <a:xfrm>
            <a:off x="355600" y="4795569"/>
            <a:ext cx="12130088" cy="819070"/>
          </a:xfrm>
          <a:prstGeom prst="rect">
            <a:avLst/>
          </a:prstGeom>
          <a:noFill/>
        </p:spPr>
        <p:txBody>
          <a:bodyPr wrap="square" rtlCol="0">
            <a:spAutoFit/>
          </a:bodyPr>
          <a:lstStyle/>
          <a:p>
            <a:pPr>
              <a:lnSpc>
                <a:spcPct val="130000"/>
              </a:lnSpc>
            </a:pPr>
            <a:r>
              <a:rPr lang="pt-BR" sz="1211" b="1" dirty="0">
                <a:cs typeface="Calibri Light"/>
              </a:rPr>
              <a:t>Lorem ipsum dolor </a:t>
            </a:r>
            <a:r>
              <a:rPr lang="pt-BR" sz="1211" dirty="0">
                <a:cs typeface="Calibri Light"/>
              </a:rPr>
              <a:t>sit amet, eos numquam accommodare et. In cibo graeco dicunt sea. Augue zril sapientem ne mei, ad suas voluptatibus eum. Tempor mediocrem imperdiet no usu, tractatos salutatus ut est. Eu vel detraxit laboramus. Cu nam unum liber audiam, sed an graeci prompta invenire, in gubergren percipitur scribentur nam. Sale omnis indoctum has ei, ne sed ludus tamquam urbanitas. Vis id illud iusto, id omnium percipitur duo.</a:t>
            </a:r>
            <a:endParaRPr lang="en-US" sz="1211" dirty="0">
              <a:cs typeface="Calibri Light"/>
            </a:endParaRPr>
          </a:p>
        </p:txBody>
      </p:sp>
      <p:sp>
        <p:nvSpPr>
          <p:cNvPr id="4" name="Title 3"/>
          <p:cNvSpPr>
            <a:spLocks noGrp="1"/>
          </p:cNvSpPr>
          <p:nvPr>
            <p:ph type="title"/>
          </p:nvPr>
        </p:nvSpPr>
        <p:spPr/>
        <p:txBody>
          <a:bodyPr/>
          <a:lstStyle/>
          <a:p>
            <a:r>
              <a:rPr lang="en-US" dirty="0" smtClean="0"/>
              <a:t>3 KEY POINTS &amp; TEXT</a:t>
            </a:r>
            <a:endParaRPr lang="en-US" dirty="0"/>
          </a:p>
        </p:txBody>
      </p:sp>
      <p:sp>
        <p:nvSpPr>
          <p:cNvPr id="1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8_84 9_84 10_84</a:t>
            </a:r>
            <a:endParaRPr lang="en-US" sz="100" dirty="0" err="1" smtClean="0">
              <a:solidFill>
                <a:srgbClr val="FFFFFF"/>
              </a:solidFill>
            </a:endParaRPr>
          </a:p>
        </p:txBody>
      </p:sp>
    </p:spTree>
    <p:extLst>
      <p:ext uri="{BB962C8B-B14F-4D97-AF65-F5344CB8AC3E}">
        <p14:creationId xmlns:p14="http://schemas.microsoft.com/office/powerpoint/2010/main" val="1874392756"/>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 name="Rectangle 221"/>
          <p:cNvSpPr/>
          <p:nvPr/>
        </p:nvSpPr>
        <p:spPr>
          <a:xfrm>
            <a:off x="938132" y="3445038"/>
            <a:ext cx="1304469" cy="319520"/>
          </a:xfrm>
          <a:prstGeom prst="rect">
            <a:avLst/>
          </a:prstGeom>
          <a:solidFill>
            <a:srgbClr val="DDDDDD"/>
          </a:solidFill>
          <a:ln>
            <a:noFill/>
          </a:ln>
          <a:effectLst/>
        </p:spPr>
        <p:style>
          <a:lnRef idx="1">
            <a:schemeClr val="accent1"/>
          </a:lnRef>
          <a:fillRef idx="3">
            <a:schemeClr val="accent1"/>
          </a:fillRef>
          <a:effectRef idx="2">
            <a:schemeClr val="accent1"/>
          </a:effectRef>
          <a:fontRef idx="minor">
            <a:schemeClr val="lt1"/>
          </a:fontRef>
        </p:style>
        <p:txBody>
          <a:bodyPr lIns="73152" tIns="9144" rIns="9144" bIns="9144" rtlCol="0" anchor="ctr"/>
          <a:lstStyle/>
          <a:p>
            <a:r>
              <a:rPr lang="en-US" sz="1264" dirty="0">
                <a:solidFill>
                  <a:srgbClr val="58595B"/>
                </a:solidFill>
                <a:cs typeface="Lato Regular"/>
              </a:rPr>
              <a:t>Web Design</a:t>
            </a:r>
          </a:p>
        </p:txBody>
      </p:sp>
      <p:sp>
        <p:nvSpPr>
          <p:cNvPr id="223" name="Subtitle 2"/>
          <p:cNvSpPr txBox="1">
            <a:spLocks/>
          </p:cNvSpPr>
          <p:nvPr/>
        </p:nvSpPr>
        <p:spPr>
          <a:xfrm>
            <a:off x="800650" y="3748404"/>
            <a:ext cx="2130823" cy="1006306"/>
          </a:xfrm>
          <a:prstGeom prst="rect">
            <a:avLst/>
          </a:prstGeom>
        </p:spPr>
        <p:txBody>
          <a:bodyPr vert="horz" lIns="128361" tIns="64179" rIns="128361" bIns="64179"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100" dirty="0">
                <a:cs typeface="Calibri Light"/>
              </a:rPr>
              <a:t>Lorem ipsum dolor sit amet, consectetur adipiscing elit. Integer pulvinar</a:t>
            </a:r>
          </a:p>
        </p:txBody>
      </p:sp>
      <p:sp>
        <p:nvSpPr>
          <p:cNvPr id="225" name="Rectangle 224"/>
          <p:cNvSpPr/>
          <p:nvPr/>
        </p:nvSpPr>
        <p:spPr>
          <a:xfrm>
            <a:off x="4735728" y="4773905"/>
            <a:ext cx="1390045" cy="319520"/>
          </a:xfrm>
          <a:prstGeom prst="rect">
            <a:avLst/>
          </a:prstGeom>
          <a:solidFill>
            <a:srgbClr val="DDDDDD"/>
          </a:solidFill>
          <a:ln>
            <a:noFill/>
          </a:ln>
          <a:effectLst/>
        </p:spPr>
        <p:style>
          <a:lnRef idx="1">
            <a:schemeClr val="accent1"/>
          </a:lnRef>
          <a:fillRef idx="3">
            <a:schemeClr val="accent1"/>
          </a:fillRef>
          <a:effectRef idx="2">
            <a:schemeClr val="accent1"/>
          </a:effectRef>
          <a:fontRef idx="minor">
            <a:schemeClr val="lt1"/>
          </a:fontRef>
        </p:style>
        <p:txBody>
          <a:bodyPr lIns="73152" tIns="9144" rIns="9144" bIns="9144" rtlCol="0" anchor="ctr"/>
          <a:lstStyle/>
          <a:p>
            <a:r>
              <a:rPr lang="en-US" sz="1264" dirty="0">
                <a:solidFill>
                  <a:srgbClr val="58595B"/>
                </a:solidFill>
                <a:cs typeface="Lato Regular"/>
              </a:rPr>
              <a:t>Multimedia</a:t>
            </a:r>
          </a:p>
        </p:txBody>
      </p:sp>
      <p:sp>
        <p:nvSpPr>
          <p:cNvPr id="226" name="Subtitle 2"/>
          <p:cNvSpPr txBox="1">
            <a:spLocks/>
          </p:cNvSpPr>
          <p:nvPr/>
        </p:nvSpPr>
        <p:spPr>
          <a:xfrm>
            <a:off x="4601025" y="5073050"/>
            <a:ext cx="2223470" cy="791866"/>
          </a:xfrm>
          <a:prstGeom prst="rect">
            <a:avLst/>
          </a:prstGeom>
        </p:spPr>
        <p:txBody>
          <a:bodyPr vert="horz" lIns="128361" tIns="64179" rIns="128361" bIns="64179"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100" dirty="0">
                <a:cs typeface="Calibri Light"/>
              </a:rPr>
              <a:t>Lorem ipsum dolor sit amet, consectetur adipiscing elit. Integer</a:t>
            </a:r>
          </a:p>
        </p:txBody>
      </p:sp>
      <p:sp>
        <p:nvSpPr>
          <p:cNvPr id="227" name="Rectangle 226"/>
          <p:cNvSpPr/>
          <p:nvPr/>
        </p:nvSpPr>
        <p:spPr>
          <a:xfrm>
            <a:off x="10008751" y="4412322"/>
            <a:ext cx="1348865" cy="319520"/>
          </a:xfrm>
          <a:prstGeom prst="rect">
            <a:avLst/>
          </a:prstGeom>
          <a:solidFill>
            <a:srgbClr val="DDDDDD"/>
          </a:solidFill>
          <a:ln>
            <a:noFill/>
          </a:ln>
          <a:effectLst/>
        </p:spPr>
        <p:style>
          <a:lnRef idx="1">
            <a:schemeClr val="accent1"/>
          </a:lnRef>
          <a:fillRef idx="3">
            <a:schemeClr val="accent1"/>
          </a:fillRef>
          <a:effectRef idx="2">
            <a:schemeClr val="accent1"/>
          </a:effectRef>
          <a:fontRef idx="minor">
            <a:schemeClr val="lt1"/>
          </a:fontRef>
        </p:style>
        <p:txBody>
          <a:bodyPr lIns="73152" tIns="9144" rIns="9144" bIns="9144" rtlCol="0" anchor="ctr"/>
          <a:lstStyle/>
          <a:p>
            <a:r>
              <a:rPr lang="en-US" sz="1422" dirty="0">
                <a:solidFill>
                  <a:srgbClr val="58595B"/>
                </a:solidFill>
                <a:cs typeface="Lato Regular"/>
              </a:rPr>
              <a:t>Investments</a:t>
            </a:r>
          </a:p>
        </p:txBody>
      </p:sp>
      <p:sp>
        <p:nvSpPr>
          <p:cNvPr id="228" name="Subtitle 2"/>
          <p:cNvSpPr txBox="1">
            <a:spLocks/>
          </p:cNvSpPr>
          <p:nvPr/>
        </p:nvSpPr>
        <p:spPr>
          <a:xfrm>
            <a:off x="9880902" y="4749178"/>
            <a:ext cx="2159734" cy="1006306"/>
          </a:xfrm>
          <a:prstGeom prst="rect">
            <a:avLst/>
          </a:prstGeom>
        </p:spPr>
        <p:txBody>
          <a:bodyPr vert="horz" lIns="128361" tIns="64179" rIns="128361" bIns="64179"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100" dirty="0">
                <a:cs typeface="Calibri Light"/>
              </a:rPr>
              <a:t>Lorem ipsum dolor sit amet, consectetur adipiscing elit. Integer pulvinar</a:t>
            </a:r>
          </a:p>
        </p:txBody>
      </p:sp>
      <p:sp>
        <p:nvSpPr>
          <p:cNvPr id="230" name="Rectangle 229"/>
          <p:cNvSpPr/>
          <p:nvPr/>
        </p:nvSpPr>
        <p:spPr>
          <a:xfrm>
            <a:off x="10007843" y="2673559"/>
            <a:ext cx="1258083" cy="319520"/>
          </a:xfrm>
          <a:prstGeom prst="rect">
            <a:avLst/>
          </a:prstGeom>
          <a:solidFill>
            <a:srgbClr val="DDDDDD"/>
          </a:solidFill>
          <a:ln>
            <a:noFill/>
          </a:ln>
          <a:effectLst/>
        </p:spPr>
        <p:style>
          <a:lnRef idx="1">
            <a:schemeClr val="accent1"/>
          </a:lnRef>
          <a:fillRef idx="3">
            <a:schemeClr val="accent1"/>
          </a:fillRef>
          <a:effectRef idx="2">
            <a:schemeClr val="accent1"/>
          </a:effectRef>
          <a:fontRef idx="minor">
            <a:schemeClr val="lt1"/>
          </a:fontRef>
        </p:style>
        <p:txBody>
          <a:bodyPr lIns="73152" tIns="9144" rIns="9144" bIns="9144" rtlCol="0" anchor="ctr"/>
          <a:lstStyle/>
          <a:p>
            <a:r>
              <a:rPr lang="en-US" sz="1422" dirty="0">
                <a:solidFill>
                  <a:srgbClr val="58595B"/>
                </a:solidFill>
                <a:cs typeface="Lato Regular"/>
              </a:rPr>
              <a:t>Photography</a:t>
            </a:r>
          </a:p>
        </p:txBody>
      </p:sp>
      <p:sp>
        <p:nvSpPr>
          <p:cNvPr id="231" name="Subtitle 2"/>
          <p:cNvSpPr txBox="1">
            <a:spLocks/>
          </p:cNvSpPr>
          <p:nvPr/>
        </p:nvSpPr>
        <p:spPr>
          <a:xfrm>
            <a:off x="9885601" y="2986394"/>
            <a:ext cx="2155036" cy="1006306"/>
          </a:xfrm>
          <a:prstGeom prst="rect">
            <a:avLst/>
          </a:prstGeom>
        </p:spPr>
        <p:txBody>
          <a:bodyPr vert="horz" lIns="128361" tIns="64179" rIns="128361" bIns="64179"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100" dirty="0">
                <a:cs typeface="Calibri Light"/>
              </a:rPr>
              <a:t>Lorem ipsum dolor sit amet, consectetur adipiscing elit. Integer pulvinar</a:t>
            </a:r>
          </a:p>
        </p:txBody>
      </p:sp>
      <p:sp>
        <p:nvSpPr>
          <p:cNvPr id="233" name="Rectangle 232"/>
          <p:cNvSpPr/>
          <p:nvPr/>
        </p:nvSpPr>
        <p:spPr>
          <a:xfrm>
            <a:off x="7123439" y="4766905"/>
            <a:ext cx="1316827" cy="319520"/>
          </a:xfrm>
          <a:prstGeom prst="rect">
            <a:avLst/>
          </a:prstGeom>
          <a:solidFill>
            <a:srgbClr val="DDDDDD"/>
          </a:solidFill>
          <a:ln>
            <a:noFill/>
          </a:ln>
          <a:effectLst/>
        </p:spPr>
        <p:style>
          <a:lnRef idx="1">
            <a:schemeClr val="accent1"/>
          </a:lnRef>
          <a:fillRef idx="3">
            <a:schemeClr val="accent1"/>
          </a:fillRef>
          <a:effectRef idx="2">
            <a:schemeClr val="accent1"/>
          </a:effectRef>
          <a:fontRef idx="minor">
            <a:schemeClr val="lt1"/>
          </a:fontRef>
        </p:style>
        <p:txBody>
          <a:bodyPr lIns="73152" tIns="9144" rIns="9144" bIns="9144" rtlCol="0" anchor="ctr"/>
          <a:lstStyle/>
          <a:p>
            <a:r>
              <a:rPr lang="en-US" sz="1264" dirty="0">
                <a:solidFill>
                  <a:srgbClr val="58595B"/>
                </a:solidFill>
                <a:cs typeface="Lato Regular"/>
              </a:rPr>
              <a:t>Graphic Design</a:t>
            </a:r>
          </a:p>
        </p:txBody>
      </p:sp>
      <p:sp>
        <p:nvSpPr>
          <p:cNvPr id="234" name="Subtitle 2"/>
          <p:cNvSpPr txBox="1">
            <a:spLocks/>
          </p:cNvSpPr>
          <p:nvPr/>
        </p:nvSpPr>
        <p:spPr>
          <a:xfrm>
            <a:off x="6990598" y="5073047"/>
            <a:ext cx="2326737" cy="1006306"/>
          </a:xfrm>
          <a:prstGeom prst="rect">
            <a:avLst/>
          </a:prstGeom>
        </p:spPr>
        <p:txBody>
          <a:bodyPr vert="horz" lIns="128361" tIns="64179" rIns="128361" bIns="64179"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100" dirty="0">
                <a:cs typeface="Calibri Light"/>
              </a:rPr>
              <a:t>Lorem ipsum dolor sit amet, consectetur adipiscing elit. Integer pulvinar</a:t>
            </a:r>
          </a:p>
        </p:txBody>
      </p:sp>
      <p:grpSp>
        <p:nvGrpSpPr>
          <p:cNvPr id="262" name="Group 261"/>
          <p:cNvGrpSpPr/>
          <p:nvPr>
            <p:custDataLst>
              <p:tags r:id="rId1"/>
            </p:custDataLst>
          </p:nvPr>
        </p:nvGrpSpPr>
        <p:grpSpPr>
          <a:xfrm>
            <a:off x="2494165" y="1706426"/>
            <a:ext cx="7200470" cy="3203204"/>
            <a:chOff x="4782995" y="3698539"/>
            <a:chExt cx="13672981" cy="6082568"/>
          </a:xfrm>
        </p:grpSpPr>
        <p:grpSp>
          <p:nvGrpSpPr>
            <p:cNvPr id="3" name="Group 2"/>
            <p:cNvGrpSpPr/>
            <p:nvPr/>
          </p:nvGrpSpPr>
          <p:grpSpPr>
            <a:xfrm>
              <a:off x="4782995" y="3698539"/>
              <a:ext cx="13672981" cy="6082568"/>
              <a:chOff x="354013" y="731838"/>
              <a:chExt cx="7053262" cy="3136900"/>
            </a:xfrm>
            <a:solidFill>
              <a:schemeClr val="accent3"/>
            </a:solidFill>
          </p:grpSpPr>
          <p:sp>
            <p:nvSpPr>
              <p:cNvPr id="4" name="Freeform 1"/>
              <p:cNvSpPr>
                <a:spLocks noChangeArrowheads="1"/>
              </p:cNvSpPr>
              <p:nvPr/>
            </p:nvSpPr>
            <p:spPr bwMode="auto">
              <a:xfrm>
                <a:off x="4070350" y="3074988"/>
                <a:ext cx="157163" cy="190500"/>
              </a:xfrm>
              <a:custGeom>
                <a:avLst/>
                <a:gdLst>
                  <a:gd name="T0" fmla="*/ 31 w 435"/>
                  <a:gd name="T1" fmla="*/ 464 h 528"/>
                  <a:gd name="T2" fmla="*/ 31 w 435"/>
                  <a:gd name="T3" fmla="*/ 464 h 528"/>
                  <a:gd name="T4" fmla="*/ 31 w 435"/>
                  <a:gd name="T5" fmla="*/ 496 h 528"/>
                  <a:gd name="T6" fmla="*/ 31 w 435"/>
                  <a:gd name="T7" fmla="*/ 496 h 528"/>
                  <a:gd name="T8" fmla="*/ 31 w 435"/>
                  <a:gd name="T9" fmla="*/ 496 h 528"/>
                  <a:gd name="T10" fmla="*/ 31 w 435"/>
                  <a:gd name="T11" fmla="*/ 527 h 528"/>
                  <a:gd name="T12" fmla="*/ 62 w 435"/>
                  <a:gd name="T13" fmla="*/ 527 h 528"/>
                  <a:gd name="T14" fmla="*/ 62 w 435"/>
                  <a:gd name="T15" fmla="*/ 496 h 528"/>
                  <a:gd name="T16" fmla="*/ 93 w 435"/>
                  <a:gd name="T17" fmla="*/ 496 h 528"/>
                  <a:gd name="T18" fmla="*/ 124 w 435"/>
                  <a:gd name="T19" fmla="*/ 496 h 528"/>
                  <a:gd name="T20" fmla="*/ 155 w 435"/>
                  <a:gd name="T21" fmla="*/ 434 h 528"/>
                  <a:gd name="T22" fmla="*/ 155 w 435"/>
                  <a:gd name="T23" fmla="*/ 434 h 528"/>
                  <a:gd name="T24" fmla="*/ 186 w 435"/>
                  <a:gd name="T25" fmla="*/ 434 h 528"/>
                  <a:gd name="T26" fmla="*/ 216 w 435"/>
                  <a:gd name="T27" fmla="*/ 434 h 528"/>
                  <a:gd name="T28" fmla="*/ 216 w 435"/>
                  <a:gd name="T29" fmla="*/ 464 h 528"/>
                  <a:gd name="T30" fmla="*/ 279 w 435"/>
                  <a:gd name="T31" fmla="*/ 434 h 528"/>
                  <a:gd name="T32" fmla="*/ 279 w 435"/>
                  <a:gd name="T33" fmla="*/ 434 h 528"/>
                  <a:gd name="T34" fmla="*/ 279 w 435"/>
                  <a:gd name="T35" fmla="*/ 434 h 528"/>
                  <a:gd name="T36" fmla="*/ 279 w 435"/>
                  <a:gd name="T37" fmla="*/ 403 h 528"/>
                  <a:gd name="T38" fmla="*/ 341 w 435"/>
                  <a:gd name="T39" fmla="*/ 372 h 528"/>
                  <a:gd name="T40" fmla="*/ 341 w 435"/>
                  <a:gd name="T41" fmla="*/ 372 h 528"/>
                  <a:gd name="T42" fmla="*/ 341 w 435"/>
                  <a:gd name="T43" fmla="*/ 372 h 528"/>
                  <a:gd name="T44" fmla="*/ 341 w 435"/>
                  <a:gd name="T45" fmla="*/ 310 h 528"/>
                  <a:gd name="T46" fmla="*/ 372 w 435"/>
                  <a:gd name="T47" fmla="*/ 310 h 528"/>
                  <a:gd name="T48" fmla="*/ 403 w 435"/>
                  <a:gd name="T49" fmla="*/ 279 h 528"/>
                  <a:gd name="T50" fmla="*/ 403 w 435"/>
                  <a:gd name="T51" fmla="*/ 279 h 528"/>
                  <a:gd name="T52" fmla="*/ 403 w 435"/>
                  <a:gd name="T53" fmla="*/ 279 h 528"/>
                  <a:gd name="T54" fmla="*/ 434 w 435"/>
                  <a:gd name="T55" fmla="*/ 248 h 528"/>
                  <a:gd name="T56" fmla="*/ 434 w 435"/>
                  <a:gd name="T57" fmla="*/ 248 h 528"/>
                  <a:gd name="T58" fmla="*/ 434 w 435"/>
                  <a:gd name="T59" fmla="*/ 248 h 528"/>
                  <a:gd name="T60" fmla="*/ 403 w 435"/>
                  <a:gd name="T61" fmla="*/ 216 h 528"/>
                  <a:gd name="T62" fmla="*/ 372 w 435"/>
                  <a:gd name="T63" fmla="*/ 155 h 528"/>
                  <a:gd name="T64" fmla="*/ 341 w 435"/>
                  <a:gd name="T65" fmla="*/ 155 h 528"/>
                  <a:gd name="T66" fmla="*/ 341 w 435"/>
                  <a:gd name="T67" fmla="*/ 124 h 528"/>
                  <a:gd name="T68" fmla="*/ 310 w 435"/>
                  <a:gd name="T69" fmla="*/ 92 h 528"/>
                  <a:gd name="T70" fmla="*/ 279 w 435"/>
                  <a:gd name="T71" fmla="*/ 62 h 528"/>
                  <a:gd name="T72" fmla="*/ 279 w 435"/>
                  <a:gd name="T73" fmla="*/ 31 h 528"/>
                  <a:gd name="T74" fmla="*/ 279 w 435"/>
                  <a:gd name="T75" fmla="*/ 31 h 528"/>
                  <a:gd name="T76" fmla="*/ 279 w 435"/>
                  <a:gd name="T77" fmla="*/ 31 h 528"/>
                  <a:gd name="T78" fmla="*/ 248 w 435"/>
                  <a:gd name="T79" fmla="*/ 0 h 528"/>
                  <a:gd name="T80" fmla="*/ 248 w 435"/>
                  <a:gd name="T81" fmla="*/ 0 h 528"/>
                  <a:gd name="T82" fmla="*/ 216 w 435"/>
                  <a:gd name="T83" fmla="*/ 0 h 528"/>
                  <a:gd name="T84" fmla="*/ 186 w 435"/>
                  <a:gd name="T85" fmla="*/ 31 h 528"/>
                  <a:gd name="T86" fmla="*/ 186 w 435"/>
                  <a:gd name="T87" fmla="*/ 31 h 528"/>
                  <a:gd name="T88" fmla="*/ 186 w 435"/>
                  <a:gd name="T89" fmla="*/ 31 h 528"/>
                  <a:gd name="T90" fmla="*/ 155 w 435"/>
                  <a:gd name="T91" fmla="*/ 31 h 528"/>
                  <a:gd name="T92" fmla="*/ 155 w 435"/>
                  <a:gd name="T93" fmla="*/ 0 h 528"/>
                  <a:gd name="T94" fmla="*/ 155 w 435"/>
                  <a:gd name="T95" fmla="*/ 0 h 528"/>
                  <a:gd name="T96" fmla="*/ 155 w 435"/>
                  <a:gd name="T97" fmla="*/ 0 h 528"/>
                  <a:gd name="T98" fmla="*/ 93 w 435"/>
                  <a:gd name="T99" fmla="*/ 31 h 528"/>
                  <a:gd name="T100" fmla="*/ 62 w 435"/>
                  <a:gd name="T101" fmla="*/ 31 h 528"/>
                  <a:gd name="T102" fmla="*/ 62 w 435"/>
                  <a:gd name="T103" fmla="*/ 248 h 528"/>
                  <a:gd name="T104" fmla="*/ 0 w 435"/>
                  <a:gd name="T105" fmla="*/ 248 h 528"/>
                  <a:gd name="T106" fmla="*/ 0 w 435"/>
                  <a:gd name="T107" fmla="*/ 403 h 528"/>
                  <a:gd name="T108" fmla="*/ 0 w 435"/>
                  <a:gd name="T109" fmla="*/ 403 h 528"/>
                  <a:gd name="T110" fmla="*/ 0 w 435"/>
                  <a:gd name="T111" fmla="*/ 403 h 528"/>
                  <a:gd name="T112" fmla="*/ 31 w 435"/>
                  <a:gd name="T113" fmla="*/ 464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35" h="528">
                    <a:moveTo>
                      <a:pt x="31" y="464"/>
                    </a:moveTo>
                    <a:lnTo>
                      <a:pt x="31" y="464"/>
                    </a:lnTo>
                    <a:cubicBezTo>
                      <a:pt x="31" y="464"/>
                      <a:pt x="31" y="464"/>
                      <a:pt x="31" y="496"/>
                    </a:cubicBezTo>
                    <a:lnTo>
                      <a:pt x="31" y="496"/>
                    </a:lnTo>
                    <a:lnTo>
                      <a:pt x="31" y="496"/>
                    </a:lnTo>
                    <a:cubicBezTo>
                      <a:pt x="31" y="496"/>
                      <a:pt x="31" y="496"/>
                      <a:pt x="31" y="527"/>
                    </a:cubicBezTo>
                    <a:cubicBezTo>
                      <a:pt x="62" y="527"/>
                      <a:pt x="62" y="527"/>
                      <a:pt x="62" y="527"/>
                    </a:cubicBezTo>
                    <a:lnTo>
                      <a:pt x="62" y="496"/>
                    </a:lnTo>
                    <a:cubicBezTo>
                      <a:pt x="93" y="496"/>
                      <a:pt x="93" y="496"/>
                      <a:pt x="93" y="496"/>
                    </a:cubicBezTo>
                    <a:cubicBezTo>
                      <a:pt x="93" y="496"/>
                      <a:pt x="93" y="496"/>
                      <a:pt x="124" y="496"/>
                    </a:cubicBezTo>
                    <a:cubicBezTo>
                      <a:pt x="124" y="434"/>
                      <a:pt x="124" y="434"/>
                      <a:pt x="155" y="434"/>
                    </a:cubicBezTo>
                    <a:lnTo>
                      <a:pt x="155" y="434"/>
                    </a:lnTo>
                    <a:lnTo>
                      <a:pt x="186" y="434"/>
                    </a:lnTo>
                    <a:cubicBezTo>
                      <a:pt x="186" y="434"/>
                      <a:pt x="186" y="434"/>
                      <a:pt x="216" y="434"/>
                    </a:cubicBezTo>
                    <a:cubicBezTo>
                      <a:pt x="216" y="464"/>
                      <a:pt x="216" y="464"/>
                      <a:pt x="216" y="464"/>
                    </a:cubicBezTo>
                    <a:cubicBezTo>
                      <a:pt x="216" y="464"/>
                      <a:pt x="248" y="434"/>
                      <a:pt x="279" y="434"/>
                    </a:cubicBezTo>
                    <a:lnTo>
                      <a:pt x="279" y="434"/>
                    </a:lnTo>
                    <a:lnTo>
                      <a:pt x="279" y="434"/>
                    </a:lnTo>
                    <a:cubicBezTo>
                      <a:pt x="279" y="403"/>
                      <a:pt x="279" y="403"/>
                      <a:pt x="279" y="403"/>
                    </a:cubicBezTo>
                    <a:cubicBezTo>
                      <a:pt x="310" y="372"/>
                      <a:pt x="310" y="372"/>
                      <a:pt x="341" y="372"/>
                    </a:cubicBezTo>
                    <a:lnTo>
                      <a:pt x="341" y="372"/>
                    </a:lnTo>
                    <a:lnTo>
                      <a:pt x="341" y="372"/>
                    </a:lnTo>
                    <a:cubicBezTo>
                      <a:pt x="341" y="340"/>
                      <a:pt x="341" y="340"/>
                      <a:pt x="341" y="310"/>
                    </a:cubicBezTo>
                    <a:cubicBezTo>
                      <a:pt x="372" y="310"/>
                      <a:pt x="372" y="310"/>
                      <a:pt x="372" y="310"/>
                    </a:cubicBezTo>
                    <a:cubicBezTo>
                      <a:pt x="372" y="310"/>
                      <a:pt x="372" y="310"/>
                      <a:pt x="403" y="279"/>
                    </a:cubicBezTo>
                    <a:lnTo>
                      <a:pt x="403" y="279"/>
                    </a:lnTo>
                    <a:lnTo>
                      <a:pt x="403" y="279"/>
                    </a:lnTo>
                    <a:cubicBezTo>
                      <a:pt x="403" y="248"/>
                      <a:pt x="434" y="248"/>
                      <a:pt x="434" y="248"/>
                    </a:cubicBezTo>
                    <a:lnTo>
                      <a:pt x="434" y="248"/>
                    </a:lnTo>
                    <a:lnTo>
                      <a:pt x="434" y="248"/>
                    </a:lnTo>
                    <a:cubicBezTo>
                      <a:pt x="434" y="248"/>
                      <a:pt x="403" y="248"/>
                      <a:pt x="403" y="216"/>
                    </a:cubicBezTo>
                    <a:cubicBezTo>
                      <a:pt x="372" y="186"/>
                      <a:pt x="372" y="186"/>
                      <a:pt x="372" y="155"/>
                    </a:cubicBezTo>
                    <a:cubicBezTo>
                      <a:pt x="372" y="155"/>
                      <a:pt x="372" y="155"/>
                      <a:pt x="341" y="155"/>
                    </a:cubicBezTo>
                    <a:cubicBezTo>
                      <a:pt x="341" y="124"/>
                      <a:pt x="341" y="124"/>
                      <a:pt x="341" y="124"/>
                    </a:cubicBezTo>
                    <a:cubicBezTo>
                      <a:pt x="341" y="124"/>
                      <a:pt x="310" y="124"/>
                      <a:pt x="310" y="92"/>
                    </a:cubicBezTo>
                    <a:cubicBezTo>
                      <a:pt x="279" y="92"/>
                      <a:pt x="279" y="62"/>
                      <a:pt x="279" y="62"/>
                    </a:cubicBezTo>
                    <a:lnTo>
                      <a:pt x="279" y="31"/>
                    </a:lnTo>
                    <a:lnTo>
                      <a:pt x="279" y="31"/>
                    </a:lnTo>
                    <a:lnTo>
                      <a:pt x="279" y="31"/>
                    </a:lnTo>
                    <a:cubicBezTo>
                      <a:pt x="248" y="31"/>
                      <a:pt x="248" y="0"/>
                      <a:pt x="248" y="0"/>
                    </a:cubicBezTo>
                    <a:lnTo>
                      <a:pt x="248" y="0"/>
                    </a:lnTo>
                    <a:lnTo>
                      <a:pt x="216" y="0"/>
                    </a:lnTo>
                    <a:lnTo>
                      <a:pt x="186" y="31"/>
                    </a:lnTo>
                    <a:lnTo>
                      <a:pt x="186" y="31"/>
                    </a:lnTo>
                    <a:lnTo>
                      <a:pt x="186" y="31"/>
                    </a:lnTo>
                    <a:cubicBezTo>
                      <a:pt x="155" y="31"/>
                      <a:pt x="155" y="31"/>
                      <a:pt x="155" y="31"/>
                    </a:cubicBezTo>
                    <a:lnTo>
                      <a:pt x="155" y="0"/>
                    </a:lnTo>
                    <a:lnTo>
                      <a:pt x="155" y="0"/>
                    </a:lnTo>
                    <a:lnTo>
                      <a:pt x="155" y="0"/>
                    </a:lnTo>
                    <a:cubicBezTo>
                      <a:pt x="124" y="0"/>
                      <a:pt x="124" y="0"/>
                      <a:pt x="93" y="31"/>
                    </a:cubicBezTo>
                    <a:lnTo>
                      <a:pt x="62" y="31"/>
                    </a:lnTo>
                    <a:cubicBezTo>
                      <a:pt x="62" y="248"/>
                      <a:pt x="62" y="248"/>
                      <a:pt x="62" y="248"/>
                    </a:cubicBezTo>
                    <a:cubicBezTo>
                      <a:pt x="0" y="248"/>
                      <a:pt x="0" y="248"/>
                      <a:pt x="0" y="248"/>
                    </a:cubicBezTo>
                    <a:cubicBezTo>
                      <a:pt x="0" y="403"/>
                      <a:pt x="0" y="403"/>
                      <a:pt x="0" y="403"/>
                    </a:cubicBezTo>
                    <a:lnTo>
                      <a:pt x="0" y="403"/>
                    </a:lnTo>
                    <a:lnTo>
                      <a:pt x="0" y="403"/>
                    </a:lnTo>
                    <a:cubicBezTo>
                      <a:pt x="31" y="434"/>
                      <a:pt x="31" y="434"/>
                      <a:pt x="31" y="46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5" name="Freeform 2"/>
              <p:cNvSpPr>
                <a:spLocks noChangeArrowheads="1"/>
              </p:cNvSpPr>
              <p:nvPr/>
            </p:nvSpPr>
            <p:spPr bwMode="auto">
              <a:xfrm>
                <a:off x="3902075" y="2740025"/>
                <a:ext cx="1588" cy="11113"/>
              </a:xfrm>
              <a:custGeom>
                <a:avLst/>
                <a:gdLst>
                  <a:gd name="T0" fmla="*/ 0 w 1"/>
                  <a:gd name="T1" fmla="*/ 31 h 32"/>
                  <a:gd name="T2" fmla="*/ 0 w 1"/>
                  <a:gd name="T3" fmla="*/ 31 h 32"/>
                  <a:gd name="T4" fmla="*/ 0 w 1"/>
                  <a:gd name="T5" fmla="*/ 31 h 32"/>
                  <a:gd name="T6" fmla="*/ 0 w 1"/>
                  <a:gd name="T7" fmla="*/ 0 h 32"/>
                  <a:gd name="T8" fmla="*/ 0 w 1"/>
                  <a:gd name="T9" fmla="*/ 31 h 32"/>
                </a:gdLst>
                <a:ahLst/>
                <a:cxnLst>
                  <a:cxn ang="0">
                    <a:pos x="T0" y="T1"/>
                  </a:cxn>
                  <a:cxn ang="0">
                    <a:pos x="T2" y="T3"/>
                  </a:cxn>
                  <a:cxn ang="0">
                    <a:pos x="T4" y="T5"/>
                  </a:cxn>
                  <a:cxn ang="0">
                    <a:pos x="T6" y="T7"/>
                  </a:cxn>
                  <a:cxn ang="0">
                    <a:pos x="T8" y="T9"/>
                  </a:cxn>
                </a:cxnLst>
                <a:rect l="0" t="0" r="r" b="b"/>
                <a:pathLst>
                  <a:path w="1" h="32">
                    <a:moveTo>
                      <a:pt x="0" y="31"/>
                    </a:moveTo>
                    <a:lnTo>
                      <a:pt x="0" y="31"/>
                    </a:lnTo>
                    <a:lnTo>
                      <a:pt x="0" y="31"/>
                    </a:lnTo>
                    <a:cubicBezTo>
                      <a:pt x="0" y="0"/>
                      <a:pt x="0" y="0"/>
                      <a:pt x="0" y="0"/>
                    </a:cubicBezTo>
                    <a:cubicBezTo>
                      <a:pt x="0" y="31"/>
                      <a:pt x="0" y="31"/>
                      <a:pt x="0"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6" name="Freeform 3"/>
              <p:cNvSpPr>
                <a:spLocks noChangeArrowheads="1"/>
              </p:cNvSpPr>
              <p:nvPr/>
            </p:nvSpPr>
            <p:spPr bwMode="auto">
              <a:xfrm>
                <a:off x="3902075" y="2571750"/>
                <a:ext cx="123825" cy="179388"/>
              </a:xfrm>
              <a:custGeom>
                <a:avLst/>
                <a:gdLst>
                  <a:gd name="T0" fmla="*/ 62 w 342"/>
                  <a:gd name="T1" fmla="*/ 496 h 497"/>
                  <a:gd name="T2" fmla="*/ 93 w 342"/>
                  <a:gd name="T3" fmla="*/ 465 h 497"/>
                  <a:gd name="T4" fmla="*/ 124 w 342"/>
                  <a:gd name="T5" fmla="*/ 465 h 497"/>
                  <a:gd name="T6" fmla="*/ 124 w 342"/>
                  <a:gd name="T7" fmla="*/ 465 h 497"/>
                  <a:gd name="T8" fmla="*/ 124 w 342"/>
                  <a:gd name="T9" fmla="*/ 465 h 497"/>
                  <a:gd name="T10" fmla="*/ 186 w 342"/>
                  <a:gd name="T11" fmla="*/ 465 h 497"/>
                  <a:gd name="T12" fmla="*/ 217 w 342"/>
                  <a:gd name="T13" fmla="*/ 434 h 497"/>
                  <a:gd name="T14" fmla="*/ 217 w 342"/>
                  <a:gd name="T15" fmla="*/ 372 h 497"/>
                  <a:gd name="T16" fmla="*/ 217 w 342"/>
                  <a:gd name="T17" fmla="*/ 310 h 497"/>
                  <a:gd name="T18" fmla="*/ 248 w 342"/>
                  <a:gd name="T19" fmla="*/ 310 h 497"/>
                  <a:gd name="T20" fmla="*/ 248 w 342"/>
                  <a:gd name="T21" fmla="*/ 279 h 497"/>
                  <a:gd name="T22" fmla="*/ 279 w 342"/>
                  <a:gd name="T23" fmla="*/ 248 h 497"/>
                  <a:gd name="T24" fmla="*/ 279 w 342"/>
                  <a:gd name="T25" fmla="*/ 248 h 497"/>
                  <a:gd name="T26" fmla="*/ 310 w 342"/>
                  <a:gd name="T27" fmla="*/ 155 h 497"/>
                  <a:gd name="T28" fmla="*/ 341 w 342"/>
                  <a:gd name="T29" fmla="*/ 31 h 497"/>
                  <a:gd name="T30" fmla="*/ 310 w 342"/>
                  <a:gd name="T31" fmla="*/ 0 h 497"/>
                  <a:gd name="T32" fmla="*/ 279 w 342"/>
                  <a:gd name="T33" fmla="*/ 0 h 497"/>
                  <a:gd name="T34" fmla="*/ 248 w 342"/>
                  <a:gd name="T35" fmla="*/ 93 h 497"/>
                  <a:gd name="T36" fmla="*/ 248 w 342"/>
                  <a:gd name="T37" fmla="*/ 124 h 497"/>
                  <a:gd name="T38" fmla="*/ 186 w 342"/>
                  <a:gd name="T39" fmla="*/ 186 h 497"/>
                  <a:gd name="T40" fmla="*/ 186 w 342"/>
                  <a:gd name="T41" fmla="*/ 124 h 497"/>
                  <a:gd name="T42" fmla="*/ 155 w 342"/>
                  <a:gd name="T43" fmla="*/ 124 h 497"/>
                  <a:gd name="T44" fmla="*/ 155 w 342"/>
                  <a:gd name="T45" fmla="*/ 186 h 497"/>
                  <a:gd name="T46" fmla="*/ 155 w 342"/>
                  <a:gd name="T47" fmla="*/ 186 h 497"/>
                  <a:gd name="T48" fmla="*/ 155 w 342"/>
                  <a:gd name="T49" fmla="*/ 248 h 497"/>
                  <a:gd name="T50" fmla="*/ 155 w 342"/>
                  <a:gd name="T51" fmla="*/ 310 h 497"/>
                  <a:gd name="T52" fmla="*/ 124 w 342"/>
                  <a:gd name="T53" fmla="*/ 403 h 497"/>
                  <a:gd name="T54" fmla="*/ 124 w 342"/>
                  <a:gd name="T55" fmla="*/ 403 h 497"/>
                  <a:gd name="T56" fmla="*/ 93 w 342"/>
                  <a:gd name="T57" fmla="*/ 403 h 497"/>
                  <a:gd name="T58" fmla="*/ 62 w 342"/>
                  <a:gd name="T59" fmla="*/ 403 h 497"/>
                  <a:gd name="T60" fmla="*/ 62 w 342"/>
                  <a:gd name="T61" fmla="*/ 403 h 497"/>
                  <a:gd name="T62" fmla="*/ 31 w 342"/>
                  <a:gd name="T63" fmla="*/ 403 h 497"/>
                  <a:gd name="T64" fmla="*/ 31 w 342"/>
                  <a:gd name="T65" fmla="*/ 434 h 497"/>
                  <a:gd name="T66" fmla="*/ 62 w 342"/>
                  <a:gd name="T67" fmla="*/ 46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2" h="497">
                    <a:moveTo>
                      <a:pt x="62" y="496"/>
                    </a:moveTo>
                    <a:lnTo>
                      <a:pt x="62" y="496"/>
                    </a:lnTo>
                    <a:cubicBezTo>
                      <a:pt x="62" y="465"/>
                      <a:pt x="62" y="465"/>
                      <a:pt x="62" y="465"/>
                    </a:cubicBezTo>
                    <a:cubicBezTo>
                      <a:pt x="93" y="465"/>
                      <a:pt x="93" y="465"/>
                      <a:pt x="93" y="465"/>
                    </a:cubicBezTo>
                    <a:lnTo>
                      <a:pt x="93" y="465"/>
                    </a:lnTo>
                    <a:lnTo>
                      <a:pt x="124" y="465"/>
                    </a:lnTo>
                    <a:lnTo>
                      <a:pt x="124" y="465"/>
                    </a:lnTo>
                    <a:lnTo>
                      <a:pt x="124" y="465"/>
                    </a:lnTo>
                    <a:lnTo>
                      <a:pt x="124" y="465"/>
                    </a:lnTo>
                    <a:lnTo>
                      <a:pt x="124" y="465"/>
                    </a:lnTo>
                    <a:cubicBezTo>
                      <a:pt x="155" y="465"/>
                      <a:pt x="155" y="465"/>
                      <a:pt x="155" y="465"/>
                    </a:cubicBezTo>
                    <a:lnTo>
                      <a:pt x="186" y="465"/>
                    </a:lnTo>
                    <a:lnTo>
                      <a:pt x="186" y="434"/>
                    </a:lnTo>
                    <a:lnTo>
                      <a:pt x="217" y="434"/>
                    </a:lnTo>
                    <a:lnTo>
                      <a:pt x="217" y="403"/>
                    </a:lnTo>
                    <a:lnTo>
                      <a:pt x="217" y="372"/>
                    </a:lnTo>
                    <a:lnTo>
                      <a:pt x="217" y="372"/>
                    </a:lnTo>
                    <a:cubicBezTo>
                      <a:pt x="217" y="341"/>
                      <a:pt x="217" y="341"/>
                      <a:pt x="217" y="310"/>
                    </a:cubicBezTo>
                    <a:cubicBezTo>
                      <a:pt x="248" y="310"/>
                      <a:pt x="248" y="310"/>
                      <a:pt x="248" y="310"/>
                    </a:cubicBezTo>
                    <a:lnTo>
                      <a:pt x="248" y="310"/>
                    </a:lnTo>
                    <a:cubicBezTo>
                      <a:pt x="248" y="310"/>
                      <a:pt x="248" y="310"/>
                      <a:pt x="248" y="279"/>
                    </a:cubicBezTo>
                    <a:lnTo>
                      <a:pt x="248" y="279"/>
                    </a:lnTo>
                    <a:cubicBezTo>
                      <a:pt x="248" y="279"/>
                      <a:pt x="248" y="248"/>
                      <a:pt x="279" y="248"/>
                    </a:cubicBezTo>
                    <a:lnTo>
                      <a:pt x="279" y="248"/>
                    </a:lnTo>
                    <a:lnTo>
                      <a:pt x="279" y="248"/>
                    </a:lnTo>
                    <a:lnTo>
                      <a:pt x="279" y="248"/>
                    </a:lnTo>
                    <a:lnTo>
                      <a:pt x="279" y="217"/>
                    </a:lnTo>
                    <a:cubicBezTo>
                      <a:pt x="310" y="186"/>
                      <a:pt x="310" y="155"/>
                      <a:pt x="310" y="155"/>
                    </a:cubicBezTo>
                    <a:cubicBezTo>
                      <a:pt x="310" y="93"/>
                      <a:pt x="310" y="62"/>
                      <a:pt x="341" y="31"/>
                    </a:cubicBezTo>
                    <a:lnTo>
                      <a:pt x="341" y="31"/>
                    </a:lnTo>
                    <a:cubicBezTo>
                      <a:pt x="341" y="31"/>
                      <a:pt x="341" y="0"/>
                      <a:pt x="310" y="0"/>
                    </a:cubicBezTo>
                    <a:lnTo>
                      <a:pt x="310" y="0"/>
                    </a:lnTo>
                    <a:lnTo>
                      <a:pt x="279" y="0"/>
                    </a:lnTo>
                    <a:lnTo>
                      <a:pt x="279" y="0"/>
                    </a:lnTo>
                    <a:cubicBezTo>
                      <a:pt x="248" y="62"/>
                      <a:pt x="248" y="62"/>
                      <a:pt x="248" y="62"/>
                    </a:cubicBezTo>
                    <a:cubicBezTo>
                      <a:pt x="248" y="93"/>
                      <a:pt x="248" y="93"/>
                      <a:pt x="248" y="93"/>
                    </a:cubicBezTo>
                    <a:lnTo>
                      <a:pt x="248" y="93"/>
                    </a:lnTo>
                    <a:cubicBezTo>
                      <a:pt x="248" y="124"/>
                      <a:pt x="248" y="124"/>
                      <a:pt x="248" y="124"/>
                    </a:cubicBezTo>
                    <a:cubicBezTo>
                      <a:pt x="217" y="124"/>
                      <a:pt x="217" y="124"/>
                      <a:pt x="217" y="124"/>
                    </a:cubicBezTo>
                    <a:cubicBezTo>
                      <a:pt x="186" y="186"/>
                      <a:pt x="186" y="186"/>
                      <a:pt x="186" y="186"/>
                    </a:cubicBezTo>
                    <a:cubicBezTo>
                      <a:pt x="217" y="124"/>
                      <a:pt x="217" y="124"/>
                      <a:pt x="217" y="124"/>
                    </a:cubicBezTo>
                    <a:cubicBezTo>
                      <a:pt x="186" y="124"/>
                      <a:pt x="186" y="124"/>
                      <a:pt x="186" y="124"/>
                    </a:cubicBezTo>
                    <a:lnTo>
                      <a:pt x="155" y="124"/>
                    </a:lnTo>
                    <a:lnTo>
                      <a:pt x="155" y="124"/>
                    </a:lnTo>
                    <a:lnTo>
                      <a:pt x="155" y="124"/>
                    </a:lnTo>
                    <a:cubicBezTo>
                      <a:pt x="155" y="155"/>
                      <a:pt x="155" y="155"/>
                      <a:pt x="155" y="186"/>
                    </a:cubicBezTo>
                    <a:lnTo>
                      <a:pt x="155" y="186"/>
                    </a:lnTo>
                    <a:lnTo>
                      <a:pt x="155" y="186"/>
                    </a:lnTo>
                    <a:cubicBezTo>
                      <a:pt x="155" y="186"/>
                      <a:pt x="155" y="217"/>
                      <a:pt x="124" y="217"/>
                    </a:cubicBezTo>
                    <a:cubicBezTo>
                      <a:pt x="155" y="217"/>
                      <a:pt x="155" y="248"/>
                      <a:pt x="155" y="248"/>
                    </a:cubicBezTo>
                    <a:cubicBezTo>
                      <a:pt x="155" y="248"/>
                      <a:pt x="155" y="248"/>
                      <a:pt x="155" y="279"/>
                    </a:cubicBezTo>
                    <a:lnTo>
                      <a:pt x="155" y="310"/>
                    </a:lnTo>
                    <a:lnTo>
                      <a:pt x="155" y="341"/>
                    </a:lnTo>
                    <a:cubicBezTo>
                      <a:pt x="155" y="372"/>
                      <a:pt x="124" y="372"/>
                      <a:pt x="124" y="403"/>
                    </a:cubicBezTo>
                    <a:lnTo>
                      <a:pt x="124" y="403"/>
                    </a:lnTo>
                    <a:lnTo>
                      <a:pt x="124" y="403"/>
                    </a:lnTo>
                    <a:cubicBezTo>
                      <a:pt x="93" y="403"/>
                      <a:pt x="93" y="403"/>
                      <a:pt x="93" y="403"/>
                    </a:cubicBezTo>
                    <a:lnTo>
                      <a:pt x="93" y="403"/>
                    </a:lnTo>
                    <a:cubicBezTo>
                      <a:pt x="62" y="403"/>
                      <a:pt x="62" y="403"/>
                      <a:pt x="62" y="403"/>
                    </a:cubicBezTo>
                    <a:lnTo>
                      <a:pt x="62" y="403"/>
                    </a:lnTo>
                    <a:lnTo>
                      <a:pt x="62" y="403"/>
                    </a:lnTo>
                    <a:lnTo>
                      <a:pt x="62" y="403"/>
                    </a:lnTo>
                    <a:lnTo>
                      <a:pt x="62" y="403"/>
                    </a:lnTo>
                    <a:lnTo>
                      <a:pt x="31" y="403"/>
                    </a:lnTo>
                    <a:cubicBezTo>
                      <a:pt x="0" y="403"/>
                      <a:pt x="0" y="403"/>
                      <a:pt x="0" y="403"/>
                    </a:cubicBezTo>
                    <a:cubicBezTo>
                      <a:pt x="31" y="434"/>
                      <a:pt x="31" y="434"/>
                      <a:pt x="31" y="434"/>
                    </a:cubicBezTo>
                    <a:cubicBezTo>
                      <a:pt x="31" y="496"/>
                      <a:pt x="31" y="496"/>
                      <a:pt x="31" y="496"/>
                    </a:cubicBezTo>
                    <a:cubicBezTo>
                      <a:pt x="62" y="465"/>
                      <a:pt x="62" y="465"/>
                      <a:pt x="62" y="465"/>
                    </a:cubicBezTo>
                    <a:lnTo>
                      <a:pt x="62" y="496"/>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7" name="Freeform 4"/>
              <p:cNvSpPr>
                <a:spLocks noChangeArrowheads="1"/>
              </p:cNvSpPr>
              <p:nvPr/>
            </p:nvSpPr>
            <p:spPr bwMode="auto">
              <a:xfrm>
                <a:off x="3870325" y="2616200"/>
                <a:ext cx="11113" cy="1588"/>
              </a:xfrm>
              <a:custGeom>
                <a:avLst/>
                <a:gdLst>
                  <a:gd name="T0" fmla="*/ 32 w 33"/>
                  <a:gd name="T1" fmla="*/ 0 h 1"/>
                  <a:gd name="T2" fmla="*/ 32 w 33"/>
                  <a:gd name="T3" fmla="*/ 0 h 1"/>
                  <a:gd name="T4" fmla="*/ 0 w 33"/>
                  <a:gd name="T5" fmla="*/ 0 h 1"/>
                  <a:gd name="T6" fmla="*/ 0 w 33"/>
                  <a:gd name="T7" fmla="*/ 0 h 1"/>
                  <a:gd name="T8" fmla="*/ 32 w 33"/>
                  <a:gd name="T9" fmla="*/ 0 h 1"/>
                </a:gdLst>
                <a:ahLst/>
                <a:cxnLst>
                  <a:cxn ang="0">
                    <a:pos x="T0" y="T1"/>
                  </a:cxn>
                  <a:cxn ang="0">
                    <a:pos x="T2" y="T3"/>
                  </a:cxn>
                  <a:cxn ang="0">
                    <a:pos x="T4" y="T5"/>
                  </a:cxn>
                  <a:cxn ang="0">
                    <a:pos x="T6" y="T7"/>
                  </a:cxn>
                  <a:cxn ang="0">
                    <a:pos x="T8" y="T9"/>
                  </a:cxn>
                </a:cxnLst>
                <a:rect l="0" t="0" r="r" b="b"/>
                <a:pathLst>
                  <a:path w="33" h="1">
                    <a:moveTo>
                      <a:pt x="32" y="0"/>
                    </a:moveTo>
                    <a:lnTo>
                      <a:pt x="32" y="0"/>
                    </a:lnTo>
                    <a:cubicBezTo>
                      <a:pt x="0" y="0"/>
                      <a:pt x="0" y="0"/>
                      <a:pt x="0" y="0"/>
                    </a:cubicBezTo>
                    <a:lnTo>
                      <a:pt x="0" y="0"/>
                    </a:lnTo>
                    <a:cubicBezTo>
                      <a:pt x="32" y="0"/>
                      <a:pt x="32" y="0"/>
                      <a:pt x="32"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8" name="Freeform 5"/>
              <p:cNvSpPr>
                <a:spLocks noChangeArrowheads="1"/>
              </p:cNvSpPr>
              <p:nvPr/>
            </p:nvSpPr>
            <p:spPr bwMode="auto">
              <a:xfrm>
                <a:off x="3679825" y="2114550"/>
                <a:ext cx="290513" cy="246063"/>
              </a:xfrm>
              <a:custGeom>
                <a:avLst/>
                <a:gdLst>
                  <a:gd name="T0" fmla="*/ 341 w 806"/>
                  <a:gd name="T1" fmla="*/ 588 h 683"/>
                  <a:gd name="T2" fmla="*/ 341 w 806"/>
                  <a:gd name="T3" fmla="*/ 619 h 683"/>
                  <a:gd name="T4" fmla="*/ 403 w 806"/>
                  <a:gd name="T5" fmla="*/ 619 h 683"/>
                  <a:gd name="T6" fmla="*/ 403 w 806"/>
                  <a:gd name="T7" fmla="*/ 619 h 683"/>
                  <a:gd name="T8" fmla="*/ 435 w 806"/>
                  <a:gd name="T9" fmla="*/ 619 h 683"/>
                  <a:gd name="T10" fmla="*/ 465 w 806"/>
                  <a:gd name="T11" fmla="*/ 650 h 683"/>
                  <a:gd name="T12" fmla="*/ 496 w 806"/>
                  <a:gd name="T13" fmla="*/ 619 h 683"/>
                  <a:gd name="T14" fmla="*/ 527 w 806"/>
                  <a:gd name="T15" fmla="*/ 588 h 683"/>
                  <a:gd name="T16" fmla="*/ 619 w 806"/>
                  <a:gd name="T17" fmla="*/ 619 h 683"/>
                  <a:gd name="T18" fmla="*/ 619 w 806"/>
                  <a:gd name="T19" fmla="*/ 619 h 683"/>
                  <a:gd name="T20" fmla="*/ 650 w 806"/>
                  <a:gd name="T21" fmla="*/ 588 h 683"/>
                  <a:gd name="T22" fmla="*/ 681 w 806"/>
                  <a:gd name="T23" fmla="*/ 588 h 683"/>
                  <a:gd name="T24" fmla="*/ 681 w 806"/>
                  <a:gd name="T25" fmla="*/ 558 h 683"/>
                  <a:gd name="T26" fmla="*/ 681 w 806"/>
                  <a:gd name="T27" fmla="*/ 526 h 683"/>
                  <a:gd name="T28" fmla="*/ 743 w 806"/>
                  <a:gd name="T29" fmla="*/ 465 h 683"/>
                  <a:gd name="T30" fmla="*/ 774 w 806"/>
                  <a:gd name="T31" fmla="*/ 403 h 683"/>
                  <a:gd name="T32" fmla="*/ 805 w 806"/>
                  <a:gd name="T33" fmla="*/ 372 h 683"/>
                  <a:gd name="T34" fmla="*/ 805 w 806"/>
                  <a:gd name="T35" fmla="*/ 187 h 683"/>
                  <a:gd name="T36" fmla="*/ 774 w 806"/>
                  <a:gd name="T37" fmla="*/ 155 h 683"/>
                  <a:gd name="T38" fmla="*/ 774 w 806"/>
                  <a:gd name="T39" fmla="*/ 93 h 683"/>
                  <a:gd name="T40" fmla="*/ 774 w 806"/>
                  <a:gd name="T41" fmla="*/ 93 h 683"/>
                  <a:gd name="T42" fmla="*/ 743 w 806"/>
                  <a:gd name="T43" fmla="*/ 63 h 683"/>
                  <a:gd name="T44" fmla="*/ 743 w 806"/>
                  <a:gd name="T45" fmla="*/ 63 h 683"/>
                  <a:gd name="T46" fmla="*/ 681 w 806"/>
                  <a:gd name="T47" fmla="*/ 31 h 683"/>
                  <a:gd name="T48" fmla="*/ 619 w 806"/>
                  <a:gd name="T49" fmla="*/ 0 h 683"/>
                  <a:gd name="T50" fmla="*/ 559 w 806"/>
                  <a:gd name="T51" fmla="*/ 63 h 683"/>
                  <a:gd name="T52" fmla="*/ 341 w 806"/>
                  <a:gd name="T53" fmla="*/ 217 h 683"/>
                  <a:gd name="T54" fmla="*/ 279 w 806"/>
                  <a:gd name="T55" fmla="*/ 279 h 683"/>
                  <a:gd name="T56" fmla="*/ 217 w 806"/>
                  <a:gd name="T57" fmla="*/ 372 h 683"/>
                  <a:gd name="T58" fmla="*/ 217 w 806"/>
                  <a:gd name="T59" fmla="*/ 403 h 683"/>
                  <a:gd name="T60" fmla="*/ 187 w 806"/>
                  <a:gd name="T61" fmla="*/ 496 h 683"/>
                  <a:gd name="T62" fmla="*/ 124 w 806"/>
                  <a:gd name="T63" fmla="*/ 526 h 683"/>
                  <a:gd name="T64" fmla="*/ 63 w 806"/>
                  <a:gd name="T65" fmla="*/ 526 h 683"/>
                  <a:gd name="T66" fmla="*/ 31 w 806"/>
                  <a:gd name="T67" fmla="*/ 526 h 683"/>
                  <a:gd name="T68" fmla="*/ 0 w 806"/>
                  <a:gd name="T69" fmla="*/ 558 h 683"/>
                  <a:gd name="T70" fmla="*/ 0 w 806"/>
                  <a:gd name="T71" fmla="*/ 558 h 683"/>
                  <a:gd name="T72" fmla="*/ 0 w 806"/>
                  <a:gd name="T73" fmla="*/ 588 h 683"/>
                  <a:gd name="T74" fmla="*/ 31 w 806"/>
                  <a:gd name="T75" fmla="*/ 619 h 683"/>
                  <a:gd name="T76" fmla="*/ 31 w 806"/>
                  <a:gd name="T77" fmla="*/ 650 h 683"/>
                  <a:gd name="T78" fmla="*/ 31 w 806"/>
                  <a:gd name="T79" fmla="*/ 650 h 683"/>
                  <a:gd name="T80" fmla="*/ 63 w 806"/>
                  <a:gd name="T81" fmla="*/ 650 h 683"/>
                  <a:gd name="T82" fmla="*/ 93 w 806"/>
                  <a:gd name="T83" fmla="*/ 650 h 683"/>
                  <a:gd name="T84" fmla="*/ 93 w 806"/>
                  <a:gd name="T85" fmla="*/ 682 h 683"/>
                  <a:gd name="T86" fmla="*/ 124 w 806"/>
                  <a:gd name="T87" fmla="*/ 650 h 683"/>
                  <a:gd name="T88" fmla="*/ 155 w 806"/>
                  <a:gd name="T89" fmla="*/ 650 h 683"/>
                  <a:gd name="T90" fmla="*/ 155 w 806"/>
                  <a:gd name="T91" fmla="*/ 650 h 683"/>
                  <a:gd name="T92" fmla="*/ 187 w 806"/>
                  <a:gd name="T93" fmla="*/ 588 h 683"/>
                  <a:gd name="T94" fmla="*/ 248 w 806"/>
                  <a:gd name="T95" fmla="*/ 588 h 683"/>
                  <a:gd name="T96" fmla="*/ 279 w 806"/>
                  <a:gd name="T97" fmla="*/ 588 h 683"/>
                  <a:gd name="T98" fmla="*/ 279 w 806"/>
                  <a:gd name="T99" fmla="*/ 588 h 683"/>
                  <a:gd name="T100" fmla="*/ 311 w 806"/>
                  <a:gd name="T101" fmla="*/ 588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6" h="683">
                    <a:moveTo>
                      <a:pt x="341" y="588"/>
                    </a:moveTo>
                    <a:lnTo>
                      <a:pt x="341" y="588"/>
                    </a:lnTo>
                    <a:lnTo>
                      <a:pt x="341" y="619"/>
                    </a:lnTo>
                    <a:lnTo>
                      <a:pt x="341" y="619"/>
                    </a:lnTo>
                    <a:lnTo>
                      <a:pt x="341" y="619"/>
                    </a:lnTo>
                    <a:cubicBezTo>
                      <a:pt x="372" y="619"/>
                      <a:pt x="372" y="619"/>
                      <a:pt x="403" y="619"/>
                    </a:cubicBezTo>
                    <a:lnTo>
                      <a:pt x="403" y="619"/>
                    </a:lnTo>
                    <a:lnTo>
                      <a:pt x="403" y="619"/>
                    </a:lnTo>
                    <a:cubicBezTo>
                      <a:pt x="403" y="619"/>
                      <a:pt x="403" y="619"/>
                      <a:pt x="435" y="619"/>
                    </a:cubicBezTo>
                    <a:lnTo>
                      <a:pt x="435" y="619"/>
                    </a:lnTo>
                    <a:cubicBezTo>
                      <a:pt x="435" y="650"/>
                      <a:pt x="465" y="650"/>
                      <a:pt x="465" y="650"/>
                    </a:cubicBezTo>
                    <a:lnTo>
                      <a:pt x="465" y="650"/>
                    </a:lnTo>
                    <a:cubicBezTo>
                      <a:pt x="465" y="650"/>
                      <a:pt x="496" y="650"/>
                      <a:pt x="496" y="619"/>
                    </a:cubicBezTo>
                    <a:lnTo>
                      <a:pt x="496" y="619"/>
                    </a:lnTo>
                    <a:cubicBezTo>
                      <a:pt x="496" y="619"/>
                      <a:pt x="496" y="619"/>
                      <a:pt x="527" y="619"/>
                    </a:cubicBezTo>
                    <a:cubicBezTo>
                      <a:pt x="527" y="619"/>
                      <a:pt x="527" y="619"/>
                      <a:pt x="527" y="588"/>
                    </a:cubicBezTo>
                    <a:cubicBezTo>
                      <a:pt x="559" y="588"/>
                      <a:pt x="558" y="588"/>
                      <a:pt x="588" y="588"/>
                    </a:cubicBezTo>
                    <a:lnTo>
                      <a:pt x="619" y="619"/>
                    </a:lnTo>
                    <a:lnTo>
                      <a:pt x="619" y="619"/>
                    </a:lnTo>
                    <a:lnTo>
                      <a:pt x="619" y="619"/>
                    </a:lnTo>
                    <a:lnTo>
                      <a:pt x="619" y="619"/>
                    </a:lnTo>
                    <a:cubicBezTo>
                      <a:pt x="619" y="619"/>
                      <a:pt x="650" y="619"/>
                      <a:pt x="650" y="588"/>
                    </a:cubicBezTo>
                    <a:lnTo>
                      <a:pt x="681" y="588"/>
                    </a:lnTo>
                    <a:lnTo>
                      <a:pt x="681" y="588"/>
                    </a:lnTo>
                    <a:lnTo>
                      <a:pt x="681" y="558"/>
                    </a:lnTo>
                    <a:lnTo>
                      <a:pt x="681" y="558"/>
                    </a:lnTo>
                    <a:cubicBezTo>
                      <a:pt x="681" y="496"/>
                      <a:pt x="681" y="496"/>
                      <a:pt x="681" y="496"/>
                    </a:cubicBezTo>
                    <a:cubicBezTo>
                      <a:pt x="681" y="526"/>
                      <a:pt x="681" y="526"/>
                      <a:pt x="681" y="526"/>
                    </a:cubicBezTo>
                    <a:cubicBezTo>
                      <a:pt x="681" y="496"/>
                      <a:pt x="712" y="465"/>
                      <a:pt x="743" y="465"/>
                    </a:cubicBezTo>
                    <a:lnTo>
                      <a:pt x="743" y="465"/>
                    </a:lnTo>
                    <a:cubicBezTo>
                      <a:pt x="743" y="435"/>
                      <a:pt x="774" y="435"/>
                      <a:pt x="774" y="435"/>
                    </a:cubicBezTo>
                    <a:lnTo>
                      <a:pt x="774" y="403"/>
                    </a:lnTo>
                    <a:lnTo>
                      <a:pt x="774" y="403"/>
                    </a:lnTo>
                    <a:cubicBezTo>
                      <a:pt x="774" y="403"/>
                      <a:pt x="805" y="403"/>
                      <a:pt x="805" y="372"/>
                    </a:cubicBezTo>
                    <a:cubicBezTo>
                      <a:pt x="805" y="341"/>
                      <a:pt x="805" y="311"/>
                      <a:pt x="805" y="248"/>
                    </a:cubicBezTo>
                    <a:cubicBezTo>
                      <a:pt x="805" y="217"/>
                      <a:pt x="805" y="217"/>
                      <a:pt x="805" y="187"/>
                    </a:cubicBezTo>
                    <a:lnTo>
                      <a:pt x="774" y="155"/>
                    </a:lnTo>
                    <a:lnTo>
                      <a:pt x="774" y="155"/>
                    </a:lnTo>
                    <a:cubicBezTo>
                      <a:pt x="774" y="124"/>
                      <a:pt x="774" y="124"/>
                      <a:pt x="774" y="93"/>
                    </a:cubicBezTo>
                    <a:lnTo>
                      <a:pt x="774" y="93"/>
                    </a:lnTo>
                    <a:lnTo>
                      <a:pt x="774" y="93"/>
                    </a:lnTo>
                    <a:lnTo>
                      <a:pt x="774" y="93"/>
                    </a:lnTo>
                    <a:cubicBezTo>
                      <a:pt x="774" y="93"/>
                      <a:pt x="774" y="93"/>
                      <a:pt x="774" y="63"/>
                    </a:cubicBezTo>
                    <a:cubicBezTo>
                      <a:pt x="743" y="63"/>
                      <a:pt x="743" y="63"/>
                      <a:pt x="743" y="63"/>
                    </a:cubicBezTo>
                    <a:lnTo>
                      <a:pt x="743" y="63"/>
                    </a:lnTo>
                    <a:lnTo>
                      <a:pt x="743" y="63"/>
                    </a:lnTo>
                    <a:cubicBezTo>
                      <a:pt x="712" y="63"/>
                      <a:pt x="712" y="63"/>
                      <a:pt x="712" y="63"/>
                    </a:cubicBezTo>
                    <a:lnTo>
                      <a:pt x="681" y="31"/>
                    </a:lnTo>
                    <a:cubicBezTo>
                      <a:pt x="681" y="31"/>
                      <a:pt x="650" y="31"/>
                      <a:pt x="650" y="0"/>
                    </a:cubicBezTo>
                    <a:lnTo>
                      <a:pt x="619" y="0"/>
                    </a:lnTo>
                    <a:cubicBezTo>
                      <a:pt x="559" y="63"/>
                      <a:pt x="559" y="63"/>
                      <a:pt x="559" y="63"/>
                    </a:cubicBezTo>
                    <a:lnTo>
                      <a:pt x="559" y="63"/>
                    </a:lnTo>
                    <a:cubicBezTo>
                      <a:pt x="527" y="63"/>
                      <a:pt x="403" y="155"/>
                      <a:pt x="403" y="155"/>
                    </a:cubicBezTo>
                    <a:cubicBezTo>
                      <a:pt x="372" y="187"/>
                      <a:pt x="372" y="187"/>
                      <a:pt x="341" y="217"/>
                    </a:cubicBezTo>
                    <a:lnTo>
                      <a:pt x="341" y="217"/>
                    </a:lnTo>
                    <a:cubicBezTo>
                      <a:pt x="311" y="248"/>
                      <a:pt x="279" y="279"/>
                      <a:pt x="279" y="279"/>
                    </a:cubicBezTo>
                    <a:cubicBezTo>
                      <a:pt x="248" y="279"/>
                      <a:pt x="217" y="279"/>
                      <a:pt x="217" y="279"/>
                    </a:cubicBezTo>
                    <a:cubicBezTo>
                      <a:pt x="217" y="311"/>
                      <a:pt x="217" y="341"/>
                      <a:pt x="217" y="372"/>
                    </a:cubicBezTo>
                    <a:lnTo>
                      <a:pt x="217" y="403"/>
                    </a:lnTo>
                    <a:lnTo>
                      <a:pt x="217" y="403"/>
                    </a:lnTo>
                    <a:cubicBezTo>
                      <a:pt x="187" y="465"/>
                      <a:pt x="187" y="496"/>
                      <a:pt x="187" y="496"/>
                    </a:cubicBezTo>
                    <a:lnTo>
                      <a:pt x="187" y="496"/>
                    </a:lnTo>
                    <a:cubicBezTo>
                      <a:pt x="155" y="526"/>
                      <a:pt x="155" y="526"/>
                      <a:pt x="124" y="526"/>
                    </a:cubicBezTo>
                    <a:lnTo>
                      <a:pt x="124" y="526"/>
                    </a:lnTo>
                    <a:cubicBezTo>
                      <a:pt x="124" y="526"/>
                      <a:pt x="124" y="526"/>
                      <a:pt x="93" y="526"/>
                    </a:cubicBezTo>
                    <a:cubicBezTo>
                      <a:pt x="93" y="526"/>
                      <a:pt x="93" y="526"/>
                      <a:pt x="63" y="526"/>
                    </a:cubicBezTo>
                    <a:lnTo>
                      <a:pt x="63" y="526"/>
                    </a:lnTo>
                    <a:lnTo>
                      <a:pt x="31" y="526"/>
                    </a:lnTo>
                    <a:cubicBezTo>
                      <a:pt x="31" y="526"/>
                      <a:pt x="31" y="526"/>
                      <a:pt x="31" y="558"/>
                    </a:cubicBezTo>
                    <a:cubicBezTo>
                      <a:pt x="31" y="558"/>
                      <a:pt x="31" y="558"/>
                      <a:pt x="0" y="558"/>
                    </a:cubicBezTo>
                    <a:lnTo>
                      <a:pt x="0" y="558"/>
                    </a:lnTo>
                    <a:lnTo>
                      <a:pt x="0" y="558"/>
                    </a:lnTo>
                    <a:lnTo>
                      <a:pt x="0" y="588"/>
                    </a:lnTo>
                    <a:lnTo>
                      <a:pt x="0" y="588"/>
                    </a:lnTo>
                    <a:lnTo>
                      <a:pt x="31" y="588"/>
                    </a:lnTo>
                    <a:lnTo>
                      <a:pt x="31" y="619"/>
                    </a:lnTo>
                    <a:lnTo>
                      <a:pt x="31" y="619"/>
                    </a:lnTo>
                    <a:cubicBezTo>
                      <a:pt x="31" y="619"/>
                      <a:pt x="31" y="619"/>
                      <a:pt x="31" y="650"/>
                    </a:cubicBezTo>
                    <a:lnTo>
                      <a:pt x="31" y="650"/>
                    </a:lnTo>
                    <a:lnTo>
                      <a:pt x="31" y="650"/>
                    </a:lnTo>
                    <a:lnTo>
                      <a:pt x="31" y="650"/>
                    </a:lnTo>
                    <a:cubicBezTo>
                      <a:pt x="63" y="650"/>
                      <a:pt x="63" y="650"/>
                      <a:pt x="63" y="650"/>
                    </a:cubicBezTo>
                    <a:lnTo>
                      <a:pt x="63" y="650"/>
                    </a:lnTo>
                    <a:cubicBezTo>
                      <a:pt x="93" y="650"/>
                      <a:pt x="93" y="650"/>
                      <a:pt x="93" y="650"/>
                    </a:cubicBezTo>
                    <a:cubicBezTo>
                      <a:pt x="93" y="650"/>
                      <a:pt x="93" y="650"/>
                      <a:pt x="93" y="682"/>
                    </a:cubicBezTo>
                    <a:lnTo>
                      <a:pt x="93" y="682"/>
                    </a:lnTo>
                    <a:lnTo>
                      <a:pt x="124" y="650"/>
                    </a:lnTo>
                    <a:lnTo>
                      <a:pt x="124" y="650"/>
                    </a:lnTo>
                    <a:lnTo>
                      <a:pt x="124" y="682"/>
                    </a:lnTo>
                    <a:cubicBezTo>
                      <a:pt x="155" y="650"/>
                      <a:pt x="155" y="650"/>
                      <a:pt x="155" y="650"/>
                    </a:cubicBezTo>
                    <a:lnTo>
                      <a:pt x="155" y="650"/>
                    </a:lnTo>
                    <a:lnTo>
                      <a:pt x="155" y="650"/>
                    </a:lnTo>
                    <a:cubicBezTo>
                      <a:pt x="155" y="619"/>
                      <a:pt x="187" y="588"/>
                      <a:pt x="187" y="588"/>
                    </a:cubicBezTo>
                    <a:lnTo>
                      <a:pt x="187" y="588"/>
                    </a:lnTo>
                    <a:cubicBezTo>
                      <a:pt x="217" y="588"/>
                      <a:pt x="217" y="588"/>
                      <a:pt x="248" y="588"/>
                    </a:cubicBezTo>
                    <a:lnTo>
                      <a:pt x="248" y="588"/>
                    </a:lnTo>
                    <a:cubicBezTo>
                      <a:pt x="248" y="588"/>
                      <a:pt x="248" y="588"/>
                      <a:pt x="279" y="588"/>
                    </a:cubicBezTo>
                    <a:lnTo>
                      <a:pt x="279" y="588"/>
                    </a:lnTo>
                    <a:lnTo>
                      <a:pt x="279" y="588"/>
                    </a:lnTo>
                    <a:lnTo>
                      <a:pt x="279" y="588"/>
                    </a:lnTo>
                    <a:lnTo>
                      <a:pt x="279" y="588"/>
                    </a:lnTo>
                    <a:cubicBezTo>
                      <a:pt x="311" y="588"/>
                      <a:pt x="311" y="588"/>
                      <a:pt x="311" y="588"/>
                    </a:cubicBezTo>
                    <a:cubicBezTo>
                      <a:pt x="311" y="588"/>
                      <a:pt x="311" y="588"/>
                      <a:pt x="341" y="58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9" name="Freeform 6"/>
              <p:cNvSpPr>
                <a:spLocks noChangeArrowheads="1"/>
              </p:cNvSpPr>
              <p:nvPr/>
            </p:nvSpPr>
            <p:spPr bwMode="auto">
              <a:xfrm>
                <a:off x="3333750" y="2036763"/>
                <a:ext cx="212725" cy="257175"/>
              </a:xfrm>
              <a:custGeom>
                <a:avLst/>
                <a:gdLst>
                  <a:gd name="T0" fmla="*/ 32 w 590"/>
                  <a:gd name="T1" fmla="*/ 404 h 714"/>
                  <a:gd name="T2" fmla="*/ 32 w 590"/>
                  <a:gd name="T3" fmla="*/ 404 h 714"/>
                  <a:gd name="T4" fmla="*/ 32 w 590"/>
                  <a:gd name="T5" fmla="*/ 434 h 714"/>
                  <a:gd name="T6" fmla="*/ 32 w 590"/>
                  <a:gd name="T7" fmla="*/ 496 h 714"/>
                  <a:gd name="T8" fmla="*/ 62 w 590"/>
                  <a:gd name="T9" fmla="*/ 528 h 714"/>
                  <a:gd name="T10" fmla="*/ 32 w 590"/>
                  <a:gd name="T11" fmla="*/ 620 h 714"/>
                  <a:gd name="T12" fmla="*/ 32 w 590"/>
                  <a:gd name="T13" fmla="*/ 620 h 714"/>
                  <a:gd name="T14" fmla="*/ 62 w 590"/>
                  <a:gd name="T15" fmla="*/ 620 h 714"/>
                  <a:gd name="T16" fmla="*/ 93 w 590"/>
                  <a:gd name="T17" fmla="*/ 620 h 714"/>
                  <a:gd name="T18" fmla="*/ 156 w 590"/>
                  <a:gd name="T19" fmla="*/ 620 h 714"/>
                  <a:gd name="T20" fmla="*/ 156 w 590"/>
                  <a:gd name="T21" fmla="*/ 652 h 714"/>
                  <a:gd name="T22" fmla="*/ 156 w 590"/>
                  <a:gd name="T23" fmla="*/ 652 h 714"/>
                  <a:gd name="T24" fmla="*/ 186 w 590"/>
                  <a:gd name="T25" fmla="*/ 682 h 714"/>
                  <a:gd name="T26" fmla="*/ 248 w 590"/>
                  <a:gd name="T27" fmla="*/ 713 h 714"/>
                  <a:gd name="T28" fmla="*/ 248 w 590"/>
                  <a:gd name="T29" fmla="*/ 682 h 714"/>
                  <a:gd name="T30" fmla="*/ 280 w 590"/>
                  <a:gd name="T31" fmla="*/ 682 h 714"/>
                  <a:gd name="T32" fmla="*/ 280 w 590"/>
                  <a:gd name="T33" fmla="*/ 682 h 714"/>
                  <a:gd name="T34" fmla="*/ 310 w 590"/>
                  <a:gd name="T35" fmla="*/ 682 h 714"/>
                  <a:gd name="T36" fmla="*/ 310 w 590"/>
                  <a:gd name="T37" fmla="*/ 682 h 714"/>
                  <a:gd name="T38" fmla="*/ 310 w 590"/>
                  <a:gd name="T39" fmla="*/ 682 h 714"/>
                  <a:gd name="T40" fmla="*/ 341 w 590"/>
                  <a:gd name="T41" fmla="*/ 682 h 714"/>
                  <a:gd name="T42" fmla="*/ 341 w 590"/>
                  <a:gd name="T43" fmla="*/ 682 h 714"/>
                  <a:gd name="T44" fmla="*/ 372 w 590"/>
                  <a:gd name="T45" fmla="*/ 682 h 714"/>
                  <a:gd name="T46" fmla="*/ 372 w 590"/>
                  <a:gd name="T47" fmla="*/ 682 h 714"/>
                  <a:gd name="T48" fmla="*/ 372 w 590"/>
                  <a:gd name="T49" fmla="*/ 682 h 714"/>
                  <a:gd name="T50" fmla="*/ 372 w 590"/>
                  <a:gd name="T51" fmla="*/ 682 h 714"/>
                  <a:gd name="T52" fmla="*/ 404 w 590"/>
                  <a:gd name="T53" fmla="*/ 682 h 714"/>
                  <a:gd name="T54" fmla="*/ 404 w 590"/>
                  <a:gd name="T55" fmla="*/ 682 h 714"/>
                  <a:gd name="T56" fmla="*/ 404 w 590"/>
                  <a:gd name="T57" fmla="*/ 682 h 714"/>
                  <a:gd name="T58" fmla="*/ 434 w 590"/>
                  <a:gd name="T59" fmla="*/ 682 h 714"/>
                  <a:gd name="T60" fmla="*/ 434 w 590"/>
                  <a:gd name="T61" fmla="*/ 682 h 714"/>
                  <a:gd name="T62" fmla="*/ 434 w 590"/>
                  <a:gd name="T63" fmla="*/ 682 h 714"/>
                  <a:gd name="T64" fmla="*/ 434 w 590"/>
                  <a:gd name="T65" fmla="*/ 682 h 714"/>
                  <a:gd name="T66" fmla="*/ 434 w 590"/>
                  <a:gd name="T67" fmla="*/ 682 h 714"/>
                  <a:gd name="T68" fmla="*/ 589 w 590"/>
                  <a:gd name="T69" fmla="*/ 682 h 714"/>
                  <a:gd name="T70" fmla="*/ 589 w 590"/>
                  <a:gd name="T71" fmla="*/ 682 h 714"/>
                  <a:gd name="T72" fmla="*/ 589 w 590"/>
                  <a:gd name="T73" fmla="*/ 652 h 714"/>
                  <a:gd name="T74" fmla="*/ 528 w 590"/>
                  <a:gd name="T75" fmla="*/ 63 h 714"/>
                  <a:gd name="T76" fmla="*/ 558 w 590"/>
                  <a:gd name="T77" fmla="*/ 63 h 714"/>
                  <a:gd name="T78" fmla="*/ 465 w 590"/>
                  <a:gd name="T79" fmla="*/ 0 h 714"/>
                  <a:gd name="T80" fmla="*/ 465 w 590"/>
                  <a:gd name="T81" fmla="*/ 63 h 714"/>
                  <a:gd name="T82" fmla="*/ 280 w 590"/>
                  <a:gd name="T83" fmla="*/ 63 h 714"/>
                  <a:gd name="T84" fmla="*/ 280 w 590"/>
                  <a:gd name="T85" fmla="*/ 217 h 714"/>
                  <a:gd name="T86" fmla="*/ 248 w 590"/>
                  <a:gd name="T87" fmla="*/ 217 h 714"/>
                  <a:gd name="T88" fmla="*/ 248 w 590"/>
                  <a:gd name="T89" fmla="*/ 248 h 714"/>
                  <a:gd name="T90" fmla="*/ 217 w 590"/>
                  <a:gd name="T91" fmla="*/ 248 h 714"/>
                  <a:gd name="T92" fmla="*/ 217 w 590"/>
                  <a:gd name="T93" fmla="*/ 280 h 714"/>
                  <a:gd name="T94" fmla="*/ 217 w 590"/>
                  <a:gd name="T95" fmla="*/ 310 h 714"/>
                  <a:gd name="T96" fmla="*/ 217 w 590"/>
                  <a:gd name="T97" fmla="*/ 310 h 714"/>
                  <a:gd name="T98" fmla="*/ 217 w 590"/>
                  <a:gd name="T99" fmla="*/ 341 h 714"/>
                  <a:gd name="T100" fmla="*/ 217 w 590"/>
                  <a:gd name="T101" fmla="*/ 341 h 714"/>
                  <a:gd name="T102" fmla="*/ 217 w 590"/>
                  <a:gd name="T103" fmla="*/ 372 h 714"/>
                  <a:gd name="T104" fmla="*/ 0 w 590"/>
                  <a:gd name="T105" fmla="*/ 372 h 714"/>
                  <a:gd name="T106" fmla="*/ 32 w 590"/>
                  <a:gd name="T107" fmla="*/ 40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0" h="714">
                    <a:moveTo>
                      <a:pt x="32" y="404"/>
                    </a:moveTo>
                    <a:lnTo>
                      <a:pt x="32" y="404"/>
                    </a:lnTo>
                    <a:cubicBezTo>
                      <a:pt x="32" y="404"/>
                      <a:pt x="32" y="404"/>
                      <a:pt x="32" y="434"/>
                    </a:cubicBezTo>
                    <a:cubicBezTo>
                      <a:pt x="32" y="434"/>
                      <a:pt x="32" y="465"/>
                      <a:pt x="32" y="496"/>
                    </a:cubicBezTo>
                    <a:cubicBezTo>
                      <a:pt x="32" y="496"/>
                      <a:pt x="32" y="528"/>
                      <a:pt x="62" y="528"/>
                    </a:cubicBezTo>
                    <a:cubicBezTo>
                      <a:pt x="62" y="589"/>
                      <a:pt x="32" y="589"/>
                      <a:pt x="32" y="620"/>
                    </a:cubicBezTo>
                    <a:lnTo>
                      <a:pt x="32" y="620"/>
                    </a:lnTo>
                    <a:cubicBezTo>
                      <a:pt x="62" y="620"/>
                      <a:pt x="62" y="620"/>
                      <a:pt x="62" y="620"/>
                    </a:cubicBezTo>
                    <a:cubicBezTo>
                      <a:pt x="93" y="620"/>
                      <a:pt x="93" y="620"/>
                      <a:pt x="93" y="620"/>
                    </a:cubicBezTo>
                    <a:cubicBezTo>
                      <a:pt x="124" y="620"/>
                      <a:pt x="124" y="620"/>
                      <a:pt x="156" y="620"/>
                    </a:cubicBezTo>
                    <a:cubicBezTo>
                      <a:pt x="156" y="652"/>
                      <a:pt x="156" y="652"/>
                      <a:pt x="156" y="652"/>
                    </a:cubicBezTo>
                    <a:lnTo>
                      <a:pt x="156" y="652"/>
                    </a:lnTo>
                    <a:cubicBezTo>
                      <a:pt x="186" y="652"/>
                      <a:pt x="186" y="652"/>
                      <a:pt x="186" y="682"/>
                    </a:cubicBezTo>
                    <a:cubicBezTo>
                      <a:pt x="186" y="682"/>
                      <a:pt x="217" y="713"/>
                      <a:pt x="248" y="713"/>
                    </a:cubicBezTo>
                    <a:cubicBezTo>
                      <a:pt x="248" y="713"/>
                      <a:pt x="248" y="713"/>
                      <a:pt x="248" y="682"/>
                    </a:cubicBezTo>
                    <a:lnTo>
                      <a:pt x="280" y="682"/>
                    </a:lnTo>
                    <a:lnTo>
                      <a:pt x="280" y="682"/>
                    </a:lnTo>
                    <a:lnTo>
                      <a:pt x="310" y="682"/>
                    </a:lnTo>
                    <a:lnTo>
                      <a:pt x="310" y="682"/>
                    </a:lnTo>
                    <a:lnTo>
                      <a:pt x="310" y="682"/>
                    </a:lnTo>
                    <a:lnTo>
                      <a:pt x="341" y="682"/>
                    </a:lnTo>
                    <a:lnTo>
                      <a:pt x="341" y="682"/>
                    </a:lnTo>
                    <a:cubicBezTo>
                      <a:pt x="341" y="682"/>
                      <a:pt x="341" y="682"/>
                      <a:pt x="372" y="682"/>
                    </a:cubicBezTo>
                    <a:lnTo>
                      <a:pt x="372" y="682"/>
                    </a:lnTo>
                    <a:lnTo>
                      <a:pt x="372" y="682"/>
                    </a:lnTo>
                    <a:lnTo>
                      <a:pt x="372" y="682"/>
                    </a:lnTo>
                    <a:cubicBezTo>
                      <a:pt x="372" y="682"/>
                      <a:pt x="372" y="682"/>
                      <a:pt x="404" y="682"/>
                    </a:cubicBezTo>
                    <a:lnTo>
                      <a:pt x="404" y="682"/>
                    </a:lnTo>
                    <a:lnTo>
                      <a:pt x="404" y="682"/>
                    </a:lnTo>
                    <a:lnTo>
                      <a:pt x="434" y="682"/>
                    </a:lnTo>
                    <a:lnTo>
                      <a:pt x="434" y="682"/>
                    </a:lnTo>
                    <a:lnTo>
                      <a:pt x="434" y="682"/>
                    </a:lnTo>
                    <a:lnTo>
                      <a:pt x="434" y="682"/>
                    </a:lnTo>
                    <a:lnTo>
                      <a:pt x="434" y="682"/>
                    </a:lnTo>
                    <a:cubicBezTo>
                      <a:pt x="589" y="682"/>
                      <a:pt x="589" y="682"/>
                      <a:pt x="589" y="682"/>
                    </a:cubicBezTo>
                    <a:lnTo>
                      <a:pt x="589" y="682"/>
                    </a:lnTo>
                    <a:cubicBezTo>
                      <a:pt x="589" y="652"/>
                      <a:pt x="589" y="652"/>
                      <a:pt x="589" y="652"/>
                    </a:cubicBezTo>
                    <a:cubicBezTo>
                      <a:pt x="528" y="63"/>
                      <a:pt x="528" y="63"/>
                      <a:pt x="528" y="63"/>
                    </a:cubicBezTo>
                    <a:cubicBezTo>
                      <a:pt x="558" y="63"/>
                      <a:pt x="558" y="63"/>
                      <a:pt x="558" y="63"/>
                    </a:cubicBezTo>
                    <a:cubicBezTo>
                      <a:pt x="465" y="0"/>
                      <a:pt x="465" y="0"/>
                      <a:pt x="465" y="0"/>
                    </a:cubicBezTo>
                    <a:cubicBezTo>
                      <a:pt x="465" y="63"/>
                      <a:pt x="465" y="63"/>
                      <a:pt x="465" y="63"/>
                    </a:cubicBezTo>
                    <a:cubicBezTo>
                      <a:pt x="280" y="63"/>
                      <a:pt x="280" y="63"/>
                      <a:pt x="280" y="63"/>
                    </a:cubicBezTo>
                    <a:cubicBezTo>
                      <a:pt x="280" y="217"/>
                      <a:pt x="280" y="217"/>
                      <a:pt x="280" y="217"/>
                    </a:cubicBezTo>
                    <a:cubicBezTo>
                      <a:pt x="248" y="217"/>
                      <a:pt x="248" y="217"/>
                      <a:pt x="248" y="217"/>
                    </a:cubicBezTo>
                    <a:cubicBezTo>
                      <a:pt x="248" y="217"/>
                      <a:pt x="248" y="217"/>
                      <a:pt x="248" y="248"/>
                    </a:cubicBezTo>
                    <a:cubicBezTo>
                      <a:pt x="217" y="248"/>
                      <a:pt x="217" y="248"/>
                      <a:pt x="217" y="248"/>
                    </a:cubicBezTo>
                    <a:lnTo>
                      <a:pt x="217" y="280"/>
                    </a:lnTo>
                    <a:lnTo>
                      <a:pt x="217" y="310"/>
                    </a:lnTo>
                    <a:lnTo>
                      <a:pt x="217" y="310"/>
                    </a:lnTo>
                    <a:cubicBezTo>
                      <a:pt x="217" y="341"/>
                      <a:pt x="217" y="341"/>
                      <a:pt x="217" y="341"/>
                    </a:cubicBezTo>
                    <a:lnTo>
                      <a:pt x="217" y="341"/>
                    </a:lnTo>
                    <a:cubicBezTo>
                      <a:pt x="217" y="372"/>
                      <a:pt x="217" y="372"/>
                      <a:pt x="217" y="372"/>
                    </a:cubicBezTo>
                    <a:cubicBezTo>
                      <a:pt x="0" y="372"/>
                      <a:pt x="0" y="372"/>
                      <a:pt x="0" y="372"/>
                    </a:cubicBezTo>
                    <a:cubicBezTo>
                      <a:pt x="32" y="372"/>
                      <a:pt x="32" y="372"/>
                      <a:pt x="32" y="40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0" name="Freeform 7"/>
              <p:cNvSpPr>
                <a:spLocks noChangeArrowheads="1"/>
              </p:cNvSpPr>
              <p:nvPr/>
            </p:nvSpPr>
            <p:spPr bwMode="auto">
              <a:xfrm>
                <a:off x="3690938" y="2382838"/>
                <a:ext cx="33337" cy="112712"/>
              </a:xfrm>
              <a:custGeom>
                <a:avLst/>
                <a:gdLst>
                  <a:gd name="T0" fmla="*/ 62 w 94"/>
                  <a:gd name="T1" fmla="*/ 124 h 312"/>
                  <a:gd name="T2" fmla="*/ 62 w 94"/>
                  <a:gd name="T3" fmla="*/ 124 h 312"/>
                  <a:gd name="T4" fmla="*/ 93 w 94"/>
                  <a:gd name="T5" fmla="*/ 93 h 312"/>
                  <a:gd name="T6" fmla="*/ 93 w 94"/>
                  <a:gd name="T7" fmla="*/ 63 h 312"/>
                  <a:gd name="T8" fmla="*/ 93 w 94"/>
                  <a:gd name="T9" fmla="*/ 63 h 312"/>
                  <a:gd name="T10" fmla="*/ 93 w 94"/>
                  <a:gd name="T11" fmla="*/ 63 h 312"/>
                  <a:gd name="T12" fmla="*/ 93 w 94"/>
                  <a:gd name="T13" fmla="*/ 31 h 312"/>
                  <a:gd name="T14" fmla="*/ 93 w 94"/>
                  <a:gd name="T15" fmla="*/ 0 h 312"/>
                  <a:gd name="T16" fmla="*/ 93 w 94"/>
                  <a:gd name="T17" fmla="*/ 0 h 312"/>
                  <a:gd name="T18" fmla="*/ 93 w 94"/>
                  <a:gd name="T19" fmla="*/ 0 h 312"/>
                  <a:gd name="T20" fmla="*/ 93 w 94"/>
                  <a:gd name="T21" fmla="*/ 0 h 312"/>
                  <a:gd name="T22" fmla="*/ 93 w 94"/>
                  <a:gd name="T23" fmla="*/ 0 h 312"/>
                  <a:gd name="T24" fmla="*/ 93 w 94"/>
                  <a:gd name="T25" fmla="*/ 0 h 312"/>
                  <a:gd name="T26" fmla="*/ 62 w 94"/>
                  <a:gd name="T27" fmla="*/ 0 h 312"/>
                  <a:gd name="T28" fmla="*/ 62 w 94"/>
                  <a:gd name="T29" fmla="*/ 31 h 312"/>
                  <a:gd name="T30" fmla="*/ 0 w 94"/>
                  <a:gd name="T31" fmla="*/ 31 h 312"/>
                  <a:gd name="T32" fmla="*/ 0 w 94"/>
                  <a:gd name="T33" fmla="*/ 63 h 312"/>
                  <a:gd name="T34" fmla="*/ 0 w 94"/>
                  <a:gd name="T35" fmla="*/ 63 h 312"/>
                  <a:gd name="T36" fmla="*/ 0 w 94"/>
                  <a:gd name="T37" fmla="*/ 63 h 312"/>
                  <a:gd name="T38" fmla="*/ 0 w 94"/>
                  <a:gd name="T39" fmla="*/ 93 h 312"/>
                  <a:gd name="T40" fmla="*/ 32 w 94"/>
                  <a:gd name="T41" fmla="*/ 93 h 312"/>
                  <a:gd name="T42" fmla="*/ 32 w 94"/>
                  <a:gd name="T43" fmla="*/ 93 h 312"/>
                  <a:gd name="T44" fmla="*/ 32 w 94"/>
                  <a:gd name="T45" fmla="*/ 124 h 312"/>
                  <a:gd name="T46" fmla="*/ 32 w 94"/>
                  <a:gd name="T47" fmla="*/ 187 h 312"/>
                  <a:gd name="T48" fmla="*/ 32 w 94"/>
                  <a:gd name="T49" fmla="*/ 187 h 312"/>
                  <a:gd name="T50" fmla="*/ 32 w 94"/>
                  <a:gd name="T51" fmla="*/ 187 h 312"/>
                  <a:gd name="T52" fmla="*/ 32 w 94"/>
                  <a:gd name="T53" fmla="*/ 248 h 312"/>
                  <a:gd name="T54" fmla="*/ 32 w 94"/>
                  <a:gd name="T55" fmla="*/ 311 h 312"/>
                  <a:gd name="T56" fmla="*/ 32 w 94"/>
                  <a:gd name="T57" fmla="*/ 311 h 312"/>
                  <a:gd name="T58" fmla="*/ 32 w 94"/>
                  <a:gd name="T59" fmla="*/ 311 h 312"/>
                  <a:gd name="T60" fmla="*/ 62 w 94"/>
                  <a:gd name="T61" fmla="*/ 311 h 312"/>
                  <a:gd name="T62" fmla="*/ 62 w 94"/>
                  <a:gd name="T63" fmla="*/ 279 h 312"/>
                  <a:gd name="T64" fmla="*/ 62 w 94"/>
                  <a:gd name="T65" fmla="*/ 279 h 312"/>
                  <a:gd name="T66" fmla="*/ 62 w 94"/>
                  <a:gd name="T67" fmla="*/ 217 h 312"/>
                  <a:gd name="T68" fmla="*/ 62 w 94"/>
                  <a:gd name="T69" fmla="*/ 187 h 312"/>
                  <a:gd name="T70" fmla="*/ 62 w 94"/>
                  <a:gd name="T71" fmla="*/ 155 h 312"/>
                  <a:gd name="T72" fmla="*/ 62 w 94"/>
                  <a:gd name="T73" fmla="*/ 155 h 312"/>
                  <a:gd name="T74" fmla="*/ 62 w 94"/>
                  <a:gd name="T75" fmla="*/ 155 h 312"/>
                  <a:gd name="T76" fmla="*/ 62 w 94"/>
                  <a:gd name="T77" fmla="*/ 12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4" h="312">
                    <a:moveTo>
                      <a:pt x="62" y="124"/>
                    </a:moveTo>
                    <a:lnTo>
                      <a:pt x="62" y="124"/>
                    </a:lnTo>
                    <a:cubicBezTo>
                      <a:pt x="93" y="124"/>
                      <a:pt x="93" y="93"/>
                      <a:pt x="93" y="93"/>
                    </a:cubicBezTo>
                    <a:cubicBezTo>
                      <a:pt x="93" y="93"/>
                      <a:pt x="93" y="93"/>
                      <a:pt x="93" y="63"/>
                    </a:cubicBezTo>
                    <a:lnTo>
                      <a:pt x="93" y="63"/>
                    </a:lnTo>
                    <a:lnTo>
                      <a:pt x="93" y="63"/>
                    </a:lnTo>
                    <a:cubicBezTo>
                      <a:pt x="93" y="31"/>
                      <a:pt x="93" y="31"/>
                      <a:pt x="93" y="31"/>
                    </a:cubicBezTo>
                    <a:lnTo>
                      <a:pt x="93" y="0"/>
                    </a:lnTo>
                    <a:lnTo>
                      <a:pt x="93" y="0"/>
                    </a:lnTo>
                    <a:lnTo>
                      <a:pt x="93" y="0"/>
                    </a:lnTo>
                    <a:lnTo>
                      <a:pt x="93" y="0"/>
                    </a:lnTo>
                    <a:lnTo>
                      <a:pt x="93" y="0"/>
                    </a:lnTo>
                    <a:lnTo>
                      <a:pt x="93" y="0"/>
                    </a:lnTo>
                    <a:cubicBezTo>
                      <a:pt x="62" y="0"/>
                      <a:pt x="62" y="0"/>
                      <a:pt x="62" y="0"/>
                    </a:cubicBezTo>
                    <a:cubicBezTo>
                      <a:pt x="62" y="31"/>
                      <a:pt x="62" y="31"/>
                      <a:pt x="62" y="31"/>
                    </a:cubicBezTo>
                    <a:cubicBezTo>
                      <a:pt x="0" y="31"/>
                      <a:pt x="0" y="31"/>
                      <a:pt x="0" y="31"/>
                    </a:cubicBezTo>
                    <a:cubicBezTo>
                      <a:pt x="0" y="63"/>
                      <a:pt x="0" y="63"/>
                      <a:pt x="0" y="63"/>
                    </a:cubicBezTo>
                    <a:lnTo>
                      <a:pt x="0" y="63"/>
                    </a:lnTo>
                    <a:lnTo>
                      <a:pt x="0" y="63"/>
                    </a:lnTo>
                    <a:lnTo>
                      <a:pt x="0" y="93"/>
                    </a:lnTo>
                    <a:cubicBezTo>
                      <a:pt x="32" y="93"/>
                      <a:pt x="32" y="93"/>
                      <a:pt x="32" y="93"/>
                    </a:cubicBezTo>
                    <a:lnTo>
                      <a:pt x="32" y="93"/>
                    </a:lnTo>
                    <a:lnTo>
                      <a:pt x="32" y="124"/>
                    </a:lnTo>
                    <a:cubicBezTo>
                      <a:pt x="32" y="124"/>
                      <a:pt x="32" y="155"/>
                      <a:pt x="32" y="187"/>
                    </a:cubicBezTo>
                    <a:lnTo>
                      <a:pt x="32" y="187"/>
                    </a:lnTo>
                    <a:lnTo>
                      <a:pt x="32" y="187"/>
                    </a:lnTo>
                    <a:cubicBezTo>
                      <a:pt x="32" y="187"/>
                      <a:pt x="32" y="217"/>
                      <a:pt x="32" y="248"/>
                    </a:cubicBezTo>
                    <a:cubicBezTo>
                      <a:pt x="32" y="279"/>
                      <a:pt x="32" y="279"/>
                      <a:pt x="32" y="311"/>
                    </a:cubicBezTo>
                    <a:lnTo>
                      <a:pt x="32" y="311"/>
                    </a:lnTo>
                    <a:lnTo>
                      <a:pt x="32" y="311"/>
                    </a:lnTo>
                    <a:lnTo>
                      <a:pt x="62" y="311"/>
                    </a:lnTo>
                    <a:cubicBezTo>
                      <a:pt x="62" y="311"/>
                      <a:pt x="62" y="311"/>
                      <a:pt x="62" y="279"/>
                    </a:cubicBezTo>
                    <a:lnTo>
                      <a:pt x="62" y="279"/>
                    </a:lnTo>
                    <a:cubicBezTo>
                      <a:pt x="62" y="248"/>
                      <a:pt x="62" y="248"/>
                      <a:pt x="62" y="217"/>
                    </a:cubicBezTo>
                    <a:cubicBezTo>
                      <a:pt x="62" y="187"/>
                      <a:pt x="62" y="187"/>
                      <a:pt x="62" y="187"/>
                    </a:cubicBezTo>
                    <a:lnTo>
                      <a:pt x="62" y="155"/>
                    </a:lnTo>
                    <a:lnTo>
                      <a:pt x="62" y="155"/>
                    </a:lnTo>
                    <a:lnTo>
                      <a:pt x="62" y="155"/>
                    </a:lnTo>
                    <a:cubicBezTo>
                      <a:pt x="62" y="124"/>
                      <a:pt x="62" y="124"/>
                      <a:pt x="62" y="12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1" name="Freeform 8"/>
              <p:cNvSpPr>
                <a:spLocks noChangeArrowheads="1"/>
              </p:cNvSpPr>
              <p:nvPr/>
            </p:nvSpPr>
            <p:spPr bwMode="auto">
              <a:xfrm>
                <a:off x="3435350" y="2081213"/>
                <a:ext cx="301625" cy="323850"/>
              </a:xfrm>
              <a:custGeom>
                <a:avLst/>
                <a:gdLst>
                  <a:gd name="T0" fmla="*/ 185 w 837"/>
                  <a:gd name="T1" fmla="*/ 836 h 900"/>
                  <a:gd name="T2" fmla="*/ 185 w 837"/>
                  <a:gd name="T3" fmla="*/ 867 h 900"/>
                  <a:gd name="T4" fmla="*/ 185 w 837"/>
                  <a:gd name="T5" fmla="*/ 867 h 900"/>
                  <a:gd name="T6" fmla="*/ 216 w 837"/>
                  <a:gd name="T7" fmla="*/ 899 h 900"/>
                  <a:gd name="T8" fmla="*/ 248 w 837"/>
                  <a:gd name="T9" fmla="*/ 899 h 900"/>
                  <a:gd name="T10" fmla="*/ 248 w 837"/>
                  <a:gd name="T11" fmla="*/ 899 h 900"/>
                  <a:gd name="T12" fmla="*/ 278 w 837"/>
                  <a:gd name="T13" fmla="*/ 867 h 900"/>
                  <a:gd name="T14" fmla="*/ 309 w 837"/>
                  <a:gd name="T15" fmla="*/ 867 h 900"/>
                  <a:gd name="T16" fmla="*/ 309 w 837"/>
                  <a:gd name="T17" fmla="*/ 867 h 900"/>
                  <a:gd name="T18" fmla="*/ 309 w 837"/>
                  <a:gd name="T19" fmla="*/ 867 h 900"/>
                  <a:gd name="T20" fmla="*/ 309 w 837"/>
                  <a:gd name="T21" fmla="*/ 836 h 900"/>
                  <a:gd name="T22" fmla="*/ 309 w 837"/>
                  <a:gd name="T23" fmla="*/ 836 h 900"/>
                  <a:gd name="T24" fmla="*/ 309 w 837"/>
                  <a:gd name="T25" fmla="*/ 836 h 900"/>
                  <a:gd name="T26" fmla="*/ 371 w 837"/>
                  <a:gd name="T27" fmla="*/ 775 h 900"/>
                  <a:gd name="T28" fmla="*/ 371 w 837"/>
                  <a:gd name="T29" fmla="*/ 743 h 900"/>
                  <a:gd name="T30" fmla="*/ 402 w 837"/>
                  <a:gd name="T31" fmla="*/ 712 h 900"/>
                  <a:gd name="T32" fmla="*/ 433 w 837"/>
                  <a:gd name="T33" fmla="*/ 712 h 900"/>
                  <a:gd name="T34" fmla="*/ 464 w 837"/>
                  <a:gd name="T35" fmla="*/ 681 h 900"/>
                  <a:gd name="T36" fmla="*/ 464 w 837"/>
                  <a:gd name="T37" fmla="*/ 681 h 900"/>
                  <a:gd name="T38" fmla="*/ 464 w 837"/>
                  <a:gd name="T39" fmla="*/ 651 h 900"/>
                  <a:gd name="T40" fmla="*/ 496 w 837"/>
                  <a:gd name="T41" fmla="*/ 651 h 900"/>
                  <a:gd name="T42" fmla="*/ 526 w 837"/>
                  <a:gd name="T43" fmla="*/ 619 h 900"/>
                  <a:gd name="T44" fmla="*/ 557 w 837"/>
                  <a:gd name="T45" fmla="*/ 619 h 900"/>
                  <a:gd name="T46" fmla="*/ 650 w 837"/>
                  <a:gd name="T47" fmla="*/ 589 h 900"/>
                  <a:gd name="T48" fmla="*/ 650 w 837"/>
                  <a:gd name="T49" fmla="*/ 589 h 900"/>
                  <a:gd name="T50" fmla="*/ 681 w 837"/>
                  <a:gd name="T51" fmla="*/ 589 h 900"/>
                  <a:gd name="T52" fmla="*/ 712 w 837"/>
                  <a:gd name="T53" fmla="*/ 558 h 900"/>
                  <a:gd name="T54" fmla="*/ 744 w 837"/>
                  <a:gd name="T55" fmla="*/ 558 h 900"/>
                  <a:gd name="T56" fmla="*/ 805 w 837"/>
                  <a:gd name="T57" fmla="*/ 558 h 900"/>
                  <a:gd name="T58" fmla="*/ 836 w 837"/>
                  <a:gd name="T59" fmla="*/ 558 h 900"/>
                  <a:gd name="T60" fmla="*/ 836 w 837"/>
                  <a:gd name="T61" fmla="*/ 496 h 900"/>
                  <a:gd name="T62" fmla="*/ 836 w 837"/>
                  <a:gd name="T63" fmla="*/ 465 h 900"/>
                  <a:gd name="T64" fmla="*/ 805 w 837"/>
                  <a:gd name="T65" fmla="*/ 404 h 900"/>
                  <a:gd name="T66" fmla="*/ 774 w 837"/>
                  <a:gd name="T67" fmla="*/ 372 h 900"/>
                  <a:gd name="T68" fmla="*/ 774 w 837"/>
                  <a:gd name="T69" fmla="*/ 341 h 900"/>
                  <a:gd name="T70" fmla="*/ 744 w 837"/>
                  <a:gd name="T71" fmla="*/ 310 h 900"/>
                  <a:gd name="T72" fmla="*/ 681 w 837"/>
                  <a:gd name="T73" fmla="*/ 248 h 900"/>
                  <a:gd name="T74" fmla="*/ 309 w 837"/>
                  <a:gd name="T75" fmla="*/ 0 h 900"/>
                  <a:gd name="T76" fmla="*/ 371 w 837"/>
                  <a:gd name="T77" fmla="*/ 528 h 900"/>
                  <a:gd name="T78" fmla="*/ 154 w 837"/>
                  <a:gd name="T79" fmla="*/ 619 h 900"/>
                  <a:gd name="T80" fmla="*/ 154 w 837"/>
                  <a:gd name="T81" fmla="*/ 619 h 900"/>
                  <a:gd name="T82" fmla="*/ 92 w 837"/>
                  <a:gd name="T83" fmla="*/ 619 h 900"/>
                  <a:gd name="T84" fmla="*/ 61 w 837"/>
                  <a:gd name="T85" fmla="*/ 619 h 900"/>
                  <a:gd name="T86" fmla="*/ 30 w 837"/>
                  <a:gd name="T87" fmla="*/ 651 h 900"/>
                  <a:gd name="T88" fmla="*/ 0 w 837"/>
                  <a:gd name="T89" fmla="*/ 619 h 900"/>
                  <a:gd name="T90" fmla="*/ 0 w 837"/>
                  <a:gd name="T91" fmla="*/ 681 h 900"/>
                  <a:gd name="T92" fmla="*/ 0 w 837"/>
                  <a:gd name="T93" fmla="*/ 712 h 900"/>
                  <a:gd name="T94" fmla="*/ 0 w 837"/>
                  <a:gd name="T95" fmla="*/ 712 h 900"/>
                  <a:gd name="T96" fmla="*/ 30 w 837"/>
                  <a:gd name="T97" fmla="*/ 775 h 900"/>
                  <a:gd name="T98" fmla="*/ 30 w 837"/>
                  <a:gd name="T99" fmla="*/ 775 h 900"/>
                  <a:gd name="T100" fmla="*/ 30 w 837"/>
                  <a:gd name="T101" fmla="*/ 775 h 900"/>
                  <a:gd name="T102" fmla="*/ 30 w 837"/>
                  <a:gd name="T103" fmla="*/ 775 h 900"/>
                  <a:gd name="T104" fmla="*/ 30 w 837"/>
                  <a:gd name="T105" fmla="*/ 775 h 900"/>
                  <a:gd name="T106" fmla="*/ 61 w 837"/>
                  <a:gd name="T107" fmla="*/ 775 h 900"/>
                  <a:gd name="T108" fmla="*/ 92 w 837"/>
                  <a:gd name="T109" fmla="*/ 775 h 900"/>
                  <a:gd name="T110" fmla="*/ 92 w 837"/>
                  <a:gd name="T111" fmla="*/ 775 h 900"/>
                  <a:gd name="T112" fmla="*/ 124 w 837"/>
                  <a:gd name="T113" fmla="*/ 775 h 900"/>
                  <a:gd name="T114" fmla="*/ 124 w 837"/>
                  <a:gd name="T115" fmla="*/ 743 h 900"/>
                  <a:gd name="T116" fmla="*/ 154 w 837"/>
                  <a:gd name="T117" fmla="*/ 805 h 900"/>
                  <a:gd name="T118" fmla="*/ 154 w 837"/>
                  <a:gd name="T119" fmla="*/ 805 h 900"/>
                  <a:gd name="T120" fmla="*/ 185 w 837"/>
                  <a:gd name="T121" fmla="*/ 805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7" h="900">
                    <a:moveTo>
                      <a:pt x="185" y="836"/>
                    </a:moveTo>
                    <a:lnTo>
                      <a:pt x="185" y="836"/>
                    </a:lnTo>
                    <a:lnTo>
                      <a:pt x="185" y="867"/>
                    </a:lnTo>
                    <a:lnTo>
                      <a:pt x="185" y="867"/>
                    </a:lnTo>
                    <a:lnTo>
                      <a:pt x="185" y="867"/>
                    </a:lnTo>
                    <a:lnTo>
                      <a:pt x="185" y="867"/>
                    </a:lnTo>
                    <a:lnTo>
                      <a:pt x="185" y="899"/>
                    </a:lnTo>
                    <a:cubicBezTo>
                      <a:pt x="216" y="899"/>
                      <a:pt x="216" y="899"/>
                      <a:pt x="216" y="899"/>
                    </a:cubicBezTo>
                    <a:lnTo>
                      <a:pt x="248" y="899"/>
                    </a:lnTo>
                    <a:lnTo>
                      <a:pt x="248" y="899"/>
                    </a:lnTo>
                    <a:lnTo>
                      <a:pt x="248" y="899"/>
                    </a:lnTo>
                    <a:lnTo>
                      <a:pt x="248" y="899"/>
                    </a:lnTo>
                    <a:cubicBezTo>
                      <a:pt x="248" y="899"/>
                      <a:pt x="248" y="899"/>
                      <a:pt x="248" y="867"/>
                    </a:cubicBezTo>
                    <a:cubicBezTo>
                      <a:pt x="278" y="867"/>
                      <a:pt x="278" y="867"/>
                      <a:pt x="278" y="867"/>
                    </a:cubicBezTo>
                    <a:lnTo>
                      <a:pt x="278" y="867"/>
                    </a:lnTo>
                    <a:cubicBezTo>
                      <a:pt x="309" y="867"/>
                      <a:pt x="309" y="867"/>
                      <a:pt x="309" y="867"/>
                    </a:cubicBezTo>
                    <a:lnTo>
                      <a:pt x="309" y="867"/>
                    </a:lnTo>
                    <a:lnTo>
                      <a:pt x="309" y="867"/>
                    </a:lnTo>
                    <a:lnTo>
                      <a:pt x="309" y="867"/>
                    </a:lnTo>
                    <a:lnTo>
                      <a:pt x="309" y="867"/>
                    </a:lnTo>
                    <a:lnTo>
                      <a:pt x="309" y="867"/>
                    </a:lnTo>
                    <a:lnTo>
                      <a:pt x="309" y="836"/>
                    </a:lnTo>
                    <a:lnTo>
                      <a:pt x="309" y="836"/>
                    </a:lnTo>
                    <a:lnTo>
                      <a:pt x="309" y="836"/>
                    </a:lnTo>
                    <a:lnTo>
                      <a:pt x="309" y="836"/>
                    </a:lnTo>
                    <a:lnTo>
                      <a:pt x="309" y="836"/>
                    </a:lnTo>
                    <a:cubicBezTo>
                      <a:pt x="309" y="805"/>
                      <a:pt x="309" y="805"/>
                      <a:pt x="340" y="775"/>
                    </a:cubicBezTo>
                    <a:lnTo>
                      <a:pt x="371" y="775"/>
                    </a:lnTo>
                    <a:lnTo>
                      <a:pt x="371" y="775"/>
                    </a:lnTo>
                    <a:cubicBezTo>
                      <a:pt x="371" y="775"/>
                      <a:pt x="371" y="775"/>
                      <a:pt x="371" y="743"/>
                    </a:cubicBezTo>
                    <a:cubicBezTo>
                      <a:pt x="371" y="743"/>
                      <a:pt x="371" y="712"/>
                      <a:pt x="402" y="712"/>
                    </a:cubicBezTo>
                    <a:lnTo>
                      <a:pt x="402" y="712"/>
                    </a:lnTo>
                    <a:cubicBezTo>
                      <a:pt x="402" y="681"/>
                      <a:pt x="402" y="681"/>
                      <a:pt x="402" y="681"/>
                    </a:cubicBezTo>
                    <a:cubicBezTo>
                      <a:pt x="433" y="712"/>
                      <a:pt x="433" y="712"/>
                      <a:pt x="433" y="712"/>
                    </a:cubicBezTo>
                    <a:cubicBezTo>
                      <a:pt x="433" y="681"/>
                      <a:pt x="464" y="681"/>
                      <a:pt x="464" y="681"/>
                    </a:cubicBezTo>
                    <a:lnTo>
                      <a:pt x="464" y="681"/>
                    </a:lnTo>
                    <a:lnTo>
                      <a:pt x="464" y="681"/>
                    </a:lnTo>
                    <a:lnTo>
                      <a:pt x="464" y="681"/>
                    </a:lnTo>
                    <a:lnTo>
                      <a:pt x="464" y="681"/>
                    </a:lnTo>
                    <a:lnTo>
                      <a:pt x="464" y="651"/>
                    </a:lnTo>
                    <a:cubicBezTo>
                      <a:pt x="496" y="651"/>
                      <a:pt x="496" y="651"/>
                      <a:pt x="496" y="651"/>
                    </a:cubicBezTo>
                    <a:lnTo>
                      <a:pt x="496" y="651"/>
                    </a:lnTo>
                    <a:cubicBezTo>
                      <a:pt x="496" y="619"/>
                      <a:pt x="496" y="619"/>
                      <a:pt x="496" y="619"/>
                    </a:cubicBezTo>
                    <a:cubicBezTo>
                      <a:pt x="526" y="619"/>
                      <a:pt x="526" y="619"/>
                      <a:pt x="526" y="619"/>
                    </a:cubicBezTo>
                    <a:cubicBezTo>
                      <a:pt x="526" y="619"/>
                      <a:pt x="526" y="619"/>
                      <a:pt x="557" y="619"/>
                    </a:cubicBezTo>
                    <a:lnTo>
                      <a:pt x="557" y="619"/>
                    </a:lnTo>
                    <a:cubicBezTo>
                      <a:pt x="588" y="589"/>
                      <a:pt x="588" y="589"/>
                      <a:pt x="620" y="589"/>
                    </a:cubicBezTo>
                    <a:cubicBezTo>
                      <a:pt x="620" y="589"/>
                      <a:pt x="620" y="589"/>
                      <a:pt x="650" y="589"/>
                    </a:cubicBezTo>
                    <a:lnTo>
                      <a:pt x="650" y="589"/>
                    </a:lnTo>
                    <a:lnTo>
                      <a:pt x="650" y="589"/>
                    </a:lnTo>
                    <a:cubicBezTo>
                      <a:pt x="650" y="589"/>
                      <a:pt x="650" y="589"/>
                      <a:pt x="681" y="589"/>
                    </a:cubicBezTo>
                    <a:lnTo>
                      <a:pt x="681" y="589"/>
                    </a:lnTo>
                    <a:cubicBezTo>
                      <a:pt x="681" y="589"/>
                      <a:pt x="681" y="589"/>
                      <a:pt x="712" y="558"/>
                    </a:cubicBezTo>
                    <a:lnTo>
                      <a:pt x="712" y="558"/>
                    </a:lnTo>
                    <a:lnTo>
                      <a:pt x="744" y="558"/>
                    </a:lnTo>
                    <a:lnTo>
                      <a:pt x="744" y="558"/>
                    </a:lnTo>
                    <a:lnTo>
                      <a:pt x="774" y="558"/>
                    </a:lnTo>
                    <a:cubicBezTo>
                      <a:pt x="805" y="558"/>
                      <a:pt x="805" y="558"/>
                      <a:pt x="805" y="558"/>
                    </a:cubicBezTo>
                    <a:lnTo>
                      <a:pt x="805" y="558"/>
                    </a:lnTo>
                    <a:lnTo>
                      <a:pt x="836" y="558"/>
                    </a:lnTo>
                    <a:lnTo>
                      <a:pt x="836" y="558"/>
                    </a:lnTo>
                    <a:cubicBezTo>
                      <a:pt x="836" y="558"/>
                      <a:pt x="836" y="528"/>
                      <a:pt x="836" y="496"/>
                    </a:cubicBezTo>
                    <a:lnTo>
                      <a:pt x="836" y="496"/>
                    </a:lnTo>
                    <a:cubicBezTo>
                      <a:pt x="836" y="465"/>
                      <a:pt x="836" y="465"/>
                      <a:pt x="836" y="465"/>
                    </a:cubicBezTo>
                    <a:cubicBezTo>
                      <a:pt x="836" y="434"/>
                      <a:pt x="836" y="404"/>
                      <a:pt x="836" y="404"/>
                    </a:cubicBezTo>
                    <a:lnTo>
                      <a:pt x="805" y="404"/>
                    </a:lnTo>
                    <a:lnTo>
                      <a:pt x="805" y="404"/>
                    </a:lnTo>
                    <a:cubicBezTo>
                      <a:pt x="774" y="372"/>
                      <a:pt x="774" y="372"/>
                      <a:pt x="774" y="372"/>
                    </a:cubicBezTo>
                    <a:cubicBezTo>
                      <a:pt x="774" y="341"/>
                      <a:pt x="774" y="341"/>
                      <a:pt x="774" y="341"/>
                    </a:cubicBezTo>
                    <a:lnTo>
                      <a:pt x="774" y="341"/>
                    </a:lnTo>
                    <a:cubicBezTo>
                      <a:pt x="774" y="341"/>
                      <a:pt x="774" y="310"/>
                      <a:pt x="744" y="310"/>
                    </a:cubicBezTo>
                    <a:lnTo>
                      <a:pt x="744" y="310"/>
                    </a:lnTo>
                    <a:cubicBezTo>
                      <a:pt x="681" y="248"/>
                      <a:pt x="681" y="248"/>
                      <a:pt x="681" y="248"/>
                    </a:cubicBezTo>
                    <a:lnTo>
                      <a:pt x="681" y="248"/>
                    </a:lnTo>
                    <a:cubicBezTo>
                      <a:pt x="340" y="0"/>
                      <a:pt x="340" y="0"/>
                      <a:pt x="340" y="0"/>
                    </a:cubicBezTo>
                    <a:cubicBezTo>
                      <a:pt x="309" y="0"/>
                      <a:pt x="309" y="0"/>
                      <a:pt x="309" y="0"/>
                    </a:cubicBezTo>
                    <a:cubicBezTo>
                      <a:pt x="340" y="496"/>
                      <a:pt x="340" y="496"/>
                      <a:pt x="340" y="496"/>
                    </a:cubicBezTo>
                    <a:cubicBezTo>
                      <a:pt x="371" y="528"/>
                      <a:pt x="371" y="528"/>
                      <a:pt x="371" y="528"/>
                    </a:cubicBezTo>
                    <a:cubicBezTo>
                      <a:pt x="340" y="619"/>
                      <a:pt x="340" y="619"/>
                      <a:pt x="340" y="619"/>
                    </a:cubicBezTo>
                    <a:cubicBezTo>
                      <a:pt x="154" y="619"/>
                      <a:pt x="154" y="619"/>
                      <a:pt x="154" y="619"/>
                    </a:cubicBezTo>
                    <a:lnTo>
                      <a:pt x="154" y="619"/>
                    </a:lnTo>
                    <a:lnTo>
                      <a:pt x="154" y="619"/>
                    </a:lnTo>
                    <a:cubicBezTo>
                      <a:pt x="124" y="619"/>
                      <a:pt x="124" y="619"/>
                      <a:pt x="124" y="619"/>
                    </a:cubicBezTo>
                    <a:lnTo>
                      <a:pt x="92" y="619"/>
                    </a:lnTo>
                    <a:lnTo>
                      <a:pt x="92" y="619"/>
                    </a:lnTo>
                    <a:lnTo>
                      <a:pt x="61" y="619"/>
                    </a:lnTo>
                    <a:lnTo>
                      <a:pt x="61" y="619"/>
                    </a:lnTo>
                    <a:cubicBezTo>
                      <a:pt x="61" y="651"/>
                      <a:pt x="61" y="651"/>
                      <a:pt x="30" y="651"/>
                    </a:cubicBezTo>
                    <a:lnTo>
                      <a:pt x="30" y="651"/>
                    </a:lnTo>
                    <a:lnTo>
                      <a:pt x="0" y="619"/>
                    </a:lnTo>
                    <a:cubicBezTo>
                      <a:pt x="0" y="651"/>
                      <a:pt x="0" y="651"/>
                      <a:pt x="0" y="651"/>
                    </a:cubicBezTo>
                    <a:lnTo>
                      <a:pt x="0" y="681"/>
                    </a:lnTo>
                    <a:lnTo>
                      <a:pt x="0" y="681"/>
                    </a:lnTo>
                    <a:cubicBezTo>
                      <a:pt x="0" y="712"/>
                      <a:pt x="0" y="712"/>
                      <a:pt x="0" y="712"/>
                    </a:cubicBezTo>
                    <a:lnTo>
                      <a:pt x="0" y="712"/>
                    </a:lnTo>
                    <a:lnTo>
                      <a:pt x="0" y="712"/>
                    </a:lnTo>
                    <a:cubicBezTo>
                      <a:pt x="0" y="712"/>
                      <a:pt x="30" y="712"/>
                      <a:pt x="30" y="743"/>
                    </a:cubicBezTo>
                    <a:cubicBezTo>
                      <a:pt x="30" y="743"/>
                      <a:pt x="30" y="743"/>
                      <a:pt x="30" y="775"/>
                    </a:cubicBezTo>
                    <a:lnTo>
                      <a:pt x="30" y="775"/>
                    </a:lnTo>
                    <a:lnTo>
                      <a:pt x="30" y="775"/>
                    </a:lnTo>
                    <a:lnTo>
                      <a:pt x="30" y="775"/>
                    </a:lnTo>
                    <a:lnTo>
                      <a:pt x="30" y="775"/>
                    </a:lnTo>
                    <a:lnTo>
                      <a:pt x="30" y="775"/>
                    </a:lnTo>
                    <a:lnTo>
                      <a:pt x="30" y="775"/>
                    </a:lnTo>
                    <a:lnTo>
                      <a:pt x="30" y="775"/>
                    </a:lnTo>
                    <a:lnTo>
                      <a:pt x="30" y="775"/>
                    </a:lnTo>
                    <a:cubicBezTo>
                      <a:pt x="61" y="775"/>
                      <a:pt x="61" y="775"/>
                      <a:pt x="61" y="775"/>
                    </a:cubicBezTo>
                    <a:lnTo>
                      <a:pt x="61" y="775"/>
                    </a:lnTo>
                    <a:cubicBezTo>
                      <a:pt x="61" y="775"/>
                      <a:pt x="61" y="775"/>
                      <a:pt x="92" y="775"/>
                    </a:cubicBezTo>
                    <a:lnTo>
                      <a:pt x="92" y="775"/>
                    </a:lnTo>
                    <a:lnTo>
                      <a:pt x="92" y="775"/>
                    </a:lnTo>
                    <a:lnTo>
                      <a:pt x="92" y="775"/>
                    </a:lnTo>
                    <a:lnTo>
                      <a:pt x="124" y="775"/>
                    </a:lnTo>
                    <a:lnTo>
                      <a:pt x="124" y="775"/>
                    </a:lnTo>
                    <a:cubicBezTo>
                      <a:pt x="124" y="743"/>
                      <a:pt x="124" y="743"/>
                      <a:pt x="124" y="743"/>
                    </a:cubicBezTo>
                    <a:lnTo>
                      <a:pt x="124" y="743"/>
                    </a:lnTo>
                    <a:cubicBezTo>
                      <a:pt x="154" y="743"/>
                      <a:pt x="154" y="743"/>
                      <a:pt x="154" y="775"/>
                    </a:cubicBezTo>
                    <a:cubicBezTo>
                      <a:pt x="154" y="775"/>
                      <a:pt x="154" y="775"/>
                      <a:pt x="154" y="805"/>
                    </a:cubicBezTo>
                    <a:lnTo>
                      <a:pt x="154" y="805"/>
                    </a:lnTo>
                    <a:lnTo>
                      <a:pt x="154" y="805"/>
                    </a:lnTo>
                    <a:lnTo>
                      <a:pt x="154" y="805"/>
                    </a:lnTo>
                    <a:cubicBezTo>
                      <a:pt x="154" y="805"/>
                      <a:pt x="154" y="805"/>
                      <a:pt x="185" y="805"/>
                    </a:cubicBezTo>
                    <a:lnTo>
                      <a:pt x="185" y="836"/>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2" name="Freeform 9"/>
              <p:cNvSpPr>
                <a:spLocks noChangeArrowheads="1"/>
              </p:cNvSpPr>
              <p:nvPr/>
            </p:nvSpPr>
            <p:spPr bwMode="auto">
              <a:xfrm>
                <a:off x="4706938" y="2070100"/>
                <a:ext cx="66675" cy="44450"/>
              </a:xfrm>
              <a:custGeom>
                <a:avLst/>
                <a:gdLst>
                  <a:gd name="T0" fmla="*/ 186 w 187"/>
                  <a:gd name="T1" fmla="*/ 0 h 125"/>
                  <a:gd name="T2" fmla="*/ 186 w 187"/>
                  <a:gd name="T3" fmla="*/ 0 h 125"/>
                  <a:gd name="T4" fmla="*/ 186 w 187"/>
                  <a:gd name="T5" fmla="*/ 0 h 125"/>
                  <a:gd name="T6" fmla="*/ 154 w 187"/>
                  <a:gd name="T7" fmla="*/ 31 h 125"/>
                  <a:gd name="T8" fmla="*/ 124 w 187"/>
                  <a:gd name="T9" fmla="*/ 93 h 125"/>
                  <a:gd name="T10" fmla="*/ 93 w 187"/>
                  <a:gd name="T11" fmla="*/ 63 h 125"/>
                  <a:gd name="T12" fmla="*/ 93 w 187"/>
                  <a:gd name="T13" fmla="*/ 63 h 125"/>
                  <a:gd name="T14" fmla="*/ 93 w 187"/>
                  <a:gd name="T15" fmla="*/ 63 h 125"/>
                  <a:gd name="T16" fmla="*/ 93 w 187"/>
                  <a:gd name="T17" fmla="*/ 93 h 125"/>
                  <a:gd name="T18" fmla="*/ 93 w 187"/>
                  <a:gd name="T19" fmla="*/ 93 h 125"/>
                  <a:gd name="T20" fmla="*/ 62 w 187"/>
                  <a:gd name="T21" fmla="*/ 93 h 125"/>
                  <a:gd name="T22" fmla="*/ 62 w 187"/>
                  <a:gd name="T23" fmla="*/ 93 h 125"/>
                  <a:gd name="T24" fmla="*/ 30 w 187"/>
                  <a:gd name="T25" fmla="*/ 93 h 125"/>
                  <a:gd name="T26" fmla="*/ 30 w 187"/>
                  <a:gd name="T27" fmla="*/ 93 h 125"/>
                  <a:gd name="T28" fmla="*/ 30 w 187"/>
                  <a:gd name="T29" fmla="*/ 93 h 125"/>
                  <a:gd name="T30" fmla="*/ 0 w 187"/>
                  <a:gd name="T31" fmla="*/ 93 h 125"/>
                  <a:gd name="T32" fmla="*/ 0 w 187"/>
                  <a:gd name="T33" fmla="*/ 124 h 125"/>
                  <a:gd name="T34" fmla="*/ 0 w 187"/>
                  <a:gd name="T35" fmla="*/ 124 h 125"/>
                  <a:gd name="T36" fmla="*/ 62 w 187"/>
                  <a:gd name="T37" fmla="*/ 124 h 125"/>
                  <a:gd name="T38" fmla="*/ 93 w 187"/>
                  <a:gd name="T39" fmla="*/ 124 h 125"/>
                  <a:gd name="T40" fmla="*/ 124 w 187"/>
                  <a:gd name="T41" fmla="*/ 124 h 125"/>
                  <a:gd name="T42" fmla="*/ 154 w 187"/>
                  <a:gd name="T43" fmla="*/ 93 h 125"/>
                  <a:gd name="T44" fmla="*/ 154 w 187"/>
                  <a:gd name="T45" fmla="*/ 93 h 125"/>
                  <a:gd name="T46" fmla="*/ 154 w 187"/>
                  <a:gd name="T47" fmla="*/ 63 h 125"/>
                  <a:gd name="T48" fmla="*/ 154 w 187"/>
                  <a:gd name="T49" fmla="*/ 63 h 125"/>
                  <a:gd name="T50" fmla="*/ 186 w 187"/>
                  <a:gd name="T51" fmla="*/ 31 h 125"/>
                  <a:gd name="T52" fmla="*/ 186 w 187"/>
                  <a:gd name="T53" fmla="*/ 31 h 125"/>
                  <a:gd name="T54" fmla="*/ 186 w 187"/>
                  <a:gd name="T55" fmla="*/ 31 h 125"/>
                  <a:gd name="T56" fmla="*/ 186 w 187"/>
                  <a:gd name="T57" fmla="*/ 31 h 125"/>
                  <a:gd name="T58" fmla="*/ 186 w 187"/>
                  <a:gd name="T5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7" h="125">
                    <a:moveTo>
                      <a:pt x="186" y="0"/>
                    </a:moveTo>
                    <a:lnTo>
                      <a:pt x="186" y="0"/>
                    </a:lnTo>
                    <a:lnTo>
                      <a:pt x="186" y="0"/>
                    </a:lnTo>
                    <a:cubicBezTo>
                      <a:pt x="154" y="31"/>
                      <a:pt x="154" y="31"/>
                      <a:pt x="154" y="31"/>
                    </a:cubicBezTo>
                    <a:cubicBezTo>
                      <a:pt x="154" y="63"/>
                      <a:pt x="124" y="93"/>
                      <a:pt x="124" y="93"/>
                    </a:cubicBezTo>
                    <a:cubicBezTo>
                      <a:pt x="124" y="93"/>
                      <a:pt x="93" y="93"/>
                      <a:pt x="93" y="63"/>
                    </a:cubicBezTo>
                    <a:lnTo>
                      <a:pt x="93" y="63"/>
                    </a:lnTo>
                    <a:lnTo>
                      <a:pt x="93" y="63"/>
                    </a:lnTo>
                    <a:cubicBezTo>
                      <a:pt x="93" y="93"/>
                      <a:pt x="93" y="93"/>
                      <a:pt x="93" y="93"/>
                    </a:cubicBezTo>
                    <a:lnTo>
                      <a:pt x="93" y="93"/>
                    </a:lnTo>
                    <a:cubicBezTo>
                      <a:pt x="62" y="93"/>
                      <a:pt x="62" y="93"/>
                      <a:pt x="62" y="93"/>
                    </a:cubicBezTo>
                    <a:lnTo>
                      <a:pt x="62" y="93"/>
                    </a:lnTo>
                    <a:cubicBezTo>
                      <a:pt x="30" y="93"/>
                      <a:pt x="30" y="93"/>
                      <a:pt x="30" y="93"/>
                    </a:cubicBezTo>
                    <a:lnTo>
                      <a:pt x="30" y="93"/>
                    </a:lnTo>
                    <a:lnTo>
                      <a:pt x="30" y="93"/>
                    </a:lnTo>
                    <a:cubicBezTo>
                      <a:pt x="0" y="93"/>
                      <a:pt x="0" y="93"/>
                      <a:pt x="0" y="93"/>
                    </a:cubicBezTo>
                    <a:lnTo>
                      <a:pt x="0" y="124"/>
                    </a:lnTo>
                    <a:lnTo>
                      <a:pt x="0" y="124"/>
                    </a:lnTo>
                    <a:cubicBezTo>
                      <a:pt x="0" y="124"/>
                      <a:pt x="30" y="124"/>
                      <a:pt x="62" y="124"/>
                    </a:cubicBezTo>
                    <a:cubicBezTo>
                      <a:pt x="62" y="124"/>
                      <a:pt x="62" y="124"/>
                      <a:pt x="93" y="124"/>
                    </a:cubicBezTo>
                    <a:lnTo>
                      <a:pt x="124" y="124"/>
                    </a:lnTo>
                    <a:cubicBezTo>
                      <a:pt x="124" y="124"/>
                      <a:pt x="124" y="93"/>
                      <a:pt x="154" y="93"/>
                    </a:cubicBezTo>
                    <a:lnTo>
                      <a:pt x="154" y="93"/>
                    </a:lnTo>
                    <a:cubicBezTo>
                      <a:pt x="154" y="63"/>
                      <a:pt x="154" y="63"/>
                      <a:pt x="154" y="63"/>
                    </a:cubicBezTo>
                    <a:lnTo>
                      <a:pt x="154" y="63"/>
                    </a:lnTo>
                    <a:cubicBezTo>
                      <a:pt x="154" y="63"/>
                      <a:pt x="154" y="31"/>
                      <a:pt x="186" y="31"/>
                    </a:cubicBezTo>
                    <a:lnTo>
                      <a:pt x="186" y="31"/>
                    </a:lnTo>
                    <a:lnTo>
                      <a:pt x="186" y="31"/>
                    </a:lnTo>
                    <a:lnTo>
                      <a:pt x="186" y="31"/>
                    </a:lnTo>
                    <a:cubicBezTo>
                      <a:pt x="186" y="31"/>
                      <a:pt x="186" y="31"/>
                      <a:pt x="186"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3" name="Freeform 10"/>
              <p:cNvSpPr>
                <a:spLocks noChangeArrowheads="1"/>
              </p:cNvSpPr>
              <p:nvPr/>
            </p:nvSpPr>
            <p:spPr bwMode="auto">
              <a:xfrm>
                <a:off x="4360863" y="1925638"/>
                <a:ext cx="401637" cy="334962"/>
              </a:xfrm>
              <a:custGeom>
                <a:avLst/>
                <a:gdLst>
                  <a:gd name="T0" fmla="*/ 465 w 1116"/>
                  <a:gd name="T1" fmla="*/ 867 h 930"/>
                  <a:gd name="T2" fmla="*/ 527 w 1116"/>
                  <a:gd name="T3" fmla="*/ 867 h 930"/>
                  <a:gd name="T4" fmla="*/ 589 w 1116"/>
                  <a:gd name="T5" fmla="*/ 898 h 930"/>
                  <a:gd name="T6" fmla="*/ 651 w 1116"/>
                  <a:gd name="T7" fmla="*/ 929 h 930"/>
                  <a:gd name="T8" fmla="*/ 713 w 1116"/>
                  <a:gd name="T9" fmla="*/ 867 h 930"/>
                  <a:gd name="T10" fmla="*/ 806 w 1116"/>
                  <a:gd name="T11" fmla="*/ 805 h 930"/>
                  <a:gd name="T12" fmla="*/ 837 w 1116"/>
                  <a:gd name="T13" fmla="*/ 805 h 930"/>
                  <a:gd name="T14" fmla="*/ 930 w 1116"/>
                  <a:gd name="T15" fmla="*/ 774 h 930"/>
                  <a:gd name="T16" fmla="*/ 930 w 1116"/>
                  <a:gd name="T17" fmla="*/ 774 h 930"/>
                  <a:gd name="T18" fmla="*/ 1023 w 1116"/>
                  <a:gd name="T19" fmla="*/ 743 h 930"/>
                  <a:gd name="T20" fmla="*/ 1115 w 1116"/>
                  <a:gd name="T21" fmla="*/ 589 h 930"/>
                  <a:gd name="T22" fmla="*/ 1023 w 1116"/>
                  <a:gd name="T23" fmla="*/ 589 h 930"/>
                  <a:gd name="T24" fmla="*/ 899 w 1116"/>
                  <a:gd name="T25" fmla="*/ 526 h 930"/>
                  <a:gd name="T26" fmla="*/ 899 w 1116"/>
                  <a:gd name="T27" fmla="*/ 495 h 930"/>
                  <a:gd name="T28" fmla="*/ 899 w 1116"/>
                  <a:gd name="T29" fmla="*/ 465 h 930"/>
                  <a:gd name="T30" fmla="*/ 867 w 1116"/>
                  <a:gd name="T31" fmla="*/ 465 h 930"/>
                  <a:gd name="T32" fmla="*/ 806 w 1116"/>
                  <a:gd name="T33" fmla="*/ 372 h 930"/>
                  <a:gd name="T34" fmla="*/ 806 w 1116"/>
                  <a:gd name="T35" fmla="*/ 309 h 930"/>
                  <a:gd name="T36" fmla="*/ 775 w 1116"/>
                  <a:gd name="T37" fmla="*/ 278 h 930"/>
                  <a:gd name="T38" fmla="*/ 713 w 1116"/>
                  <a:gd name="T39" fmla="*/ 217 h 930"/>
                  <a:gd name="T40" fmla="*/ 682 w 1116"/>
                  <a:gd name="T41" fmla="*/ 185 h 930"/>
                  <a:gd name="T42" fmla="*/ 651 w 1116"/>
                  <a:gd name="T43" fmla="*/ 185 h 930"/>
                  <a:gd name="T44" fmla="*/ 651 w 1116"/>
                  <a:gd name="T45" fmla="*/ 185 h 930"/>
                  <a:gd name="T46" fmla="*/ 527 w 1116"/>
                  <a:gd name="T47" fmla="*/ 185 h 930"/>
                  <a:gd name="T48" fmla="*/ 403 w 1116"/>
                  <a:gd name="T49" fmla="*/ 61 h 930"/>
                  <a:gd name="T50" fmla="*/ 371 w 1116"/>
                  <a:gd name="T51" fmla="*/ 30 h 930"/>
                  <a:gd name="T52" fmla="*/ 310 w 1116"/>
                  <a:gd name="T53" fmla="*/ 30 h 930"/>
                  <a:gd name="T54" fmla="*/ 278 w 1116"/>
                  <a:gd name="T55" fmla="*/ 0 h 930"/>
                  <a:gd name="T56" fmla="*/ 217 w 1116"/>
                  <a:gd name="T57" fmla="*/ 30 h 930"/>
                  <a:gd name="T58" fmla="*/ 186 w 1116"/>
                  <a:gd name="T59" fmla="*/ 0 h 930"/>
                  <a:gd name="T60" fmla="*/ 186 w 1116"/>
                  <a:gd name="T61" fmla="*/ 30 h 930"/>
                  <a:gd name="T62" fmla="*/ 186 w 1116"/>
                  <a:gd name="T63" fmla="*/ 30 h 930"/>
                  <a:gd name="T64" fmla="*/ 124 w 1116"/>
                  <a:gd name="T65" fmla="*/ 124 h 930"/>
                  <a:gd name="T66" fmla="*/ 93 w 1116"/>
                  <a:gd name="T67" fmla="*/ 124 h 930"/>
                  <a:gd name="T68" fmla="*/ 31 w 1116"/>
                  <a:gd name="T69" fmla="*/ 185 h 930"/>
                  <a:gd name="T70" fmla="*/ 31 w 1116"/>
                  <a:gd name="T71" fmla="*/ 154 h 930"/>
                  <a:gd name="T72" fmla="*/ 31 w 1116"/>
                  <a:gd name="T73" fmla="*/ 217 h 930"/>
                  <a:gd name="T74" fmla="*/ 124 w 1116"/>
                  <a:gd name="T75" fmla="*/ 372 h 930"/>
                  <a:gd name="T76" fmla="*/ 155 w 1116"/>
                  <a:gd name="T77" fmla="*/ 465 h 930"/>
                  <a:gd name="T78" fmla="*/ 217 w 1116"/>
                  <a:gd name="T79" fmla="*/ 526 h 930"/>
                  <a:gd name="T80" fmla="*/ 248 w 1116"/>
                  <a:gd name="T81" fmla="*/ 589 h 930"/>
                  <a:gd name="T82" fmla="*/ 371 w 1116"/>
                  <a:gd name="T83" fmla="*/ 805 h 930"/>
                  <a:gd name="T84" fmla="*/ 434 w 1116"/>
                  <a:gd name="T85" fmla="*/ 898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6" h="930">
                    <a:moveTo>
                      <a:pt x="465" y="867"/>
                    </a:moveTo>
                    <a:lnTo>
                      <a:pt x="465" y="867"/>
                    </a:lnTo>
                    <a:lnTo>
                      <a:pt x="465" y="867"/>
                    </a:lnTo>
                    <a:cubicBezTo>
                      <a:pt x="495" y="867"/>
                      <a:pt x="495" y="867"/>
                      <a:pt x="495" y="867"/>
                    </a:cubicBezTo>
                    <a:lnTo>
                      <a:pt x="495" y="867"/>
                    </a:lnTo>
                    <a:cubicBezTo>
                      <a:pt x="527" y="867"/>
                      <a:pt x="527" y="867"/>
                      <a:pt x="527" y="867"/>
                    </a:cubicBezTo>
                    <a:lnTo>
                      <a:pt x="527" y="867"/>
                    </a:lnTo>
                    <a:cubicBezTo>
                      <a:pt x="558" y="867"/>
                      <a:pt x="558" y="867"/>
                      <a:pt x="558" y="898"/>
                    </a:cubicBezTo>
                    <a:cubicBezTo>
                      <a:pt x="589" y="898"/>
                      <a:pt x="589" y="898"/>
                      <a:pt x="589" y="898"/>
                    </a:cubicBezTo>
                    <a:cubicBezTo>
                      <a:pt x="619" y="898"/>
                      <a:pt x="619" y="929"/>
                      <a:pt x="651" y="929"/>
                    </a:cubicBezTo>
                    <a:lnTo>
                      <a:pt x="651" y="929"/>
                    </a:lnTo>
                    <a:lnTo>
                      <a:pt x="651" y="929"/>
                    </a:lnTo>
                    <a:lnTo>
                      <a:pt x="651" y="929"/>
                    </a:lnTo>
                    <a:cubicBezTo>
                      <a:pt x="651" y="898"/>
                      <a:pt x="651" y="898"/>
                      <a:pt x="651" y="898"/>
                    </a:cubicBezTo>
                    <a:cubicBezTo>
                      <a:pt x="682" y="898"/>
                      <a:pt x="682" y="867"/>
                      <a:pt x="713" y="867"/>
                    </a:cubicBezTo>
                    <a:lnTo>
                      <a:pt x="743" y="837"/>
                    </a:lnTo>
                    <a:cubicBezTo>
                      <a:pt x="775" y="805"/>
                      <a:pt x="775" y="805"/>
                      <a:pt x="775" y="805"/>
                    </a:cubicBezTo>
                    <a:cubicBezTo>
                      <a:pt x="775" y="805"/>
                      <a:pt x="775" y="805"/>
                      <a:pt x="806" y="805"/>
                    </a:cubicBezTo>
                    <a:lnTo>
                      <a:pt x="806" y="805"/>
                    </a:lnTo>
                    <a:lnTo>
                      <a:pt x="806" y="805"/>
                    </a:lnTo>
                    <a:lnTo>
                      <a:pt x="837" y="805"/>
                    </a:lnTo>
                    <a:cubicBezTo>
                      <a:pt x="837" y="805"/>
                      <a:pt x="867" y="805"/>
                      <a:pt x="867" y="774"/>
                    </a:cubicBezTo>
                    <a:cubicBezTo>
                      <a:pt x="867" y="774"/>
                      <a:pt x="899" y="774"/>
                      <a:pt x="930" y="774"/>
                    </a:cubicBezTo>
                    <a:lnTo>
                      <a:pt x="930" y="774"/>
                    </a:lnTo>
                    <a:lnTo>
                      <a:pt x="930" y="774"/>
                    </a:lnTo>
                    <a:lnTo>
                      <a:pt x="930" y="774"/>
                    </a:lnTo>
                    <a:lnTo>
                      <a:pt x="930" y="774"/>
                    </a:lnTo>
                    <a:lnTo>
                      <a:pt x="930" y="774"/>
                    </a:lnTo>
                    <a:cubicBezTo>
                      <a:pt x="930" y="774"/>
                      <a:pt x="961" y="774"/>
                      <a:pt x="961" y="743"/>
                    </a:cubicBezTo>
                    <a:cubicBezTo>
                      <a:pt x="991" y="743"/>
                      <a:pt x="1023" y="743"/>
                      <a:pt x="1023" y="743"/>
                    </a:cubicBezTo>
                    <a:cubicBezTo>
                      <a:pt x="1023" y="713"/>
                      <a:pt x="1054" y="713"/>
                      <a:pt x="1085" y="713"/>
                    </a:cubicBezTo>
                    <a:cubicBezTo>
                      <a:pt x="1115" y="589"/>
                      <a:pt x="1115" y="589"/>
                      <a:pt x="1115" y="589"/>
                    </a:cubicBezTo>
                    <a:lnTo>
                      <a:pt x="1115" y="589"/>
                    </a:lnTo>
                    <a:cubicBezTo>
                      <a:pt x="1115" y="589"/>
                      <a:pt x="1115" y="589"/>
                      <a:pt x="1085" y="589"/>
                    </a:cubicBezTo>
                    <a:cubicBezTo>
                      <a:pt x="1085" y="589"/>
                      <a:pt x="1054" y="589"/>
                      <a:pt x="1023" y="589"/>
                    </a:cubicBezTo>
                    <a:lnTo>
                      <a:pt x="1023" y="589"/>
                    </a:lnTo>
                    <a:cubicBezTo>
                      <a:pt x="991" y="589"/>
                      <a:pt x="961" y="589"/>
                      <a:pt x="961" y="589"/>
                    </a:cubicBezTo>
                    <a:lnTo>
                      <a:pt x="961" y="589"/>
                    </a:lnTo>
                    <a:cubicBezTo>
                      <a:pt x="930" y="589"/>
                      <a:pt x="930" y="557"/>
                      <a:pt x="899" y="526"/>
                    </a:cubicBezTo>
                    <a:lnTo>
                      <a:pt x="899" y="526"/>
                    </a:lnTo>
                    <a:lnTo>
                      <a:pt x="899" y="526"/>
                    </a:lnTo>
                    <a:cubicBezTo>
                      <a:pt x="899" y="495"/>
                      <a:pt x="899" y="495"/>
                      <a:pt x="899" y="495"/>
                    </a:cubicBezTo>
                    <a:lnTo>
                      <a:pt x="899" y="495"/>
                    </a:lnTo>
                    <a:lnTo>
                      <a:pt x="899" y="495"/>
                    </a:lnTo>
                    <a:cubicBezTo>
                      <a:pt x="899" y="495"/>
                      <a:pt x="899" y="495"/>
                      <a:pt x="899" y="465"/>
                    </a:cubicBezTo>
                    <a:lnTo>
                      <a:pt x="899" y="465"/>
                    </a:lnTo>
                    <a:cubicBezTo>
                      <a:pt x="899" y="465"/>
                      <a:pt x="899" y="465"/>
                      <a:pt x="899" y="433"/>
                    </a:cubicBezTo>
                    <a:lnTo>
                      <a:pt x="867" y="465"/>
                    </a:lnTo>
                    <a:lnTo>
                      <a:pt x="867" y="465"/>
                    </a:lnTo>
                    <a:cubicBezTo>
                      <a:pt x="867" y="465"/>
                      <a:pt x="867" y="433"/>
                      <a:pt x="837" y="402"/>
                    </a:cubicBezTo>
                    <a:lnTo>
                      <a:pt x="806" y="372"/>
                    </a:lnTo>
                    <a:cubicBezTo>
                      <a:pt x="806" y="372"/>
                      <a:pt x="806" y="372"/>
                      <a:pt x="806" y="341"/>
                    </a:cubicBezTo>
                    <a:lnTo>
                      <a:pt x="806" y="341"/>
                    </a:lnTo>
                    <a:cubicBezTo>
                      <a:pt x="806" y="309"/>
                      <a:pt x="806" y="309"/>
                      <a:pt x="806" y="309"/>
                    </a:cubicBezTo>
                    <a:lnTo>
                      <a:pt x="806" y="309"/>
                    </a:lnTo>
                    <a:lnTo>
                      <a:pt x="806" y="309"/>
                    </a:lnTo>
                    <a:cubicBezTo>
                      <a:pt x="806" y="278"/>
                      <a:pt x="775" y="278"/>
                      <a:pt x="775" y="278"/>
                    </a:cubicBezTo>
                    <a:cubicBezTo>
                      <a:pt x="775" y="278"/>
                      <a:pt x="743" y="248"/>
                      <a:pt x="743" y="217"/>
                    </a:cubicBezTo>
                    <a:cubicBezTo>
                      <a:pt x="713" y="217"/>
                      <a:pt x="713" y="217"/>
                      <a:pt x="713" y="217"/>
                    </a:cubicBezTo>
                    <a:lnTo>
                      <a:pt x="713" y="217"/>
                    </a:lnTo>
                    <a:lnTo>
                      <a:pt x="713" y="217"/>
                    </a:lnTo>
                    <a:cubicBezTo>
                      <a:pt x="682" y="217"/>
                      <a:pt x="682" y="217"/>
                      <a:pt x="682" y="185"/>
                    </a:cubicBezTo>
                    <a:lnTo>
                      <a:pt x="682" y="185"/>
                    </a:lnTo>
                    <a:cubicBezTo>
                      <a:pt x="651" y="185"/>
                      <a:pt x="651" y="185"/>
                      <a:pt x="651" y="185"/>
                    </a:cubicBezTo>
                    <a:lnTo>
                      <a:pt x="651" y="185"/>
                    </a:lnTo>
                    <a:lnTo>
                      <a:pt x="651" y="185"/>
                    </a:lnTo>
                    <a:lnTo>
                      <a:pt x="651" y="185"/>
                    </a:lnTo>
                    <a:lnTo>
                      <a:pt x="651" y="185"/>
                    </a:lnTo>
                    <a:lnTo>
                      <a:pt x="651" y="185"/>
                    </a:lnTo>
                    <a:cubicBezTo>
                      <a:pt x="619" y="185"/>
                      <a:pt x="619" y="185"/>
                      <a:pt x="619" y="185"/>
                    </a:cubicBezTo>
                    <a:lnTo>
                      <a:pt x="619" y="185"/>
                    </a:lnTo>
                    <a:cubicBezTo>
                      <a:pt x="589" y="185"/>
                      <a:pt x="558" y="185"/>
                      <a:pt x="527" y="185"/>
                    </a:cubicBezTo>
                    <a:cubicBezTo>
                      <a:pt x="495" y="154"/>
                      <a:pt x="465" y="124"/>
                      <a:pt x="465" y="93"/>
                    </a:cubicBezTo>
                    <a:cubicBezTo>
                      <a:pt x="434" y="93"/>
                      <a:pt x="434" y="93"/>
                      <a:pt x="434" y="93"/>
                    </a:cubicBezTo>
                    <a:lnTo>
                      <a:pt x="403" y="61"/>
                    </a:lnTo>
                    <a:lnTo>
                      <a:pt x="371" y="30"/>
                    </a:lnTo>
                    <a:lnTo>
                      <a:pt x="371" y="30"/>
                    </a:lnTo>
                    <a:lnTo>
                      <a:pt x="371" y="30"/>
                    </a:lnTo>
                    <a:cubicBezTo>
                      <a:pt x="371" y="30"/>
                      <a:pt x="371" y="30"/>
                      <a:pt x="341" y="30"/>
                    </a:cubicBezTo>
                    <a:lnTo>
                      <a:pt x="341" y="30"/>
                    </a:lnTo>
                    <a:cubicBezTo>
                      <a:pt x="341" y="30"/>
                      <a:pt x="341" y="30"/>
                      <a:pt x="310" y="30"/>
                    </a:cubicBezTo>
                    <a:cubicBezTo>
                      <a:pt x="310" y="30"/>
                      <a:pt x="310" y="30"/>
                      <a:pt x="310" y="0"/>
                    </a:cubicBezTo>
                    <a:cubicBezTo>
                      <a:pt x="310" y="0"/>
                      <a:pt x="310" y="0"/>
                      <a:pt x="278" y="0"/>
                    </a:cubicBezTo>
                    <a:lnTo>
                      <a:pt x="278" y="0"/>
                    </a:lnTo>
                    <a:cubicBezTo>
                      <a:pt x="248" y="0"/>
                      <a:pt x="248" y="0"/>
                      <a:pt x="248" y="0"/>
                    </a:cubicBezTo>
                    <a:lnTo>
                      <a:pt x="217" y="0"/>
                    </a:lnTo>
                    <a:cubicBezTo>
                      <a:pt x="217" y="30"/>
                      <a:pt x="217" y="30"/>
                      <a:pt x="217" y="30"/>
                    </a:cubicBezTo>
                    <a:cubicBezTo>
                      <a:pt x="217" y="0"/>
                      <a:pt x="217" y="0"/>
                      <a:pt x="217" y="0"/>
                    </a:cubicBezTo>
                    <a:lnTo>
                      <a:pt x="217" y="0"/>
                    </a:lnTo>
                    <a:cubicBezTo>
                      <a:pt x="186" y="0"/>
                      <a:pt x="186" y="0"/>
                      <a:pt x="186" y="0"/>
                    </a:cubicBezTo>
                    <a:lnTo>
                      <a:pt x="186" y="0"/>
                    </a:lnTo>
                    <a:cubicBezTo>
                      <a:pt x="186" y="0"/>
                      <a:pt x="186" y="0"/>
                      <a:pt x="155" y="0"/>
                    </a:cubicBezTo>
                    <a:cubicBezTo>
                      <a:pt x="186" y="0"/>
                      <a:pt x="186" y="30"/>
                      <a:pt x="186" y="30"/>
                    </a:cubicBezTo>
                    <a:lnTo>
                      <a:pt x="186" y="30"/>
                    </a:lnTo>
                    <a:lnTo>
                      <a:pt x="186" y="30"/>
                    </a:lnTo>
                    <a:lnTo>
                      <a:pt x="186" y="30"/>
                    </a:lnTo>
                    <a:cubicBezTo>
                      <a:pt x="186" y="61"/>
                      <a:pt x="186" y="93"/>
                      <a:pt x="155" y="93"/>
                    </a:cubicBezTo>
                    <a:lnTo>
                      <a:pt x="155" y="93"/>
                    </a:lnTo>
                    <a:cubicBezTo>
                      <a:pt x="155" y="124"/>
                      <a:pt x="124" y="124"/>
                      <a:pt x="124" y="124"/>
                    </a:cubicBezTo>
                    <a:lnTo>
                      <a:pt x="124" y="124"/>
                    </a:lnTo>
                    <a:lnTo>
                      <a:pt x="124" y="124"/>
                    </a:lnTo>
                    <a:lnTo>
                      <a:pt x="93" y="124"/>
                    </a:lnTo>
                    <a:cubicBezTo>
                      <a:pt x="93" y="154"/>
                      <a:pt x="93" y="154"/>
                      <a:pt x="62" y="154"/>
                    </a:cubicBezTo>
                    <a:lnTo>
                      <a:pt x="62" y="154"/>
                    </a:lnTo>
                    <a:cubicBezTo>
                      <a:pt x="62" y="185"/>
                      <a:pt x="62" y="185"/>
                      <a:pt x="31" y="185"/>
                    </a:cubicBezTo>
                    <a:lnTo>
                      <a:pt x="31" y="185"/>
                    </a:lnTo>
                    <a:lnTo>
                      <a:pt x="31" y="185"/>
                    </a:lnTo>
                    <a:lnTo>
                      <a:pt x="31" y="154"/>
                    </a:lnTo>
                    <a:lnTo>
                      <a:pt x="0" y="154"/>
                    </a:lnTo>
                    <a:cubicBezTo>
                      <a:pt x="0" y="185"/>
                      <a:pt x="0" y="185"/>
                      <a:pt x="0" y="185"/>
                    </a:cubicBezTo>
                    <a:cubicBezTo>
                      <a:pt x="31" y="185"/>
                      <a:pt x="31" y="217"/>
                      <a:pt x="31" y="217"/>
                    </a:cubicBezTo>
                    <a:cubicBezTo>
                      <a:pt x="62" y="248"/>
                      <a:pt x="62" y="278"/>
                      <a:pt x="93" y="309"/>
                    </a:cubicBezTo>
                    <a:cubicBezTo>
                      <a:pt x="93" y="341"/>
                      <a:pt x="93" y="341"/>
                      <a:pt x="93" y="341"/>
                    </a:cubicBezTo>
                    <a:cubicBezTo>
                      <a:pt x="93" y="341"/>
                      <a:pt x="124" y="341"/>
                      <a:pt x="124" y="372"/>
                    </a:cubicBezTo>
                    <a:cubicBezTo>
                      <a:pt x="124" y="372"/>
                      <a:pt x="155" y="402"/>
                      <a:pt x="155" y="433"/>
                    </a:cubicBezTo>
                    <a:lnTo>
                      <a:pt x="155" y="433"/>
                    </a:lnTo>
                    <a:cubicBezTo>
                      <a:pt x="155" y="433"/>
                      <a:pt x="155" y="433"/>
                      <a:pt x="155" y="465"/>
                    </a:cubicBezTo>
                    <a:cubicBezTo>
                      <a:pt x="186" y="465"/>
                      <a:pt x="186" y="465"/>
                      <a:pt x="186" y="465"/>
                    </a:cubicBezTo>
                    <a:cubicBezTo>
                      <a:pt x="186" y="465"/>
                      <a:pt x="217" y="465"/>
                      <a:pt x="217" y="495"/>
                    </a:cubicBezTo>
                    <a:cubicBezTo>
                      <a:pt x="217" y="495"/>
                      <a:pt x="217" y="495"/>
                      <a:pt x="217" y="526"/>
                    </a:cubicBezTo>
                    <a:cubicBezTo>
                      <a:pt x="248" y="526"/>
                      <a:pt x="248" y="526"/>
                      <a:pt x="248" y="526"/>
                    </a:cubicBezTo>
                    <a:cubicBezTo>
                      <a:pt x="248" y="557"/>
                      <a:pt x="248" y="589"/>
                      <a:pt x="248" y="589"/>
                    </a:cubicBezTo>
                    <a:lnTo>
                      <a:pt x="248" y="589"/>
                    </a:lnTo>
                    <a:cubicBezTo>
                      <a:pt x="248" y="619"/>
                      <a:pt x="248" y="650"/>
                      <a:pt x="248" y="650"/>
                    </a:cubicBezTo>
                    <a:cubicBezTo>
                      <a:pt x="278" y="681"/>
                      <a:pt x="310" y="713"/>
                      <a:pt x="310" y="713"/>
                    </a:cubicBezTo>
                    <a:cubicBezTo>
                      <a:pt x="341" y="713"/>
                      <a:pt x="341" y="743"/>
                      <a:pt x="371" y="805"/>
                    </a:cubicBezTo>
                    <a:cubicBezTo>
                      <a:pt x="371" y="837"/>
                      <a:pt x="371" y="837"/>
                      <a:pt x="403" y="867"/>
                    </a:cubicBezTo>
                    <a:cubicBezTo>
                      <a:pt x="403" y="867"/>
                      <a:pt x="434" y="867"/>
                      <a:pt x="434" y="898"/>
                    </a:cubicBezTo>
                    <a:lnTo>
                      <a:pt x="434" y="898"/>
                    </a:lnTo>
                    <a:cubicBezTo>
                      <a:pt x="434" y="867"/>
                      <a:pt x="434" y="867"/>
                      <a:pt x="465" y="86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4" name="Freeform 11"/>
              <p:cNvSpPr>
                <a:spLocks noChangeArrowheads="1"/>
              </p:cNvSpPr>
              <p:nvPr/>
            </p:nvSpPr>
            <p:spPr bwMode="auto">
              <a:xfrm>
                <a:off x="4338638" y="2327275"/>
                <a:ext cx="257175" cy="234950"/>
              </a:xfrm>
              <a:custGeom>
                <a:avLst/>
                <a:gdLst>
                  <a:gd name="T0" fmla="*/ 465 w 714"/>
                  <a:gd name="T1" fmla="*/ 218 h 652"/>
                  <a:gd name="T2" fmla="*/ 403 w 714"/>
                  <a:gd name="T3" fmla="*/ 186 h 652"/>
                  <a:gd name="T4" fmla="*/ 403 w 714"/>
                  <a:gd name="T5" fmla="*/ 155 h 652"/>
                  <a:gd name="T6" fmla="*/ 433 w 714"/>
                  <a:gd name="T7" fmla="*/ 94 h 652"/>
                  <a:gd name="T8" fmla="*/ 403 w 714"/>
                  <a:gd name="T9" fmla="*/ 62 h 652"/>
                  <a:gd name="T10" fmla="*/ 372 w 714"/>
                  <a:gd name="T11" fmla="*/ 31 h 652"/>
                  <a:gd name="T12" fmla="*/ 310 w 714"/>
                  <a:gd name="T13" fmla="*/ 0 h 652"/>
                  <a:gd name="T14" fmla="*/ 248 w 714"/>
                  <a:gd name="T15" fmla="*/ 0 h 652"/>
                  <a:gd name="T16" fmla="*/ 248 w 714"/>
                  <a:gd name="T17" fmla="*/ 0 h 652"/>
                  <a:gd name="T18" fmla="*/ 217 w 714"/>
                  <a:gd name="T19" fmla="*/ 0 h 652"/>
                  <a:gd name="T20" fmla="*/ 217 w 714"/>
                  <a:gd name="T21" fmla="*/ 0 h 652"/>
                  <a:gd name="T22" fmla="*/ 217 w 714"/>
                  <a:gd name="T23" fmla="*/ 31 h 652"/>
                  <a:gd name="T24" fmla="*/ 186 w 714"/>
                  <a:gd name="T25" fmla="*/ 0 h 652"/>
                  <a:gd name="T26" fmla="*/ 155 w 714"/>
                  <a:gd name="T27" fmla="*/ 31 h 652"/>
                  <a:gd name="T28" fmla="*/ 155 w 714"/>
                  <a:gd name="T29" fmla="*/ 62 h 652"/>
                  <a:gd name="T30" fmla="*/ 155 w 714"/>
                  <a:gd name="T31" fmla="*/ 94 h 652"/>
                  <a:gd name="T32" fmla="*/ 124 w 714"/>
                  <a:gd name="T33" fmla="*/ 124 h 652"/>
                  <a:gd name="T34" fmla="*/ 124 w 714"/>
                  <a:gd name="T35" fmla="*/ 124 h 652"/>
                  <a:gd name="T36" fmla="*/ 93 w 714"/>
                  <a:gd name="T37" fmla="*/ 155 h 652"/>
                  <a:gd name="T38" fmla="*/ 93 w 714"/>
                  <a:gd name="T39" fmla="*/ 218 h 652"/>
                  <a:gd name="T40" fmla="*/ 62 w 714"/>
                  <a:gd name="T41" fmla="*/ 248 h 652"/>
                  <a:gd name="T42" fmla="*/ 62 w 714"/>
                  <a:gd name="T43" fmla="*/ 248 h 652"/>
                  <a:gd name="T44" fmla="*/ 62 w 714"/>
                  <a:gd name="T45" fmla="*/ 248 h 652"/>
                  <a:gd name="T46" fmla="*/ 31 w 714"/>
                  <a:gd name="T47" fmla="*/ 279 h 652"/>
                  <a:gd name="T48" fmla="*/ 31 w 714"/>
                  <a:gd name="T49" fmla="*/ 279 h 652"/>
                  <a:gd name="T50" fmla="*/ 31 w 714"/>
                  <a:gd name="T51" fmla="*/ 310 h 652"/>
                  <a:gd name="T52" fmla="*/ 31 w 714"/>
                  <a:gd name="T53" fmla="*/ 372 h 652"/>
                  <a:gd name="T54" fmla="*/ 0 w 714"/>
                  <a:gd name="T55" fmla="*/ 372 h 652"/>
                  <a:gd name="T56" fmla="*/ 31 w 714"/>
                  <a:gd name="T57" fmla="*/ 403 h 652"/>
                  <a:gd name="T58" fmla="*/ 62 w 714"/>
                  <a:gd name="T59" fmla="*/ 496 h 652"/>
                  <a:gd name="T60" fmla="*/ 93 w 714"/>
                  <a:gd name="T61" fmla="*/ 527 h 652"/>
                  <a:gd name="T62" fmla="*/ 93 w 714"/>
                  <a:gd name="T63" fmla="*/ 527 h 652"/>
                  <a:gd name="T64" fmla="*/ 124 w 714"/>
                  <a:gd name="T65" fmla="*/ 558 h 652"/>
                  <a:gd name="T66" fmla="*/ 124 w 714"/>
                  <a:gd name="T67" fmla="*/ 589 h 652"/>
                  <a:gd name="T68" fmla="*/ 124 w 714"/>
                  <a:gd name="T69" fmla="*/ 589 h 652"/>
                  <a:gd name="T70" fmla="*/ 217 w 714"/>
                  <a:gd name="T71" fmla="*/ 620 h 652"/>
                  <a:gd name="T72" fmla="*/ 248 w 714"/>
                  <a:gd name="T73" fmla="*/ 651 h 652"/>
                  <a:gd name="T74" fmla="*/ 310 w 714"/>
                  <a:gd name="T75" fmla="*/ 651 h 652"/>
                  <a:gd name="T76" fmla="*/ 340 w 714"/>
                  <a:gd name="T77" fmla="*/ 620 h 652"/>
                  <a:gd name="T78" fmla="*/ 372 w 714"/>
                  <a:gd name="T79" fmla="*/ 589 h 652"/>
                  <a:gd name="T80" fmla="*/ 403 w 714"/>
                  <a:gd name="T81" fmla="*/ 620 h 652"/>
                  <a:gd name="T82" fmla="*/ 403 w 714"/>
                  <a:gd name="T83" fmla="*/ 620 h 652"/>
                  <a:gd name="T84" fmla="*/ 433 w 714"/>
                  <a:gd name="T85" fmla="*/ 589 h 652"/>
                  <a:gd name="T86" fmla="*/ 465 w 714"/>
                  <a:gd name="T87" fmla="*/ 589 h 652"/>
                  <a:gd name="T88" fmla="*/ 496 w 714"/>
                  <a:gd name="T89" fmla="*/ 589 h 652"/>
                  <a:gd name="T90" fmla="*/ 557 w 714"/>
                  <a:gd name="T91" fmla="*/ 558 h 652"/>
                  <a:gd name="T92" fmla="*/ 620 w 714"/>
                  <a:gd name="T93" fmla="*/ 558 h 652"/>
                  <a:gd name="T94" fmla="*/ 681 w 714"/>
                  <a:gd name="T95" fmla="*/ 403 h 652"/>
                  <a:gd name="T96" fmla="*/ 589 w 714"/>
                  <a:gd name="T97" fmla="*/ 372 h 652"/>
                  <a:gd name="T98" fmla="*/ 527 w 714"/>
                  <a:gd name="T99" fmla="*/ 34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4" h="652">
                    <a:moveTo>
                      <a:pt x="465" y="218"/>
                    </a:moveTo>
                    <a:lnTo>
                      <a:pt x="465" y="218"/>
                    </a:lnTo>
                    <a:cubicBezTo>
                      <a:pt x="465" y="218"/>
                      <a:pt x="465" y="218"/>
                      <a:pt x="433" y="218"/>
                    </a:cubicBezTo>
                    <a:cubicBezTo>
                      <a:pt x="433" y="218"/>
                      <a:pt x="403" y="218"/>
                      <a:pt x="403" y="186"/>
                    </a:cubicBezTo>
                    <a:lnTo>
                      <a:pt x="403" y="186"/>
                    </a:lnTo>
                    <a:lnTo>
                      <a:pt x="403" y="155"/>
                    </a:lnTo>
                    <a:lnTo>
                      <a:pt x="403" y="124"/>
                    </a:lnTo>
                    <a:cubicBezTo>
                      <a:pt x="433" y="124"/>
                      <a:pt x="433" y="124"/>
                      <a:pt x="433" y="94"/>
                    </a:cubicBezTo>
                    <a:lnTo>
                      <a:pt x="433" y="94"/>
                    </a:lnTo>
                    <a:cubicBezTo>
                      <a:pt x="433" y="94"/>
                      <a:pt x="433" y="94"/>
                      <a:pt x="403" y="62"/>
                    </a:cubicBezTo>
                    <a:cubicBezTo>
                      <a:pt x="403" y="62"/>
                      <a:pt x="403" y="62"/>
                      <a:pt x="372" y="31"/>
                    </a:cubicBezTo>
                    <a:lnTo>
                      <a:pt x="372" y="31"/>
                    </a:lnTo>
                    <a:cubicBezTo>
                      <a:pt x="340" y="0"/>
                      <a:pt x="310" y="0"/>
                      <a:pt x="310" y="0"/>
                    </a:cubicBezTo>
                    <a:lnTo>
                      <a:pt x="310" y="0"/>
                    </a:lnTo>
                    <a:cubicBezTo>
                      <a:pt x="279" y="0"/>
                      <a:pt x="279" y="0"/>
                      <a:pt x="279" y="0"/>
                    </a:cubicBezTo>
                    <a:cubicBezTo>
                      <a:pt x="279" y="0"/>
                      <a:pt x="279" y="0"/>
                      <a:pt x="248" y="0"/>
                    </a:cubicBezTo>
                    <a:lnTo>
                      <a:pt x="248" y="0"/>
                    </a:lnTo>
                    <a:lnTo>
                      <a:pt x="248" y="0"/>
                    </a:lnTo>
                    <a:cubicBezTo>
                      <a:pt x="217" y="0"/>
                      <a:pt x="217" y="0"/>
                      <a:pt x="217" y="0"/>
                    </a:cubicBezTo>
                    <a:lnTo>
                      <a:pt x="217" y="0"/>
                    </a:lnTo>
                    <a:lnTo>
                      <a:pt x="217" y="0"/>
                    </a:lnTo>
                    <a:lnTo>
                      <a:pt x="217" y="0"/>
                    </a:lnTo>
                    <a:lnTo>
                      <a:pt x="217" y="31"/>
                    </a:lnTo>
                    <a:lnTo>
                      <a:pt x="217" y="31"/>
                    </a:lnTo>
                    <a:lnTo>
                      <a:pt x="217" y="31"/>
                    </a:lnTo>
                    <a:cubicBezTo>
                      <a:pt x="186" y="31"/>
                      <a:pt x="186" y="31"/>
                      <a:pt x="186" y="0"/>
                    </a:cubicBezTo>
                    <a:cubicBezTo>
                      <a:pt x="186" y="0"/>
                      <a:pt x="186" y="0"/>
                      <a:pt x="155" y="0"/>
                    </a:cubicBezTo>
                    <a:lnTo>
                      <a:pt x="155" y="31"/>
                    </a:lnTo>
                    <a:cubicBezTo>
                      <a:pt x="155" y="31"/>
                      <a:pt x="155" y="31"/>
                      <a:pt x="155" y="62"/>
                    </a:cubicBezTo>
                    <a:lnTo>
                      <a:pt x="155" y="62"/>
                    </a:lnTo>
                    <a:lnTo>
                      <a:pt x="155" y="62"/>
                    </a:lnTo>
                    <a:cubicBezTo>
                      <a:pt x="155" y="94"/>
                      <a:pt x="155" y="94"/>
                      <a:pt x="155" y="94"/>
                    </a:cubicBezTo>
                    <a:lnTo>
                      <a:pt x="124" y="124"/>
                    </a:lnTo>
                    <a:lnTo>
                      <a:pt x="124" y="124"/>
                    </a:lnTo>
                    <a:lnTo>
                      <a:pt x="124" y="124"/>
                    </a:lnTo>
                    <a:lnTo>
                      <a:pt x="124" y="124"/>
                    </a:lnTo>
                    <a:lnTo>
                      <a:pt x="93" y="124"/>
                    </a:lnTo>
                    <a:cubicBezTo>
                      <a:pt x="93" y="124"/>
                      <a:pt x="93" y="124"/>
                      <a:pt x="93" y="155"/>
                    </a:cubicBezTo>
                    <a:lnTo>
                      <a:pt x="93" y="218"/>
                    </a:lnTo>
                    <a:lnTo>
                      <a:pt x="93" y="218"/>
                    </a:lnTo>
                    <a:cubicBezTo>
                      <a:pt x="62" y="248"/>
                      <a:pt x="62" y="248"/>
                      <a:pt x="62" y="248"/>
                    </a:cubicBezTo>
                    <a:lnTo>
                      <a:pt x="62" y="248"/>
                    </a:lnTo>
                    <a:lnTo>
                      <a:pt x="62" y="248"/>
                    </a:lnTo>
                    <a:lnTo>
                      <a:pt x="62" y="248"/>
                    </a:lnTo>
                    <a:lnTo>
                      <a:pt x="62" y="248"/>
                    </a:lnTo>
                    <a:lnTo>
                      <a:pt x="62" y="248"/>
                    </a:lnTo>
                    <a:cubicBezTo>
                      <a:pt x="62" y="248"/>
                      <a:pt x="62" y="279"/>
                      <a:pt x="31" y="279"/>
                    </a:cubicBezTo>
                    <a:lnTo>
                      <a:pt x="31" y="279"/>
                    </a:lnTo>
                    <a:lnTo>
                      <a:pt x="31" y="279"/>
                    </a:lnTo>
                    <a:lnTo>
                      <a:pt x="31" y="279"/>
                    </a:lnTo>
                    <a:cubicBezTo>
                      <a:pt x="31" y="310"/>
                      <a:pt x="31" y="310"/>
                      <a:pt x="31" y="310"/>
                    </a:cubicBezTo>
                    <a:lnTo>
                      <a:pt x="31" y="310"/>
                    </a:lnTo>
                    <a:lnTo>
                      <a:pt x="31" y="342"/>
                    </a:lnTo>
                    <a:cubicBezTo>
                      <a:pt x="31" y="342"/>
                      <a:pt x="31" y="342"/>
                      <a:pt x="31" y="372"/>
                    </a:cubicBezTo>
                    <a:cubicBezTo>
                      <a:pt x="31" y="372"/>
                      <a:pt x="31" y="403"/>
                      <a:pt x="0" y="372"/>
                    </a:cubicBezTo>
                    <a:lnTo>
                      <a:pt x="0" y="372"/>
                    </a:lnTo>
                    <a:cubicBezTo>
                      <a:pt x="0" y="403"/>
                      <a:pt x="0" y="403"/>
                      <a:pt x="0" y="403"/>
                    </a:cubicBezTo>
                    <a:cubicBezTo>
                      <a:pt x="31" y="403"/>
                      <a:pt x="31" y="403"/>
                      <a:pt x="31" y="403"/>
                    </a:cubicBezTo>
                    <a:cubicBezTo>
                      <a:pt x="31" y="434"/>
                      <a:pt x="62" y="434"/>
                      <a:pt x="62" y="434"/>
                    </a:cubicBezTo>
                    <a:cubicBezTo>
                      <a:pt x="62" y="466"/>
                      <a:pt x="62" y="466"/>
                      <a:pt x="62" y="496"/>
                    </a:cubicBezTo>
                    <a:lnTo>
                      <a:pt x="62" y="496"/>
                    </a:lnTo>
                    <a:cubicBezTo>
                      <a:pt x="93" y="496"/>
                      <a:pt x="93" y="496"/>
                      <a:pt x="93" y="527"/>
                    </a:cubicBezTo>
                    <a:lnTo>
                      <a:pt x="93" y="527"/>
                    </a:lnTo>
                    <a:lnTo>
                      <a:pt x="93" y="527"/>
                    </a:lnTo>
                    <a:lnTo>
                      <a:pt x="93" y="527"/>
                    </a:lnTo>
                    <a:cubicBezTo>
                      <a:pt x="124" y="527"/>
                      <a:pt x="124" y="558"/>
                      <a:pt x="124" y="558"/>
                    </a:cubicBezTo>
                    <a:lnTo>
                      <a:pt x="124" y="558"/>
                    </a:lnTo>
                    <a:lnTo>
                      <a:pt x="124" y="589"/>
                    </a:lnTo>
                    <a:lnTo>
                      <a:pt x="124" y="589"/>
                    </a:lnTo>
                    <a:lnTo>
                      <a:pt x="124" y="589"/>
                    </a:lnTo>
                    <a:cubicBezTo>
                      <a:pt x="155" y="589"/>
                      <a:pt x="186" y="589"/>
                      <a:pt x="186" y="589"/>
                    </a:cubicBezTo>
                    <a:cubicBezTo>
                      <a:pt x="186" y="620"/>
                      <a:pt x="217" y="620"/>
                      <a:pt x="217" y="620"/>
                    </a:cubicBezTo>
                    <a:lnTo>
                      <a:pt x="217" y="620"/>
                    </a:lnTo>
                    <a:cubicBezTo>
                      <a:pt x="217" y="651"/>
                      <a:pt x="248" y="651"/>
                      <a:pt x="248" y="651"/>
                    </a:cubicBezTo>
                    <a:cubicBezTo>
                      <a:pt x="248" y="651"/>
                      <a:pt x="248" y="651"/>
                      <a:pt x="279" y="651"/>
                    </a:cubicBezTo>
                    <a:lnTo>
                      <a:pt x="310" y="651"/>
                    </a:lnTo>
                    <a:cubicBezTo>
                      <a:pt x="340" y="620"/>
                      <a:pt x="340" y="620"/>
                      <a:pt x="340" y="620"/>
                    </a:cubicBezTo>
                    <a:lnTo>
                      <a:pt x="340" y="620"/>
                    </a:lnTo>
                    <a:lnTo>
                      <a:pt x="340" y="620"/>
                    </a:lnTo>
                    <a:cubicBezTo>
                      <a:pt x="372" y="589"/>
                      <a:pt x="372" y="589"/>
                      <a:pt x="372" y="589"/>
                    </a:cubicBezTo>
                    <a:lnTo>
                      <a:pt x="372" y="589"/>
                    </a:lnTo>
                    <a:cubicBezTo>
                      <a:pt x="403" y="589"/>
                      <a:pt x="403" y="620"/>
                      <a:pt x="403" y="620"/>
                    </a:cubicBezTo>
                    <a:lnTo>
                      <a:pt x="403" y="620"/>
                    </a:lnTo>
                    <a:lnTo>
                      <a:pt x="403" y="620"/>
                    </a:lnTo>
                    <a:lnTo>
                      <a:pt x="433" y="620"/>
                    </a:lnTo>
                    <a:cubicBezTo>
                      <a:pt x="433" y="589"/>
                      <a:pt x="433" y="589"/>
                      <a:pt x="433" y="589"/>
                    </a:cubicBezTo>
                    <a:cubicBezTo>
                      <a:pt x="465" y="589"/>
                      <a:pt x="465" y="589"/>
                      <a:pt x="465" y="589"/>
                    </a:cubicBezTo>
                    <a:lnTo>
                      <a:pt x="465" y="589"/>
                    </a:lnTo>
                    <a:lnTo>
                      <a:pt x="465" y="589"/>
                    </a:lnTo>
                    <a:cubicBezTo>
                      <a:pt x="496" y="589"/>
                      <a:pt x="496" y="589"/>
                      <a:pt x="496" y="589"/>
                    </a:cubicBezTo>
                    <a:lnTo>
                      <a:pt x="496" y="589"/>
                    </a:lnTo>
                    <a:cubicBezTo>
                      <a:pt x="496" y="558"/>
                      <a:pt x="527" y="558"/>
                      <a:pt x="557" y="558"/>
                    </a:cubicBezTo>
                    <a:lnTo>
                      <a:pt x="557" y="558"/>
                    </a:lnTo>
                    <a:cubicBezTo>
                      <a:pt x="557" y="558"/>
                      <a:pt x="589" y="558"/>
                      <a:pt x="620" y="558"/>
                    </a:cubicBezTo>
                    <a:cubicBezTo>
                      <a:pt x="713" y="403"/>
                      <a:pt x="713" y="403"/>
                      <a:pt x="713" y="403"/>
                    </a:cubicBezTo>
                    <a:lnTo>
                      <a:pt x="681" y="403"/>
                    </a:lnTo>
                    <a:cubicBezTo>
                      <a:pt x="651" y="403"/>
                      <a:pt x="620" y="372"/>
                      <a:pt x="620" y="372"/>
                    </a:cubicBezTo>
                    <a:lnTo>
                      <a:pt x="589" y="372"/>
                    </a:lnTo>
                    <a:cubicBezTo>
                      <a:pt x="557" y="372"/>
                      <a:pt x="557" y="372"/>
                      <a:pt x="527" y="342"/>
                    </a:cubicBezTo>
                    <a:lnTo>
                      <a:pt x="527" y="342"/>
                    </a:lnTo>
                    <a:cubicBezTo>
                      <a:pt x="496" y="310"/>
                      <a:pt x="465" y="248"/>
                      <a:pt x="465" y="21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5" name="Freeform 12"/>
              <p:cNvSpPr>
                <a:spLocks noChangeArrowheads="1"/>
              </p:cNvSpPr>
              <p:nvPr/>
            </p:nvSpPr>
            <p:spPr bwMode="auto">
              <a:xfrm>
                <a:off x="4237038" y="2851150"/>
                <a:ext cx="88900" cy="134938"/>
              </a:xfrm>
              <a:custGeom>
                <a:avLst/>
                <a:gdLst>
                  <a:gd name="T0" fmla="*/ 217 w 249"/>
                  <a:gd name="T1" fmla="*/ 62 h 373"/>
                  <a:gd name="T2" fmla="*/ 217 w 249"/>
                  <a:gd name="T3" fmla="*/ 62 h 373"/>
                  <a:gd name="T4" fmla="*/ 217 w 249"/>
                  <a:gd name="T5" fmla="*/ 62 h 373"/>
                  <a:gd name="T6" fmla="*/ 186 w 249"/>
                  <a:gd name="T7" fmla="*/ 62 h 373"/>
                  <a:gd name="T8" fmla="*/ 155 w 249"/>
                  <a:gd name="T9" fmla="*/ 31 h 373"/>
                  <a:gd name="T10" fmla="*/ 155 w 249"/>
                  <a:gd name="T11" fmla="*/ 31 h 373"/>
                  <a:gd name="T12" fmla="*/ 124 w 249"/>
                  <a:gd name="T13" fmla="*/ 0 h 373"/>
                  <a:gd name="T14" fmla="*/ 124 w 249"/>
                  <a:gd name="T15" fmla="*/ 0 h 373"/>
                  <a:gd name="T16" fmla="*/ 93 w 249"/>
                  <a:gd name="T17" fmla="*/ 0 h 373"/>
                  <a:gd name="T18" fmla="*/ 93 w 249"/>
                  <a:gd name="T19" fmla="*/ 0 h 373"/>
                  <a:gd name="T20" fmla="*/ 93 w 249"/>
                  <a:gd name="T21" fmla="*/ 0 h 373"/>
                  <a:gd name="T22" fmla="*/ 93 w 249"/>
                  <a:gd name="T23" fmla="*/ 0 h 373"/>
                  <a:gd name="T24" fmla="*/ 93 w 249"/>
                  <a:gd name="T25" fmla="*/ 0 h 373"/>
                  <a:gd name="T26" fmla="*/ 93 w 249"/>
                  <a:gd name="T27" fmla="*/ 0 h 373"/>
                  <a:gd name="T28" fmla="*/ 62 w 249"/>
                  <a:gd name="T29" fmla="*/ 0 h 373"/>
                  <a:gd name="T30" fmla="*/ 31 w 249"/>
                  <a:gd name="T31" fmla="*/ 0 h 373"/>
                  <a:gd name="T32" fmla="*/ 31 w 249"/>
                  <a:gd name="T33" fmla="*/ 0 h 373"/>
                  <a:gd name="T34" fmla="*/ 31 w 249"/>
                  <a:gd name="T35" fmla="*/ 31 h 373"/>
                  <a:gd name="T36" fmla="*/ 0 w 249"/>
                  <a:gd name="T37" fmla="*/ 62 h 373"/>
                  <a:gd name="T38" fmla="*/ 0 w 249"/>
                  <a:gd name="T39" fmla="*/ 62 h 373"/>
                  <a:gd name="T40" fmla="*/ 0 w 249"/>
                  <a:gd name="T41" fmla="*/ 93 h 373"/>
                  <a:gd name="T42" fmla="*/ 0 w 249"/>
                  <a:gd name="T43" fmla="*/ 93 h 373"/>
                  <a:gd name="T44" fmla="*/ 0 w 249"/>
                  <a:gd name="T45" fmla="*/ 124 h 373"/>
                  <a:gd name="T46" fmla="*/ 0 w 249"/>
                  <a:gd name="T47" fmla="*/ 155 h 373"/>
                  <a:gd name="T48" fmla="*/ 0 w 249"/>
                  <a:gd name="T49" fmla="*/ 186 h 373"/>
                  <a:gd name="T50" fmla="*/ 0 w 249"/>
                  <a:gd name="T51" fmla="*/ 186 h 373"/>
                  <a:gd name="T52" fmla="*/ 31 w 249"/>
                  <a:gd name="T53" fmla="*/ 217 h 373"/>
                  <a:gd name="T54" fmla="*/ 31 w 249"/>
                  <a:gd name="T55" fmla="*/ 217 h 373"/>
                  <a:gd name="T56" fmla="*/ 31 w 249"/>
                  <a:gd name="T57" fmla="*/ 217 h 373"/>
                  <a:gd name="T58" fmla="*/ 31 w 249"/>
                  <a:gd name="T59" fmla="*/ 186 h 373"/>
                  <a:gd name="T60" fmla="*/ 93 w 249"/>
                  <a:gd name="T61" fmla="*/ 186 h 373"/>
                  <a:gd name="T62" fmla="*/ 93 w 249"/>
                  <a:gd name="T63" fmla="*/ 372 h 373"/>
                  <a:gd name="T64" fmla="*/ 93 w 249"/>
                  <a:gd name="T65" fmla="*/ 372 h 373"/>
                  <a:gd name="T66" fmla="*/ 186 w 249"/>
                  <a:gd name="T67" fmla="*/ 341 h 373"/>
                  <a:gd name="T68" fmla="*/ 186 w 249"/>
                  <a:gd name="T69" fmla="*/ 310 h 373"/>
                  <a:gd name="T70" fmla="*/ 186 w 249"/>
                  <a:gd name="T71" fmla="*/ 310 h 373"/>
                  <a:gd name="T72" fmla="*/ 186 w 249"/>
                  <a:gd name="T73" fmla="*/ 310 h 373"/>
                  <a:gd name="T74" fmla="*/ 186 w 249"/>
                  <a:gd name="T75" fmla="*/ 279 h 373"/>
                  <a:gd name="T76" fmla="*/ 217 w 249"/>
                  <a:gd name="T77" fmla="*/ 279 h 373"/>
                  <a:gd name="T78" fmla="*/ 217 w 249"/>
                  <a:gd name="T79" fmla="*/ 247 h 373"/>
                  <a:gd name="T80" fmla="*/ 217 w 249"/>
                  <a:gd name="T81" fmla="*/ 247 h 373"/>
                  <a:gd name="T82" fmla="*/ 217 w 249"/>
                  <a:gd name="T83" fmla="*/ 247 h 373"/>
                  <a:gd name="T84" fmla="*/ 217 w 249"/>
                  <a:gd name="T85" fmla="*/ 217 h 373"/>
                  <a:gd name="T86" fmla="*/ 217 w 249"/>
                  <a:gd name="T87" fmla="*/ 217 h 373"/>
                  <a:gd name="T88" fmla="*/ 217 w 249"/>
                  <a:gd name="T89" fmla="*/ 186 h 373"/>
                  <a:gd name="T90" fmla="*/ 217 w 249"/>
                  <a:gd name="T91" fmla="*/ 155 h 373"/>
                  <a:gd name="T92" fmla="*/ 217 w 249"/>
                  <a:gd name="T93" fmla="*/ 124 h 373"/>
                  <a:gd name="T94" fmla="*/ 217 w 249"/>
                  <a:gd name="T95" fmla="*/ 124 h 373"/>
                  <a:gd name="T96" fmla="*/ 248 w 249"/>
                  <a:gd name="T97" fmla="*/ 124 h 373"/>
                  <a:gd name="T98" fmla="*/ 217 w 249"/>
                  <a:gd name="T99" fmla="*/ 93 h 373"/>
                  <a:gd name="T100" fmla="*/ 217 w 249"/>
                  <a:gd name="T101" fmla="*/ 6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9" h="373">
                    <a:moveTo>
                      <a:pt x="217" y="62"/>
                    </a:moveTo>
                    <a:lnTo>
                      <a:pt x="217" y="62"/>
                    </a:lnTo>
                    <a:lnTo>
                      <a:pt x="217" y="62"/>
                    </a:lnTo>
                    <a:cubicBezTo>
                      <a:pt x="217" y="62"/>
                      <a:pt x="217" y="62"/>
                      <a:pt x="186" y="62"/>
                    </a:cubicBezTo>
                    <a:cubicBezTo>
                      <a:pt x="186" y="62"/>
                      <a:pt x="155" y="62"/>
                      <a:pt x="155" y="31"/>
                    </a:cubicBezTo>
                    <a:lnTo>
                      <a:pt x="155" y="31"/>
                    </a:lnTo>
                    <a:cubicBezTo>
                      <a:pt x="124" y="31"/>
                      <a:pt x="124" y="31"/>
                      <a:pt x="124" y="0"/>
                    </a:cubicBezTo>
                    <a:lnTo>
                      <a:pt x="124" y="0"/>
                    </a:lnTo>
                    <a:cubicBezTo>
                      <a:pt x="93" y="0"/>
                      <a:pt x="93" y="0"/>
                      <a:pt x="93" y="0"/>
                    </a:cubicBezTo>
                    <a:lnTo>
                      <a:pt x="93" y="0"/>
                    </a:lnTo>
                    <a:lnTo>
                      <a:pt x="93" y="0"/>
                    </a:lnTo>
                    <a:lnTo>
                      <a:pt x="93" y="0"/>
                    </a:lnTo>
                    <a:lnTo>
                      <a:pt x="93" y="0"/>
                    </a:lnTo>
                    <a:lnTo>
                      <a:pt x="93" y="0"/>
                    </a:lnTo>
                    <a:lnTo>
                      <a:pt x="62" y="0"/>
                    </a:lnTo>
                    <a:cubicBezTo>
                      <a:pt x="62" y="0"/>
                      <a:pt x="62" y="0"/>
                      <a:pt x="31" y="0"/>
                    </a:cubicBezTo>
                    <a:lnTo>
                      <a:pt x="31" y="0"/>
                    </a:lnTo>
                    <a:cubicBezTo>
                      <a:pt x="31" y="31"/>
                      <a:pt x="31" y="31"/>
                      <a:pt x="31" y="31"/>
                    </a:cubicBezTo>
                    <a:cubicBezTo>
                      <a:pt x="31" y="31"/>
                      <a:pt x="31" y="31"/>
                      <a:pt x="0" y="62"/>
                    </a:cubicBezTo>
                    <a:lnTo>
                      <a:pt x="0" y="62"/>
                    </a:lnTo>
                    <a:lnTo>
                      <a:pt x="0" y="93"/>
                    </a:lnTo>
                    <a:lnTo>
                      <a:pt x="0" y="93"/>
                    </a:lnTo>
                    <a:cubicBezTo>
                      <a:pt x="0" y="124"/>
                      <a:pt x="0" y="124"/>
                      <a:pt x="0" y="124"/>
                    </a:cubicBezTo>
                    <a:cubicBezTo>
                      <a:pt x="0" y="155"/>
                      <a:pt x="0" y="155"/>
                      <a:pt x="0" y="155"/>
                    </a:cubicBezTo>
                    <a:lnTo>
                      <a:pt x="0" y="186"/>
                    </a:lnTo>
                    <a:lnTo>
                      <a:pt x="0" y="186"/>
                    </a:lnTo>
                    <a:lnTo>
                      <a:pt x="31" y="217"/>
                    </a:lnTo>
                    <a:lnTo>
                      <a:pt x="31" y="217"/>
                    </a:lnTo>
                    <a:lnTo>
                      <a:pt x="31" y="217"/>
                    </a:lnTo>
                    <a:cubicBezTo>
                      <a:pt x="31" y="186"/>
                      <a:pt x="31" y="186"/>
                      <a:pt x="31" y="186"/>
                    </a:cubicBezTo>
                    <a:cubicBezTo>
                      <a:pt x="93" y="186"/>
                      <a:pt x="93" y="186"/>
                      <a:pt x="93" y="186"/>
                    </a:cubicBezTo>
                    <a:cubicBezTo>
                      <a:pt x="93" y="372"/>
                      <a:pt x="93" y="372"/>
                      <a:pt x="93" y="372"/>
                    </a:cubicBezTo>
                    <a:lnTo>
                      <a:pt x="93" y="372"/>
                    </a:lnTo>
                    <a:cubicBezTo>
                      <a:pt x="93" y="372"/>
                      <a:pt x="155" y="341"/>
                      <a:pt x="186" y="341"/>
                    </a:cubicBezTo>
                    <a:cubicBezTo>
                      <a:pt x="186" y="341"/>
                      <a:pt x="186" y="341"/>
                      <a:pt x="186" y="310"/>
                    </a:cubicBezTo>
                    <a:lnTo>
                      <a:pt x="186" y="310"/>
                    </a:lnTo>
                    <a:lnTo>
                      <a:pt x="186" y="310"/>
                    </a:lnTo>
                    <a:lnTo>
                      <a:pt x="186" y="279"/>
                    </a:lnTo>
                    <a:cubicBezTo>
                      <a:pt x="217" y="279"/>
                      <a:pt x="217" y="279"/>
                      <a:pt x="217" y="279"/>
                    </a:cubicBezTo>
                    <a:cubicBezTo>
                      <a:pt x="217" y="279"/>
                      <a:pt x="217" y="279"/>
                      <a:pt x="217" y="247"/>
                    </a:cubicBezTo>
                    <a:lnTo>
                      <a:pt x="217" y="247"/>
                    </a:lnTo>
                    <a:lnTo>
                      <a:pt x="217" y="247"/>
                    </a:lnTo>
                    <a:lnTo>
                      <a:pt x="217" y="217"/>
                    </a:lnTo>
                    <a:lnTo>
                      <a:pt x="217" y="217"/>
                    </a:lnTo>
                    <a:cubicBezTo>
                      <a:pt x="217" y="217"/>
                      <a:pt x="217" y="217"/>
                      <a:pt x="217" y="186"/>
                    </a:cubicBezTo>
                    <a:lnTo>
                      <a:pt x="217" y="155"/>
                    </a:lnTo>
                    <a:lnTo>
                      <a:pt x="217" y="124"/>
                    </a:lnTo>
                    <a:lnTo>
                      <a:pt x="217" y="124"/>
                    </a:lnTo>
                    <a:cubicBezTo>
                      <a:pt x="217" y="124"/>
                      <a:pt x="217" y="124"/>
                      <a:pt x="248" y="124"/>
                    </a:cubicBezTo>
                    <a:cubicBezTo>
                      <a:pt x="217" y="93"/>
                      <a:pt x="217" y="93"/>
                      <a:pt x="217" y="93"/>
                    </a:cubicBezTo>
                    <a:lnTo>
                      <a:pt x="217" y="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6" name="Freeform 13"/>
              <p:cNvSpPr>
                <a:spLocks noChangeArrowheads="1"/>
              </p:cNvSpPr>
              <p:nvPr/>
            </p:nvSpPr>
            <p:spPr bwMode="auto">
              <a:xfrm>
                <a:off x="4114800" y="2917825"/>
                <a:ext cx="146050" cy="134938"/>
              </a:xfrm>
              <a:custGeom>
                <a:avLst/>
                <a:gdLst>
                  <a:gd name="T0" fmla="*/ 372 w 404"/>
                  <a:gd name="T1" fmla="*/ 155 h 373"/>
                  <a:gd name="T2" fmla="*/ 372 w 404"/>
                  <a:gd name="T3" fmla="*/ 155 h 373"/>
                  <a:gd name="T4" fmla="*/ 310 w 404"/>
                  <a:gd name="T5" fmla="*/ 124 h 373"/>
                  <a:gd name="T6" fmla="*/ 310 w 404"/>
                  <a:gd name="T7" fmla="*/ 93 h 373"/>
                  <a:gd name="T8" fmla="*/ 310 w 404"/>
                  <a:gd name="T9" fmla="*/ 93 h 373"/>
                  <a:gd name="T10" fmla="*/ 217 w 404"/>
                  <a:gd name="T11" fmla="*/ 61 h 373"/>
                  <a:gd name="T12" fmla="*/ 217 w 404"/>
                  <a:gd name="T13" fmla="*/ 61 h 373"/>
                  <a:gd name="T14" fmla="*/ 124 w 404"/>
                  <a:gd name="T15" fmla="*/ 31 h 373"/>
                  <a:gd name="T16" fmla="*/ 124 w 404"/>
                  <a:gd name="T17" fmla="*/ 0 h 373"/>
                  <a:gd name="T18" fmla="*/ 92 w 404"/>
                  <a:gd name="T19" fmla="*/ 31 h 373"/>
                  <a:gd name="T20" fmla="*/ 92 w 404"/>
                  <a:gd name="T21" fmla="*/ 124 h 373"/>
                  <a:gd name="T22" fmla="*/ 0 w 404"/>
                  <a:gd name="T23" fmla="*/ 278 h 373"/>
                  <a:gd name="T24" fmla="*/ 0 w 404"/>
                  <a:gd name="T25" fmla="*/ 310 h 373"/>
                  <a:gd name="T26" fmla="*/ 31 w 404"/>
                  <a:gd name="T27" fmla="*/ 341 h 373"/>
                  <a:gd name="T28" fmla="*/ 92 w 404"/>
                  <a:gd name="T29" fmla="*/ 341 h 373"/>
                  <a:gd name="T30" fmla="*/ 124 w 404"/>
                  <a:gd name="T31" fmla="*/ 341 h 373"/>
                  <a:gd name="T32" fmla="*/ 124 w 404"/>
                  <a:gd name="T33" fmla="*/ 341 h 373"/>
                  <a:gd name="T34" fmla="*/ 124 w 404"/>
                  <a:gd name="T35" fmla="*/ 341 h 373"/>
                  <a:gd name="T36" fmla="*/ 155 w 404"/>
                  <a:gd name="T37" fmla="*/ 372 h 373"/>
                  <a:gd name="T38" fmla="*/ 155 w 404"/>
                  <a:gd name="T39" fmla="*/ 372 h 373"/>
                  <a:gd name="T40" fmla="*/ 186 w 404"/>
                  <a:gd name="T41" fmla="*/ 372 h 373"/>
                  <a:gd name="T42" fmla="*/ 186 w 404"/>
                  <a:gd name="T43" fmla="*/ 372 h 373"/>
                  <a:gd name="T44" fmla="*/ 217 w 404"/>
                  <a:gd name="T45" fmla="*/ 372 h 373"/>
                  <a:gd name="T46" fmla="*/ 217 w 404"/>
                  <a:gd name="T47" fmla="*/ 372 h 373"/>
                  <a:gd name="T48" fmla="*/ 248 w 404"/>
                  <a:gd name="T49" fmla="*/ 372 h 373"/>
                  <a:gd name="T50" fmla="*/ 248 w 404"/>
                  <a:gd name="T51" fmla="*/ 372 h 373"/>
                  <a:gd name="T52" fmla="*/ 279 w 404"/>
                  <a:gd name="T53" fmla="*/ 310 h 373"/>
                  <a:gd name="T54" fmla="*/ 310 w 404"/>
                  <a:gd name="T55" fmla="*/ 278 h 373"/>
                  <a:gd name="T56" fmla="*/ 372 w 404"/>
                  <a:gd name="T57" fmla="*/ 217 h 373"/>
                  <a:gd name="T58" fmla="*/ 403 w 404"/>
                  <a:gd name="T59" fmla="*/ 248 h 373"/>
                  <a:gd name="T60" fmla="*/ 403 w 404"/>
                  <a:gd name="T61" fmla="*/ 217 h 373"/>
                  <a:gd name="T62" fmla="*/ 403 w 404"/>
                  <a:gd name="T63" fmla="*/ 18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4" h="373">
                    <a:moveTo>
                      <a:pt x="372" y="155"/>
                    </a:moveTo>
                    <a:lnTo>
                      <a:pt x="372" y="155"/>
                    </a:lnTo>
                    <a:lnTo>
                      <a:pt x="372" y="155"/>
                    </a:lnTo>
                    <a:lnTo>
                      <a:pt x="372" y="155"/>
                    </a:lnTo>
                    <a:lnTo>
                      <a:pt x="372" y="155"/>
                    </a:lnTo>
                    <a:cubicBezTo>
                      <a:pt x="341" y="155"/>
                      <a:pt x="341" y="124"/>
                      <a:pt x="310" y="124"/>
                    </a:cubicBezTo>
                    <a:lnTo>
                      <a:pt x="310" y="124"/>
                    </a:lnTo>
                    <a:cubicBezTo>
                      <a:pt x="310" y="93"/>
                      <a:pt x="310" y="93"/>
                      <a:pt x="310" y="93"/>
                    </a:cubicBezTo>
                    <a:lnTo>
                      <a:pt x="310" y="93"/>
                    </a:lnTo>
                    <a:lnTo>
                      <a:pt x="310" y="93"/>
                    </a:lnTo>
                    <a:cubicBezTo>
                      <a:pt x="279" y="61"/>
                      <a:pt x="248" y="61"/>
                      <a:pt x="248" y="61"/>
                    </a:cubicBezTo>
                    <a:cubicBezTo>
                      <a:pt x="248" y="61"/>
                      <a:pt x="248" y="61"/>
                      <a:pt x="217" y="61"/>
                    </a:cubicBezTo>
                    <a:lnTo>
                      <a:pt x="217" y="61"/>
                    </a:lnTo>
                    <a:lnTo>
                      <a:pt x="217" y="61"/>
                    </a:lnTo>
                    <a:cubicBezTo>
                      <a:pt x="186" y="61"/>
                      <a:pt x="186" y="61"/>
                      <a:pt x="186" y="61"/>
                    </a:cubicBezTo>
                    <a:cubicBezTo>
                      <a:pt x="155" y="61"/>
                      <a:pt x="155" y="31"/>
                      <a:pt x="124" y="31"/>
                    </a:cubicBezTo>
                    <a:lnTo>
                      <a:pt x="124" y="31"/>
                    </a:lnTo>
                    <a:cubicBezTo>
                      <a:pt x="124" y="31"/>
                      <a:pt x="124" y="31"/>
                      <a:pt x="124" y="0"/>
                    </a:cubicBezTo>
                    <a:cubicBezTo>
                      <a:pt x="124" y="0"/>
                      <a:pt x="124" y="0"/>
                      <a:pt x="124" y="31"/>
                    </a:cubicBezTo>
                    <a:cubicBezTo>
                      <a:pt x="124" y="31"/>
                      <a:pt x="124" y="31"/>
                      <a:pt x="92" y="31"/>
                    </a:cubicBezTo>
                    <a:lnTo>
                      <a:pt x="92" y="31"/>
                    </a:lnTo>
                    <a:cubicBezTo>
                      <a:pt x="92" y="124"/>
                      <a:pt x="92" y="124"/>
                      <a:pt x="92" y="124"/>
                    </a:cubicBezTo>
                    <a:cubicBezTo>
                      <a:pt x="0" y="124"/>
                      <a:pt x="0" y="124"/>
                      <a:pt x="0" y="124"/>
                    </a:cubicBezTo>
                    <a:cubicBezTo>
                      <a:pt x="0" y="278"/>
                      <a:pt x="0" y="278"/>
                      <a:pt x="0" y="278"/>
                    </a:cubicBezTo>
                    <a:cubicBezTo>
                      <a:pt x="0" y="278"/>
                      <a:pt x="0" y="278"/>
                      <a:pt x="0" y="310"/>
                    </a:cubicBezTo>
                    <a:lnTo>
                      <a:pt x="0" y="310"/>
                    </a:lnTo>
                    <a:lnTo>
                      <a:pt x="31" y="341"/>
                    </a:lnTo>
                    <a:lnTo>
                      <a:pt x="31" y="341"/>
                    </a:lnTo>
                    <a:cubicBezTo>
                      <a:pt x="62" y="341"/>
                      <a:pt x="92" y="341"/>
                      <a:pt x="92" y="341"/>
                    </a:cubicBezTo>
                    <a:lnTo>
                      <a:pt x="92" y="341"/>
                    </a:lnTo>
                    <a:cubicBezTo>
                      <a:pt x="92" y="341"/>
                      <a:pt x="92" y="341"/>
                      <a:pt x="124" y="341"/>
                    </a:cubicBezTo>
                    <a:lnTo>
                      <a:pt x="124" y="341"/>
                    </a:lnTo>
                    <a:lnTo>
                      <a:pt x="124" y="341"/>
                    </a:lnTo>
                    <a:lnTo>
                      <a:pt x="124" y="341"/>
                    </a:lnTo>
                    <a:lnTo>
                      <a:pt x="124" y="341"/>
                    </a:lnTo>
                    <a:lnTo>
                      <a:pt x="124" y="341"/>
                    </a:lnTo>
                    <a:cubicBezTo>
                      <a:pt x="124" y="341"/>
                      <a:pt x="124" y="341"/>
                      <a:pt x="155" y="341"/>
                    </a:cubicBezTo>
                    <a:cubicBezTo>
                      <a:pt x="155" y="372"/>
                      <a:pt x="155" y="372"/>
                      <a:pt x="155" y="372"/>
                    </a:cubicBezTo>
                    <a:lnTo>
                      <a:pt x="155" y="372"/>
                    </a:lnTo>
                    <a:lnTo>
                      <a:pt x="155" y="372"/>
                    </a:lnTo>
                    <a:lnTo>
                      <a:pt x="155" y="372"/>
                    </a:lnTo>
                    <a:lnTo>
                      <a:pt x="186" y="372"/>
                    </a:lnTo>
                    <a:lnTo>
                      <a:pt x="186" y="372"/>
                    </a:lnTo>
                    <a:lnTo>
                      <a:pt x="186" y="372"/>
                    </a:lnTo>
                    <a:cubicBezTo>
                      <a:pt x="186" y="372"/>
                      <a:pt x="186" y="372"/>
                      <a:pt x="217" y="372"/>
                    </a:cubicBezTo>
                    <a:lnTo>
                      <a:pt x="217" y="372"/>
                    </a:lnTo>
                    <a:lnTo>
                      <a:pt x="217" y="372"/>
                    </a:lnTo>
                    <a:lnTo>
                      <a:pt x="217" y="372"/>
                    </a:lnTo>
                    <a:lnTo>
                      <a:pt x="217" y="372"/>
                    </a:lnTo>
                    <a:cubicBezTo>
                      <a:pt x="217" y="372"/>
                      <a:pt x="217" y="372"/>
                      <a:pt x="248" y="372"/>
                    </a:cubicBezTo>
                    <a:lnTo>
                      <a:pt x="248" y="372"/>
                    </a:lnTo>
                    <a:lnTo>
                      <a:pt x="248" y="372"/>
                    </a:lnTo>
                    <a:lnTo>
                      <a:pt x="248" y="372"/>
                    </a:lnTo>
                    <a:cubicBezTo>
                      <a:pt x="248" y="341"/>
                      <a:pt x="248" y="341"/>
                      <a:pt x="279" y="310"/>
                    </a:cubicBezTo>
                    <a:lnTo>
                      <a:pt x="310" y="310"/>
                    </a:lnTo>
                    <a:lnTo>
                      <a:pt x="310" y="278"/>
                    </a:lnTo>
                    <a:lnTo>
                      <a:pt x="310" y="278"/>
                    </a:lnTo>
                    <a:cubicBezTo>
                      <a:pt x="372" y="217"/>
                      <a:pt x="372" y="217"/>
                      <a:pt x="372" y="217"/>
                    </a:cubicBezTo>
                    <a:lnTo>
                      <a:pt x="372" y="217"/>
                    </a:lnTo>
                    <a:cubicBezTo>
                      <a:pt x="372" y="217"/>
                      <a:pt x="372" y="217"/>
                      <a:pt x="403" y="248"/>
                    </a:cubicBezTo>
                    <a:cubicBezTo>
                      <a:pt x="403" y="248"/>
                      <a:pt x="403" y="248"/>
                      <a:pt x="403" y="217"/>
                    </a:cubicBezTo>
                    <a:lnTo>
                      <a:pt x="403" y="217"/>
                    </a:lnTo>
                    <a:lnTo>
                      <a:pt x="403" y="186"/>
                    </a:lnTo>
                    <a:lnTo>
                      <a:pt x="403" y="186"/>
                    </a:lnTo>
                    <a:cubicBezTo>
                      <a:pt x="372" y="155"/>
                      <a:pt x="372" y="155"/>
                      <a:pt x="372" y="1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7" name="Freeform 14"/>
              <p:cNvSpPr>
                <a:spLocks noChangeArrowheads="1"/>
              </p:cNvSpPr>
              <p:nvPr/>
            </p:nvSpPr>
            <p:spPr bwMode="auto">
              <a:xfrm>
                <a:off x="4349750" y="2549525"/>
                <a:ext cx="134938" cy="190500"/>
              </a:xfrm>
              <a:custGeom>
                <a:avLst/>
                <a:gdLst>
                  <a:gd name="T0" fmla="*/ 341 w 373"/>
                  <a:gd name="T1" fmla="*/ 341 h 528"/>
                  <a:gd name="T2" fmla="*/ 341 w 373"/>
                  <a:gd name="T3" fmla="*/ 341 h 528"/>
                  <a:gd name="T4" fmla="*/ 341 w 373"/>
                  <a:gd name="T5" fmla="*/ 341 h 528"/>
                  <a:gd name="T6" fmla="*/ 341 w 373"/>
                  <a:gd name="T7" fmla="*/ 341 h 528"/>
                  <a:gd name="T8" fmla="*/ 341 w 373"/>
                  <a:gd name="T9" fmla="*/ 155 h 528"/>
                  <a:gd name="T10" fmla="*/ 341 w 373"/>
                  <a:gd name="T11" fmla="*/ 124 h 528"/>
                  <a:gd name="T12" fmla="*/ 372 w 373"/>
                  <a:gd name="T13" fmla="*/ 62 h 528"/>
                  <a:gd name="T14" fmla="*/ 372 w 373"/>
                  <a:gd name="T15" fmla="*/ 62 h 528"/>
                  <a:gd name="T16" fmla="*/ 372 w 373"/>
                  <a:gd name="T17" fmla="*/ 62 h 528"/>
                  <a:gd name="T18" fmla="*/ 372 w 373"/>
                  <a:gd name="T19" fmla="*/ 62 h 528"/>
                  <a:gd name="T20" fmla="*/ 372 w 373"/>
                  <a:gd name="T21" fmla="*/ 62 h 528"/>
                  <a:gd name="T22" fmla="*/ 372 w 373"/>
                  <a:gd name="T23" fmla="*/ 62 h 528"/>
                  <a:gd name="T24" fmla="*/ 341 w 373"/>
                  <a:gd name="T25" fmla="*/ 31 h 528"/>
                  <a:gd name="T26" fmla="*/ 341 w 373"/>
                  <a:gd name="T27" fmla="*/ 31 h 528"/>
                  <a:gd name="T28" fmla="*/ 341 w 373"/>
                  <a:gd name="T29" fmla="*/ 62 h 528"/>
                  <a:gd name="T30" fmla="*/ 309 w 373"/>
                  <a:gd name="T31" fmla="*/ 93 h 528"/>
                  <a:gd name="T32" fmla="*/ 279 w 373"/>
                  <a:gd name="T33" fmla="*/ 93 h 528"/>
                  <a:gd name="T34" fmla="*/ 186 w 373"/>
                  <a:gd name="T35" fmla="*/ 93 h 528"/>
                  <a:gd name="T36" fmla="*/ 186 w 373"/>
                  <a:gd name="T37" fmla="*/ 93 h 528"/>
                  <a:gd name="T38" fmla="*/ 155 w 373"/>
                  <a:gd name="T39" fmla="*/ 62 h 528"/>
                  <a:gd name="T40" fmla="*/ 155 w 373"/>
                  <a:gd name="T41" fmla="*/ 62 h 528"/>
                  <a:gd name="T42" fmla="*/ 124 w 373"/>
                  <a:gd name="T43" fmla="*/ 31 h 528"/>
                  <a:gd name="T44" fmla="*/ 93 w 373"/>
                  <a:gd name="T45" fmla="*/ 31 h 528"/>
                  <a:gd name="T46" fmla="*/ 93 w 373"/>
                  <a:gd name="T47" fmla="*/ 31 h 528"/>
                  <a:gd name="T48" fmla="*/ 93 w 373"/>
                  <a:gd name="T49" fmla="*/ 31 h 528"/>
                  <a:gd name="T50" fmla="*/ 93 w 373"/>
                  <a:gd name="T51" fmla="*/ 31 h 528"/>
                  <a:gd name="T52" fmla="*/ 93 w 373"/>
                  <a:gd name="T53" fmla="*/ 62 h 528"/>
                  <a:gd name="T54" fmla="*/ 62 w 373"/>
                  <a:gd name="T55" fmla="*/ 0 h 528"/>
                  <a:gd name="T56" fmla="*/ 62 w 373"/>
                  <a:gd name="T57" fmla="*/ 0 h 528"/>
                  <a:gd name="T58" fmla="*/ 62 w 373"/>
                  <a:gd name="T59" fmla="*/ 0 h 528"/>
                  <a:gd name="T60" fmla="*/ 31 w 373"/>
                  <a:gd name="T61" fmla="*/ 0 h 528"/>
                  <a:gd name="T62" fmla="*/ 0 w 373"/>
                  <a:gd name="T63" fmla="*/ 0 h 528"/>
                  <a:gd name="T64" fmla="*/ 0 w 373"/>
                  <a:gd name="T65" fmla="*/ 0 h 528"/>
                  <a:gd name="T66" fmla="*/ 0 w 373"/>
                  <a:gd name="T67" fmla="*/ 0 h 528"/>
                  <a:gd name="T68" fmla="*/ 31 w 373"/>
                  <a:gd name="T69" fmla="*/ 31 h 528"/>
                  <a:gd name="T70" fmla="*/ 31 w 373"/>
                  <a:gd name="T71" fmla="*/ 31 h 528"/>
                  <a:gd name="T72" fmla="*/ 31 w 373"/>
                  <a:gd name="T73" fmla="*/ 62 h 528"/>
                  <a:gd name="T74" fmla="*/ 31 w 373"/>
                  <a:gd name="T75" fmla="*/ 93 h 528"/>
                  <a:gd name="T76" fmla="*/ 31 w 373"/>
                  <a:gd name="T77" fmla="*/ 93 h 528"/>
                  <a:gd name="T78" fmla="*/ 62 w 373"/>
                  <a:gd name="T79" fmla="*/ 155 h 528"/>
                  <a:gd name="T80" fmla="*/ 62 w 373"/>
                  <a:gd name="T81" fmla="*/ 155 h 528"/>
                  <a:gd name="T82" fmla="*/ 62 w 373"/>
                  <a:gd name="T83" fmla="*/ 186 h 528"/>
                  <a:gd name="T84" fmla="*/ 62 w 373"/>
                  <a:gd name="T85" fmla="*/ 186 h 528"/>
                  <a:gd name="T86" fmla="*/ 31 w 373"/>
                  <a:gd name="T87" fmla="*/ 217 h 528"/>
                  <a:gd name="T88" fmla="*/ 31 w 373"/>
                  <a:gd name="T89" fmla="*/ 248 h 528"/>
                  <a:gd name="T90" fmla="*/ 0 w 373"/>
                  <a:gd name="T91" fmla="*/ 279 h 528"/>
                  <a:gd name="T92" fmla="*/ 0 w 373"/>
                  <a:gd name="T93" fmla="*/ 341 h 528"/>
                  <a:gd name="T94" fmla="*/ 217 w 373"/>
                  <a:gd name="T95" fmla="*/ 465 h 528"/>
                  <a:gd name="T96" fmla="*/ 217 w 373"/>
                  <a:gd name="T97" fmla="*/ 496 h 528"/>
                  <a:gd name="T98" fmla="*/ 248 w 373"/>
                  <a:gd name="T99" fmla="*/ 527 h 528"/>
                  <a:gd name="T100" fmla="*/ 279 w 373"/>
                  <a:gd name="T101" fmla="*/ 527 h 528"/>
                  <a:gd name="T102" fmla="*/ 279 w 373"/>
                  <a:gd name="T103" fmla="*/ 465 h 528"/>
                  <a:gd name="T104" fmla="*/ 309 w 373"/>
                  <a:gd name="T105" fmla="*/ 465 h 528"/>
                  <a:gd name="T106" fmla="*/ 309 w 373"/>
                  <a:gd name="T107" fmla="*/ 465 h 528"/>
                  <a:gd name="T108" fmla="*/ 309 w 373"/>
                  <a:gd name="T109" fmla="*/ 465 h 528"/>
                  <a:gd name="T110" fmla="*/ 341 w 373"/>
                  <a:gd name="T111" fmla="*/ 434 h 528"/>
                  <a:gd name="T112" fmla="*/ 341 w 373"/>
                  <a:gd name="T113" fmla="*/ 434 h 528"/>
                  <a:gd name="T114" fmla="*/ 372 w 373"/>
                  <a:gd name="T115" fmla="*/ 403 h 528"/>
                  <a:gd name="T116" fmla="*/ 372 w 373"/>
                  <a:gd name="T117" fmla="*/ 372 h 528"/>
                  <a:gd name="T118" fmla="*/ 372 w 373"/>
                  <a:gd name="T119" fmla="*/ 372 h 528"/>
                  <a:gd name="T120" fmla="*/ 341 w 373"/>
                  <a:gd name="T121" fmla="*/ 341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3" h="528">
                    <a:moveTo>
                      <a:pt x="341" y="341"/>
                    </a:moveTo>
                    <a:lnTo>
                      <a:pt x="341" y="341"/>
                    </a:lnTo>
                    <a:lnTo>
                      <a:pt x="341" y="341"/>
                    </a:lnTo>
                    <a:lnTo>
                      <a:pt x="341" y="341"/>
                    </a:lnTo>
                    <a:cubicBezTo>
                      <a:pt x="341" y="341"/>
                      <a:pt x="341" y="217"/>
                      <a:pt x="341" y="155"/>
                    </a:cubicBezTo>
                    <a:cubicBezTo>
                      <a:pt x="341" y="124"/>
                      <a:pt x="341" y="124"/>
                      <a:pt x="341" y="124"/>
                    </a:cubicBezTo>
                    <a:cubicBezTo>
                      <a:pt x="341" y="93"/>
                      <a:pt x="341" y="62"/>
                      <a:pt x="372" y="62"/>
                    </a:cubicBezTo>
                    <a:lnTo>
                      <a:pt x="372" y="62"/>
                    </a:lnTo>
                    <a:lnTo>
                      <a:pt x="372" y="62"/>
                    </a:lnTo>
                    <a:lnTo>
                      <a:pt x="372" y="62"/>
                    </a:lnTo>
                    <a:lnTo>
                      <a:pt x="372" y="62"/>
                    </a:lnTo>
                    <a:lnTo>
                      <a:pt x="372" y="62"/>
                    </a:lnTo>
                    <a:cubicBezTo>
                      <a:pt x="341" y="62"/>
                      <a:pt x="341" y="62"/>
                      <a:pt x="341" y="31"/>
                    </a:cubicBezTo>
                    <a:lnTo>
                      <a:pt x="341" y="31"/>
                    </a:lnTo>
                    <a:cubicBezTo>
                      <a:pt x="341" y="31"/>
                      <a:pt x="341" y="31"/>
                      <a:pt x="341" y="62"/>
                    </a:cubicBezTo>
                    <a:cubicBezTo>
                      <a:pt x="309" y="93"/>
                      <a:pt x="309" y="93"/>
                      <a:pt x="309" y="93"/>
                    </a:cubicBezTo>
                    <a:cubicBezTo>
                      <a:pt x="279" y="93"/>
                      <a:pt x="279" y="93"/>
                      <a:pt x="279" y="93"/>
                    </a:cubicBezTo>
                    <a:cubicBezTo>
                      <a:pt x="248" y="93"/>
                      <a:pt x="217" y="93"/>
                      <a:pt x="186" y="93"/>
                    </a:cubicBezTo>
                    <a:lnTo>
                      <a:pt x="186" y="93"/>
                    </a:lnTo>
                    <a:cubicBezTo>
                      <a:pt x="186" y="93"/>
                      <a:pt x="186" y="62"/>
                      <a:pt x="155" y="62"/>
                    </a:cubicBezTo>
                    <a:lnTo>
                      <a:pt x="155" y="62"/>
                    </a:lnTo>
                    <a:cubicBezTo>
                      <a:pt x="155" y="31"/>
                      <a:pt x="155" y="31"/>
                      <a:pt x="124" y="31"/>
                    </a:cubicBezTo>
                    <a:cubicBezTo>
                      <a:pt x="124" y="31"/>
                      <a:pt x="124" y="31"/>
                      <a:pt x="93" y="31"/>
                    </a:cubicBezTo>
                    <a:lnTo>
                      <a:pt x="93" y="31"/>
                    </a:lnTo>
                    <a:lnTo>
                      <a:pt x="93" y="31"/>
                    </a:lnTo>
                    <a:lnTo>
                      <a:pt x="93" y="31"/>
                    </a:lnTo>
                    <a:cubicBezTo>
                      <a:pt x="93" y="62"/>
                      <a:pt x="93" y="62"/>
                      <a:pt x="93" y="62"/>
                    </a:cubicBezTo>
                    <a:cubicBezTo>
                      <a:pt x="62" y="0"/>
                      <a:pt x="62" y="0"/>
                      <a:pt x="62" y="0"/>
                    </a:cubicBezTo>
                    <a:lnTo>
                      <a:pt x="62" y="0"/>
                    </a:lnTo>
                    <a:lnTo>
                      <a:pt x="62" y="0"/>
                    </a:lnTo>
                    <a:cubicBezTo>
                      <a:pt x="62" y="0"/>
                      <a:pt x="62" y="0"/>
                      <a:pt x="31" y="0"/>
                    </a:cubicBezTo>
                    <a:cubicBezTo>
                      <a:pt x="31" y="0"/>
                      <a:pt x="31" y="0"/>
                      <a:pt x="0" y="0"/>
                    </a:cubicBezTo>
                    <a:lnTo>
                      <a:pt x="0" y="0"/>
                    </a:lnTo>
                    <a:lnTo>
                      <a:pt x="0" y="0"/>
                    </a:lnTo>
                    <a:cubicBezTo>
                      <a:pt x="0" y="31"/>
                      <a:pt x="31" y="31"/>
                      <a:pt x="31" y="31"/>
                    </a:cubicBezTo>
                    <a:lnTo>
                      <a:pt x="31" y="31"/>
                    </a:lnTo>
                    <a:cubicBezTo>
                      <a:pt x="31" y="62"/>
                      <a:pt x="31" y="62"/>
                      <a:pt x="31" y="62"/>
                    </a:cubicBezTo>
                    <a:cubicBezTo>
                      <a:pt x="31" y="62"/>
                      <a:pt x="31" y="62"/>
                      <a:pt x="31" y="93"/>
                    </a:cubicBezTo>
                    <a:lnTo>
                      <a:pt x="31" y="93"/>
                    </a:lnTo>
                    <a:lnTo>
                      <a:pt x="62" y="155"/>
                    </a:lnTo>
                    <a:lnTo>
                      <a:pt x="62" y="155"/>
                    </a:lnTo>
                    <a:cubicBezTo>
                      <a:pt x="62" y="186"/>
                      <a:pt x="62" y="186"/>
                      <a:pt x="62" y="186"/>
                    </a:cubicBezTo>
                    <a:lnTo>
                      <a:pt x="62" y="186"/>
                    </a:lnTo>
                    <a:cubicBezTo>
                      <a:pt x="31" y="217"/>
                      <a:pt x="31" y="217"/>
                      <a:pt x="31" y="217"/>
                    </a:cubicBezTo>
                    <a:cubicBezTo>
                      <a:pt x="31" y="217"/>
                      <a:pt x="31" y="217"/>
                      <a:pt x="31" y="248"/>
                    </a:cubicBezTo>
                    <a:cubicBezTo>
                      <a:pt x="0" y="248"/>
                      <a:pt x="0" y="248"/>
                      <a:pt x="0" y="279"/>
                    </a:cubicBezTo>
                    <a:cubicBezTo>
                      <a:pt x="0" y="279"/>
                      <a:pt x="0" y="310"/>
                      <a:pt x="0" y="341"/>
                    </a:cubicBezTo>
                    <a:cubicBezTo>
                      <a:pt x="217" y="465"/>
                      <a:pt x="217" y="465"/>
                      <a:pt x="217" y="465"/>
                    </a:cubicBezTo>
                    <a:cubicBezTo>
                      <a:pt x="217" y="496"/>
                      <a:pt x="217" y="496"/>
                      <a:pt x="217" y="496"/>
                    </a:cubicBezTo>
                    <a:cubicBezTo>
                      <a:pt x="248" y="527"/>
                      <a:pt x="248" y="527"/>
                      <a:pt x="248" y="527"/>
                    </a:cubicBezTo>
                    <a:cubicBezTo>
                      <a:pt x="279" y="527"/>
                      <a:pt x="279" y="527"/>
                      <a:pt x="279" y="527"/>
                    </a:cubicBezTo>
                    <a:cubicBezTo>
                      <a:pt x="279" y="496"/>
                      <a:pt x="279" y="496"/>
                      <a:pt x="279" y="465"/>
                    </a:cubicBezTo>
                    <a:cubicBezTo>
                      <a:pt x="279" y="465"/>
                      <a:pt x="279" y="465"/>
                      <a:pt x="309" y="465"/>
                    </a:cubicBezTo>
                    <a:lnTo>
                      <a:pt x="309" y="465"/>
                    </a:lnTo>
                    <a:lnTo>
                      <a:pt x="309" y="465"/>
                    </a:lnTo>
                    <a:cubicBezTo>
                      <a:pt x="309" y="434"/>
                      <a:pt x="309" y="434"/>
                      <a:pt x="341" y="434"/>
                    </a:cubicBezTo>
                    <a:lnTo>
                      <a:pt x="341" y="434"/>
                    </a:lnTo>
                    <a:cubicBezTo>
                      <a:pt x="341" y="403"/>
                      <a:pt x="341" y="403"/>
                      <a:pt x="372" y="403"/>
                    </a:cubicBezTo>
                    <a:cubicBezTo>
                      <a:pt x="372" y="372"/>
                      <a:pt x="372" y="372"/>
                      <a:pt x="372" y="372"/>
                    </a:cubicBezTo>
                    <a:lnTo>
                      <a:pt x="372" y="372"/>
                    </a:lnTo>
                    <a:cubicBezTo>
                      <a:pt x="372" y="372"/>
                      <a:pt x="341" y="372"/>
                      <a:pt x="341" y="34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8" name="Freeform 15"/>
              <p:cNvSpPr>
                <a:spLocks noChangeArrowheads="1"/>
              </p:cNvSpPr>
              <p:nvPr/>
            </p:nvSpPr>
            <p:spPr bwMode="auto">
              <a:xfrm>
                <a:off x="4181475" y="3017838"/>
                <a:ext cx="134938" cy="134937"/>
              </a:xfrm>
              <a:custGeom>
                <a:avLst/>
                <a:gdLst>
                  <a:gd name="T0" fmla="*/ 341 w 373"/>
                  <a:gd name="T1" fmla="*/ 218 h 373"/>
                  <a:gd name="T2" fmla="*/ 341 w 373"/>
                  <a:gd name="T3" fmla="*/ 187 h 373"/>
                  <a:gd name="T4" fmla="*/ 372 w 373"/>
                  <a:gd name="T5" fmla="*/ 156 h 373"/>
                  <a:gd name="T6" fmla="*/ 372 w 373"/>
                  <a:gd name="T7" fmla="*/ 156 h 373"/>
                  <a:gd name="T8" fmla="*/ 341 w 373"/>
                  <a:gd name="T9" fmla="*/ 94 h 373"/>
                  <a:gd name="T10" fmla="*/ 341 w 373"/>
                  <a:gd name="T11" fmla="*/ 63 h 373"/>
                  <a:gd name="T12" fmla="*/ 279 w 373"/>
                  <a:gd name="T13" fmla="*/ 32 h 373"/>
                  <a:gd name="T14" fmla="*/ 248 w 373"/>
                  <a:gd name="T15" fmla="*/ 32 h 373"/>
                  <a:gd name="T16" fmla="*/ 248 w 373"/>
                  <a:gd name="T17" fmla="*/ 32 h 373"/>
                  <a:gd name="T18" fmla="*/ 248 w 373"/>
                  <a:gd name="T19" fmla="*/ 32 h 373"/>
                  <a:gd name="T20" fmla="*/ 217 w 373"/>
                  <a:gd name="T21" fmla="*/ 0 h 373"/>
                  <a:gd name="T22" fmla="*/ 186 w 373"/>
                  <a:gd name="T23" fmla="*/ 0 h 373"/>
                  <a:gd name="T24" fmla="*/ 155 w 373"/>
                  <a:gd name="T25" fmla="*/ 63 h 373"/>
                  <a:gd name="T26" fmla="*/ 124 w 373"/>
                  <a:gd name="T27" fmla="*/ 94 h 373"/>
                  <a:gd name="T28" fmla="*/ 93 w 373"/>
                  <a:gd name="T29" fmla="*/ 124 h 373"/>
                  <a:gd name="T30" fmla="*/ 62 w 373"/>
                  <a:gd name="T31" fmla="*/ 156 h 373"/>
                  <a:gd name="T32" fmla="*/ 62 w 373"/>
                  <a:gd name="T33" fmla="*/ 156 h 373"/>
                  <a:gd name="T34" fmla="*/ 31 w 373"/>
                  <a:gd name="T35" fmla="*/ 156 h 373"/>
                  <a:gd name="T36" fmla="*/ 0 w 373"/>
                  <a:gd name="T37" fmla="*/ 156 h 373"/>
                  <a:gd name="T38" fmla="*/ 0 w 373"/>
                  <a:gd name="T39" fmla="*/ 187 h 373"/>
                  <a:gd name="T40" fmla="*/ 31 w 373"/>
                  <a:gd name="T41" fmla="*/ 187 h 373"/>
                  <a:gd name="T42" fmla="*/ 62 w 373"/>
                  <a:gd name="T43" fmla="*/ 218 h 373"/>
                  <a:gd name="T44" fmla="*/ 93 w 373"/>
                  <a:gd name="T45" fmla="*/ 280 h 373"/>
                  <a:gd name="T46" fmla="*/ 124 w 373"/>
                  <a:gd name="T47" fmla="*/ 342 h 373"/>
                  <a:gd name="T48" fmla="*/ 124 w 373"/>
                  <a:gd name="T49" fmla="*/ 342 h 373"/>
                  <a:gd name="T50" fmla="*/ 155 w 373"/>
                  <a:gd name="T51" fmla="*/ 342 h 373"/>
                  <a:gd name="T52" fmla="*/ 186 w 373"/>
                  <a:gd name="T53" fmla="*/ 372 h 373"/>
                  <a:gd name="T54" fmla="*/ 217 w 373"/>
                  <a:gd name="T55" fmla="*/ 372 h 373"/>
                  <a:gd name="T56" fmla="*/ 217 w 373"/>
                  <a:gd name="T57" fmla="*/ 372 h 373"/>
                  <a:gd name="T58" fmla="*/ 248 w 373"/>
                  <a:gd name="T59" fmla="*/ 372 h 373"/>
                  <a:gd name="T60" fmla="*/ 279 w 373"/>
                  <a:gd name="T61" fmla="*/ 372 h 373"/>
                  <a:gd name="T62" fmla="*/ 279 w 373"/>
                  <a:gd name="T63" fmla="*/ 372 h 373"/>
                  <a:gd name="T64" fmla="*/ 341 w 373"/>
                  <a:gd name="T65" fmla="*/ 342 h 373"/>
                  <a:gd name="T66" fmla="*/ 341 w 373"/>
                  <a:gd name="T67" fmla="*/ 311 h 373"/>
                  <a:gd name="T68" fmla="*/ 341 w 373"/>
                  <a:gd name="T69" fmla="*/ 248 h 373"/>
                  <a:gd name="T70" fmla="*/ 341 w 373"/>
                  <a:gd name="T71" fmla="*/ 218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3" h="373">
                    <a:moveTo>
                      <a:pt x="341" y="218"/>
                    </a:moveTo>
                    <a:lnTo>
                      <a:pt x="341" y="218"/>
                    </a:lnTo>
                    <a:lnTo>
                      <a:pt x="341" y="187"/>
                    </a:lnTo>
                    <a:lnTo>
                      <a:pt x="341" y="187"/>
                    </a:lnTo>
                    <a:lnTo>
                      <a:pt x="341" y="156"/>
                    </a:lnTo>
                    <a:lnTo>
                      <a:pt x="372" y="156"/>
                    </a:lnTo>
                    <a:lnTo>
                      <a:pt x="372" y="156"/>
                    </a:lnTo>
                    <a:lnTo>
                      <a:pt x="372" y="156"/>
                    </a:lnTo>
                    <a:cubicBezTo>
                      <a:pt x="341" y="124"/>
                      <a:pt x="341" y="124"/>
                      <a:pt x="341" y="94"/>
                    </a:cubicBezTo>
                    <a:lnTo>
                      <a:pt x="341" y="94"/>
                    </a:lnTo>
                    <a:lnTo>
                      <a:pt x="341" y="63"/>
                    </a:lnTo>
                    <a:lnTo>
                      <a:pt x="341" y="63"/>
                    </a:lnTo>
                    <a:cubicBezTo>
                      <a:pt x="341" y="63"/>
                      <a:pt x="341" y="63"/>
                      <a:pt x="310" y="63"/>
                    </a:cubicBezTo>
                    <a:cubicBezTo>
                      <a:pt x="310" y="63"/>
                      <a:pt x="310" y="32"/>
                      <a:pt x="279" y="32"/>
                    </a:cubicBezTo>
                    <a:lnTo>
                      <a:pt x="279" y="32"/>
                    </a:lnTo>
                    <a:cubicBezTo>
                      <a:pt x="279" y="32"/>
                      <a:pt x="279" y="32"/>
                      <a:pt x="248" y="32"/>
                    </a:cubicBezTo>
                    <a:lnTo>
                      <a:pt x="248" y="32"/>
                    </a:lnTo>
                    <a:lnTo>
                      <a:pt x="248" y="32"/>
                    </a:lnTo>
                    <a:lnTo>
                      <a:pt x="248" y="32"/>
                    </a:lnTo>
                    <a:lnTo>
                      <a:pt x="248" y="32"/>
                    </a:lnTo>
                    <a:cubicBezTo>
                      <a:pt x="248" y="32"/>
                      <a:pt x="217" y="32"/>
                      <a:pt x="217" y="0"/>
                    </a:cubicBezTo>
                    <a:lnTo>
                      <a:pt x="217" y="0"/>
                    </a:lnTo>
                    <a:lnTo>
                      <a:pt x="186" y="0"/>
                    </a:lnTo>
                    <a:lnTo>
                      <a:pt x="186" y="0"/>
                    </a:lnTo>
                    <a:lnTo>
                      <a:pt x="186" y="32"/>
                    </a:lnTo>
                    <a:cubicBezTo>
                      <a:pt x="186" y="32"/>
                      <a:pt x="186" y="63"/>
                      <a:pt x="155" y="63"/>
                    </a:cubicBezTo>
                    <a:lnTo>
                      <a:pt x="155" y="63"/>
                    </a:lnTo>
                    <a:lnTo>
                      <a:pt x="124" y="94"/>
                    </a:lnTo>
                    <a:cubicBezTo>
                      <a:pt x="93" y="94"/>
                      <a:pt x="93" y="94"/>
                      <a:pt x="93" y="94"/>
                    </a:cubicBezTo>
                    <a:lnTo>
                      <a:pt x="93" y="124"/>
                    </a:lnTo>
                    <a:lnTo>
                      <a:pt x="93" y="124"/>
                    </a:lnTo>
                    <a:cubicBezTo>
                      <a:pt x="93" y="124"/>
                      <a:pt x="93" y="156"/>
                      <a:pt x="62" y="156"/>
                    </a:cubicBezTo>
                    <a:lnTo>
                      <a:pt x="62" y="156"/>
                    </a:lnTo>
                    <a:lnTo>
                      <a:pt x="62" y="156"/>
                    </a:lnTo>
                    <a:cubicBezTo>
                      <a:pt x="31" y="156"/>
                      <a:pt x="31" y="156"/>
                      <a:pt x="31" y="156"/>
                    </a:cubicBezTo>
                    <a:lnTo>
                      <a:pt x="31" y="156"/>
                    </a:lnTo>
                    <a:lnTo>
                      <a:pt x="31" y="156"/>
                    </a:lnTo>
                    <a:cubicBezTo>
                      <a:pt x="0" y="156"/>
                      <a:pt x="0" y="156"/>
                      <a:pt x="0" y="156"/>
                    </a:cubicBezTo>
                    <a:lnTo>
                      <a:pt x="0" y="156"/>
                    </a:lnTo>
                    <a:cubicBezTo>
                      <a:pt x="0" y="156"/>
                      <a:pt x="0" y="156"/>
                      <a:pt x="0" y="187"/>
                    </a:cubicBezTo>
                    <a:lnTo>
                      <a:pt x="0" y="187"/>
                    </a:lnTo>
                    <a:cubicBezTo>
                      <a:pt x="0" y="187"/>
                      <a:pt x="0" y="187"/>
                      <a:pt x="31" y="187"/>
                    </a:cubicBezTo>
                    <a:cubicBezTo>
                      <a:pt x="31" y="218"/>
                      <a:pt x="31" y="218"/>
                      <a:pt x="31" y="218"/>
                    </a:cubicBezTo>
                    <a:lnTo>
                      <a:pt x="62" y="218"/>
                    </a:lnTo>
                    <a:cubicBezTo>
                      <a:pt x="62" y="218"/>
                      <a:pt x="93" y="248"/>
                      <a:pt x="93" y="280"/>
                    </a:cubicBezTo>
                    <a:lnTo>
                      <a:pt x="93" y="280"/>
                    </a:lnTo>
                    <a:cubicBezTo>
                      <a:pt x="124" y="280"/>
                      <a:pt x="124" y="311"/>
                      <a:pt x="124" y="311"/>
                    </a:cubicBezTo>
                    <a:lnTo>
                      <a:pt x="124" y="342"/>
                    </a:lnTo>
                    <a:lnTo>
                      <a:pt x="124" y="342"/>
                    </a:lnTo>
                    <a:lnTo>
                      <a:pt x="124" y="342"/>
                    </a:lnTo>
                    <a:lnTo>
                      <a:pt x="124" y="342"/>
                    </a:lnTo>
                    <a:cubicBezTo>
                      <a:pt x="155" y="342"/>
                      <a:pt x="155" y="342"/>
                      <a:pt x="155" y="342"/>
                    </a:cubicBezTo>
                    <a:cubicBezTo>
                      <a:pt x="186" y="342"/>
                      <a:pt x="186" y="342"/>
                      <a:pt x="186" y="342"/>
                    </a:cubicBezTo>
                    <a:cubicBezTo>
                      <a:pt x="186" y="372"/>
                      <a:pt x="186" y="372"/>
                      <a:pt x="186" y="372"/>
                    </a:cubicBezTo>
                    <a:lnTo>
                      <a:pt x="186" y="372"/>
                    </a:lnTo>
                    <a:cubicBezTo>
                      <a:pt x="186" y="372"/>
                      <a:pt x="186" y="372"/>
                      <a:pt x="217" y="372"/>
                    </a:cubicBezTo>
                    <a:lnTo>
                      <a:pt x="217" y="372"/>
                    </a:lnTo>
                    <a:lnTo>
                      <a:pt x="217" y="372"/>
                    </a:lnTo>
                    <a:lnTo>
                      <a:pt x="217" y="372"/>
                    </a:lnTo>
                    <a:lnTo>
                      <a:pt x="248" y="372"/>
                    </a:lnTo>
                    <a:lnTo>
                      <a:pt x="248" y="372"/>
                    </a:lnTo>
                    <a:lnTo>
                      <a:pt x="279" y="372"/>
                    </a:lnTo>
                    <a:lnTo>
                      <a:pt x="279" y="372"/>
                    </a:lnTo>
                    <a:lnTo>
                      <a:pt x="279" y="372"/>
                    </a:lnTo>
                    <a:lnTo>
                      <a:pt x="279" y="372"/>
                    </a:lnTo>
                    <a:cubicBezTo>
                      <a:pt x="310" y="342"/>
                      <a:pt x="310" y="342"/>
                      <a:pt x="341" y="342"/>
                    </a:cubicBezTo>
                    <a:lnTo>
                      <a:pt x="341" y="342"/>
                    </a:lnTo>
                    <a:cubicBezTo>
                      <a:pt x="341" y="311"/>
                      <a:pt x="341" y="311"/>
                      <a:pt x="341" y="311"/>
                    </a:cubicBezTo>
                    <a:lnTo>
                      <a:pt x="341" y="311"/>
                    </a:lnTo>
                    <a:cubicBezTo>
                      <a:pt x="341" y="280"/>
                      <a:pt x="341" y="280"/>
                      <a:pt x="341" y="248"/>
                    </a:cubicBezTo>
                    <a:lnTo>
                      <a:pt x="372" y="248"/>
                    </a:lnTo>
                    <a:lnTo>
                      <a:pt x="341" y="21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9" name="Freeform 16"/>
              <p:cNvSpPr>
                <a:spLocks noChangeArrowheads="1"/>
              </p:cNvSpPr>
              <p:nvPr/>
            </p:nvSpPr>
            <p:spPr bwMode="auto">
              <a:xfrm>
                <a:off x="4327525" y="2884488"/>
                <a:ext cx="44450" cy="133350"/>
              </a:xfrm>
              <a:custGeom>
                <a:avLst/>
                <a:gdLst>
                  <a:gd name="T0" fmla="*/ 31 w 125"/>
                  <a:gd name="T1" fmla="*/ 186 h 372"/>
                  <a:gd name="T2" fmla="*/ 31 w 125"/>
                  <a:gd name="T3" fmla="*/ 186 h 372"/>
                  <a:gd name="T4" fmla="*/ 31 w 125"/>
                  <a:gd name="T5" fmla="*/ 154 h 372"/>
                  <a:gd name="T6" fmla="*/ 31 w 125"/>
                  <a:gd name="T7" fmla="*/ 154 h 372"/>
                  <a:gd name="T8" fmla="*/ 31 w 125"/>
                  <a:gd name="T9" fmla="*/ 154 h 372"/>
                  <a:gd name="T10" fmla="*/ 31 w 125"/>
                  <a:gd name="T11" fmla="*/ 154 h 372"/>
                  <a:gd name="T12" fmla="*/ 31 w 125"/>
                  <a:gd name="T13" fmla="*/ 124 h 372"/>
                  <a:gd name="T14" fmla="*/ 62 w 125"/>
                  <a:gd name="T15" fmla="*/ 93 h 372"/>
                  <a:gd name="T16" fmla="*/ 62 w 125"/>
                  <a:gd name="T17" fmla="*/ 93 h 372"/>
                  <a:gd name="T18" fmla="*/ 62 w 125"/>
                  <a:gd name="T19" fmla="*/ 93 h 372"/>
                  <a:gd name="T20" fmla="*/ 62 w 125"/>
                  <a:gd name="T21" fmla="*/ 31 h 372"/>
                  <a:gd name="T22" fmla="*/ 31 w 125"/>
                  <a:gd name="T23" fmla="*/ 0 h 372"/>
                  <a:gd name="T24" fmla="*/ 31 w 125"/>
                  <a:gd name="T25" fmla="*/ 0 h 372"/>
                  <a:gd name="T26" fmla="*/ 31 w 125"/>
                  <a:gd name="T27" fmla="*/ 0 h 372"/>
                  <a:gd name="T28" fmla="*/ 31 w 125"/>
                  <a:gd name="T29" fmla="*/ 0 h 372"/>
                  <a:gd name="T30" fmla="*/ 31 w 125"/>
                  <a:gd name="T31" fmla="*/ 31 h 372"/>
                  <a:gd name="T32" fmla="*/ 31 w 125"/>
                  <a:gd name="T33" fmla="*/ 62 h 372"/>
                  <a:gd name="T34" fmla="*/ 31 w 125"/>
                  <a:gd name="T35" fmla="*/ 62 h 372"/>
                  <a:gd name="T36" fmla="*/ 31 w 125"/>
                  <a:gd name="T37" fmla="*/ 93 h 372"/>
                  <a:gd name="T38" fmla="*/ 31 w 125"/>
                  <a:gd name="T39" fmla="*/ 124 h 372"/>
                  <a:gd name="T40" fmla="*/ 0 w 125"/>
                  <a:gd name="T41" fmla="*/ 186 h 372"/>
                  <a:gd name="T42" fmla="*/ 0 w 125"/>
                  <a:gd name="T43" fmla="*/ 186 h 372"/>
                  <a:gd name="T44" fmla="*/ 0 w 125"/>
                  <a:gd name="T45" fmla="*/ 186 h 372"/>
                  <a:gd name="T46" fmla="*/ 0 w 125"/>
                  <a:gd name="T47" fmla="*/ 186 h 372"/>
                  <a:gd name="T48" fmla="*/ 0 w 125"/>
                  <a:gd name="T49" fmla="*/ 186 h 372"/>
                  <a:gd name="T50" fmla="*/ 0 w 125"/>
                  <a:gd name="T51" fmla="*/ 186 h 372"/>
                  <a:gd name="T52" fmla="*/ 0 w 125"/>
                  <a:gd name="T53" fmla="*/ 217 h 372"/>
                  <a:gd name="T54" fmla="*/ 0 w 125"/>
                  <a:gd name="T55" fmla="*/ 217 h 372"/>
                  <a:gd name="T56" fmla="*/ 31 w 125"/>
                  <a:gd name="T57" fmla="*/ 248 h 372"/>
                  <a:gd name="T58" fmla="*/ 31 w 125"/>
                  <a:gd name="T59" fmla="*/ 248 h 372"/>
                  <a:gd name="T60" fmla="*/ 31 w 125"/>
                  <a:gd name="T61" fmla="*/ 248 h 372"/>
                  <a:gd name="T62" fmla="*/ 31 w 125"/>
                  <a:gd name="T63" fmla="*/ 248 h 372"/>
                  <a:gd name="T64" fmla="*/ 62 w 125"/>
                  <a:gd name="T65" fmla="*/ 248 h 372"/>
                  <a:gd name="T66" fmla="*/ 62 w 125"/>
                  <a:gd name="T67" fmla="*/ 248 h 372"/>
                  <a:gd name="T68" fmla="*/ 93 w 125"/>
                  <a:gd name="T69" fmla="*/ 279 h 372"/>
                  <a:gd name="T70" fmla="*/ 93 w 125"/>
                  <a:gd name="T71" fmla="*/ 310 h 372"/>
                  <a:gd name="T72" fmla="*/ 93 w 125"/>
                  <a:gd name="T73" fmla="*/ 310 h 372"/>
                  <a:gd name="T74" fmla="*/ 93 w 125"/>
                  <a:gd name="T75" fmla="*/ 310 h 372"/>
                  <a:gd name="T76" fmla="*/ 93 w 125"/>
                  <a:gd name="T77" fmla="*/ 371 h 372"/>
                  <a:gd name="T78" fmla="*/ 93 w 125"/>
                  <a:gd name="T79" fmla="*/ 371 h 372"/>
                  <a:gd name="T80" fmla="*/ 93 w 125"/>
                  <a:gd name="T81" fmla="*/ 371 h 372"/>
                  <a:gd name="T82" fmla="*/ 93 w 125"/>
                  <a:gd name="T83" fmla="*/ 371 h 372"/>
                  <a:gd name="T84" fmla="*/ 93 w 125"/>
                  <a:gd name="T85" fmla="*/ 371 h 372"/>
                  <a:gd name="T86" fmla="*/ 124 w 125"/>
                  <a:gd name="T87" fmla="*/ 371 h 372"/>
                  <a:gd name="T88" fmla="*/ 124 w 125"/>
                  <a:gd name="T89" fmla="*/ 371 h 372"/>
                  <a:gd name="T90" fmla="*/ 124 w 125"/>
                  <a:gd name="T91" fmla="*/ 341 h 372"/>
                  <a:gd name="T92" fmla="*/ 124 w 125"/>
                  <a:gd name="T93" fmla="*/ 341 h 372"/>
                  <a:gd name="T94" fmla="*/ 124 w 125"/>
                  <a:gd name="T95" fmla="*/ 310 h 372"/>
                  <a:gd name="T96" fmla="*/ 124 w 125"/>
                  <a:gd name="T97" fmla="*/ 279 h 372"/>
                  <a:gd name="T98" fmla="*/ 124 w 125"/>
                  <a:gd name="T99" fmla="*/ 279 h 372"/>
                  <a:gd name="T100" fmla="*/ 93 w 125"/>
                  <a:gd name="T101" fmla="*/ 279 h 372"/>
                  <a:gd name="T102" fmla="*/ 62 w 125"/>
                  <a:gd name="T103" fmla="*/ 248 h 372"/>
                  <a:gd name="T104" fmla="*/ 62 w 125"/>
                  <a:gd name="T105" fmla="*/ 217 h 372"/>
                  <a:gd name="T106" fmla="*/ 62 w 125"/>
                  <a:gd name="T107" fmla="*/ 217 h 372"/>
                  <a:gd name="T108" fmla="*/ 31 w 125"/>
                  <a:gd name="T109" fmla="*/ 186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 h="372">
                    <a:moveTo>
                      <a:pt x="31" y="186"/>
                    </a:moveTo>
                    <a:lnTo>
                      <a:pt x="31" y="186"/>
                    </a:lnTo>
                    <a:cubicBezTo>
                      <a:pt x="31" y="186"/>
                      <a:pt x="31" y="186"/>
                      <a:pt x="31" y="154"/>
                    </a:cubicBezTo>
                    <a:lnTo>
                      <a:pt x="31" y="154"/>
                    </a:lnTo>
                    <a:lnTo>
                      <a:pt x="31" y="154"/>
                    </a:lnTo>
                    <a:lnTo>
                      <a:pt x="31" y="154"/>
                    </a:lnTo>
                    <a:cubicBezTo>
                      <a:pt x="31" y="154"/>
                      <a:pt x="31" y="154"/>
                      <a:pt x="31" y="124"/>
                    </a:cubicBezTo>
                    <a:cubicBezTo>
                      <a:pt x="31" y="124"/>
                      <a:pt x="31" y="124"/>
                      <a:pt x="62" y="93"/>
                    </a:cubicBezTo>
                    <a:lnTo>
                      <a:pt x="62" y="93"/>
                    </a:lnTo>
                    <a:lnTo>
                      <a:pt x="62" y="93"/>
                    </a:lnTo>
                    <a:cubicBezTo>
                      <a:pt x="62" y="62"/>
                      <a:pt x="62" y="31"/>
                      <a:pt x="62" y="31"/>
                    </a:cubicBezTo>
                    <a:lnTo>
                      <a:pt x="31" y="0"/>
                    </a:lnTo>
                    <a:lnTo>
                      <a:pt x="31" y="0"/>
                    </a:lnTo>
                    <a:lnTo>
                      <a:pt x="31" y="0"/>
                    </a:lnTo>
                    <a:lnTo>
                      <a:pt x="31" y="0"/>
                    </a:lnTo>
                    <a:lnTo>
                      <a:pt x="31" y="31"/>
                    </a:lnTo>
                    <a:lnTo>
                      <a:pt x="31" y="62"/>
                    </a:lnTo>
                    <a:lnTo>
                      <a:pt x="31" y="62"/>
                    </a:lnTo>
                    <a:lnTo>
                      <a:pt x="31" y="93"/>
                    </a:lnTo>
                    <a:lnTo>
                      <a:pt x="31" y="124"/>
                    </a:lnTo>
                    <a:cubicBezTo>
                      <a:pt x="31" y="154"/>
                      <a:pt x="31" y="154"/>
                      <a:pt x="0" y="186"/>
                    </a:cubicBezTo>
                    <a:lnTo>
                      <a:pt x="0" y="186"/>
                    </a:lnTo>
                    <a:lnTo>
                      <a:pt x="0" y="186"/>
                    </a:lnTo>
                    <a:lnTo>
                      <a:pt x="0" y="186"/>
                    </a:lnTo>
                    <a:lnTo>
                      <a:pt x="0" y="186"/>
                    </a:lnTo>
                    <a:lnTo>
                      <a:pt x="0" y="186"/>
                    </a:lnTo>
                    <a:cubicBezTo>
                      <a:pt x="0" y="217"/>
                      <a:pt x="0" y="217"/>
                      <a:pt x="0" y="217"/>
                    </a:cubicBezTo>
                    <a:lnTo>
                      <a:pt x="0" y="217"/>
                    </a:lnTo>
                    <a:cubicBezTo>
                      <a:pt x="0" y="248"/>
                      <a:pt x="31" y="248"/>
                      <a:pt x="31" y="248"/>
                    </a:cubicBezTo>
                    <a:lnTo>
                      <a:pt x="31" y="248"/>
                    </a:lnTo>
                    <a:lnTo>
                      <a:pt x="31" y="248"/>
                    </a:lnTo>
                    <a:lnTo>
                      <a:pt x="31" y="248"/>
                    </a:lnTo>
                    <a:lnTo>
                      <a:pt x="62" y="248"/>
                    </a:lnTo>
                    <a:lnTo>
                      <a:pt x="62" y="248"/>
                    </a:lnTo>
                    <a:cubicBezTo>
                      <a:pt x="62" y="248"/>
                      <a:pt x="93" y="248"/>
                      <a:pt x="93" y="279"/>
                    </a:cubicBezTo>
                    <a:lnTo>
                      <a:pt x="93" y="310"/>
                    </a:lnTo>
                    <a:lnTo>
                      <a:pt x="93" y="310"/>
                    </a:lnTo>
                    <a:lnTo>
                      <a:pt x="93" y="310"/>
                    </a:lnTo>
                    <a:cubicBezTo>
                      <a:pt x="93" y="341"/>
                      <a:pt x="93" y="341"/>
                      <a:pt x="93" y="371"/>
                    </a:cubicBezTo>
                    <a:lnTo>
                      <a:pt x="93" y="371"/>
                    </a:lnTo>
                    <a:lnTo>
                      <a:pt x="93" y="371"/>
                    </a:lnTo>
                    <a:lnTo>
                      <a:pt x="93" y="371"/>
                    </a:lnTo>
                    <a:lnTo>
                      <a:pt x="93" y="371"/>
                    </a:lnTo>
                    <a:cubicBezTo>
                      <a:pt x="93" y="371"/>
                      <a:pt x="93" y="371"/>
                      <a:pt x="124" y="371"/>
                    </a:cubicBezTo>
                    <a:lnTo>
                      <a:pt x="124" y="371"/>
                    </a:lnTo>
                    <a:lnTo>
                      <a:pt x="124" y="341"/>
                    </a:lnTo>
                    <a:lnTo>
                      <a:pt x="124" y="341"/>
                    </a:lnTo>
                    <a:lnTo>
                      <a:pt x="124" y="310"/>
                    </a:lnTo>
                    <a:cubicBezTo>
                      <a:pt x="124" y="310"/>
                      <a:pt x="124" y="310"/>
                      <a:pt x="124" y="279"/>
                    </a:cubicBezTo>
                    <a:lnTo>
                      <a:pt x="124" y="279"/>
                    </a:lnTo>
                    <a:cubicBezTo>
                      <a:pt x="93" y="279"/>
                      <a:pt x="93" y="279"/>
                      <a:pt x="93" y="279"/>
                    </a:cubicBezTo>
                    <a:cubicBezTo>
                      <a:pt x="93" y="248"/>
                      <a:pt x="93" y="248"/>
                      <a:pt x="62" y="248"/>
                    </a:cubicBezTo>
                    <a:cubicBezTo>
                      <a:pt x="62" y="217"/>
                      <a:pt x="62" y="217"/>
                      <a:pt x="62" y="217"/>
                    </a:cubicBezTo>
                    <a:lnTo>
                      <a:pt x="62" y="217"/>
                    </a:lnTo>
                    <a:cubicBezTo>
                      <a:pt x="62" y="217"/>
                      <a:pt x="31" y="217"/>
                      <a:pt x="31" y="186"/>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0" name="Freeform 17"/>
              <p:cNvSpPr>
                <a:spLocks noChangeArrowheads="1"/>
              </p:cNvSpPr>
              <p:nvPr/>
            </p:nvSpPr>
            <p:spPr bwMode="auto">
              <a:xfrm>
                <a:off x="3333750" y="2025650"/>
                <a:ext cx="146050" cy="123825"/>
              </a:xfrm>
              <a:custGeom>
                <a:avLst/>
                <a:gdLst>
                  <a:gd name="T0" fmla="*/ 217 w 405"/>
                  <a:gd name="T1" fmla="*/ 217 h 342"/>
                  <a:gd name="T2" fmla="*/ 217 w 405"/>
                  <a:gd name="T3" fmla="*/ 217 h 342"/>
                  <a:gd name="T4" fmla="*/ 217 w 405"/>
                  <a:gd name="T5" fmla="*/ 31 h 342"/>
                  <a:gd name="T6" fmla="*/ 404 w 405"/>
                  <a:gd name="T7" fmla="*/ 31 h 342"/>
                  <a:gd name="T8" fmla="*/ 404 w 405"/>
                  <a:gd name="T9" fmla="*/ 0 h 342"/>
                  <a:gd name="T10" fmla="*/ 217 w 405"/>
                  <a:gd name="T11" fmla="*/ 0 h 342"/>
                  <a:gd name="T12" fmla="*/ 186 w 405"/>
                  <a:gd name="T13" fmla="*/ 31 h 342"/>
                  <a:gd name="T14" fmla="*/ 156 w 405"/>
                  <a:gd name="T15" fmla="*/ 63 h 342"/>
                  <a:gd name="T16" fmla="*/ 124 w 405"/>
                  <a:gd name="T17" fmla="*/ 94 h 342"/>
                  <a:gd name="T18" fmla="*/ 124 w 405"/>
                  <a:gd name="T19" fmla="*/ 94 h 342"/>
                  <a:gd name="T20" fmla="*/ 124 w 405"/>
                  <a:gd name="T21" fmla="*/ 155 h 342"/>
                  <a:gd name="T22" fmla="*/ 124 w 405"/>
                  <a:gd name="T23" fmla="*/ 155 h 342"/>
                  <a:gd name="T24" fmla="*/ 93 w 405"/>
                  <a:gd name="T25" fmla="*/ 187 h 342"/>
                  <a:gd name="T26" fmla="*/ 62 w 405"/>
                  <a:gd name="T27" fmla="*/ 217 h 342"/>
                  <a:gd name="T28" fmla="*/ 62 w 405"/>
                  <a:gd name="T29" fmla="*/ 217 h 342"/>
                  <a:gd name="T30" fmla="*/ 32 w 405"/>
                  <a:gd name="T31" fmla="*/ 248 h 342"/>
                  <a:gd name="T32" fmla="*/ 32 w 405"/>
                  <a:gd name="T33" fmla="*/ 311 h 342"/>
                  <a:gd name="T34" fmla="*/ 0 w 405"/>
                  <a:gd name="T35" fmla="*/ 311 h 342"/>
                  <a:gd name="T36" fmla="*/ 0 w 405"/>
                  <a:gd name="T37" fmla="*/ 341 h 342"/>
                  <a:gd name="T38" fmla="*/ 0 w 405"/>
                  <a:gd name="T39" fmla="*/ 341 h 342"/>
                  <a:gd name="T40" fmla="*/ 156 w 405"/>
                  <a:gd name="T41" fmla="*/ 341 h 342"/>
                  <a:gd name="T42" fmla="*/ 156 w 405"/>
                  <a:gd name="T43" fmla="*/ 341 h 342"/>
                  <a:gd name="T44" fmla="*/ 156 w 405"/>
                  <a:gd name="T45" fmla="*/ 311 h 342"/>
                  <a:gd name="T46" fmla="*/ 186 w 405"/>
                  <a:gd name="T47" fmla="*/ 248 h 342"/>
                  <a:gd name="T48" fmla="*/ 217 w 405"/>
                  <a:gd name="T49" fmla="*/ 217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5" h="342">
                    <a:moveTo>
                      <a:pt x="217" y="217"/>
                    </a:moveTo>
                    <a:lnTo>
                      <a:pt x="217" y="217"/>
                    </a:lnTo>
                    <a:cubicBezTo>
                      <a:pt x="217" y="31"/>
                      <a:pt x="217" y="31"/>
                      <a:pt x="217" y="31"/>
                    </a:cubicBezTo>
                    <a:cubicBezTo>
                      <a:pt x="404" y="31"/>
                      <a:pt x="404" y="31"/>
                      <a:pt x="404" y="31"/>
                    </a:cubicBezTo>
                    <a:cubicBezTo>
                      <a:pt x="404" y="0"/>
                      <a:pt x="404" y="0"/>
                      <a:pt x="404" y="0"/>
                    </a:cubicBezTo>
                    <a:cubicBezTo>
                      <a:pt x="217" y="0"/>
                      <a:pt x="217" y="0"/>
                      <a:pt x="217" y="0"/>
                    </a:cubicBezTo>
                    <a:cubicBezTo>
                      <a:pt x="217" y="0"/>
                      <a:pt x="186" y="0"/>
                      <a:pt x="186" y="31"/>
                    </a:cubicBezTo>
                    <a:cubicBezTo>
                      <a:pt x="186" y="31"/>
                      <a:pt x="186" y="63"/>
                      <a:pt x="156" y="63"/>
                    </a:cubicBezTo>
                    <a:lnTo>
                      <a:pt x="124" y="94"/>
                    </a:lnTo>
                    <a:lnTo>
                      <a:pt x="124" y="94"/>
                    </a:lnTo>
                    <a:cubicBezTo>
                      <a:pt x="124" y="124"/>
                      <a:pt x="124" y="124"/>
                      <a:pt x="124" y="155"/>
                    </a:cubicBezTo>
                    <a:lnTo>
                      <a:pt x="124" y="155"/>
                    </a:lnTo>
                    <a:cubicBezTo>
                      <a:pt x="124" y="155"/>
                      <a:pt x="124" y="187"/>
                      <a:pt x="93" y="187"/>
                    </a:cubicBezTo>
                    <a:cubicBezTo>
                      <a:pt x="93" y="187"/>
                      <a:pt x="93" y="217"/>
                      <a:pt x="62" y="217"/>
                    </a:cubicBezTo>
                    <a:lnTo>
                      <a:pt x="62" y="217"/>
                    </a:lnTo>
                    <a:lnTo>
                      <a:pt x="32" y="248"/>
                    </a:lnTo>
                    <a:cubicBezTo>
                      <a:pt x="32" y="279"/>
                      <a:pt x="32" y="279"/>
                      <a:pt x="32" y="311"/>
                    </a:cubicBezTo>
                    <a:lnTo>
                      <a:pt x="0" y="311"/>
                    </a:lnTo>
                    <a:cubicBezTo>
                      <a:pt x="0" y="341"/>
                      <a:pt x="0" y="341"/>
                      <a:pt x="0" y="341"/>
                    </a:cubicBezTo>
                    <a:lnTo>
                      <a:pt x="0" y="341"/>
                    </a:lnTo>
                    <a:cubicBezTo>
                      <a:pt x="156" y="341"/>
                      <a:pt x="156" y="341"/>
                      <a:pt x="156" y="341"/>
                    </a:cubicBezTo>
                    <a:lnTo>
                      <a:pt x="156" y="341"/>
                    </a:lnTo>
                    <a:lnTo>
                      <a:pt x="156" y="311"/>
                    </a:lnTo>
                    <a:cubicBezTo>
                      <a:pt x="156" y="279"/>
                      <a:pt x="156" y="279"/>
                      <a:pt x="186" y="248"/>
                    </a:cubicBezTo>
                    <a:cubicBezTo>
                      <a:pt x="186" y="217"/>
                      <a:pt x="217" y="217"/>
                      <a:pt x="217" y="21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1" name="Freeform 18"/>
              <p:cNvSpPr>
                <a:spLocks noChangeArrowheads="1"/>
              </p:cNvSpPr>
              <p:nvPr/>
            </p:nvSpPr>
            <p:spPr bwMode="auto">
              <a:xfrm>
                <a:off x="3502025" y="1801813"/>
                <a:ext cx="390525" cy="401637"/>
              </a:xfrm>
              <a:custGeom>
                <a:avLst/>
                <a:gdLst>
                  <a:gd name="T0" fmla="*/ 0 w 1085"/>
                  <a:gd name="T1" fmla="*/ 590 h 1117"/>
                  <a:gd name="T2" fmla="*/ 559 w 1085"/>
                  <a:gd name="T3" fmla="*/ 1023 h 1117"/>
                  <a:gd name="T4" fmla="*/ 559 w 1085"/>
                  <a:gd name="T5" fmla="*/ 1023 h 1117"/>
                  <a:gd name="T6" fmla="*/ 651 w 1085"/>
                  <a:gd name="T7" fmla="*/ 1085 h 1117"/>
                  <a:gd name="T8" fmla="*/ 651 w 1085"/>
                  <a:gd name="T9" fmla="*/ 1085 h 1117"/>
                  <a:gd name="T10" fmla="*/ 744 w 1085"/>
                  <a:gd name="T11" fmla="*/ 1085 h 1117"/>
                  <a:gd name="T12" fmla="*/ 868 w 1085"/>
                  <a:gd name="T13" fmla="*/ 992 h 1117"/>
                  <a:gd name="T14" fmla="*/ 1055 w 1085"/>
                  <a:gd name="T15" fmla="*/ 868 h 1117"/>
                  <a:gd name="T16" fmla="*/ 1084 w 1085"/>
                  <a:gd name="T17" fmla="*/ 837 h 1117"/>
                  <a:gd name="T18" fmla="*/ 992 w 1085"/>
                  <a:gd name="T19" fmla="*/ 775 h 1117"/>
                  <a:gd name="T20" fmla="*/ 992 w 1085"/>
                  <a:gd name="T21" fmla="*/ 744 h 1117"/>
                  <a:gd name="T22" fmla="*/ 961 w 1085"/>
                  <a:gd name="T23" fmla="*/ 714 h 1117"/>
                  <a:gd name="T24" fmla="*/ 931 w 1085"/>
                  <a:gd name="T25" fmla="*/ 683 h 1117"/>
                  <a:gd name="T26" fmla="*/ 961 w 1085"/>
                  <a:gd name="T27" fmla="*/ 651 h 1117"/>
                  <a:gd name="T28" fmla="*/ 961 w 1085"/>
                  <a:gd name="T29" fmla="*/ 590 h 1117"/>
                  <a:gd name="T30" fmla="*/ 961 w 1085"/>
                  <a:gd name="T31" fmla="*/ 496 h 1117"/>
                  <a:gd name="T32" fmla="*/ 961 w 1085"/>
                  <a:gd name="T33" fmla="*/ 466 h 1117"/>
                  <a:gd name="T34" fmla="*/ 931 w 1085"/>
                  <a:gd name="T35" fmla="*/ 435 h 1117"/>
                  <a:gd name="T36" fmla="*/ 931 w 1085"/>
                  <a:gd name="T37" fmla="*/ 372 h 1117"/>
                  <a:gd name="T38" fmla="*/ 899 w 1085"/>
                  <a:gd name="T39" fmla="*/ 311 h 1117"/>
                  <a:gd name="T40" fmla="*/ 899 w 1085"/>
                  <a:gd name="T41" fmla="*/ 279 h 1117"/>
                  <a:gd name="T42" fmla="*/ 837 w 1085"/>
                  <a:gd name="T43" fmla="*/ 218 h 1117"/>
                  <a:gd name="T44" fmla="*/ 837 w 1085"/>
                  <a:gd name="T45" fmla="*/ 187 h 1117"/>
                  <a:gd name="T46" fmla="*/ 868 w 1085"/>
                  <a:gd name="T47" fmla="*/ 124 h 1117"/>
                  <a:gd name="T48" fmla="*/ 899 w 1085"/>
                  <a:gd name="T49" fmla="*/ 94 h 1117"/>
                  <a:gd name="T50" fmla="*/ 899 w 1085"/>
                  <a:gd name="T51" fmla="*/ 31 h 1117"/>
                  <a:gd name="T52" fmla="*/ 868 w 1085"/>
                  <a:gd name="T53" fmla="*/ 0 h 1117"/>
                  <a:gd name="T54" fmla="*/ 868 w 1085"/>
                  <a:gd name="T55" fmla="*/ 0 h 1117"/>
                  <a:gd name="T56" fmla="*/ 775 w 1085"/>
                  <a:gd name="T57" fmla="*/ 31 h 1117"/>
                  <a:gd name="T58" fmla="*/ 713 w 1085"/>
                  <a:gd name="T59" fmla="*/ 0 h 1117"/>
                  <a:gd name="T60" fmla="*/ 683 w 1085"/>
                  <a:gd name="T61" fmla="*/ 0 h 1117"/>
                  <a:gd name="T62" fmla="*/ 620 w 1085"/>
                  <a:gd name="T63" fmla="*/ 31 h 1117"/>
                  <a:gd name="T64" fmla="*/ 527 w 1085"/>
                  <a:gd name="T65" fmla="*/ 31 h 1117"/>
                  <a:gd name="T66" fmla="*/ 403 w 1085"/>
                  <a:gd name="T67" fmla="*/ 94 h 1117"/>
                  <a:gd name="T68" fmla="*/ 372 w 1085"/>
                  <a:gd name="T69" fmla="*/ 124 h 1117"/>
                  <a:gd name="T70" fmla="*/ 372 w 1085"/>
                  <a:gd name="T71" fmla="*/ 187 h 1117"/>
                  <a:gd name="T72" fmla="*/ 403 w 1085"/>
                  <a:gd name="T73" fmla="*/ 311 h 1117"/>
                  <a:gd name="T74" fmla="*/ 372 w 1085"/>
                  <a:gd name="T75" fmla="*/ 342 h 1117"/>
                  <a:gd name="T76" fmla="*/ 311 w 1085"/>
                  <a:gd name="T77" fmla="*/ 342 h 1117"/>
                  <a:gd name="T78" fmla="*/ 279 w 1085"/>
                  <a:gd name="T79" fmla="*/ 372 h 1117"/>
                  <a:gd name="T80" fmla="*/ 248 w 1085"/>
                  <a:gd name="T81" fmla="*/ 372 h 1117"/>
                  <a:gd name="T82" fmla="*/ 217 w 1085"/>
                  <a:gd name="T83" fmla="*/ 435 h 1117"/>
                  <a:gd name="T84" fmla="*/ 186 w 1085"/>
                  <a:gd name="T85" fmla="*/ 435 h 1117"/>
                  <a:gd name="T86" fmla="*/ 124 w 1085"/>
                  <a:gd name="T87" fmla="*/ 466 h 1117"/>
                  <a:gd name="T88" fmla="*/ 93 w 1085"/>
                  <a:gd name="T89" fmla="*/ 496 h 1117"/>
                  <a:gd name="T90" fmla="*/ 63 w 1085"/>
                  <a:gd name="T91" fmla="*/ 496 h 1117"/>
                  <a:gd name="T92" fmla="*/ 31 w 1085"/>
                  <a:gd name="T93" fmla="*/ 496 h 1117"/>
                  <a:gd name="T94" fmla="*/ 0 w 1085"/>
                  <a:gd name="T95" fmla="*/ 559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5" h="1117">
                    <a:moveTo>
                      <a:pt x="0" y="590"/>
                    </a:moveTo>
                    <a:lnTo>
                      <a:pt x="0" y="590"/>
                    </a:lnTo>
                    <a:lnTo>
                      <a:pt x="0" y="590"/>
                    </a:lnTo>
                    <a:cubicBezTo>
                      <a:pt x="527" y="992"/>
                      <a:pt x="527" y="992"/>
                      <a:pt x="527" y="992"/>
                    </a:cubicBezTo>
                    <a:lnTo>
                      <a:pt x="527" y="992"/>
                    </a:lnTo>
                    <a:cubicBezTo>
                      <a:pt x="559" y="1023"/>
                      <a:pt x="559" y="1023"/>
                      <a:pt x="559" y="1023"/>
                    </a:cubicBezTo>
                    <a:lnTo>
                      <a:pt x="559" y="1023"/>
                    </a:lnTo>
                    <a:lnTo>
                      <a:pt x="559" y="1023"/>
                    </a:lnTo>
                    <a:lnTo>
                      <a:pt x="559" y="1023"/>
                    </a:lnTo>
                    <a:cubicBezTo>
                      <a:pt x="589" y="1023"/>
                      <a:pt x="589" y="1023"/>
                      <a:pt x="589" y="1055"/>
                    </a:cubicBezTo>
                    <a:cubicBezTo>
                      <a:pt x="620" y="1055"/>
                      <a:pt x="620" y="1055"/>
                      <a:pt x="620" y="1055"/>
                    </a:cubicBezTo>
                    <a:cubicBezTo>
                      <a:pt x="651" y="1055"/>
                      <a:pt x="651" y="1085"/>
                      <a:pt x="651" y="1085"/>
                    </a:cubicBezTo>
                    <a:cubicBezTo>
                      <a:pt x="651" y="1116"/>
                      <a:pt x="651" y="1116"/>
                      <a:pt x="651" y="1116"/>
                    </a:cubicBezTo>
                    <a:lnTo>
                      <a:pt x="651" y="1116"/>
                    </a:lnTo>
                    <a:cubicBezTo>
                      <a:pt x="651" y="1085"/>
                      <a:pt x="651" y="1085"/>
                      <a:pt x="651" y="1085"/>
                    </a:cubicBezTo>
                    <a:cubicBezTo>
                      <a:pt x="683" y="1085"/>
                      <a:pt x="683" y="1085"/>
                      <a:pt x="683" y="1085"/>
                    </a:cubicBezTo>
                    <a:cubicBezTo>
                      <a:pt x="683" y="1085"/>
                      <a:pt x="683" y="1085"/>
                      <a:pt x="713" y="1085"/>
                    </a:cubicBezTo>
                    <a:cubicBezTo>
                      <a:pt x="744" y="1085"/>
                      <a:pt x="744" y="1085"/>
                      <a:pt x="744" y="1085"/>
                    </a:cubicBezTo>
                    <a:cubicBezTo>
                      <a:pt x="775" y="1085"/>
                      <a:pt x="775" y="1055"/>
                      <a:pt x="807" y="1055"/>
                    </a:cubicBezTo>
                    <a:lnTo>
                      <a:pt x="807" y="1055"/>
                    </a:lnTo>
                    <a:cubicBezTo>
                      <a:pt x="837" y="1023"/>
                      <a:pt x="837" y="992"/>
                      <a:pt x="868" y="992"/>
                    </a:cubicBezTo>
                    <a:cubicBezTo>
                      <a:pt x="899" y="961"/>
                      <a:pt x="961" y="899"/>
                      <a:pt x="1023" y="868"/>
                    </a:cubicBezTo>
                    <a:cubicBezTo>
                      <a:pt x="1055" y="868"/>
                      <a:pt x="1055" y="868"/>
                      <a:pt x="1055" y="868"/>
                    </a:cubicBezTo>
                    <a:lnTo>
                      <a:pt x="1055" y="868"/>
                    </a:lnTo>
                    <a:lnTo>
                      <a:pt x="1055" y="868"/>
                    </a:lnTo>
                    <a:cubicBezTo>
                      <a:pt x="1084" y="837"/>
                      <a:pt x="1084" y="837"/>
                      <a:pt x="1084" y="837"/>
                    </a:cubicBezTo>
                    <a:lnTo>
                      <a:pt x="1084" y="837"/>
                    </a:lnTo>
                    <a:cubicBezTo>
                      <a:pt x="1054" y="807"/>
                      <a:pt x="1055" y="807"/>
                      <a:pt x="1055" y="807"/>
                    </a:cubicBezTo>
                    <a:lnTo>
                      <a:pt x="1023" y="807"/>
                    </a:lnTo>
                    <a:cubicBezTo>
                      <a:pt x="992" y="807"/>
                      <a:pt x="992" y="775"/>
                      <a:pt x="992" y="775"/>
                    </a:cubicBezTo>
                    <a:lnTo>
                      <a:pt x="992" y="775"/>
                    </a:lnTo>
                    <a:cubicBezTo>
                      <a:pt x="992" y="775"/>
                      <a:pt x="992" y="775"/>
                      <a:pt x="992" y="744"/>
                    </a:cubicBezTo>
                    <a:lnTo>
                      <a:pt x="992" y="744"/>
                    </a:lnTo>
                    <a:lnTo>
                      <a:pt x="992" y="744"/>
                    </a:lnTo>
                    <a:lnTo>
                      <a:pt x="961" y="714"/>
                    </a:lnTo>
                    <a:lnTo>
                      <a:pt x="961" y="714"/>
                    </a:lnTo>
                    <a:lnTo>
                      <a:pt x="961" y="714"/>
                    </a:lnTo>
                    <a:lnTo>
                      <a:pt x="931" y="683"/>
                    </a:lnTo>
                    <a:lnTo>
                      <a:pt x="931" y="683"/>
                    </a:lnTo>
                    <a:lnTo>
                      <a:pt x="961" y="651"/>
                    </a:lnTo>
                    <a:lnTo>
                      <a:pt x="961" y="651"/>
                    </a:lnTo>
                    <a:lnTo>
                      <a:pt x="961" y="651"/>
                    </a:lnTo>
                    <a:cubicBezTo>
                      <a:pt x="961" y="620"/>
                      <a:pt x="961" y="620"/>
                      <a:pt x="961" y="620"/>
                    </a:cubicBezTo>
                    <a:lnTo>
                      <a:pt x="961" y="590"/>
                    </a:lnTo>
                    <a:lnTo>
                      <a:pt x="961" y="590"/>
                    </a:lnTo>
                    <a:lnTo>
                      <a:pt x="961" y="559"/>
                    </a:lnTo>
                    <a:cubicBezTo>
                      <a:pt x="961" y="559"/>
                      <a:pt x="961" y="559"/>
                      <a:pt x="961" y="527"/>
                    </a:cubicBezTo>
                    <a:lnTo>
                      <a:pt x="961" y="496"/>
                    </a:lnTo>
                    <a:cubicBezTo>
                      <a:pt x="961" y="496"/>
                      <a:pt x="961" y="496"/>
                      <a:pt x="961" y="466"/>
                    </a:cubicBezTo>
                    <a:lnTo>
                      <a:pt x="961" y="466"/>
                    </a:lnTo>
                    <a:lnTo>
                      <a:pt x="961" y="466"/>
                    </a:lnTo>
                    <a:cubicBezTo>
                      <a:pt x="961" y="466"/>
                      <a:pt x="931" y="466"/>
                      <a:pt x="931" y="435"/>
                    </a:cubicBezTo>
                    <a:lnTo>
                      <a:pt x="931" y="435"/>
                    </a:lnTo>
                    <a:lnTo>
                      <a:pt x="931" y="435"/>
                    </a:lnTo>
                    <a:cubicBezTo>
                      <a:pt x="931" y="435"/>
                      <a:pt x="931" y="403"/>
                      <a:pt x="961" y="403"/>
                    </a:cubicBezTo>
                    <a:cubicBezTo>
                      <a:pt x="931" y="403"/>
                      <a:pt x="931" y="372"/>
                      <a:pt x="931" y="372"/>
                    </a:cubicBezTo>
                    <a:lnTo>
                      <a:pt x="931" y="372"/>
                    </a:lnTo>
                    <a:cubicBezTo>
                      <a:pt x="931" y="342"/>
                      <a:pt x="931" y="342"/>
                      <a:pt x="931" y="342"/>
                    </a:cubicBezTo>
                    <a:cubicBezTo>
                      <a:pt x="931" y="311"/>
                      <a:pt x="931" y="311"/>
                      <a:pt x="931" y="311"/>
                    </a:cubicBezTo>
                    <a:cubicBezTo>
                      <a:pt x="931" y="311"/>
                      <a:pt x="931" y="311"/>
                      <a:pt x="899" y="311"/>
                    </a:cubicBezTo>
                    <a:cubicBezTo>
                      <a:pt x="899" y="311"/>
                      <a:pt x="899" y="311"/>
                      <a:pt x="899" y="279"/>
                    </a:cubicBezTo>
                    <a:lnTo>
                      <a:pt x="899" y="279"/>
                    </a:lnTo>
                    <a:lnTo>
                      <a:pt x="899" y="279"/>
                    </a:lnTo>
                    <a:lnTo>
                      <a:pt x="899" y="279"/>
                    </a:lnTo>
                    <a:cubicBezTo>
                      <a:pt x="868" y="248"/>
                      <a:pt x="868" y="248"/>
                      <a:pt x="837" y="218"/>
                    </a:cubicBezTo>
                    <a:lnTo>
                      <a:pt x="837" y="218"/>
                    </a:lnTo>
                    <a:lnTo>
                      <a:pt x="837" y="218"/>
                    </a:lnTo>
                    <a:lnTo>
                      <a:pt x="837" y="187"/>
                    </a:lnTo>
                    <a:lnTo>
                      <a:pt x="837" y="187"/>
                    </a:lnTo>
                    <a:lnTo>
                      <a:pt x="837" y="187"/>
                    </a:lnTo>
                    <a:cubicBezTo>
                      <a:pt x="837" y="155"/>
                      <a:pt x="837" y="155"/>
                      <a:pt x="868" y="124"/>
                    </a:cubicBezTo>
                    <a:lnTo>
                      <a:pt x="868" y="124"/>
                    </a:lnTo>
                    <a:cubicBezTo>
                      <a:pt x="868" y="124"/>
                      <a:pt x="868" y="124"/>
                      <a:pt x="899" y="94"/>
                    </a:cubicBezTo>
                    <a:lnTo>
                      <a:pt x="899" y="94"/>
                    </a:lnTo>
                    <a:lnTo>
                      <a:pt x="899" y="94"/>
                    </a:lnTo>
                    <a:lnTo>
                      <a:pt x="899" y="63"/>
                    </a:lnTo>
                    <a:lnTo>
                      <a:pt x="899" y="63"/>
                    </a:lnTo>
                    <a:lnTo>
                      <a:pt x="899" y="31"/>
                    </a:lnTo>
                    <a:lnTo>
                      <a:pt x="899" y="31"/>
                    </a:lnTo>
                    <a:cubicBezTo>
                      <a:pt x="899" y="31"/>
                      <a:pt x="899" y="31"/>
                      <a:pt x="899" y="0"/>
                    </a:cubicBezTo>
                    <a:lnTo>
                      <a:pt x="868" y="0"/>
                    </a:lnTo>
                    <a:lnTo>
                      <a:pt x="868" y="0"/>
                    </a:lnTo>
                    <a:lnTo>
                      <a:pt x="868" y="0"/>
                    </a:lnTo>
                    <a:lnTo>
                      <a:pt x="868" y="0"/>
                    </a:lnTo>
                    <a:cubicBezTo>
                      <a:pt x="807" y="0"/>
                      <a:pt x="807" y="0"/>
                      <a:pt x="807" y="0"/>
                    </a:cubicBezTo>
                    <a:lnTo>
                      <a:pt x="807" y="0"/>
                    </a:lnTo>
                    <a:lnTo>
                      <a:pt x="775" y="31"/>
                    </a:lnTo>
                    <a:cubicBezTo>
                      <a:pt x="744" y="31"/>
                      <a:pt x="744" y="31"/>
                      <a:pt x="744" y="31"/>
                    </a:cubicBezTo>
                    <a:cubicBezTo>
                      <a:pt x="713" y="31"/>
                      <a:pt x="713" y="31"/>
                      <a:pt x="713" y="31"/>
                    </a:cubicBezTo>
                    <a:lnTo>
                      <a:pt x="713" y="0"/>
                    </a:lnTo>
                    <a:lnTo>
                      <a:pt x="713" y="0"/>
                    </a:lnTo>
                    <a:lnTo>
                      <a:pt x="713" y="0"/>
                    </a:lnTo>
                    <a:cubicBezTo>
                      <a:pt x="683" y="0"/>
                      <a:pt x="683" y="0"/>
                      <a:pt x="683" y="0"/>
                    </a:cubicBezTo>
                    <a:lnTo>
                      <a:pt x="683" y="0"/>
                    </a:lnTo>
                    <a:cubicBezTo>
                      <a:pt x="683" y="0"/>
                      <a:pt x="683" y="0"/>
                      <a:pt x="651" y="0"/>
                    </a:cubicBezTo>
                    <a:lnTo>
                      <a:pt x="620" y="31"/>
                    </a:lnTo>
                    <a:cubicBezTo>
                      <a:pt x="589" y="31"/>
                      <a:pt x="589" y="31"/>
                      <a:pt x="559" y="31"/>
                    </a:cubicBezTo>
                    <a:lnTo>
                      <a:pt x="559" y="31"/>
                    </a:lnTo>
                    <a:cubicBezTo>
                      <a:pt x="559" y="31"/>
                      <a:pt x="559" y="31"/>
                      <a:pt x="527" y="31"/>
                    </a:cubicBezTo>
                    <a:lnTo>
                      <a:pt x="496" y="63"/>
                    </a:lnTo>
                    <a:cubicBezTo>
                      <a:pt x="496" y="63"/>
                      <a:pt x="496" y="63"/>
                      <a:pt x="465" y="63"/>
                    </a:cubicBezTo>
                    <a:cubicBezTo>
                      <a:pt x="465" y="94"/>
                      <a:pt x="435" y="94"/>
                      <a:pt x="403" y="94"/>
                    </a:cubicBezTo>
                    <a:lnTo>
                      <a:pt x="403" y="94"/>
                    </a:lnTo>
                    <a:cubicBezTo>
                      <a:pt x="403" y="94"/>
                      <a:pt x="403" y="94"/>
                      <a:pt x="372" y="124"/>
                    </a:cubicBezTo>
                    <a:lnTo>
                      <a:pt x="372" y="124"/>
                    </a:lnTo>
                    <a:lnTo>
                      <a:pt x="372" y="124"/>
                    </a:lnTo>
                    <a:cubicBezTo>
                      <a:pt x="372" y="155"/>
                      <a:pt x="372" y="155"/>
                      <a:pt x="372" y="187"/>
                    </a:cubicBezTo>
                    <a:lnTo>
                      <a:pt x="372" y="187"/>
                    </a:lnTo>
                    <a:cubicBezTo>
                      <a:pt x="372" y="187"/>
                      <a:pt x="372" y="218"/>
                      <a:pt x="403" y="218"/>
                    </a:cubicBezTo>
                    <a:cubicBezTo>
                      <a:pt x="403" y="248"/>
                      <a:pt x="403" y="248"/>
                      <a:pt x="403" y="279"/>
                    </a:cubicBezTo>
                    <a:lnTo>
                      <a:pt x="403" y="311"/>
                    </a:lnTo>
                    <a:lnTo>
                      <a:pt x="403" y="311"/>
                    </a:lnTo>
                    <a:lnTo>
                      <a:pt x="403" y="311"/>
                    </a:lnTo>
                    <a:cubicBezTo>
                      <a:pt x="403" y="311"/>
                      <a:pt x="372" y="311"/>
                      <a:pt x="372" y="342"/>
                    </a:cubicBezTo>
                    <a:lnTo>
                      <a:pt x="372" y="342"/>
                    </a:lnTo>
                    <a:cubicBezTo>
                      <a:pt x="372" y="342"/>
                      <a:pt x="372" y="342"/>
                      <a:pt x="341" y="342"/>
                    </a:cubicBezTo>
                    <a:cubicBezTo>
                      <a:pt x="341" y="342"/>
                      <a:pt x="341" y="342"/>
                      <a:pt x="311" y="342"/>
                    </a:cubicBezTo>
                    <a:lnTo>
                      <a:pt x="311" y="342"/>
                    </a:lnTo>
                    <a:lnTo>
                      <a:pt x="279" y="372"/>
                    </a:lnTo>
                    <a:lnTo>
                      <a:pt x="279" y="372"/>
                    </a:lnTo>
                    <a:lnTo>
                      <a:pt x="279" y="372"/>
                    </a:lnTo>
                    <a:lnTo>
                      <a:pt x="279" y="372"/>
                    </a:lnTo>
                    <a:cubicBezTo>
                      <a:pt x="279" y="372"/>
                      <a:pt x="279" y="372"/>
                      <a:pt x="248" y="372"/>
                    </a:cubicBezTo>
                    <a:cubicBezTo>
                      <a:pt x="248" y="403"/>
                      <a:pt x="248" y="403"/>
                      <a:pt x="248" y="403"/>
                    </a:cubicBezTo>
                    <a:cubicBezTo>
                      <a:pt x="248" y="403"/>
                      <a:pt x="248" y="435"/>
                      <a:pt x="217" y="435"/>
                    </a:cubicBezTo>
                    <a:lnTo>
                      <a:pt x="217" y="435"/>
                    </a:lnTo>
                    <a:lnTo>
                      <a:pt x="217" y="435"/>
                    </a:lnTo>
                    <a:cubicBezTo>
                      <a:pt x="186" y="435"/>
                      <a:pt x="186" y="435"/>
                      <a:pt x="186" y="435"/>
                    </a:cubicBezTo>
                    <a:lnTo>
                      <a:pt x="186" y="435"/>
                    </a:lnTo>
                    <a:lnTo>
                      <a:pt x="186" y="435"/>
                    </a:lnTo>
                    <a:cubicBezTo>
                      <a:pt x="186" y="466"/>
                      <a:pt x="155" y="466"/>
                      <a:pt x="155" y="466"/>
                    </a:cubicBezTo>
                    <a:cubicBezTo>
                      <a:pt x="124" y="466"/>
                      <a:pt x="124" y="466"/>
                      <a:pt x="124" y="466"/>
                    </a:cubicBezTo>
                    <a:lnTo>
                      <a:pt x="124" y="466"/>
                    </a:lnTo>
                    <a:lnTo>
                      <a:pt x="124" y="466"/>
                    </a:lnTo>
                    <a:lnTo>
                      <a:pt x="93" y="496"/>
                    </a:lnTo>
                    <a:cubicBezTo>
                      <a:pt x="93" y="496"/>
                      <a:pt x="93" y="496"/>
                      <a:pt x="63" y="496"/>
                    </a:cubicBezTo>
                    <a:lnTo>
                      <a:pt x="63" y="496"/>
                    </a:lnTo>
                    <a:lnTo>
                      <a:pt x="63" y="496"/>
                    </a:lnTo>
                    <a:cubicBezTo>
                      <a:pt x="31" y="496"/>
                      <a:pt x="31" y="496"/>
                      <a:pt x="31" y="496"/>
                    </a:cubicBezTo>
                    <a:lnTo>
                      <a:pt x="31" y="496"/>
                    </a:lnTo>
                    <a:lnTo>
                      <a:pt x="31" y="496"/>
                    </a:lnTo>
                    <a:cubicBezTo>
                      <a:pt x="0" y="527"/>
                      <a:pt x="0" y="527"/>
                      <a:pt x="0" y="527"/>
                    </a:cubicBezTo>
                    <a:lnTo>
                      <a:pt x="0" y="527"/>
                    </a:lnTo>
                    <a:cubicBezTo>
                      <a:pt x="0" y="559"/>
                      <a:pt x="0" y="559"/>
                      <a:pt x="0" y="559"/>
                    </a:cubicBezTo>
                    <a:lnTo>
                      <a:pt x="0" y="59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2" name="Freeform 19"/>
              <p:cNvSpPr>
                <a:spLocks noChangeArrowheads="1"/>
              </p:cNvSpPr>
              <p:nvPr/>
            </p:nvSpPr>
            <p:spPr bwMode="auto">
              <a:xfrm>
                <a:off x="3848100" y="2427288"/>
                <a:ext cx="133350" cy="168275"/>
              </a:xfrm>
              <a:custGeom>
                <a:avLst/>
                <a:gdLst>
                  <a:gd name="T0" fmla="*/ 0 w 372"/>
                  <a:gd name="T1" fmla="*/ 310 h 466"/>
                  <a:gd name="T2" fmla="*/ 62 w 372"/>
                  <a:gd name="T3" fmla="*/ 372 h 466"/>
                  <a:gd name="T4" fmla="*/ 62 w 372"/>
                  <a:gd name="T5" fmla="*/ 465 h 466"/>
                  <a:gd name="T6" fmla="*/ 123 w 372"/>
                  <a:gd name="T7" fmla="*/ 434 h 466"/>
                  <a:gd name="T8" fmla="*/ 154 w 372"/>
                  <a:gd name="T9" fmla="*/ 434 h 466"/>
                  <a:gd name="T10" fmla="*/ 216 w 372"/>
                  <a:gd name="T11" fmla="*/ 465 h 466"/>
                  <a:gd name="T12" fmla="*/ 216 w 372"/>
                  <a:gd name="T13" fmla="*/ 465 h 466"/>
                  <a:gd name="T14" fmla="*/ 371 w 372"/>
                  <a:gd name="T15" fmla="*/ 465 h 466"/>
                  <a:gd name="T16" fmla="*/ 371 w 372"/>
                  <a:gd name="T17" fmla="*/ 434 h 466"/>
                  <a:gd name="T18" fmla="*/ 340 w 372"/>
                  <a:gd name="T19" fmla="*/ 434 h 466"/>
                  <a:gd name="T20" fmla="*/ 340 w 372"/>
                  <a:gd name="T21" fmla="*/ 434 h 466"/>
                  <a:gd name="T22" fmla="*/ 309 w 372"/>
                  <a:gd name="T23" fmla="*/ 372 h 466"/>
                  <a:gd name="T24" fmla="*/ 278 w 372"/>
                  <a:gd name="T25" fmla="*/ 341 h 466"/>
                  <a:gd name="T26" fmla="*/ 278 w 372"/>
                  <a:gd name="T27" fmla="*/ 279 h 466"/>
                  <a:gd name="T28" fmla="*/ 278 w 372"/>
                  <a:gd name="T29" fmla="*/ 279 h 466"/>
                  <a:gd name="T30" fmla="*/ 278 w 372"/>
                  <a:gd name="T31" fmla="*/ 248 h 466"/>
                  <a:gd name="T32" fmla="*/ 278 w 372"/>
                  <a:gd name="T33" fmla="*/ 187 h 466"/>
                  <a:gd name="T34" fmla="*/ 309 w 372"/>
                  <a:gd name="T35" fmla="*/ 155 h 466"/>
                  <a:gd name="T36" fmla="*/ 309 w 372"/>
                  <a:gd name="T37" fmla="*/ 93 h 466"/>
                  <a:gd name="T38" fmla="*/ 247 w 372"/>
                  <a:gd name="T39" fmla="*/ 31 h 466"/>
                  <a:gd name="T40" fmla="*/ 216 w 372"/>
                  <a:gd name="T41" fmla="*/ 31 h 466"/>
                  <a:gd name="T42" fmla="*/ 247 w 372"/>
                  <a:gd name="T43" fmla="*/ 0 h 466"/>
                  <a:gd name="T44" fmla="*/ 247 w 372"/>
                  <a:gd name="T45" fmla="*/ 0 h 466"/>
                  <a:gd name="T46" fmla="*/ 216 w 372"/>
                  <a:gd name="T47" fmla="*/ 31 h 466"/>
                  <a:gd name="T48" fmla="*/ 216 w 372"/>
                  <a:gd name="T49" fmla="*/ 93 h 466"/>
                  <a:gd name="T50" fmla="*/ 185 w 372"/>
                  <a:gd name="T51" fmla="*/ 124 h 466"/>
                  <a:gd name="T52" fmla="*/ 154 w 372"/>
                  <a:gd name="T53" fmla="*/ 187 h 466"/>
                  <a:gd name="T54" fmla="*/ 154 w 372"/>
                  <a:gd name="T55" fmla="*/ 187 h 466"/>
                  <a:gd name="T56" fmla="*/ 123 w 372"/>
                  <a:gd name="T57" fmla="*/ 217 h 466"/>
                  <a:gd name="T58" fmla="*/ 94 w 372"/>
                  <a:gd name="T59" fmla="*/ 217 h 466"/>
                  <a:gd name="T60" fmla="*/ 62 w 372"/>
                  <a:gd name="T61" fmla="*/ 217 h 466"/>
                  <a:gd name="T62" fmla="*/ 0 w 372"/>
                  <a:gd name="T63" fmla="*/ 248 h 466"/>
                  <a:gd name="T64" fmla="*/ 0 w 372"/>
                  <a:gd name="T65" fmla="*/ 27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2" h="466">
                    <a:moveTo>
                      <a:pt x="0" y="310"/>
                    </a:moveTo>
                    <a:lnTo>
                      <a:pt x="0" y="310"/>
                    </a:lnTo>
                    <a:lnTo>
                      <a:pt x="31" y="310"/>
                    </a:lnTo>
                    <a:cubicBezTo>
                      <a:pt x="62" y="341"/>
                      <a:pt x="62" y="341"/>
                      <a:pt x="62" y="372"/>
                    </a:cubicBezTo>
                    <a:lnTo>
                      <a:pt x="62" y="372"/>
                    </a:lnTo>
                    <a:cubicBezTo>
                      <a:pt x="62" y="403"/>
                      <a:pt x="62" y="434"/>
                      <a:pt x="62" y="465"/>
                    </a:cubicBezTo>
                    <a:cubicBezTo>
                      <a:pt x="94" y="465"/>
                      <a:pt x="94" y="465"/>
                      <a:pt x="94" y="465"/>
                    </a:cubicBezTo>
                    <a:cubicBezTo>
                      <a:pt x="123" y="434"/>
                      <a:pt x="123" y="434"/>
                      <a:pt x="123" y="434"/>
                    </a:cubicBezTo>
                    <a:cubicBezTo>
                      <a:pt x="154" y="434"/>
                      <a:pt x="154" y="434"/>
                      <a:pt x="154" y="434"/>
                    </a:cubicBezTo>
                    <a:lnTo>
                      <a:pt x="154" y="434"/>
                    </a:lnTo>
                    <a:cubicBezTo>
                      <a:pt x="154" y="434"/>
                      <a:pt x="185" y="434"/>
                      <a:pt x="216" y="465"/>
                    </a:cubicBezTo>
                    <a:lnTo>
                      <a:pt x="216" y="465"/>
                    </a:lnTo>
                    <a:lnTo>
                      <a:pt x="216" y="465"/>
                    </a:lnTo>
                    <a:lnTo>
                      <a:pt x="216" y="465"/>
                    </a:lnTo>
                    <a:cubicBezTo>
                      <a:pt x="340" y="465"/>
                      <a:pt x="340" y="465"/>
                      <a:pt x="340" y="465"/>
                    </a:cubicBezTo>
                    <a:cubicBezTo>
                      <a:pt x="340" y="465"/>
                      <a:pt x="340" y="465"/>
                      <a:pt x="371" y="465"/>
                    </a:cubicBezTo>
                    <a:lnTo>
                      <a:pt x="371" y="465"/>
                    </a:lnTo>
                    <a:lnTo>
                      <a:pt x="371" y="434"/>
                    </a:lnTo>
                    <a:lnTo>
                      <a:pt x="340" y="434"/>
                    </a:lnTo>
                    <a:lnTo>
                      <a:pt x="340" y="434"/>
                    </a:lnTo>
                    <a:lnTo>
                      <a:pt x="340" y="434"/>
                    </a:lnTo>
                    <a:lnTo>
                      <a:pt x="340" y="434"/>
                    </a:lnTo>
                    <a:cubicBezTo>
                      <a:pt x="340" y="403"/>
                      <a:pt x="309" y="403"/>
                      <a:pt x="309" y="403"/>
                    </a:cubicBezTo>
                    <a:lnTo>
                      <a:pt x="309" y="372"/>
                    </a:lnTo>
                    <a:cubicBezTo>
                      <a:pt x="309" y="341"/>
                      <a:pt x="309" y="341"/>
                      <a:pt x="309" y="341"/>
                    </a:cubicBezTo>
                    <a:lnTo>
                      <a:pt x="278" y="341"/>
                    </a:lnTo>
                    <a:cubicBezTo>
                      <a:pt x="278" y="310"/>
                      <a:pt x="278" y="310"/>
                      <a:pt x="278" y="310"/>
                    </a:cubicBezTo>
                    <a:cubicBezTo>
                      <a:pt x="278" y="310"/>
                      <a:pt x="278" y="310"/>
                      <a:pt x="278" y="279"/>
                    </a:cubicBezTo>
                    <a:lnTo>
                      <a:pt x="278" y="279"/>
                    </a:lnTo>
                    <a:lnTo>
                      <a:pt x="278" y="279"/>
                    </a:lnTo>
                    <a:cubicBezTo>
                      <a:pt x="278" y="248"/>
                      <a:pt x="278" y="248"/>
                      <a:pt x="278" y="248"/>
                    </a:cubicBezTo>
                    <a:lnTo>
                      <a:pt x="278" y="248"/>
                    </a:lnTo>
                    <a:lnTo>
                      <a:pt x="278" y="248"/>
                    </a:lnTo>
                    <a:cubicBezTo>
                      <a:pt x="278" y="217"/>
                      <a:pt x="278" y="187"/>
                      <a:pt x="278" y="187"/>
                    </a:cubicBezTo>
                    <a:lnTo>
                      <a:pt x="278" y="187"/>
                    </a:lnTo>
                    <a:lnTo>
                      <a:pt x="309" y="155"/>
                    </a:lnTo>
                    <a:lnTo>
                      <a:pt x="309" y="124"/>
                    </a:lnTo>
                    <a:cubicBezTo>
                      <a:pt x="309" y="93"/>
                      <a:pt x="309" y="93"/>
                      <a:pt x="309" y="93"/>
                    </a:cubicBezTo>
                    <a:cubicBezTo>
                      <a:pt x="309" y="63"/>
                      <a:pt x="278" y="63"/>
                      <a:pt x="278" y="63"/>
                    </a:cubicBezTo>
                    <a:cubicBezTo>
                      <a:pt x="278" y="63"/>
                      <a:pt x="278" y="63"/>
                      <a:pt x="247" y="31"/>
                    </a:cubicBezTo>
                    <a:lnTo>
                      <a:pt x="247" y="31"/>
                    </a:lnTo>
                    <a:cubicBezTo>
                      <a:pt x="216" y="31"/>
                      <a:pt x="216" y="31"/>
                      <a:pt x="216" y="31"/>
                    </a:cubicBezTo>
                    <a:cubicBezTo>
                      <a:pt x="247" y="31"/>
                      <a:pt x="247" y="31"/>
                      <a:pt x="247" y="31"/>
                    </a:cubicBezTo>
                    <a:cubicBezTo>
                      <a:pt x="247" y="0"/>
                      <a:pt x="247" y="0"/>
                      <a:pt x="247" y="0"/>
                    </a:cubicBezTo>
                    <a:lnTo>
                      <a:pt x="247" y="0"/>
                    </a:lnTo>
                    <a:lnTo>
                      <a:pt x="247" y="0"/>
                    </a:lnTo>
                    <a:cubicBezTo>
                      <a:pt x="247" y="0"/>
                      <a:pt x="247" y="0"/>
                      <a:pt x="247" y="31"/>
                    </a:cubicBezTo>
                    <a:lnTo>
                      <a:pt x="216" y="31"/>
                    </a:lnTo>
                    <a:cubicBezTo>
                      <a:pt x="216" y="31"/>
                      <a:pt x="216" y="31"/>
                      <a:pt x="216" y="63"/>
                    </a:cubicBezTo>
                    <a:cubicBezTo>
                      <a:pt x="216" y="63"/>
                      <a:pt x="216" y="63"/>
                      <a:pt x="216" y="93"/>
                    </a:cubicBezTo>
                    <a:lnTo>
                      <a:pt x="185" y="93"/>
                    </a:lnTo>
                    <a:lnTo>
                      <a:pt x="185" y="124"/>
                    </a:lnTo>
                    <a:cubicBezTo>
                      <a:pt x="185" y="155"/>
                      <a:pt x="154" y="187"/>
                      <a:pt x="154" y="187"/>
                    </a:cubicBezTo>
                    <a:lnTo>
                      <a:pt x="154" y="187"/>
                    </a:lnTo>
                    <a:lnTo>
                      <a:pt x="154" y="187"/>
                    </a:lnTo>
                    <a:lnTo>
                      <a:pt x="154" y="187"/>
                    </a:lnTo>
                    <a:cubicBezTo>
                      <a:pt x="154" y="187"/>
                      <a:pt x="154" y="217"/>
                      <a:pt x="123" y="217"/>
                    </a:cubicBezTo>
                    <a:lnTo>
                      <a:pt x="123" y="217"/>
                    </a:lnTo>
                    <a:cubicBezTo>
                      <a:pt x="93" y="217"/>
                      <a:pt x="94" y="217"/>
                      <a:pt x="94" y="217"/>
                    </a:cubicBezTo>
                    <a:lnTo>
                      <a:pt x="94" y="217"/>
                    </a:lnTo>
                    <a:lnTo>
                      <a:pt x="94" y="217"/>
                    </a:lnTo>
                    <a:lnTo>
                      <a:pt x="62" y="217"/>
                    </a:lnTo>
                    <a:lnTo>
                      <a:pt x="62" y="217"/>
                    </a:lnTo>
                    <a:cubicBezTo>
                      <a:pt x="31" y="217"/>
                      <a:pt x="0" y="248"/>
                      <a:pt x="0" y="248"/>
                    </a:cubicBezTo>
                    <a:lnTo>
                      <a:pt x="0" y="279"/>
                    </a:lnTo>
                    <a:lnTo>
                      <a:pt x="0" y="279"/>
                    </a:lnTo>
                    <a:cubicBezTo>
                      <a:pt x="0" y="310"/>
                      <a:pt x="0" y="310"/>
                      <a:pt x="0" y="31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3" name="Freeform 20"/>
              <p:cNvSpPr>
                <a:spLocks noChangeArrowheads="1"/>
              </p:cNvSpPr>
              <p:nvPr/>
            </p:nvSpPr>
            <p:spPr bwMode="auto">
              <a:xfrm>
                <a:off x="4259263" y="2684463"/>
                <a:ext cx="190500" cy="223837"/>
              </a:xfrm>
              <a:custGeom>
                <a:avLst/>
                <a:gdLst>
                  <a:gd name="T0" fmla="*/ 465 w 528"/>
                  <a:gd name="T1" fmla="*/ 310 h 621"/>
                  <a:gd name="T2" fmla="*/ 465 w 528"/>
                  <a:gd name="T3" fmla="*/ 248 h 621"/>
                  <a:gd name="T4" fmla="*/ 465 w 528"/>
                  <a:gd name="T5" fmla="*/ 217 h 621"/>
                  <a:gd name="T6" fmla="*/ 403 w 528"/>
                  <a:gd name="T7" fmla="*/ 124 h 621"/>
                  <a:gd name="T8" fmla="*/ 62 w 528"/>
                  <a:gd name="T9" fmla="*/ 0 h 621"/>
                  <a:gd name="T10" fmla="*/ 62 w 528"/>
                  <a:gd name="T11" fmla="*/ 62 h 621"/>
                  <a:gd name="T12" fmla="*/ 62 w 528"/>
                  <a:gd name="T13" fmla="*/ 93 h 621"/>
                  <a:gd name="T14" fmla="*/ 62 w 528"/>
                  <a:gd name="T15" fmla="*/ 124 h 621"/>
                  <a:gd name="T16" fmla="*/ 62 w 528"/>
                  <a:gd name="T17" fmla="*/ 155 h 621"/>
                  <a:gd name="T18" fmla="*/ 31 w 528"/>
                  <a:gd name="T19" fmla="*/ 155 h 621"/>
                  <a:gd name="T20" fmla="*/ 31 w 528"/>
                  <a:gd name="T21" fmla="*/ 186 h 621"/>
                  <a:gd name="T22" fmla="*/ 0 w 528"/>
                  <a:gd name="T23" fmla="*/ 217 h 621"/>
                  <a:gd name="T24" fmla="*/ 0 w 528"/>
                  <a:gd name="T25" fmla="*/ 248 h 621"/>
                  <a:gd name="T26" fmla="*/ 0 w 528"/>
                  <a:gd name="T27" fmla="*/ 279 h 621"/>
                  <a:gd name="T28" fmla="*/ 31 w 528"/>
                  <a:gd name="T29" fmla="*/ 341 h 621"/>
                  <a:gd name="T30" fmla="*/ 62 w 528"/>
                  <a:gd name="T31" fmla="*/ 403 h 621"/>
                  <a:gd name="T32" fmla="*/ 62 w 528"/>
                  <a:gd name="T33" fmla="*/ 434 h 621"/>
                  <a:gd name="T34" fmla="*/ 124 w 528"/>
                  <a:gd name="T35" fmla="*/ 465 h 621"/>
                  <a:gd name="T36" fmla="*/ 186 w 528"/>
                  <a:gd name="T37" fmla="*/ 496 h 621"/>
                  <a:gd name="T38" fmla="*/ 186 w 528"/>
                  <a:gd name="T39" fmla="*/ 496 h 621"/>
                  <a:gd name="T40" fmla="*/ 217 w 528"/>
                  <a:gd name="T41" fmla="*/ 496 h 621"/>
                  <a:gd name="T42" fmla="*/ 217 w 528"/>
                  <a:gd name="T43" fmla="*/ 496 h 621"/>
                  <a:gd name="T44" fmla="*/ 248 w 528"/>
                  <a:gd name="T45" fmla="*/ 496 h 621"/>
                  <a:gd name="T46" fmla="*/ 248 w 528"/>
                  <a:gd name="T47" fmla="*/ 496 h 621"/>
                  <a:gd name="T48" fmla="*/ 248 w 528"/>
                  <a:gd name="T49" fmla="*/ 496 h 621"/>
                  <a:gd name="T50" fmla="*/ 279 w 528"/>
                  <a:gd name="T51" fmla="*/ 527 h 621"/>
                  <a:gd name="T52" fmla="*/ 279 w 528"/>
                  <a:gd name="T53" fmla="*/ 558 h 621"/>
                  <a:gd name="T54" fmla="*/ 279 w 528"/>
                  <a:gd name="T55" fmla="*/ 620 h 621"/>
                  <a:gd name="T56" fmla="*/ 279 w 528"/>
                  <a:gd name="T57" fmla="*/ 620 h 621"/>
                  <a:gd name="T58" fmla="*/ 310 w 528"/>
                  <a:gd name="T59" fmla="*/ 620 h 621"/>
                  <a:gd name="T60" fmla="*/ 341 w 528"/>
                  <a:gd name="T61" fmla="*/ 620 h 621"/>
                  <a:gd name="T62" fmla="*/ 372 w 528"/>
                  <a:gd name="T63" fmla="*/ 620 h 621"/>
                  <a:gd name="T64" fmla="*/ 403 w 528"/>
                  <a:gd name="T65" fmla="*/ 620 h 621"/>
                  <a:gd name="T66" fmla="*/ 434 w 528"/>
                  <a:gd name="T67" fmla="*/ 589 h 621"/>
                  <a:gd name="T68" fmla="*/ 465 w 528"/>
                  <a:gd name="T69" fmla="*/ 589 h 621"/>
                  <a:gd name="T70" fmla="*/ 496 w 528"/>
                  <a:gd name="T71" fmla="*/ 589 h 621"/>
                  <a:gd name="T72" fmla="*/ 496 w 528"/>
                  <a:gd name="T73" fmla="*/ 589 h 621"/>
                  <a:gd name="T74" fmla="*/ 496 w 528"/>
                  <a:gd name="T75" fmla="*/ 589 h 621"/>
                  <a:gd name="T76" fmla="*/ 527 w 528"/>
                  <a:gd name="T77" fmla="*/ 589 h 621"/>
                  <a:gd name="T78" fmla="*/ 527 w 528"/>
                  <a:gd name="T79" fmla="*/ 589 h 621"/>
                  <a:gd name="T80" fmla="*/ 527 w 528"/>
                  <a:gd name="T81" fmla="*/ 589 h 621"/>
                  <a:gd name="T82" fmla="*/ 496 w 528"/>
                  <a:gd name="T83" fmla="*/ 527 h 621"/>
                  <a:gd name="T84" fmla="*/ 496 w 528"/>
                  <a:gd name="T85" fmla="*/ 496 h 621"/>
                  <a:gd name="T86" fmla="*/ 496 w 528"/>
                  <a:gd name="T87" fmla="*/ 403 h 621"/>
                  <a:gd name="T88" fmla="*/ 465 w 528"/>
                  <a:gd name="T89" fmla="*/ 34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8" h="621">
                    <a:moveTo>
                      <a:pt x="465" y="310"/>
                    </a:moveTo>
                    <a:lnTo>
                      <a:pt x="465" y="310"/>
                    </a:lnTo>
                    <a:cubicBezTo>
                      <a:pt x="465" y="310"/>
                      <a:pt x="465" y="279"/>
                      <a:pt x="465" y="248"/>
                    </a:cubicBezTo>
                    <a:lnTo>
                      <a:pt x="465" y="248"/>
                    </a:lnTo>
                    <a:cubicBezTo>
                      <a:pt x="465" y="217"/>
                      <a:pt x="465" y="217"/>
                      <a:pt x="465" y="217"/>
                    </a:cubicBezTo>
                    <a:lnTo>
                      <a:pt x="465" y="217"/>
                    </a:lnTo>
                    <a:cubicBezTo>
                      <a:pt x="403" y="155"/>
                      <a:pt x="403" y="155"/>
                      <a:pt x="403" y="155"/>
                    </a:cubicBezTo>
                    <a:cubicBezTo>
                      <a:pt x="403" y="124"/>
                      <a:pt x="403" y="124"/>
                      <a:pt x="403" y="124"/>
                    </a:cubicBezTo>
                    <a:cubicBezTo>
                      <a:pt x="217" y="0"/>
                      <a:pt x="217" y="0"/>
                      <a:pt x="217" y="0"/>
                    </a:cubicBezTo>
                    <a:cubicBezTo>
                      <a:pt x="62" y="0"/>
                      <a:pt x="62" y="0"/>
                      <a:pt x="62" y="0"/>
                    </a:cubicBezTo>
                    <a:lnTo>
                      <a:pt x="93" y="31"/>
                    </a:lnTo>
                    <a:lnTo>
                      <a:pt x="62" y="62"/>
                    </a:lnTo>
                    <a:cubicBezTo>
                      <a:pt x="62" y="62"/>
                      <a:pt x="62" y="62"/>
                      <a:pt x="62" y="93"/>
                    </a:cubicBezTo>
                    <a:lnTo>
                      <a:pt x="62" y="93"/>
                    </a:lnTo>
                    <a:cubicBezTo>
                      <a:pt x="62" y="124"/>
                      <a:pt x="62" y="124"/>
                      <a:pt x="62" y="124"/>
                    </a:cubicBezTo>
                    <a:lnTo>
                      <a:pt x="62" y="124"/>
                    </a:lnTo>
                    <a:lnTo>
                      <a:pt x="62" y="155"/>
                    </a:lnTo>
                    <a:lnTo>
                      <a:pt x="62" y="155"/>
                    </a:lnTo>
                    <a:lnTo>
                      <a:pt x="31" y="155"/>
                    </a:lnTo>
                    <a:lnTo>
                      <a:pt x="31" y="155"/>
                    </a:lnTo>
                    <a:cubicBezTo>
                      <a:pt x="31" y="186"/>
                      <a:pt x="31" y="186"/>
                      <a:pt x="31" y="186"/>
                    </a:cubicBezTo>
                    <a:lnTo>
                      <a:pt x="31" y="186"/>
                    </a:lnTo>
                    <a:cubicBezTo>
                      <a:pt x="31" y="217"/>
                      <a:pt x="0" y="217"/>
                      <a:pt x="0" y="217"/>
                    </a:cubicBezTo>
                    <a:lnTo>
                      <a:pt x="0" y="217"/>
                    </a:lnTo>
                    <a:cubicBezTo>
                      <a:pt x="0" y="217"/>
                      <a:pt x="0" y="217"/>
                      <a:pt x="0" y="248"/>
                    </a:cubicBezTo>
                    <a:lnTo>
                      <a:pt x="0" y="248"/>
                    </a:lnTo>
                    <a:lnTo>
                      <a:pt x="0" y="279"/>
                    </a:lnTo>
                    <a:lnTo>
                      <a:pt x="0" y="279"/>
                    </a:lnTo>
                    <a:cubicBezTo>
                      <a:pt x="0" y="279"/>
                      <a:pt x="0" y="279"/>
                      <a:pt x="0" y="310"/>
                    </a:cubicBezTo>
                    <a:cubicBezTo>
                      <a:pt x="0" y="310"/>
                      <a:pt x="31" y="310"/>
                      <a:pt x="31" y="341"/>
                    </a:cubicBezTo>
                    <a:cubicBezTo>
                      <a:pt x="31" y="341"/>
                      <a:pt x="31" y="341"/>
                      <a:pt x="31" y="372"/>
                    </a:cubicBezTo>
                    <a:cubicBezTo>
                      <a:pt x="62" y="372"/>
                      <a:pt x="62" y="403"/>
                      <a:pt x="62" y="403"/>
                    </a:cubicBezTo>
                    <a:lnTo>
                      <a:pt x="62" y="403"/>
                    </a:lnTo>
                    <a:cubicBezTo>
                      <a:pt x="62" y="434"/>
                      <a:pt x="62" y="434"/>
                      <a:pt x="62" y="434"/>
                    </a:cubicBezTo>
                    <a:cubicBezTo>
                      <a:pt x="93" y="434"/>
                      <a:pt x="93" y="434"/>
                      <a:pt x="124" y="465"/>
                    </a:cubicBezTo>
                    <a:lnTo>
                      <a:pt x="124" y="465"/>
                    </a:lnTo>
                    <a:cubicBezTo>
                      <a:pt x="124" y="465"/>
                      <a:pt x="124" y="465"/>
                      <a:pt x="155" y="465"/>
                    </a:cubicBezTo>
                    <a:cubicBezTo>
                      <a:pt x="155" y="465"/>
                      <a:pt x="155" y="465"/>
                      <a:pt x="186" y="496"/>
                    </a:cubicBezTo>
                    <a:lnTo>
                      <a:pt x="186" y="496"/>
                    </a:lnTo>
                    <a:lnTo>
                      <a:pt x="186" y="496"/>
                    </a:lnTo>
                    <a:lnTo>
                      <a:pt x="186" y="496"/>
                    </a:lnTo>
                    <a:cubicBezTo>
                      <a:pt x="186" y="496"/>
                      <a:pt x="186" y="496"/>
                      <a:pt x="217" y="496"/>
                    </a:cubicBezTo>
                    <a:lnTo>
                      <a:pt x="217" y="496"/>
                    </a:lnTo>
                    <a:lnTo>
                      <a:pt x="217" y="496"/>
                    </a:lnTo>
                    <a:lnTo>
                      <a:pt x="248" y="496"/>
                    </a:lnTo>
                    <a:lnTo>
                      <a:pt x="248" y="496"/>
                    </a:lnTo>
                    <a:lnTo>
                      <a:pt x="248" y="496"/>
                    </a:lnTo>
                    <a:lnTo>
                      <a:pt x="248" y="496"/>
                    </a:lnTo>
                    <a:lnTo>
                      <a:pt x="248" y="496"/>
                    </a:lnTo>
                    <a:lnTo>
                      <a:pt x="248" y="496"/>
                    </a:lnTo>
                    <a:cubicBezTo>
                      <a:pt x="248" y="496"/>
                      <a:pt x="279" y="496"/>
                      <a:pt x="279" y="527"/>
                    </a:cubicBezTo>
                    <a:lnTo>
                      <a:pt x="279" y="527"/>
                    </a:lnTo>
                    <a:lnTo>
                      <a:pt x="279" y="527"/>
                    </a:lnTo>
                    <a:cubicBezTo>
                      <a:pt x="279" y="527"/>
                      <a:pt x="279" y="527"/>
                      <a:pt x="279" y="558"/>
                    </a:cubicBezTo>
                    <a:lnTo>
                      <a:pt x="279" y="589"/>
                    </a:lnTo>
                    <a:cubicBezTo>
                      <a:pt x="279" y="589"/>
                      <a:pt x="279" y="589"/>
                      <a:pt x="279" y="620"/>
                    </a:cubicBezTo>
                    <a:lnTo>
                      <a:pt x="279" y="620"/>
                    </a:lnTo>
                    <a:lnTo>
                      <a:pt x="279" y="620"/>
                    </a:lnTo>
                    <a:lnTo>
                      <a:pt x="310" y="620"/>
                    </a:lnTo>
                    <a:lnTo>
                      <a:pt x="310" y="620"/>
                    </a:lnTo>
                    <a:lnTo>
                      <a:pt x="310" y="620"/>
                    </a:lnTo>
                    <a:cubicBezTo>
                      <a:pt x="341" y="620"/>
                      <a:pt x="341" y="620"/>
                      <a:pt x="341" y="620"/>
                    </a:cubicBezTo>
                    <a:cubicBezTo>
                      <a:pt x="341" y="620"/>
                      <a:pt x="341" y="620"/>
                      <a:pt x="372" y="620"/>
                    </a:cubicBezTo>
                    <a:lnTo>
                      <a:pt x="372" y="620"/>
                    </a:lnTo>
                    <a:cubicBezTo>
                      <a:pt x="372" y="620"/>
                      <a:pt x="372" y="620"/>
                      <a:pt x="403" y="620"/>
                    </a:cubicBezTo>
                    <a:lnTo>
                      <a:pt x="403" y="620"/>
                    </a:lnTo>
                    <a:lnTo>
                      <a:pt x="403" y="620"/>
                    </a:lnTo>
                    <a:lnTo>
                      <a:pt x="434" y="589"/>
                    </a:lnTo>
                    <a:lnTo>
                      <a:pt x="465" y="589"/>
                    </a:lnTo>
                    <a:lnTo>
                      <a:pt x="465" y="589"/>
                    </a:lnTo>
                    <a:lnTo>
                      <a:pt x="465" y="589"/>
                    </a:lnTo>
                    <a:lnTo>
                      <a:pt x="496" y="589"/>
                    </a:lnTo>
                    <a:lnTo>
                      <a:pt x="496" y="589"/>
                    </a:lnTo>
                    <a:lnTo>
                      <a:pt x="496" y="589"/>
                    </a:lnTo>
                    <a:lnTo>
                      <a:pt x="496" y="589"/>
                    </a:lnTo>
                    <a:lnTo>
                      <a:pt x="496" y="589"/>
                    </a:lnTo>
                    <a:lnTo>
                      <a:pt x="496" y="589"/>
                    </a:lnTo>
                    <a:cubicBezTo>
                      <a:pt x="527" y="589"/>
                      <a:pt x="527" y="589"/>
                      <a:pt x="527" y="589"/>
                    </a:cubicBezTo>
                    <a:lnTo>
                      <a:pt x="527" y="589"/>
                    </a:lnTo>
                    <a:lnTo>
                      <a:pt x="527" y="589"/>
                    </a:lnTo>
                    <a:lnTo>
                      <a:pt x="527" y="589"/>
                    </a:lnTo>
                    <a:lnTo>
                      <a:pt x="527" y="589"/>
                    </a:lnTo>
                    <a:lnTo>
                      <a:pt x="527" y="558"/>
                    </a:lnTo>
                    <a:lnTo>
                      <a:pt x="496" y="527"/>
                    </a:lnTo>
                    <a:lnTo>
                      <a:pt x="496" y="527"/>
                    </a:lnTo>
                    <a:cubicBezTo>
                      <a:pt x="496" y="496"/>
                      <a:pt x="496" y="496"/>
                      <a:pt x="496" y="496"/>
                    </a:cubicBezTo>
                    <a:cubicBezTo>
                      <a:pt x="496" y="465"/>
                      <a:pt x="496" y="434"/>
                      <a:pt x="496" y="434"/>
                    </a:cubicBezTo>
                    <a:cubicBezTo>
                      <a:pt x="496" y="403"/>
                      <a:pt x="496" y="403"/>
                      <a:pt x="496" y="403"/>
                    </a:cubicBezTo>
                    <a:lnTo>
                      <a:pt x="496" y="372"/>
                    </a:lnTo>
                    <a:cubicBezTo>
                      <a:pt x="496" y="341"/>
                      <a:pt x="496" y="341"/>
                      <a:pt x="465" y="341"/>
                    </a:cubicBezTo>
                    <a:lnTo>
                      <a:pt x="465" y="31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4" name="Freeform 21"/>
              <p:cNvSpPr>
                <a:spLocks noChangeArrowheads="1"/>
              </p:cNvSpPr>
              <p:nvPr/>
            </p:nvSpPr>
            <p:spPr bwMode="auto">
              <a:xfrm>
                <a:off x="3902075" y="2795588"/>
                <a:ext cx="234950" cy="257175"/>
              </a:xfrm>
              <a:custGeom>
                <a:avLst/>
                <a:gdLst>
                  <a:gd name="T0" fmla="*/ 31 w 652"/>
                  <a:gd name="T1" fmla="*/ 682 h 714"/>
                  <a:gd name="T2" fmla="*/ 31 w 652"/>
                  <a:gd name="T3" fmla="*/ 682 h 714"/>
                  <a:gd name="T4" fmla="*/ 62 w 652"/>
                  <a:gd name="T5" fmla="*/ 651 h 714"/>
                  <a:gd name="T6" fmla="*/ 93 w 652"/>
                  <a:gd name="T7" fmla="*/ 651 h 714"/>
                  <a:gd name="T8" fmla="*/ 124 w 652"/>
                  <a:gd name="T9" fmla="*/ 682 h 714"/>
                  <a:gd name="T10" fmla="*/ 279 w 652"/>
                  <a:gd name="T11" fmla="*/ 682 h 714"/>
                  <a:gd name="T12" fmla="*/ 279 w 652"/>
                  <a:gd name="T13" fmla="*/ 682 h 714"/>
                  <a:gd name="T14" fmla="*/ 372 w 652"/>
                  <a:gd name="T15" fmla="*/ 682 h 714"/>
                  <a:gd name="T16" fmla="*/ 496 w 652"/>
                  <a:gd name="T17" fmla="*/ 713 h 714"/>
                  <a:gd name="T18" fmla="*/ 589 w 652"/>
                  <a:gd name="T19" fmla="*/ 713 h 714"/>
                  <a:gd name="T20" fmla="*/ 527 w 652"/>
                  <a:gd name="T21" fmla="*/ 651 h 714"/>
                  <a:gd name="T22" fmla="*/ 527 w 652"/>
                  <a:gd name="T23" fmla="*/ 651 h 714"/>
                  <a:gd name="T24" fmla="*/ 651 w 652"/>
                  <a:gd name="T25" fmla="*/ 402 h 714"/>
                  <a:gd name="T26" fmla="*/ 589 w 652"/>
                  <a:gd name="T27" fmla="*/ 341 h 714"/>
                  <a:gd name="T28" fmla="*/ 589 w 652"/>
                  <a:gd name="T29" fmla="*/ 341 h 714"/>
                  <a:gd name="T30" fmla="*/ 527 w 652"/>
                  <a:gd name="T31" fmla="*/ 310 h 714"/>
                  <a:gd name="T32" fmla="*/ 527 w 652"/>
                  <a:gd name="T33" fmla="*/ 248 h 714"/>
                  <a:gd name="T34" fmla="*/ 527 w 652"/>
                  <a:gd name="T35" fmla="*/ 248 h 714"/>
                  <a:gd name="T36" fmla="*/ 527 w 652"/>
                  <a:gd name="T37" fmla="*/ 248 h 714"/>
                  <a:gd name="T38" fmla="*/ 527 w 652"/>
                  <a:gd name="T39" fmla="*/ 186 h 714"/>
                  <a:gd name="T40" fmla="*/ 527 w 652"/>
                  <a:gd name="T41" fmla="*/ 124 h 714"/>
                  <a:gd name="T42" fmla="*/ 527 w 652"/>
                  <a:gd name="T43" fmla="*/ 93 h 714"/>
                  <a:gd name="T44" fmla="*/ 434 w 652"/>
                  <a:gd name="T45" fmla="*/ 93 h 714"/>
                  <a:gd name="T46" fmla="*/ 434 w 652"/>
                  <a:gd name="T47" fmla="*/ 62 h 714"/>
                  <a:gd name="T48" fmla="*/ 434 w 652"/>
                  <a:gd name="T49" fmla="*/ 124 h 714"/>
                  <a:gd name="T50" fmla="*/ 403 w 652"/>
                  <a:gd name="T51" fmla="*/ 155 h 714"/>
                  <a:gd name="T52" fmla="*/ 372 w 652"/>
                  <a:gd name="T53" fmla="*/ 124 h 714"/>
                  <a:gd name="T54" fmla="*/ 341 w 652"/>
                  <a:gd name="T55" fmla="*/ 155 h 714"/>
                  <a:gd name="T56" fmla="*/ 279 w 652"/>
                  <a:gd name="T57" fmla="*/ 155 h 714"/>
                  <a:gd name="T58" fmla="*/ 279 w 652"/>
                  <a:gd name="T59" fmla="*/ 93 h 714"/>
                  <a:gd name="T60" fmla="*/ 248 w 652"/>
                  <a:gd name="T61" fmla="*/ 62 h 714"/>
                  <a:gd name="T62" fmla="*/ 31 w 652"/>
                  <a:gd name="T63" fmla="*/ 0 h 714"/>
                  <a:gd name="T64" fmla="*/ 93 w 652"/>
                  <a:gd name="T65" fmla="*/ 155 h 714"/>
                  <a:gd name="T66" fmla="*/ 93 w 652"/>
                  <a:gd name="T67" fmla="*/ 186 h 714"/>
                  <a:gd name="T68" fmla="*/ 124 w 652"/>
                  <a:gd name="T69" fmla="*/ 279 h 714"/>
                  <a:gd name="T70" fmla="*/ 124 w 652"/>
                  <a:gd name="T71" fmla="*/ 372 h 714"/>
                  <a:gd name="T72" fmla="*/ 93 w 652"/>
                  <a:gd name="T73" fmla="*/ 434 h 714"/>
                  <a:gd name="T74" fmla="*/ 31 w 652"/>
                  <a:gd name="T75" fmla="*/ 465 h 714"/>
                  <a:gd name="T76" fmla="*/ 0 w 652"/>
                  <a:gd name="T77" fmla="*/ 619 h 714"/>
                  <a:gd name="T78" fmla="*/ 0 w 652"/>
                  <a:gd name="T79" fmla="*/ 682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2" h="714">
                    <a:moveTo>
                      <a:pt x="31" y="682"/>
                    </a:moveTo>
                    <a:lnTo>
                      <a:pt x="31" y="682"/>
                    </a:lnTo>
                    <a:lnTo>
                      <a:pt x="31" y="682"/>
                    </a:lnTo>
                    <a:lnTo>
                      <a:pt x="31" y="682"/>
                    </a:lnTo>
                    <a:cubicBezTo>
                      <a:pt x="31" y="682"/>
                      <a:pt x="31" y="682"/>
                      <a:pt x="31" y="651"/>
                    </a:cubicBezTo>
                    <a:lnTo>
                      <a:pt x="62" y="651"/>
                    </a:lnTo>
                    <a:lnTo>
                      <a:pt x="93" y="651"/>
                    </a:lnTo>
                    <a:lnTo>
                      <a:pt x="93" y="651"/>
                    </a:lnTo>
                    <a:lnTo>
                      <a:pt x="93" y="651"/>
                    </a:lnTo>
                    <a:cubicBezTo>
                      <a:pt x="93" y="682"/>
                      <a:pt x="124" y="682"/>
                      <a:pt x="124" y="682"/>
                    </a:cubicBezTo>
                    <a:cubicBezTo>
                      <a:pt x="124" y="682"/>
                      <a:pt x="124" y="682"/>
                      <a:pt x="155" y="682"/>
                    </a:cubicBezTo>
                    <a:cubicBezTo>
                      <a:pt x="155" y="682"/>
                      <a:pt x="248" y="682"/>
                      <a:pt x="279" y="682"/>
                    </a:cubicBezTo>
                    <a:lnTo>
                      <a:pt x="279" y="682"/>
                    </a:lnTo>
                    <a:lnTo>
                      <a:pt x="279" y="682"/>
                    </a:lnTo>
                    <a:cubicBezTo>
                      <a:pt x="310" y="682"/>
                      <a:pt x="341" y="682"/>
                      <a:pt x="341" y="682"/>
                    </a:cubicBezTo>
                    <a:cubicBezTo>
                      <a:pt x="372" y="682"/>
                      <a:pt x="372" y="682"/>
                      <a:pt x="372" y="682"/>
                    </a:cubicBezTo>
                    <a:cubicBezTo>
                      <a:pt x="372" y="713"/>
                      <a:pt x="372" y="713"/>
                      <a:pt x="372" y="713"/>
                    </a:cubicBezTo>
                    <a:cubicBezTo>
                      <a:pt x="496" y="713"/>
                      <a:pt x="496" y="713"/>
                      <a:pt x="496" y="713"/>
                    </a:cubicBezTo>
                    <a:cubicBezTo>
                      <a:pt x="496" y="713"/>
                      <a:pt x="496" y="713"/>
                      <a:pt x="527" y="713"/>
                    </a:cubicBezTo>
                    <a:cubicBezTo>
                      <a:pt x="527" y="713"/>
                      <a:pt x="558" y="713"/>
                      <a:pt x="589" y="713"/>
                    </a:cubicBezTo>
                    <a:cubicBezTo>
                      <a:pt x="558" y="713"/>
                      <a:pt x="558" y="682"/>
                      <a:pt x="558" y="682"/>
                    </a:cubicBezTo>
                    <a:lnTo>
                      <a:pt x="527" y="651"/>
                    </a:lnTo>
                    <a:lnTo>
                      <a:pt x="527" y="651"/>
                    </a:lnTo>
                    <a:lnTo>
                      <a:pt x="527" y="651"/>
                    </a:lnTo>
                    <a:cubicBezTo>
                      <a:pt x="527" y="402"/>
                      <a:pt x="527" y="402"/>
                      <a:pt x="527" y="402"/>
                    </a:cubicBezTo>
                    <a:cubicBezTo>
                      <a:pt x="651" y="402"/>
                      <a:pt x="651" y="402"/>
                      <a:pt x="651" y="402"/>
                    </a:cubicBezTo>
                    <a:cubicBezTo>
                      <a:pt x="651" y="341"/>
                      <a:pt x="651" y="341"/>
                      <a:pt x="651" y="341"/>
                    </a:cubicBezTo>
                    <a:cubicBezTo>
                      <a:pt x="620" y="341"/>
                      <a:pt x="589" y="341"/>
                      <a:pt x="589" y="341"/>
                    </a:cubicBezTo>
                    <a:lnTo>
                      <a:pt x="589" y="341"/>
                    </a:lnTo>
                    <a:lnTo>
                      <a:pt x="589" y="341"/>
                    </a:lnTo>
                    <a:cubicBezTo>
                      <a:pt x="558" y="341"/>
                      <a:pt x="558" y="341"/>
                      <a:pt x="558" y="310"/>
                    </a:cubicBezTo>
                    <a:cubicBezTo>
                      <a:pt x="527" y="310"/>
                      <a:pt x="527" y="310"/>
                      <a:pt x="527" y="310"/>
                    </a:cubicBezTo>
                    <a:cubicBezTo>
                      <a:pt x="527" y="310"/>
                      <a:pt x="527" y="310"/>
                      <a:pt x="527" y="279"/>
                    </a:cubicBezTo>
                    <a:cubicBezTo>
                      <a:pt x="527" y="279"/>
                      <a:pt x="527" y="279"/>
                      <a:pt x="527" y="248"/>
                    </a:cubicBezTo>
                    <a:lnTo>
                      <a:pt x="527" y="248"/>
                    </a:lnTo>
                    <a:lnTo>
                      <a:pt x="527" y="248"/>
                    </a:lnTo>
                    <a:lnTo>
                      <a:pt x="527" y="248"/>
                    </a:lnTo>
                    <a:lnTo>
                      <a:pt x="527" y="248"/>
                    </a:lnTo>
                    <a:cubicBezTo>
                      <a:pt x="527" y="217"/>
                      <a:pt x="527" y="217"/>
                      <a:pt x="527" y="217"/>
                    </a:cubicBezTo>
                    <a:cubicBezTo>
                      <a:pt x="527" y="186"/>
                      <a:pt x="527" y="186"/>
                      <a:pt x="527" y="186"/>
                    </a:cubicBezTo>
                    <a:lnTo>
                      <a:pt x="527" y="155"/>
                    </a:lnTo>
                    <a:cubicBezTo>
                      <a:pt x="527" y="124"/>
                      <a:pt x="527" y="124"/>
                      <a:pt x="527" y="124"/>
                    </a:cubicBezTo>
                    <a:lnTo>
                      <a:pt x="527" y="124"/>
                    </a:lnTo>
                    <a:lnTo>
                      <a:pt x="527" y="93"/>
                    </a:lnTo>
                    <a:lnTo>
                      <a:pt x="527" y="93"/>
                    </a:lnTo>
                    <a:cubicBezTo>
                      <a:pt x="434" y="93"/>
                      <a:pt x="434" y="93"/>
                      <a:pt x="434" y="93"/>
                    </a:cubicBezTo>
                    <a:cubicBezTo>
                      <a:pt x="434" y="62"/>
                      <a:pt x="434" y="62"/>
                      <a:pt x="434" y="62"/>
                    </a:cubicBezTo>
                    <a:lnTo>
                      <a:pt x="434" y="62"/>
                    </a:lnTo>
                    <a:cubicBezTo>
                      <a:pt x="434" y="93"/>
                      <a:pt x="434" y="93"/>
                      <a:pt x="434" y="124"/>
                    </a:cubicBezTo>
                    <a:lnTo>
                      <a:pt x="434" y="124"/>
                    </a:lnTo>
                    <a:lnTo>
                      <a:pt x="434" y="124"/>
                    </a:lnTo>
                    <a:cubicBezTo>
                      <a:pt x="434" y="124"/>
                      <a:pt x="434" y="155"/>
                      <a:pt x="403" y="155"/>
                    </a:cubicBezTo>
                    <a:cubicBezTo>
                      <a:pt x="403" y="155"/>
                      <a:pt x="372" y="155"/>
                      <a:pt x="372" y="124"/>
                    </a:cubicBezTo>
                    <a:lnTo>
                      <a:pt x="372" y="124"/>
                    </a:lnTo>
                    <a:lnTo>
                      <a:pt x="372" y="124"/>
                    </a:lnTo>
                    <a:cubicBezTo>
                      <a:pt x="341" y="124"/>
                      <a:pt x="341" y="155"/>
                      <a:pt x="341" y="155"/>
                    </a:cubicBezTo>
                    <a:cubicBezTo>
                      <a:pt x="310" y="155"/>
                      <a:pt x="310" y="155"/>
                      <a:pt x="310" y="155"/>
                    </a:cubicBezTo>
                    <a:cubicBezTo>
                      <a:pt x="310" y="155"/>
                      <a:pt x="310" y="155"/>
                      <a:pt x="279" y="155"/>
                    </a:cubicBezTo>
                    <a:cubicBezTo>
                      <a:pt x="279" y="124"/>
                      <a:pt x="279" y="124"/>
                      <a:pt x="279" y="124"/>
                    </a:cubicBezTo>
                    <a:cubicBezTo>
                      <a:pt x="279" y="124"/>
                      <a:pt x="279" y="124"/>
                      <a:pt x="279" y="93"/>
                    </a:cubicBezTo>
                    <a:lnTo>
                      <a:pt x="248" y="93"/>
                    </a:lnTo>
                    <a:cubicBezTo>
                      <a:pt x="248" y="62"/>
                      <a:pt x="248" y="62"/>
                      <a:pt x="248" y="62"/>
                    </a:cubicBezTo>
                    <a:cubicBezTo>
                      <a:pt x="248" y="62"/>
                      <a:pt x="248" y="31"/>
                      <a:pt x="217" y="0"/>
                    </a:cubicBezTo>
                    <a:cubicBezTo>
                      <a:pt x="31" y="0"/>
                      <a:pt x="31" y="0"/>
                      <a:pt x="31" y="0"/>
                    </a:cubicBezTo>
                    <a:cubicBezTo>
                      <a:pt x="62" y="31"/>
                      <a:pt x="93" y="93"/>
                      <a:pt x="93" y="93"/>
                    </a:cubicBezTo>
                    <a:cubicBezTo>
                      <a:pt x="93" y="124"/>
                      <a:pt x="93" y="124"/>
                      <a:pt x="93" y="155"/>
                    </a:cubicBezTo>
                    <a:lnTo>
                      <a:pt x="93" y="155"/>
                    </a:lnTo>
                    <a:lnTo>
                      <a:pt x="93" y="186"/>
                    </a:lnTo>
                    <a:cubicBezTo>
                      <a:pt x="93" y="217"/>
                      <a:pt x="93" y="248"/>
                      <a:pt x="93" y="248"/>
                    </a:cubicBezTo>
                    <a:cubicBezTo>
                      <a:pt x="124" y="248"/>
                      <a:pt x="124" y="279"/>
                      <a:pt x="124" y="279"/>
                    </a:cubicBezTo>
                    <a:cubicBezTo>
                      <a:pt x="124" y="279"/>
                      <a:pt x="124" y="310"/>
                      <a:pt x="124" y="341"/>
                    </a:cubicBezTo>
                    <a:cubicBezTo>
                      <a:pt x="124" y="341"/>
                      <a:pt x="124" y="341"/>
                      <a:pt x="124" y="372"/>
                    </a:cubicBezTo>
                    <a:cubicBezTo>
                      <a:pt x="124" y="372"/>
                      <a:pt x="93" y="402"/>
                      <a:pt x="93" y="434"/>
                    </a:cubicBezTo>
                    <a:lnTo>
                      <a:pt x="93" y="434"/>
                    </a:lnTo>
                    <a:cubicBezTo>
                      <a:pt x="93" y="434"/>
                      <a:pt x="62" y="434"/>
                      <a:pt x="62" y="465"/>
                    </a:cubicBezTo>
                    <a:cubicBezTo>
                      <a:pt x="62" y="465"/>
                      <a:pt x="62" y="465"/>
                      <a:pt x="31" y="465"/>
                    </a:cubicBezTo>
                    <a:cubicBezTo>
                      <a:pt x="31" y="496"/>
                      <a:pt x="31" y="527"/>
                      <a:pt x="31" y="558"/>
                    </a:cubicBezTo>
                    <a:cubicBezTo>
                      <a:pt x="31" y="589"/>
                      <a:pt x="31" y="619"/>
                      <a:pt x="0" y="619"/>
                    </a:cubicBezTo>
                    <a:lnTo>
                      <a:pt x="0" y="619"/>
                    </a:lnTo>
                    <a:cubicBezTo>
                      <a:pt x="0" y="619"/>
                      <a:pt x="0" y="651"/>
                      <a:pt x="0" y="682"/>
                    </a:cubicBezTo>
                    <a:lnTo>
                      <a:pt x="31" y="68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5" name="Freeform 22"/>
              <p:cNvSpPr>
                <a:spLocks noChangeArrowheads="1"/>
              </p:cNvSpPr>
              <p:nvPr/>
            </p:nvSpPr>
            <p:spPr bwMode="auto">
              <a:xfrm>
                <a:off x="3937000" y="2114550"/>
                <a:ext cx="190500" cy="346075"/>
              </a:xfrm>
              <a:custGeom>
                <a:avLst/>
                <a:gdLst>
                  <a:gd name="T0" fmla="*/ 93 w 528"/>
                  <a:gd name="T1" fmla="*/ 898 h 961"/>
                  <a:gd name="T2" fmla="*/ 124 w 528"/>
                  <a:gd name="T3" fmla="*/ 960 h 961"/>
                  <a:gd name="T4" fmla="*/ 155 w 528"/>
                  <a:gd name="T5" fmla="*/ 960 h 961"/>
                  <a:gd name="T6" fmla="*/ 186 w 528"/>
                  <a:gd name="T7" fmla="*/ 960 h 961"/>
                  <a:gd name="T8" fmla="*/ 186 w 528"/>
                  <a:gd name="T9" fmla="*/ 960 h 961"/>
                  <a:gd name="T10" fmla="*/ 217 w 528"/>
                  <a:gd name="T11" fmla="*/ 930 h 961"/>
                  <a:gd name="T12" fmla="*/ 248 w 528"/>
                  <a:gd name="T13" fmla="*/ 930 h 961"/>
                  <a:gd name="T14" fmla="*/ 248 w 528"/>
                  <a:gd name="T15" fmla="*/ 930 h 961"/>
                  <a:gd name="T16" fmla="*/ 279 w 528"/>
                  <a:gd name="T17" fmla="*/ 930 h 961"/>
                  <a:gd name="T18" fmla="*/ 279 w 528"/>
                  <a:gd name="T19" fmla="*/ 930 h 961"/>
                  <a:gd name="T20" fmla="*/ 279 w 528"/>
                  <a:gd name="T21" fmla="*/ 898 h 961"/>
                  <a:gd name="T22" fmla="*/ 310 w 528"/>
                  <a:gd name="T23" fmla="*/ 867 h 961"/>
                  <a:gd name="T24" fmla="*/ 310 w 528"/>
                  <a:gd name="T25" fmla="*/ 867 h 961"/>
                  <a:gd name="T26" fmla="*/ 341 w 528"/>
                  <a:gd name="T27" fmla="*/ 867 h 961"/>
                  <a:gd name="T28" fmla="*/ 372 w 528"/>
                  <a:gd name="T29" fmla="*/ 867 h 961"/>
                  <a:gd name="T30" fmla="*/ 403 w 528"/>
                  <a:gd name="T31" fmla="*/ 836 h 961"/>
                  <a:gd name="T32" fmla="*/ 434 w 528"/>
                  <a:gd name="T33" fmla="*/ 806 h 961"/>
                  <a:gd name="T34" fmla="*/ 434 w 528"/>
                  <a:gd name="T35" fmla="*/ 774 h 961"/>
                  <a:gd name="T36" fmla="*/ 465 w 528"/>
                  <a:gd name="T37" fmla="*/ 743 h 961"/>
                  <a:gd name="T38" fmla="*/ 465 w 528"/>
                  <a:gd name="T39" fmla="*/ 712 h 961"/>
                  <a:gd name="T40" fmla="*/ 465 w 528"/>
                  <a:gd name="T41" fmla="*/ 712 h 961"/>
                  <a:gd name="T42" fmla="*/ 434 w 528"/>
                  <a:gd name="T43" fmla="*/ 650 h 961"/>
                  <a:gd name="T44" fmla="*/ 434 w 528"/>
                  <a:gd name="T45" fmla="*/ 619 h 961"/>
                  <a:gd name="T46" fmla="*/ 465 w 528"/>
                  <a:gd name="T47" fmla="*/ 558 h 961"/>
                  <a:gd name="T48" fmla="*/ 465 w 528"/>
                  <a:gd name="T49" fmla="*/ 558 h 961"/>
                  <a:gd name="T50" fmla="*/ 496 w 528"/>
                  <a:gd name="T51" fmla="*/ 496 h 961"/>
                  <a:gd name="T52" fmla="*/ 496 w 528"/>
                  <a:gd name="T53" fmla="*/ 496 h 961"/>
                  <a:gd name="T54" fmla="*/ 527 w 528"/>
                  <a:gd name="T55" fmla="*/ 465 h 961"/>
                  <a:gd name="T56" fmla="*/ 124 w 528"/>
                  <a:gd name="T57" fmla="*/ 0 h 961"/>
                  <a:gd name="T58" fmla="*/ 93 w 528"/>
                  <a:gd name="T59" fmla="*/ 31 h 961"/>
                  <a:gd name="T60" fmla="*/ 93 w 528"/>
                  <a:gd name="T61" fmla="*/ 93 h 961"/>
                  <a:gd name="T62" fmla="*/ 124 w 528"/>
                  <a:gd name="T63" fmla="*/ 155 h 961"/>
                  <a:gd name="T64" fmla="*/ 155 w 528"/>
                  <a:gd name="T65" fmla="*/ 187 h 961"/>
                  <a:gd name="T66" fmla="*/ 124 w 528"/>
                  <a:gd name="T67" fmla="*/ 248 h 961"/>
                  <a:gd name="T68" fmla="*/ 124 w 528"/>
                  <a:gd name="T69" fmla="*/ 435 h 961"/>
                  <a:gd name="T70" fmla="*/ 93 w 528"/>
                  <a:gd name="T71" fmla="*/ 465 h 961"/>
                  <a:gd name="T72" fmla="*/ 62 w 528"/>
                  <a:gd name="T73" fmla="*/ 496 h 961"/>
                  <a:gd name="T74" fmla="*/ 31 w 528"/>
                  <a:gd name="T75" fmla="*/ 526 h 961"/>
                  <a:gd name="T76" fmla="*/ 31 w 528"/>
                  <a:gd name="T77" fmla="*/ 588 h 961"/>
                  <a:gd name="T78" fmla="*/ 31 w 528"/>
                  <a:gd name="T79" fmla="*/ 619 h 961"/>
                  <a:gd name="T80" fmla="*/ 31 w 528"/>
                  <a:gd name="T81" fmla="*/ 619 h 961"/>
                  <a:gd name="T82" fmla="*/ 31 w 528"/>
                  <a:gd name="T83" fmla="*/ 619 h 961"/>
                  <a:gd name="T84" fmla="*/ 62 w 528"/>
                  <a:gd name="T85" fmla="*/ 619 h 961"/>
                  <a:gd name="T86" fmla="*/ 62 w 528"/>
                  <a:gd name="T87" fmla="*/ 650 h 961"/>
                  <a:gd name="T88" fmla="*/ 93 w 528"/>
                  <a:gd name="T89" fmla="*/ 712 h 961"/>
                  <a:gd name="T90" fmla="*/ 93 w 528"/>
                  <a:gd name="T91" fmla="*/ 806 h 961"/>
                  <a:gd name="T92" fmla="*/ 124 w 528"/>
                  <a:gd name="T93" fmla="*/ 867 h 961"/>
                  <a:gd name="T94" fmla="*/ 93 w 528"/>
                  <a:gd name="T95" fmla="*/ 898 h 961"/>
                  <a:gd name="T96" fmla="*/ 93 w 528"/>
                  <a:gd name="T97" fmla="*/ 898 h 961"/>
                  <a:gd name="T98" fmla="*/ 62 w 528"/>
                  <a:gd name="T99" fmla="*/ 898 h 961"/>
                  <a:gd name="T100" fmla="*/ 62 w 528"/>
                  <a:gd name="T101" fmla="*/ 898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8" h="961">
                    <a:moveTo>
                      <a:pt x="93" y="898"/>
                    </a:moveTo>
                    <a:lnTo>
                      <a:pt x="93" y="898"/>
                    </a:lnTo>
                    <a:lnTo>
                      <a:pt x="93" y="898"/>
                    </a:lnTo>
                    <a:cubicBezTo>
                      <a:pt x="124" y="960"/>
                      <a:pt x="124" y="960"/>
                      <a:pt x="124" y="960"/>
                    </a:cubicBezTo>
                    <a:lnTo>
                      <a:pt x="124" y="960"/>
                    </a:lnTo>
                    <a:cubicBezTo>
                      <a:pt x="124" y="960"/>
                      <a:pt x="124" y="960"/>
                      <a:pt x="155" y="960"/>
                    </a:cubicBezTo>
                    <a:lnTo>
                      <a:pt x="155" y="960"/>
                    </a:lnTo>
                    <a:cubicBezTo>
                      <a:pt x="186" y="960"/>
                      <a:pt x="186" y="960"/>
                      <a:pt x="186" y="960"/>
                    </a:cubicBezTo>
                    <a:lnTo>
                      <a:pt x="186" y="960"/>
                    </a:lnTo>
                    <a:lnTo>
                      <a:pt x="186" y="960"/>
                    </a:lnTo>
                    <a:lnTo>
                      <a:pt x="186" y="960"/>
                    </a:lnTo>
                    <a:lnTo>
                      <a:pt x="217" y="930"/>
                    </a:lnTo>
                    <a:lnTo>
                      <a:pt x="217" y="930"/>
                    </a:lnTo>
                    <a:cubicBezTo>
                      <a:pt x="217" y="930"/>
                      <a:pt x="217" y="930"/>
                      <a:pt x="248" y="930"/>
                    </a:cubicBezTo>
                    <a:lnTo>
                      <a:pt x="248" y="930"/>
                    </a:lnTo>
                    <a:lnTo>
                      <a:pt x="248" y="930"/>
                    </a:lnTo>
                    <a:lnTo>
                      <a:pt x="279" y="930"/>
                    </a:lnTo>
                    <a:lnTo>
                      <a:pt x="279" y="930"/>
                    </a:lnTo>
                    <a:lnTo>
                      <a:pt x="279" y="930"/>
                    </a:lnTo>
                    <a:lnTo>
                      <a:pt x="279" y="930"/>
                    </a:lnTo>
                    <a:lnTo>
                      <a:pt x="279" y="930"/>
                    </a:lnTo>
                    <a:cubicBezTo>
                      <a:pt x="279" y="898"/>
                      <a:pt x="279" y="898"/>
                      <a:pt x="279" y="898"/>
                    </a:cubicBezTo>
                    <a:lnTo>
                      <a:pt x="279" y="898"/>
                    </a:lnTo>
                    <a:cubicBezTo>
                      <a:pt x="279" y="867"/>
                      <a:pt x="310" y="867"/>
                      <a:pt x="310" y="867"/>
                    </a:cubicBezTo>
                    <a:lnTo>
                      <a:pt x="310" y="867"/>
                    </a:lnTo>
                    <a:lnTo>
                      <a:pt x="310" y="867"/>
                    </a:lnTo>
                    <a:lnTo>
                      <a:pt x="310" y="867"/>
                    </a:lnTo>
                    <a:lnTo>
                      <a:pt x="341" y="867"/>
                    </a:lnTo>
                    <a:lnTo>
                      <a:pt x="341" y="867"/>
                    </a:lnTo>
                    <a:cubicBezTo>
                      <a:pt x="341" y="867"/>
                      <a:pt x="341" y="867"/>
                      <a:pt x="372" y="867"/>
                    </a:cubicBezTo>
                    <a:lnTo>
                      <a:pt x="372" y="867"/>
                    </a:lnTo>
                    <a:cubicBezTo>
                      <a:pt x="372" y="867"/>
                      <a:pt x="372" y="836"/>
                      <a:pt x="403" y="836"/>
                    </a:cubicBezTo>
                    <a:lnTo>
                      <a:pt x="403" y="806"/>
                    </a:lnTo>
                    <a:cubicBezTo>
                      <a:pt x="403" y="806"/>
                      <a:pt x="403" y="806"/>
                      <a:pt x="434" y="806"/>
                    </a:cubicBezTo>
                    <a:lnTo>
                      <a:pt x="434" y="806"/>
                    </a:lnTo>
                    <a:cubicBezTo>
                      <a:pt x="434" y="774"/>
                      <a:pt x="434" y="774"/>
                      <a:pt x="434" y="774"/>
                    </a:cubicBezTo>
                    <a:cubicBezTo>
                      <a:pt x="465" y="743"/>
                      <a:pt x="465" y="743"/>
                      <a:pt x="465" y="743"/>
                    </a:cubicBezTo>
                    <a:lnTo>
                      <a:pt x="465" y="743"/>
                    </a:lnTo>
                    <a:cubicBezTo>
                      <a:pt x="465" y="743"/>
                      <a:pt x="465" y="743"/>
                      <a:pt x="465" y="712"/>
                    </a:cubicBezTo>
                    <a:lnTo>
                      <a:pt x="465" y="712"/>
                    </a:lnTo>
                    <a:lnTo>
                      <a:pt x="465" y="712"/>
                    </a:lnTo>
                    <a:lnTo>
                      <a:pt x="465" y="712"/>
                    </a:lnTo>
                    <a:cubicBezTo>
                      <a:pt x="434" y="712"/>
                      <a:pt x="434" y="682"/>
                      <a:pt x="434" y="682"/>
                    </a:cubicBezTo>
                    <a:cubicBezTo>
                      <a:pt x="434" y="682"/>
                      <a:pt x="434" y="682"/>
                      <a:pt x="434" y="650"/>
                    </a:cubicBezTo>
                    <a:lnTo>
                      <a:pt x="434" y="619"/>
                    </a:lnTo>
                    <a:lnTo>
                      <a:pt x="434" y="619"/>
                    </a:lnTo>
                    <a:cubicBezTo>
                      <a:pt x="434" y="588"/>
                      <a:pt x="434" y="588"/>
                      <a:pt x="434" y="588"/>
                    </a:cubicBezTo>
                    <a:lnTo>
                      <a:pt x="465" y="558"/>
                    </a:lnTo>
                    <a:lnTo>
                      <a:pt x="465" y="558"/>
                    </a:lnTo>
                    <a:lnTo>
                      <a:pt x="465" y="558"/>
                    </a:lnTo>
                    <a:cubicBezTo>
                      <a:pt x="465" y="526"/>
                      <a:pt x="465" y="526"/>
                      <a:pt x="496" y="526"/>
                    </a:cubicBezTo>
                    <a:lnTo>
                      <a:pt x="496" y="496"/>
                    </a:lnTo>
                    <a:lnTo>
                      <a:pt x="496" y="496"/>
                    </a:lnTo>
                    <a:lnTo>
                      <a:pt x="496" y="496"/>
                    </a:lnTo>
                    <a:cubicBezTo>
                      <a:pt x="496" y="465"/>
                      <a:pt x="496" y="465"/>
                      <a:pt x="496" y="465"/>
                    </a:cubicBezTo>
                    <a:cubicBezTo>
                      <a:pt x="527" y="465"/>
                      <a:pt x="527" y="465"/>
                      <a:pt x="527" y="465"/>
                    </a:cubicBezTo>
                    <a:cubicBezTo>
                      <a:pt x="527" y="248"/>
                      <a:pt x="527" y="248"/>
                      <a:pt x="527" y="248"/>
                    </a:cubicBezTo>
                    <a:cubicBezTo>
                      <a:pt x="124" y="0"/>
                      <a:pt x="124" y="0"/>
                      <a:pt x="124" y="0"/>
                    </a:cubicBezTo>
                    <a:cubicBezTo>
                      <a:pt x="124" y="31"/>
                      <a:pt x="124" y="31"/>
                      <a:pt x="93" y="31"/>
                    </a:cubicBezTo>
                    <a:lnTo>
                      <a:pt x="93" y="31"/>
                    </a:lnTo>
                    <a:cubicBezTo>
                      <a:pt x="93" y="63"/>
                      <a:pt x="93" y="93"/>
                      <a:pt x="93" y="93"/>
                    </a:cubicBezTo>
                    <a:lnTo>
                      <a:pt x="93" y="93"/>
                    </a:lnTo>
                    <a:cubicBezTo>
                      <a:pt x="93" y="93"/>
                      <a:pt x="93" y="93"/>
                      <a:pt x="124" y="93"/>
                    </a:cubicBezTo>
                    <a:cubicBezTo>
                      <a:pt x="124" y="124"/>
                      <a:pt x="124" y="124"/>
                      <a:pt x="124" y="155"/>
                    </a:cubicBezTo>
                    <a:cubicBezTo>
                      <a:pt x="155" y="155"/>
                      <a:pt x="155" y="155"/>
                      <a:pt x="155" y="155"/>
                    </a:cubicBezTo>
                    <a:cubicBezTo>
                      <a:pt x="155" y="187"/>
                      <a:pt x="155" y="187"/>
                      <a:pt x="155" y="187"/>
                    </a:cubicBezTo>
                    <a:lnTo>
                      <a:pt x="155" y="187"/>
                    </a:lnTo>
                    <a:cubicBezTo>
                      <a:pt x="155" y="187"/>
                      <a:pt x="124" y="217"/>
                      <a:pt x="124" y="248"/>
                    </a:cubicBezTo>
                    <a:cubicBezTo>
                      <a:pt x="124" y="311"/>
                      <a:pt x="124" y="341"/>
                      <a:pt x="124" y="372"/>
                    </a:cubicBezTo>
                    <a:cubicBezTo>
                      <a:pt x="124" y="403"/>
                      <a:pt x="124" y="435"/>
                      <a:pt x="124" y="435"/>
                    </a:cubicBezTo>
                    <a:cubicBezTo>
                      <a:pt x="93" y="435"/>
                      <a:pt x="93" y="435"/>
                      <a:pt x="93" y="435"/>
                    </a:cubicBezTo>
                    <a:cubicBezTo>
                      <a:pt x="93" y="465"/>
                      <a:pt x="93" y="465"/>
                      <a:pt x="93" y="465"/>
                    </a:cubicBezTo>
                    <a:lnTo>
                      <a:pt x="62" y="496"/>
                    </a:lnTo>
                    <a:lnTo>
                      <a:pt x="62" y="496"/>
                    </a:lnTo>
                    <a:cubicBezTo>
                      <a:pt x="31" y="526"/>
                      <a:pt x="31" y="526"/>
                      <a:pt x="31" y="526"/>
                    </a:cubicBezTo>
                    <a:lnTo>
                      <a:pt x="31" y="526"/>
                    </a:lnTo>
                    <a:cubicBezTo>
                      <a:pt x="31" y="558"/>
                      <a:pt x="31" y="558"/>
                      <a:pt x="0" y="588"/>
                    </a:cubicBezTo>
                    <a:lnTo>
                      <a:pt x="31" y="588"/>
                    </a:lnTo>
                    <a:lnTo>
                      <a:pt x="31" y="619"/>
                    </a:lnTo>
                    <a:lnTo>
                      <a:pt x="31" y="619"/>
                    </a:lnTo>
                    <a:lnTo>
                      <a:pt x="31" y="619"/>
                    </a:lnTo>
                    <a:lnTo>
                      <a:pt x="31" y="619"/>
                    </a:lnTo>
                    <a:lnTo>
                      <a:pt x="31" y="619"/>
                    </a:lnTo>
                    <a:lnTo>
                      <a:pt x="31" y="619"/>
                    </a:lnTo>
                    <a:lnTo>
                      <a:pt x="31" y="619"/>
                    </a:lnTo>
                    <a:lnTo>
                      <a:pt x="62" y="619"/>
                    </a:lnTo>
                    <a:lnTo>
                      <a:pt x="62" y="619"/>
                    </a:lnTo>
                    <a:lnTo>
                      <a:pt x="62" y="650"/>
                    </a:lnTo>
                    <a:cubicBezTo>
                      <a:pt x="93" y="650"/>
                      <a:pt x="93" y="650"/>
                      <a:pt x="93" y="650"/>
                    </a:cubicBezTo>
                    <a:cubicBezTo>
                      <a:pt x="93" y="682"/>
                      <a:pt x="93" y="682"/>
                      <a:pt x="93" y="712"/>
                    </a:cubicBezTo>
                    <a:lnTo>
                      <a:pt x="93" y="712"/>
                    </a:lnTo>
                    <a:cubicBezTo>
                      <a:pt x="93" y="712"/>
                      <a:pt x="93" y="774"/>
                      <a:pt x="93" y="806"/>
                    </a:cubicBezTo>
                    <a:cubicBezTo>
                      <a:pt x="124" y="836"/>
                      <a:pt x="124" y="836"/>
                      <a:pt x="124" y="836"/>
                    </a:cubicBezTo>
                    <a:cubicBezTo>
                      <a:pt x="124" y="867"/>
                      <a:pt x="124" y="867"/>
                      <a:pt x="124" y="867"/>
                    </a:cubicBezTo>
                    <a:lnTo>
                      <a:pt x="124" y="867"/>
                    </a:lnTo>
                    <a:lnTo>
                      <a:pt x="93" y="898"/>
                    </a:lnTo>
                    <a:lnTo>
                      <a:pt x="93" y="898"/>
                    </a:lnTo>
                    <a:lnTo>
                      <a:pt x="93" y="898"/>
                    </a:lnTo>
                    <a:lnTo>
                      <a:pt x="93" y="898"/>
                    </a:lnTo>
                    <a:lnTo>
                      <a:pt x="62" y="898"/>
                    </a:lnTo>
                    <a:lnTo>
                      <a:pt x="62" y="898"/>
                    </a:lnTo>
                    <a:lnTo>
                      <a:pt x="62" y="898"/>
                    </a:lnTo>
                    <a:cubicBezTo>
                      <a:pt x="93" y="898"/>
                      <a:pt x="93" y="898"/>
                      <a:pt x="93" y="89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6" name="Freeform 23"/>
              <p:cNvSpPr>
                <a:spLocks noChangeArrowheads="1"/>
              </p:cNvSpPr>
              <p:nvPr/>
            </p:nvSpPr>
            <p:spPr bwMode="auto">
              <a:xfrm>
                <a:off x="3557588" y="2316163"/>
                <a:ext cx="146050" cy="100012"/>
              </a:xfrm>
              <a:custGeom>
                <a:avLst/>
                <a:gdLst>
                  <a:gd name="T0" fmla="*/ 31 w 405"/>
                  <a:gd name="T1" fmla="*/ 278 h 279"/>
                  <a:gd name="T2" fmla="*/ 31 w 405"/>
                  <a:gd name="T3" fmla="*/ 278 h 279"/>
                  <a:gd name="T4" fmla="*/ 62 w 405"/>
                  <a:gd name="T5" fmla="*/ 278 h 279"/>
                  <a:gd name="T6" fmla="*/ 93 w 405"/>
                  <a:gd name="T7" fmla="*/ 278 h 279"/>
                  <a:gd name="T8" fmla="*/ 93 w 405"/>
                  <a:gd name="T9" fmla="*/ 278 h 279"/>
                  <a:gd name="T10" fmla="*/ 124 w 405"/>
                  <a:gd name="T11" fmla="*/ 278 h 279"/>
                  <a:gd name="T12" fmla="*/ 93 w 405"/>
                  <a:gd name="T13" fmla="*/ 248 h 279"/>
                  <a:gd name="T14" fmla="*/ 93 w 405"/>
                  <a:gd name="T15" fmla="*/ 248 h 279"/>
                  <a:gd name="T16" fmla="*/ 124 w 405"/>
                  <a:gd name="T17" fmla="*/ 216 h 279"/>
                  <a:gd name="T18" fmla="*/ 124 w 405"/>
                  <a:gd name="T19" fmla="*/ 216 h 279"/>
                  <a:gd name="T20" fmla="*/ 124 w 405"/>
                  <a:gd name="T21" fmla="*/ 216 h 279"/>
                  <a:gd name="T22" fmla="*/ 156 w 405"/>
                  <a:gd name="T23" fmla="*/ 185 h 279"/>
                  <a:gd name="T24" fmla="*/ 156 w 405"/>
                  <a:gd name="T25" fmla="*/ 185 h 279"/>
                  <a:gd name="T26" fmla="*/ 186 w 405"/>
                  <a:gd name="T27" fmla="*/ 185 h 279"/>
                  <a:gd name="T28" fmla="*/ 186 w 405"/>
                  <a:gd name="T29" fmla="*/ 185 h 279"/>
                  <a:gd name="T30" fmla="*/ 248 w 405"/>
                  <a:gd name="T31" fmla="*/ 185 h 279"/>
                  <a:gd name="T32" fmla="*/ 248 w 405"/>
                  <a:gd name="T33" fmla="*/ 185 h 279"/>
                  <a:gd name="T34" fmla="*/ 280 w 405"/>
                  <a:gd name="T35" fmla="*/ 185 h 279"/>
                  <a:gd name="T36" fmla="*/ 280 w 405"/>
                  <a:gd name="T37" fmla="*/ 185 h 279"/>
                  <a:gd name="T38" fmla="*/ 280 w 405"/>
                  <a:gd name="T39" fmla="*/ 185 h 279"/>
                  <a:gd name="T40" fmla="*/ 310 w 405"/>
                  <a:gd name="T41" fmla="*/ 185 h 279"/>
                  <a:gd name="T42" fmla="*/ 310 w 405"/>
                  <a:gd name="T43" fmla="*/ 185 h 279"/>
                  <a:gd name="T44" fmla="*/ 341 w 405"/>
                  <a:gd name="T45" fmla="*/ 185 h 279"/>
                  <a:gd name="T46" fmla="*/ 341 w 405"/>
                  <a:gd name="T47" fmla="*/ 185 h 279"/>
                  <a:gd name="T48" fmla="*/ 404 w 405"/>
                  <a:gd name="T49" fmla="*/ 154 h 279"/>
                  <a:gd name="T50" fmla="*/ 404 w 405"/>
                  <a:gd name="T51" fmla="*/ 154 h 279"/>
                  <a:gd name="T52" fmla="*/ 404 w 405"/>
                  <a:gd name="T53" fmla="*/ 154 h 279"/>
                  <a:gd name="T54" fmla="*/ 404 w 405"/>
                  <a:gd name="T55" fmla="*/ 154 h 279"/>
                  <a:gd name="T56" fmla="*/ 372 w 405"/>
                  <a:gd name="T57" fmla="*/ 154 h 279"/>
                  <a:gd name="T58" fmla="*/ 372 w 405"/>
                  <a:gd name="T59" fmla="*/ 154 h 279"/>
                  <a:gd name="T60" fmla="*/ 372 w 405"/>
                  <a:gd name="T61" fmla="*/ 154 h 279"/>
                  <a:gd name="T62" fmla="*/ 372 w 405"/>
                  <a:gd name="T63" fmla="*/ 124 h 279"/>
                  <a:gd name="T64" fmla="*/ 341 w 405"/>
                  <a:gd name="T65" fmla="*/ 124 h 279"/>
                  <a:gd name="T66" fmla="*/ 341 w 405"/>
                  <a:gd name="T67" fmla="*/ 124 h 279"/>
                  <a:gd name="T68" fmla="*/ 341 w 405"/>
                  <a:gd name="T69" fmla="*/ 92 h 279"/>
                  <a:gd name="T70" fmla="*/ 341 w 405"/>
                  <a:gd name="T71" fmla="*/ 92 h 279"/>
                  <a:gd name="T72" fmla="*/ 310 w 405"/>
                  <a:gd name="T73" fmla="*/ 30 h 279"/>
                  <a:gd name="T74" fmla="*/ 280 w 405"/>
                  <a:gd name="T75" fmla="*/ 0 h 279"/>
                  <a:gd name="T76" fmla="*/ 280 w 405"/>
                  <a:gd name="T77" fmla="*/ 0 h 279"/>
                  <a:gd name="T78" fmla="*/ 217 w 405"/>
                  <a:gd name="T79" fmla="*/ 0 h 279"/>
                  <a:gd name="T80" fmla="*/ 217 w 405"/>
                  <a:gd name="T81" fmla="*/ 30 h 279"/>
                  <a:gd name="T82" fmla="*/ 217 w 405"/>
                  <a:gd name="T83" fmla="*/ 30 h 279"/>
                  <a:gd name="T84" fmla="*/ 217 w 405"/>
                  <a:gd name="T85" fmla="*/ 61 h 279"/>
                  <a:gd name="T86" fmla="*/ 186 w 405"/>
                  <a:gd name="T87" fmla="*/ 61 h 279"/>
                  <a:gd name="T88" fmla="*/ 156 w 405"/>
                  <a:gd name="T89" fmla="*/ 61 h 279"/>
                  <a:gd name="T90" fmla="*/ 156 w 405"/>
                  <a:gd name="T91" fmla="*/ 92 h 279"/>
                  <a:gd name="T92" fmla="*/ 156 w 405"/>
                  <a:gd name="T93" fmla="*/ 92 h 279"/>
                  <a:gd name="T94" fmla="*/ 156 w 405"/>
                  <a:gd name="T95" fmla="*/ 92 h 279"/>
                  <a:gd name="T96" fmla="*/ 93 w 405"/>
                  <a:gd name="T97" fmla="*/ 124 h 279"/>
                  <a:gd name="T98" fmla="*/ 93 w 405"/>
                  <a:gd name="T99" fmla="*/ 124 h 279"/>
                  <a:gd name="T100" fmla="*/ 93 w 405"/>
                  <a:gd name="T101" fmla="*/ 124 h 279"/>
                  <a:gd name="T102" fmla="*/ 62 w 405"/>
                  <a:gd name="T103" fmla="*/ 124 h 279"/>
                  <a:gd name="T104" fmla="*/ 62 w 405"/>
                  <a:gd name="T105" fmla="*/ 154 h 279"/>
                  <a:gd name="T106" fmla="*/ 62 w 405"/>
                  <a:gd name="T107" fmla="*/ 154 h 279"/>
                  <a:gd name="T108" fmla="*/ 31 w 405"/>
                  <a:gd name="T109" fmla="*/ 185 h 279"/>
                  <a:gd name="T110" fmla="*/ 31 w 405"/>
                  <a:gd name="T111" fmla="*/ 185 h 279"/>
                  <a:gd name="T112" fmla="*/ 31 w 405"/>
                  <a:gd name="T113" fmla="*/ 185 h 279"/>
                  <a:gd name="T114" fmla="*/ 31 w 405"/>
                  <a:gd name="T115" fmla="*/ 185 h 279"/>
                  <a:gd name="T116" fmla="*/ 31 w 405"/>
                  <a:gd name="T117" fmla="*/ 185 h 279"/>
                  <a:gd name="T118" fmla="*/ 31 w 405"/>
                  <a:gd name="T119" fmla="*/ 216 h 279"/>
                  <a:gd name="T120" fmla="*/ 0 w 405"/>
                  <a:gd name="T121" fmla="*/ 248 h 279"/>
                  <a:gd name="T122" fmla="*/ 31 w 405"/>
                  <a:gd name="T123" fmla="*/ 27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5" h="279">
                    <a:moveTo>
                      <a:pt x="31" y="278"/>
                    </a:moveTo>
                    <a:lnTo>
                      <a:pt x="31" y="278"/>
                    </a:lnTo>
                    <a:cubicBezTo>
                      <a:pt x="62" y="278"/>
                      <a:pt x="62" y="278"/>
                      <a:pt x="62" y="278"/>
                    </a:cubicBezTo>
                    <a:lnTo>
                      <a:pt x="93" y="278"/>
                    </a:lnTo>
                    <a:lnTo>
                      <a:pt x="93" y="278"/>
                    </a:lnTo>
                    <a:lnTo>
                      <a:pt x="124" y="278"/>
                    </a:lnTo>
                    <a:lnTo>
                      <a:pt x="93" y="248"/>
                    </a:lnTo>
                    <a:lnTo>
                      <a:pt x="93" y="248"/>
                    </a:lnTo>
                    <a:cubicBezTo>
                      <a:pt x="93" y="248"/>
                      <a:pt x="124" y="248"/>
                      <a:pt x="124" y="216"/>
                    </a:cubicBezTo>
                    <a:lnTo>
                      <a:pt x="124" y="216"/>
                    </a:lnTo>
                    <a:lnTo>
                      <a:pt x="124" y="216"/>
                    </a:lnTo>
                    <a:cubicBezTo>
                      <a:pt x="124" y="185"/>
                      <a:pt x="156" y="185"/>
                      <a:pt x="156" y="185"/>
                    </a:cubicBezTo>
                    <a:lnTo>
                      <a:pt x="156" y="185"/>
                    </a:lnTo>
                    <a:lnTo>
                      <a:pt x="186" y="185"/>
                    </a:lnTo>
                    <a:lnTo>
                      <a:pt x="186" y="185"/>
                    </a:lnTo>
                    <a:cubicBezTo>
                      <a:pt x="217" y="185"/>
                      <a:pt x="248" y="185"/>
                      <a:pt x="248" y="185"/>
                    </a:cubicBezTo>
                    <a:lnTo>
                      <a:pt x="248" y="185"/>
                    </a:lnTo>
                    <a:cubicBezTo>
                      <a:pt x="280" y="185"/>
                      <a:pt x="280" y="185"/>
                      <a:pt x="280" y="185"/>
                    </a:cubicBezTo>
                    <a:lnTo>
                      <a:pt x="280" y="185"/>
                    </a:lnTo>
                    <a:lnTo>
                      <a:pt x="280" y="185"/>
                    </a:lnTo>
                    <a:lnTo>
                      <a:pt x="310" y="185"/>
                    </a:lnTo>
                    <a:lnTo>
                      <a:pt x="310" y="185"/>
                    </a:lnTo>
                    <a:lnTo>
                      <a:pt x="341" y="185"/>
                    </a:lnTo>
                    <a:lnTo>
                      <a:pt x="341" y="185"/>
                    </a:lnTo>
                    <a:cubicBezTo>
                      <a:pt x="404" y="154"/>
                      <a:pt x="404" y="154"/>
                      <a:pt x="404" y="154"/>
                    </a:cubicBezTo>
                    <a:lnTo>
                      <a:pt x="404" y="154"/>
                    </a:lnTo>
                    <a:lnTo>
                      <a:pt x="404" y="154"/>
                    </a:lnTo>
                    <a:lnTo>
                      <a:pt x="404" y="154"/>
                    </a:lnTo>
                    <a:cubicBezTo>
                      <a:pt x="372" y="154"/>
                      <a:pt x="372" y="154"/>
                      <a:pt x="372" y="154"/>
                    </a:cubicBezTo>
                    <a:lnTo>
                      <a:pt x="372" y="154"/>
                    </a:lnTo>
                    <a:lnTo>
                      <a:pt x="372" y="154"/>
                    </a:lnTo>
                    <a:lnTo>
                      <a:pt x="372" y="124"/>
                    </a:lnTo>
                    <a:cubicBezTo>
                      <a:pt x="341" y="124"/>
                      <a:pt x="341" y="124"/>
                      <a:pt x="341" y="124"/>
                    </a:cubicBezTo>
                    <a:lnTo>
                      <a:pt x="341" y="124"/>
                    </a:lnTo>
                    <a:cubicBezTo>
                      <a:pt x="341" y="92"/>
                      <a:pt x="341" y="92"/>
                      <a:pt x="341" y="92"/>
                    </a:cubicBezTo>
                    <a:lnTo>
                      <a:pt x="341" y="92"/>
                    </a:lnTo>
                    <a:cubicBezTo>
                      <a:pt x="310" y="61"/>
                      <a:pt x="310" y="61"/>
                      <a:pt x="310" y="30"/>
                    </a:cubicBezTo>
                    <a:cubicBezTo>
                      <a:pt x="310" y="30"/>
                      <a:pt x="280" y="30"/>
                      <a:pt x="280" y="0"/>
                    </a:cubicBezTo>
                    <a:lnTo>
                      <a:pt x="280" y="0"/>
                    </a:lnTo>
                    <a:cubicBezTo>
                      <a:pt x="280" y="0"/>
                      <a:pt x="248" y="0"/>
                      <a:pt x="217" y="0"/>
                    </a:cubicBezTo>
                    <a:cubicBezTo>
                      <a:pt x="217" y="30"/>
                      <a:pt x="217" y="30"/>
                      <a:pt x="217" y="30"/>
                    </a:cubicBezTo>
                    <a:lnTo>
                      <a:pt x="217" y="30"/>
                    </a:lnTo>
                    <a:cubicBezTo>
                      <a:pt x="217" y="61"/>
                      <a:pt x="217" y="61"/>
                      <a:pt x="217" y="61"/>
                    </a:cubicBezTo>
                    <a:cubicBezTo>
                      <a:pt x="186" y="61"/>
                      <a:pt x="186" y="61"/>
                      <a:pt x="186" y="61"/>
                    </a:cubicBezTo>
                    <a:cubicBezTo>
                      <a:pt x="156" y="61"/>
                      <a:pt x="156" y="61"/>
                      <a:pt x="156" y="61"/>
                    </a:cubicBezTo>
                    <a:lnTo>
                      <a:pt x="156" y="92"/>
                    </a:lnTo>
                    <a:lnTo>
                      <a:pt x="156" y="92"/>
                    </a:lnTo>
                    <a:lnTo>
                      <a:pt x="156" y="92"/>
                    </a:lnTo>
                    <a:cubicBezTo>
                      <a:pt x="124" y="92"/>
                      <a:pt x="124" y="124"/>
                      <a:pt x="93" y="124"/>
                    </a:cubicBezTo>
                    <a:lnTo>
                      <a:pt x="93" y="124"/>
                    </a:lnTo>
                    <a:lnTo>
                      <a:pt x="93" y="124"/>
                    </a:lnTo>
                    <a:cubicBezTo>
                      <a:pt x="62" y="124"/>
                      <a:pt x="62" y="124"/>
                      <a:pt x="62" y="124"/>
                    </a:cubicBezTo>
                    <a:lnTo>
                      <a:pt x="62" y="154"/>
                    </a:lnTo>
                    <a:lnTo>
                      <a:pt x="62" y="154"/>
                    </a:lnTo>
                    <a:cubicBezTo>
                      <a:pt x="62" y="185"/>
                      <a:pt x="62" y="185"/>
                      <a:pt x="31" y="185"/>
                    </a:cubicBezTo>
                    <a:lnTo>
                      <a:pt x="31" y="185"/>
                    </a:lnTo>
                    <a:lnTo>
                      <a:pt x="31" y="185"/>
                    </a:lnTo>
                    <a:lnTo>
                      <a:pt x="31" y="185"/>
                    </a:lnTo>
                    <a:lnTo>
                      <a:pt x="31" y="185"/>
                    </a:lnTo>
                    <a:cubicBezTo>
                      <a:pt x="31" y="216"/>
                      <a:pt x="31" y="216"/>
                      <a:pt x="31" y="216"/>
                    </a:cubicBezTo>
                    <a:cubicBezTo>
                      <a:pt x="31" y="248"/>
                      <a:pt x="31" y="248"/>
                      <a:pt x="0" y="248"/>
                    </a:cubicBezTo>
                    <a:cubicBezTo>
                      <a:pt x="31" y="248"/>
                      <a:pt x="31" y="278"/>
                      <a:pt x="31" y="27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7" name="Freeform 24"/>
              <p:cNvSpPr>
                <a:spLocks noChangeArrowheads="1"/>
              </p:cNvSpPr>
              <p:nvPr/>
            </p:nvSpPr>
            <p:spPr bwMode="auto">
              <a:xfrm>
                <a:off x="3959225" y="2405063"/>
                <a:ext cx="223838" cy="166687"/>
              </a:xfrm>
              <a:custGeom>
                <a:avLst/>
                <a:gdLst>
                  <a:gd name="T0" fmla="*/ 93 w 621"/>
                  <a:gd name="T1" fmla="*/ 464 h 465"/>
                  <a:gd name="T2" fmla="*/ 93 w 621"/>
                  <a:gd name="T3" fmla="*/ 433 h 465"/>
                  <a:gd name="T4" fmla="*/ 186 w 621"/>
                  <a:gd name="T5" fmla="*/ 433 h 465"/>
                  <a:gd name="T6" fmla="*/ 186 w 621"/>
                  <a:gd name="T7" fmla="*/ 433 h 465"/>
                  <a:gd name="T8" fmla="*/ 217 w 621"/>
                  <a:gd name="T9" fmla="*/ 371 h 465"/>
                  <a:gd name="T10" fmla="*/ 217 w 621"/>
                  <a:gd name="T11" fmla="*/ 340 h 465"/>
                  <a:gd name="T12" fmla="*/ 248 w 621"/>
                  <a:gd name="T13" fmla="*/ 340 h 465"/>
                  <a:gd name="T14" fmla="*/ 279 w 621"/>
                  <a:gd name="T15" fmla="*/ 309 h 465"/>
                  <a:gd name="T16" fmla="*/ 341 w 621"/>
                  <a:gd name="T17" fmla="*/ 371 h 465"/>
                  <a:gd name="T18" fmla="*/ 341 w 621"/>
                  <a:gd name="T19" fmla="*/ 371 h 465"/>
                  <a:gd name="T20" fmla="*/ 372 w 621"/>
                  <a:gd name="T21" fmla="*/ 371 h 465"/>
                  <a:gd name="T22" fmla="*/ 403 w 621"/>
                  <a:gd name="T23" fmla="*/ 371 h 465"/>
                  <a:gd name="T24" fmla="*/ 403 w 621"/>
                  <a:gd name="T25" fmla="*/ 371 h 465"/>
                  <a:gd name="T26" fmla="*/ 434 w 621"/>
                  <a:gd name="T27" fmla="*/ 340 h 465"/>
                  <a:gd name="T28" fmla="*/ 434 w 621"/>
                  <a:gd name="T29" fmla="*/ 340 h 465"/>
                  <a:gd name="T30" fmla="*/ 465 w 621"/>
                  <a:gd name="T31" fmla="*/ 371 h 465"/>
                  <a:gd name="T32" fmla="*/ 526 w 621"/>
                  <a:gd name="T33" fmla="*/ 340 h 465"/>
                  <a:gd name="T34" fmla="*/ 558 w 621"/>
                  <a:gd name="T35" fmla="*/ 340 h 465"/>
                  <a:gd name="T36" fmla="*/ 558 w 621"/>
                  <a:gd name="T37" fmla="*/ 340 h 465"/>
                  <a:gd name="T38" fmla="*/ 589 w 621"/>
                  <a:gd name="T39" fmla="*/ 309 h 465"/>
                  <a:gd name="T40" fmla="*/ 589 w 621"/>
                  <a:gd name="T41" fmla="*/ 309 h 465"/>
                  <a:gd name="T42" fmla="*/ 620 w 621"/>
                  <a:gd name="T43" fmla="*/ 278 h 465"/>
                  <a:gd name="T44" fmla="*/ 620 w 621"/>
                  <a:gd name="T45" fmla="*/ 278 h 465"/>
                  <a:gd name="T46" fmla="*/ 620 w 621"/>
                  <a:gd name="T47" fmla="*/ 248 h 465"/>
                  <a:gd name="T48" fmla="*/ 589 w 621"/>
                  <a:gd name="T49" fmla="*/ 248 h 465"/>
                  <a:gd name="T50" fmla="*/ 589 w 621"/>
                  <a:gd name="T51" fmla="*/ 248 h 465"/>
                  <a:gd name="T52" fmla="*/ 558 w 621"/>
                  <a:gd name="T53" fmla="*/ 248 h 465"/>
                  <a:gd name="T54" fmla="*/ 558 w 621"/>
                  <a:gd name="T55" fmla="*/ 185 h 465"/>
                  <a:gd name="T56" fmla="*/ 496 w 621"/>
                  <a:gd name="T57" fmla="*/ 154 h 465"/>
                  <a:gd name="T58" fmla="*/ 465 w 621"/>
                  <a:gd name="T59" fmla="*/ 154 h 465"/>
                  <a:gd name="T60" fmla="*/ 465 w 621"/>
                  <a:gd name="T61" fmla="*/ 92 h 465"/>
                  <a:gd name="T62" fmla="*/ 465 w 621"/>
                  <a:gd name="T63" fmla="*/ 92 h 465"/>
                  <a:gd name="T64" fmla="*/ 465 w 621"/>
                  <a:gd name="T65" fmla="*/ 30 h 465"/>
                  <a:gd name="T66" fmla="*/ 434 w 621"/>
                  <a:gd name="T67" fmla="*/ 30 h 465"/>
                  <a:gd name="T68" fmla="*/ 434 w 621"/>
                  <a:gd name="T69" fmla="*/ 0 h 465"/>
                  <a:gd name="T70" fmla="*/ 372 w 621"/>
                  <a:gd name="T71" fmla="*/ 61 h 465"/>
                  <a:gd name="T72" fmla="*/ 341 w 621"/>
                  <a:gd name="T73" fmla="*/ 124 h 465"/>
                  <a:gd name="T74" fmla="*/ 310 w 621"/>
                  <a:gd name="T75" fmla="*/ 124 h 465"/>
                  <a:gd name="T76" fmla="*/ 248 w 621"/>
                  <a:gd name="T77" fmla="*/ 124 h 465"/>
                  <a:gd name="T78" fmla="*/ 248 w 621"/>
                  <a:gd name="T79" fmla="*/ 185 h 465"/>
                  <a:gd name="T80" fmla="*/ 217 w 621"/>
                  <a:gd name="T81" fmla="*/ 185 h 465"/>
                  <a:gd name="T82" fmla="*/ 217 w 621"/>
                  <a:gd name="T83" fmla="*/ 185 h 465"/>
                  <a:gd name="T84" fmla="*/ 186 w 621"/>
                  <a:gd name="T85" fmla="*/ 185 h 465"/>
                  <a:gd name="T86" fmla="*/ 155 w 621"/>
                  <a:gd name="T87" fmla="*/ 185 h 465"/>
                  <a:gd name="T88" fmla="*/ 124 w 621"/>
                  <a:gd name="T89" fmla="*/ 216 h 465"/>
                  <a:gd name="T90" fmla="*/ 93 w 621"/>
                  <a:gd name="T91" fmla="*/ 216 h 465"/>
                  <a:gd name="T92" fmla="*/ 93 w 621"/>
                  <a:gd name="T93" fmla="*/ 216 h 465"/>
                  <a:gd name="T94" fmla="*/ 62 w 621"/>
                  <a:gd name="T95" fmla="*/ 216 h 465"/>
                  <a:gd name="T96" fmla="*/ 62 w 621"/>
                  <a:gd name="T97" fmla="*/ 216 h 465"/>
                  <a:gd name="T98" fmla="*/ 31 w 621"/>
                  <a:gd name="T99" fmla="*/ 278 h 465"/>
                  <a:gd name="T100" fmla="*/ 0 w 621"/>
                  <a:gd name="T101" fmla="*/ 309 h 465"/>
                  <a:gd name="T102" fmla="*/ 0 w 621"/>
                  <a:gd name="T103" fmla="*/ 340 h 465"/>
                  <a:gd name="T104" fmla="*/ 0 w 621"/>
                  <a:gd name="T105" fmla="*/ 340 h 465"/>
                  <a:gd name="T106" fmla="*/ 31 w 621"/>
                  <a:gd name="T107" fmla="*/ 402 h 465"/>
                  <a:gd name="T108" fmla="*/ 31 w 621"/>
                  <a:gd name="T109" fmla="*/ 402 h 465"/>
                  <a:gd name="T110" fmla="*/ 31 w 621"/>
                  <a:gd name="T111" fmla="*/ 433 h 465"/>
                  <a:gd name="T112" fmla="*/ 62 w 621"/>
                  <a:gd name="T113" fmla="*/ 433 h 465"/>
                  <a:gd name="T114" fmla="*/ 62 w 621"/>
                  <a:gd name="T115" fmla="*/ 464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1" h="465">
                    <a:moveTo>
                      <a:pt x="93" y="464"/>
                    </a:moveTo>
                    <a:lnTo>
                      <a:pt x="93" y="464"/>
                    </a:lnTo>
                    <a:cubicBezTo>
                      <a:pt x="93" y="433"/>
                      <a:pt x="93" y="433"/>
                      <a:pt x="93" y="433"/>
                    </a:cubicBezTo>
                    <a:lnTo>
                      <a:pt x="93" y="433"/>
                    </a:lnTo>
                    <a:cubicBezTo>
                      <a:pt x="93" y="433"/>
                      <a:pt x="124" y="402"/>
                      <a:pt x="155" y="402"/>
                    </a:cubicBezTo>
                    <a:cubicBezTo>
                      <a:pt x="155" y="402"/>
                      <a:pt x="155" y="433"/>
                      <a:pt x="186" y="433"/>
                    </a:cubicBezTo>
                    <a:lnTo>
                      <a:pt x="186" y="433"/>
                    </a:lnTo>
                    <a:lnTo>
                      <a:pt x="186" y="433"/>
                    </a:lnTo>
                    <a:lnTo>
                      <a:pt x="186" y="433"/>
                    </a:lnTo>
                    <a:cubicBezTo>
                      <a:pt x="186" y="402"/>
                      <a:pt x="186" y="371"/>
                      <a:pt x="217" y="371"/>
                    </a:cubicBezTo>
                    <a:cubicBezTo>
                      <a:pt x="217" y="371"/>
                      <a:pt x="217" y="371"/>
                      <a:pt x="217" y="340"/>
                    </a:cubicBezTo>
                    <a:lnTo>
                      <a:pt x="217" y="340"/>
                    </a:lnTo>
                    <a:cubicBezTo>
                      <a:pt x="217" y="340"/>
                      <a:pt x="217" y="340"/>
                      <a:pt x="248" y="340"/>
                    </a:cubicBezTo>
                    <a:lnTo>
                      <a:pt x="248" y="340"/>
                    </a:lnTo>
                    <a:cubicBezTo>
                      <a:pt x="248" y="340"/>
                      <a:pt x="248" y="309"/>
                      <a:pt x="279" y="309"/>
                    </a:cubicBezTo>
                    <a:lnTo>
                      <a:pt x="279" y="309"/>
                    </a:lnTo>
                    <a:lnTo>
                      <a:pt x="279" y="309"/>
                    </a:lnTo>
                    <a:cubicBezTo>
                      <a:pt x="310" y="309"/>
                      <a:pt x="310" y="340"/>
                      <a:pt x="341" y="371"/>
                    </a:cubicBezTo>
                    <a:lnTo>
                      <a:pt x="341" y="371"/>
                    </a:lnTo>
                    <a:lnTo>
                      <a:pt x="341" y="371"/>
                    </a:lnTo>
                    <a:cubicBezTo>
                      <a:pt x="341" y="371"/>
                      <a:pt x="341" y="371"/>
                      <a:pt x="372" y="371"/>
                    </a:cubicBezTo>
                    <a:lnTo>
                      <a:pt x="372" y="371"/>
                    </a:lnTo>
                    <a:cubicBezTo>
                      <a:pt x="403" y="371"/>
                      <a:pt x="403" y="402"/>
                      <a:pt x="403" y="402"/>
                    </a:cubicBezTo>
                    <a:cubicBezTo>
                      <a:pt x="403" y="371"/>
                      <a:pt x="403" y="371"/>
                      <a:pt x="403" y="371"/>
                    </a:cubicBezTo>
                    <a:lnTo>
                      <a:pt x="403" y="371"/>
                    </a:lnTo>
                    <a:lnTo>
                      <a:pt x="403" y="371"/>
                    </a:lnTo>
                    <a:cubicBezTo>
                      <a:pt x="434" y="371"/>
                      <a:pt x="434" y="340"/>
                      <a:pt x="434" y="340"/>
                    </a:cubicBezTo>
                    <a:lnTo>
                      <a:pt x="434" y="340"/>
                    </a:lnTo>
                    <a:lnTo>
                      <a:pt x="434" y="340"/>
                    </a:lnTo>
                    <a:lnTo>
                      <a:pt x="434" y="340"/>
                    </a:lnTo>
                    <a:cubicBezTo>
                      <a:pt x="465" y="340"/>
                      <a:pt x="465" y="340"/>
                      <a:pt x="465" y="340"/>
                    </a:cubicBezTo>
                    <a:cubicBezTo>
                      <a:pt x="465" y="371"/>
                      <a:pt x="465" y="371"/>
                      <a:pt x="465" y="371"/>
                    </a:cubicBezTo>
                    <a:cubicBezTo>
                      <a:pt x="465" y="340"/>
                      <a:pt x="496" y="340"/>
                      <a:pt x="496" y="340"/>
                    </a:cubicBezTo>
                    <a:lnTo>
                      <a:pt x="526" y="340"/>
                    </a:lnTo>
                    <a:lnTo>
                      <a:pt x="526" y="340"/>
                    </a:lnTo>
                    <a:lnTo>
                      <a:pt x="558" y="340"/>
                    </a:lnTo>
                    <a:lnTo>
                      <a:pt x="558" y="340"/>
                    </a:lnTo>
                    <a:lnTo>
                      <a:pt x="558" y="340"/>
                    </a:lnTo>
                    <a:lnTo>
                      <a:pt x="558" y="340"/>
                    </a:lnTo>
                    <a:cubicBezTo>
                      <a:pt x="558" y="309"/>
                      <a:pt x="589" y="309"/>
                      <a:pt x="589" y="309"/>
                    </a:cubicBezTo>
                    <a:lnTo>
                      <a:pt x="589" y="309"/>
                    </a:lnTo>
                    <a:lnTo>
                      <a:pt x="589" y="309"/>
                    </a:lnTo>
                    <a:cubicBezTo>
                      <a:pt x="620" y="309"/>
                      <a:pt x="620" y="309"/>
                      <a:pt x="620" y="309"/>
                    </a:cubicBezTo>
                    <a:cubicBezTo>
                      <a:pt x="620" y="309"/>
                      <a:pt x="620" y="309"/>
                      <a:pt x="620" y="278"/>
                    </a:cubicBezTo>
                    <a:lnTo>
                      <a:pt x="620" y="278"/>
                    </a:lnTo>
                    <a:lnTo>
                      <a:pt x="620" y="278"/>
                    </a:lnTo>
                    <a:cubicBezTo>
                      <a:pt x="620" y="278"/>
                      <a:pt x="620" y="278"/>
                      <a:pt x="620" y="248"/>
                    </a:cubicBezTo>
                    <a:lnTo>
                      <a:pt x="620" y="248"/>
                    </a:lnTo>
                    <a:lnTo>
                      <a:pt x="620" y="248"/>
                    </a:lnTo>
                    <a:cubicBezTo>
                      <a:pt x="620" y="248"/>
                      <a:pt x="620" y="248"/>
                      <a:pt x="589" y="248"/>
                    </a:cubicBezTo>
                    <a:lnTo>
                      <a:pt x="589" y="248"/>
                    </a:lnTo>
                    <a:lnTo>
                      <a:pt x="589" y="248"/>
                    </a:lnTo>
                    <a:lnTo>
                      <a:pt x="589" y="248"/>
                    </a:lnTo>
                    <a:cubicBezTo>
                      <a:pt x="589" y="248"/>
                      <a:pt x="589" y="248"/>
                      <a:pt x="558" y="248"/>
                    </a:cubicBezTo>
                    <a:cubicBezTo>
                      <a:pt x="558" y="216"/>
                      <a:pt x="558" y="216"/>
                      <a:pt x="558" y="185"/>
                    </a:cubicBezTo>
                    <a:lnTo>
                      <a:pt x="558" y="185"/>
                    </a:lnTo>
                    <a:cubicBezTo>
                      <a:pt x="526" y="185"/>
                      <a:pt x="526" y="185"/>
                      <a:pt x="526" y="185"/>
                    </a:cubicBezTo>
                    <a:cubicBezTo>
                      <a:pt x="496" y="185"/>
                      <a:pt x="496" y="154"/>
                      <a:pt x="496" y="154"/>
                    </a:cubicBezTo>
                    <a:lnTo>
                      <a:pt x="496" y="154"/>
                    </a:lnTo>
                    <a:cubicBezTo>
                      <a:pt x="465" y="154"/>
                      <a:pt x="465" y="154"/>
                      <a:pt x="465" y="154"/>
                    </a:cubicBezTo>
                    <a:cubicBezTo>
                      <a:pt x="465" y="124"/>
                      <a:pt x="465" y="124"/>
                      <a:pt x="465" y="124"/>
                    </a:cubicBezTo>
                    <a:cubicBezTo>
                      <a:pt x="465" y="92"/>
                      <a:pt x="465" y="92"/>
                      <a:pt x="465" y="92"/>
                    </a:cubicBezTo>
                    <a:lnTo>
                      <a:pt x="465" y="92"/>
                    </a:lnTo>
                    <a:lnTo>
                      <a:pt x="465" y="92"/>
                    </a:lnTo>
                    <a:cubicBezTo>
                      <a:pt x="465" y="61"/>
                      <a:pt x="465" y="61"/>
                      <a:pt x="465" y="61"/>
                    </a:cubicBezTo>
                    <a:cubicBezTo>
                      <a:pt x="465" y="61"/>
                      <a:pt x="465" y="61"/>
                      <a:pt x="465" y="30"/>
                    </a:cubicBezTo>
                    <a:lnTo>
                      <a:pt x="465" y="30"/>
                    </a:lnTo>
                    <a:lnTo>
                      <a:pt x="434" y="30"/>
                    </a:lnTo>
                    <a:lnTo>
                      <a:pt x="434" y="30"/>
                    </a:lnTo>
                    <a:lnTo>
                      <a:pt x="434" y="0"/>
                    </a:lnTo>
                    <a:cubicBezTo>
                      <a:pt x="403" y="30"/>
                      <a:pt x="403" y="30"/>
                      <a:pt x="403" y="30"/>
                    </a:cubicBezTo>
                    <a:cubicBezTo>
                      <a:pt x="403" y="30"/>
                      <a:pt x="403" y="30"/>
                      <a:pt x="372" y="61"/>
                    </a:cubicBezTo>
                    <a:lnTo>
                      <a:pt x="372" y="61"/>
                    </a:lnTo>
                    <a:cubicBezTo>
                      <a:pt x="372" y="92"/>
                      <a:pt x="341" y="92"/>
                      <a:pt x="341" y="124"/>
                    </a:cubicBezTo>
                    <a:lnTo>
                      <a:pt x="310" y="124"/>
                    </a:lnTo>
                    <a:lnTo>
                      <a:pt x="310" y="124"/>
                    </a:lnTo>
                    <a:cubicBezTo>
                      <a:pt x="279" y="124"/>
                      <a:pt x="279" y="124"/>
                      <a:pt x="279" y="124"/>
                    </a:cubicBezTo>
                    <a:lnTo>
                      <a:pt x="248" y="124"/>
                    </a:lnTo>
                    <a:lnTo>
                      <a:pt x="248" y="124"/>
                    </a:lnTo>
                    <a:cubicBezTo>
                      <a:pt x="248" y="154"/>
                      <a:pt x="248" y="154"/>
                      <a:pt x="248" y="185"/>
                    </a:cubicBezTo>
                    <a:cubicBezTo>
                      <a:pt x="248" y="185"/>
                      <a:pt x="248" y="185"/>
                      <a:pt x="217" y="185"/>
                    </a:cubicBezTo>
                    <a:lnTo>
                      <a:pt x="217" y="185"/>
                    </a:lnTo>
                    <a:lnTo>
                      <a:pt x="217" y="185"/>
                    </a:lnTo>
                    <a:lnTo>
                      <a:pt x="217" y="185"/>
                    </a:lnTo>
                    <a:lnTo>
                      <a:pt x="217" y="185"/>
                    </a:lnTo>
                    <a:lnTo>
                      <a:pt x="186" y="185"/>
                    </a:lnTo>
                    <a:lnTo>
                      <a:pt x="186" y="185"/>
                    </a:lnTo>
                    <a:lnTo>
                      <a:pt x="155" y="185"/>
                    </a:lnTo>
                    <a:cubicBezTo>
                      <a:pt x="155" y="216"/>
                      <a:pt x="155" y="216"/>
                      <a:pt x="124" y="216"/>
                    </a:cubicBezTo>
                    <a:lnTo>
                      <a:pt x="124" y="216"/>
                    </a:lnTo>
                    <a:lnTo>
                      <a:pt x="124" y="216"/>
                    </a:lnTo>
                    <a:cubicBezTo>
                      <a:pt x="124" y="216"/>
                      <a:pt x="124" y="216"/>
                      <a:pt x="93" y="216"/>
                    </a:cubicBezTo>
                    <a:lnTo>
                      <a:pt x="93" y="216"/>
                    </a:lnTo>
                    <a:lnTo>
                      <a:pt x="93" y="216"/>
                    </a:lnTo>
                    <a:lnTo>
                      <a:pt x="62" y="216"/>
                    </a:lnTo>
                    <a:lnTo>
                      <a:pt x="62" y="216"/>
                    </a:lnTo>
                    <a:lnTo>
                      <a:pt x="62" y="216"/>
                    </a:lnTo>
                    <a:lnTo>
                      <a:pt x="62" y="216"/>
                    </a:lnTo>
                    <a:cubicBezTo>
                      <a:pt x="62" y="248"/>
                      <a:pt x="31" y="248"/>
                      <a:pt x="31" y="248"/>
                    </a:cubicBezTo>
                    <a:cubicBezTo>
                      <a:pt x="31" y="278"/>
                      <a:pt x="31" y="278"/>
                      <a:pt x="31" y="278"/>
                    </a:cubicBezTo>
                    <a:lnTo>
                      <a:pt x="0" y="278"/>
                    </a:lnTo>
                    <a:lnTo>
                      <a:pt x="0" y="309"/>
                    </a:lnTo>
                    <a:cubicBezTo>
                      <a:pt x="0" y="309"/>
                      <a:pt x="0" y="309"/>
                      <a:pt x="0" y="340"/>
                    </a:cubicBezTo>
                    <a:lnTo>
                      <a:pt x="0" y="340"/>
                    </a:lnTo>
                    <a:lnTo>
                      <a:pt x="0" y="340"/>
                    </a:lnTo>
                    <a:lnTo>
                      <a:pt x="0" y="340"/>
                    </a:lnTo>
                    <a:lnTo>
                      <a:pt x="0" y="340"/>
                    </a:lnTo>
                    <a:cubicBezTo>
                      <a:pt x="31" y="371"/>
                      <a:pt x="31" y="402"/>
                      <a:pt x="31" y="402"/>
                    </a:cubicBezTo>
                    <a:lnTo>
                      <a:pt x="31" y="402"/>
                    </a:lnTo>
                    <a:lnTo>
                      <a:pt x="31" y="402"/>
                    </a:lnTo>
                    <a:lnTo>
                      <a:pt x="31" y="433"/>
                    </a:lnTo>
                    <a:lnTo>
                      <a:pt x="31" y="433"/>
                    </a:lnTo>
                    <a:lnTo>
                      <a:pt x="62" y="433"/>
                    </a:lnTo>
                    <a:lnTo>
                      <a:pt x="62" y="433"/>
                    </a:lnTo>
                    <a:lnTo>
                      <a:pt x="62" y="433"/>
                    </a:lnTo>
                    <a:cubicBezTo>
                      <a:pt x="62" y="464"/>
                      <a:pt x="62" y="464"/>
                      <a:pt x="62" y="464"/>
                    </a:cubicBezTo>
                    <a:cubicBezTo>
                      <a:pt x="62" y="464"/>
                      <a:pt x="62" y="464"/>
                      <a:pt x="93" y="46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8" name="Freeform 25"/>
              <p:cNvSpPr>
                <a:spLocks noChangeArrowheads="1"/>
              </p:cNvSpPr>
              <p:nvPr/>
            </p:nvSpPr>
            <p:spPr bwMode="auto">
              <a:xfrm>
                <a:off x="3924300" y="2538413"/>
                <a:ext cx="357188" cy="390525"/>
              </a:xfrm>
              <a:custGeom>
                <a:avLst/>
                <a:gdLst>
                  <a:gd name="T0" fmla="*/ 868 w 993"/>
                  <a:gd name="T1" fmla="*/ 682 h 1086"/>
                  <a:gd name="T2" fmla="*/ 868 w 993"/>
                  <a:gd name="T3" fmla="*/ 620 h 1086"/>
                  <a:gd name="T4" fmla="*/ 868 w 993"/>
                  <a:gd name="T5" fmla="*/ 589 h 1086"/>
                  <a:gd name="T6" fmla="*/ 868 w 993"/>
                  <a:gd name="T7" fmla="*/ 527 h 1086"/>
                  <a:gd name="T8" fmla="*/ 868 w 993"/>
                  <a:gd name="T9" fmla="*/ 496 h 1086"/>
                  <a:gd name="T10" fmla="*/ 868 w 993"/>
                  <a:gd name="T11" fmla="*/ 496 h 1086"/>
                  <a:gd name="T12" fmla="*/ 868 w 993"/>
                  <a:gd name="T13" fmla="*/ 434 h 1086"/>
                  <a:gd name="T14" fmla="*/ 868 w 993"/>
                  <a:gd name="T15" fmla="*/ 403 h 1086"/>
                  <a:gd name="T16" fmla="*/ 899 w 993"/>
                  <a:gd name="T17" fmla="*/ 372 h 1086"/>
                  <a:gd name="T18" fmla="*/ 961 w 993"/>
                  <a:gd name="T19" fmla="*/ 186 h 1086"/>
                  <a:gd name="T20" fmla="*/ 961 w 993"/>
                  <a:gd name="T21" fmla="*/ 124 h 1086"/>
                  <a:gd name="T22" fmla="*/ 868 w 993"/>
                  <a:gd name="T23" fmla="*/ 62 h 1086"/>
                  <a:gd name="T24" fmla="*/ 837 w 993"/>
                  <a:gd name="T25" fmla="*/ 62 h 1086"/>
                  <a:gd name="T26" fmla="*/ 744 w 993"/>
                  <a:gd name="T27" fmla="*/ 0 h 1086"/>
                  <a:gd name="T28" fmla="*/ 651 w 993"/>
                  <a:gd name="T29" fmla="*/ 31 h 1086"/>
                  <a:gd name="T30" fmla="*/ 619 w 993"/>
                  <a:gd name="T31" fmla="*/ 31 h 1086"/>
                  <a:gd name="T32" fmla="*/ 527 w 993"/>
                  <a:gd name="T33" fmla="*/ 62 h 1086"/>
                  <a:gd name="T34" fmla="*/ 434 w 993"/>
                  <a:gd name="T35" fmla="*/ 62 h 1086"/>
                  <a:gd name="T36" fmla="*/ 372 w 993"/>
                  <a:gd name="T37" fmla="*/ 31 h 1086"/>
                  <a:gd name="T38" fmla="*/ 341 w 993"/>
                  <a:gd name="T39" fmla="*/ 31 h 1086"/>
                  <a:gd name="T40" fmla="*/ 341 w 993"/>
                  <a:gd name="T41" fmla="*/ 62 h 1086"/>
                  <a:gd name="T42" fmla="*/ 310 w 993"/>
                  <a:gd name="T43" fmla="*/ 155 h 1086"/>
                  <a:gd name="T44" fmla="*/ 248 w 993"/>
                  <a:gd name="T45" fmla="*/ 372 h 1086"/>
                  <a:gd name="T46" fmla="*/ 217 w 993"/>
                  <a:gd name="T47" fmla="*/ 403 h 1086"/>
                  <a:gd name="T48" fmla="*/ 186 w 993"/>
                  <a:gd name="T49" fmla="*/ 496 h 1086"/>
                  <a:gd name="T50" fmla="*/ 124 w 993"/>
                  <a:gd name="T51" fmla="*/ 620 h 1086"/>
                  <a:gd name="T52" fmla="*/ 93 w 993"/>
                  <a:gd name="T53" fmla="*/ 651 h 1086"/>
                  <a:gd name="T54" fmla="*/ 62 w 993"/>
                  <a:gd name="T55" fmla="*/ 620 h 1086"/>
                  <a:gd name="T56" fmla="*/ 31 w 993"/>
                  <a:gd name="T57" fmla="*/ 651 h 1086"/>
                  <a:gd name="T58" fmla="*/ 0 w 993"/>
                  <a:gd name="T59" fmla="*/ 651 h 1086"/>
                  <a:gd name="T60" fmla="*/ 217 w 993"/>
                  <a:gd name="T61" fmla="*/ 744 h 1086"/>
                  <a:gd name="T62" fmla="*/ 310 w 993"/>
                  <a:gd name="T63" fmla="*/ 806 h 1086"/>
                  <a:gd name="T64" fmla="*/ 341 w 993"/>
                  <a:gd name="T65" fmla="*/ 775 h 1086"/>
                  <a:gd name="T66" fmla="*/ 434 w 993"/>
                  <a:gd name="T67" fmla="*/ 744 h 1086"/>
                  <a:gd name="T68" fmla="*/ 496 w 993"/>
                  <a:gd name="T69" fmla="*/ 806 h 1086"/>
                  <a:gd name="T70" fmla="*/ 496 w 993"/>
                  <a:gd name="T71" fmla="*/ 930 h 1086"/>
                  <a:gd name="T72" fmla="*/ 527 w 993"/>
                  <a:gd name="T73" fmla="*/ 961 h 1086"/>
                  <a:gd name="T74" fmla="*/ 589 w 993"/>
                  <a:gd name="T75" fmla="*/ 992 h 1086"/>
                  <a:gd name="T76" fmla="*/ 589 w 993"/>
                  <a:gd name="T77" fmla="*/ 992 h 1086"/>
                  <a:gd name="T78" fmla="*/ 619 w 993"/>
                  <a:gd name="T79" fmla="*/ 992 h 1086"/>
                  <a:gd name="T80" fmla="*/ 651 w 993"/>
                  <a:gd name="T81" fmla="*/ 992 h 1086"/>
                  <a:gd name="T82" fmla="*/ 713 w 993"/>
                  <a:gd name="T83" fmla="*/ 1054 h 1086"/>
                  <a:gd name="T84" fmla="*/ 775 w 993"/>
                  <a:gd name="T85" fmla="*/ 1023 h 1086"/>
                  <a:gd name="T86" fmla="*/ 806 w 993"/>
                  <a:gd name="T87" fmla="*/ 1054 h 1086"/>
                  <a:gd name="T88" fmla="*/ 837 w 993"/>
                  <a:gd name="T89" fmla="*/ 992 h 1086"/>
                  <a:gd name="T90" fmla="*/ 837 w 993"/>
                  <a:gd name="T91" fmla="*/ 930 h 1086"/>
                  <a:gd name="T92" fmla="*/ 868 w 993"/>
                  <a:gd name="T93" fmla="*/ 837 h 1086"/>
                  <a:gd name="T94" fmla="*/ 899 w 993"/>
                  <a:gd name="T95" fmla="*/ 775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93" h="1086">
                    <a:moveTo>
                      <a:pt x="899" y="744"/>
                    </a:moveTo>
                    <a:lnTo>
                      <a:pt x="899" y="744"/>
                    </a:lnTo>
                    <a:lnTo>
                      <a:pt x="868" y="713"/>
                    </a:lnTo>
                    <a:lnTo>
                      <a:pt x="868" y="682"/>
                    </a:lnTo>
                    <a:lnTo>
                      <a:pt x="868" y="682"/>
                    </a:lnTo>
                    <a:cubicBezTo>
                      <a:pt x="868" y="682"/>
                      <a:pt x="868" y="682"/>
                      <a:pt x="868" y="651"/>
                    </a:cubicBezTo>
                    <a:lnTo>
                      <a:pt x="868" y="651"/>
                    </a:lnTo>
                    <a:cubicBezTo>
                      <a:pt x="868" y="620"/>
                      <a:pt x="868" y="620"/>
                      <a:pt x="868" y="620"/>
                    </a:cubicBezTo>
                    <a:lnTo>
                      <a:pt x="868" y="620"/>
                    </a:lnTo>
                    <a:cubicBezTo>
                      <a:pt x="868" y="589"/>
                      <a:pt x="868" y="589"/>
                      <a:pt x="868" y="589"/>
                    </a:cubicBezTo>
                    <a:lnTo>
                      <a:pt x="868" y="589"/>
                    </a:lnTo>
                    <a:lnTo>
                      <a:pt x="868" y="589"/>
                    </a:lnTo>
                    <a:cubicBezTo>
                      <a:pt x="868" y="558"/>
                      <a:pt x="868" y="558"/>
                      <a:pt x="868" y="558"/>
                    </a:cubicBezTo>
                    <a:cubicBezTo>
                      <a:pt x="868" y="527"/>
                      <a:pt x="868" y="527"/>
                      <a:pt x="868" y="527"/>
                    </a:cubicBezTo>
                    <a:lnTo>
                      <a:pt x="868" y="527"/>
                    </a:lnTo>
                    <a:lnTo>
                      <a:pt x="868" y="527"/>
                    </a:lnTo>
                    <a:lnTo>
                      <a:pt x="868" y="527"/>
                    </a:lnTo>
                    <a:lnTo>
                      <a:pt x="868" y="527"/>
                    </a:lnTo>
                    <a:lnTo>
                      <a:pt x="868" y="527"/>
                    </a:lnTo>
                    <a:cubicBezTo>
                      <a:pt x="868" y="496"/>
                      <a:pt x="868" y="496"/>
                      <a:pt x="868" y="496"/>
                    </a:cubicBezTo>
                    <a:lnTo>
                      <a:pt x="868" y="496"/>
                    </a:lnTo>
                    <a:lnTo>
                      <a:pt x="868" y="496"/>
                    </a:lnTo>
                    <a:lnTo>
                      <a:pt x="868" y="496"/>
                    </a:lnTo>
                    <a:lnTo>
                      <a:pt x="868" y="496"/>
                    </a:lnTo>
                    <a:lnTo>
                      <a:pt x="868" y="496"/>
                    </a:lnTo>
                    <a:cubicBezTo>
                      <a:pt x="837" y="496"/>
                      <a:pt x="837" y="496"/>
                      <a:pt x="837" y="465"/>
                    </a:cubicBezTo>
                    <a:lnTo>
                      <a:pt x="837" y="465"/>
                    </a:lnTo>
                    <a:lnTo>
                      <a:pt x="868" y="434"/>
                    </a:lnTo>
                    <a:lnTo>
                      <a:pt x="868" y="434"/>
                    </a:lnTo>
                    <a:lnTo>
                      <a:pt x="868" y="434"/>
                    </a:lnTo>
                    <a:lnTo>
                      <a:pt x="868" y="403"/>
                    </a:lnTo>
                    <a:lnTo>
                      <a:pt x="868" y="403"/>
                    </a:lnTo>
                    <a:lnTo>
                      <a:pt x="868" y="403"/>
                    </a:lnTo>
                    <a:lnTo>
                      <a:pt x="868" y="403"/>
                    </a:lnTo>
                    <a:cubicBezTo>
                      <a:pt x="868" y="372"/>
                      <a:pt x="868" y="372"/>
                      <a:pt x="899" y="372"/>
                    </a:cubicBezTo>
                    <a:lnTo>
                      <a:pt x="899" y="372"/>
                    </a:lnTo>
                    <a:cubicBezTo>
                      <a:pt x="899" y="372"/>
                      <a:pt x="899" y="341"/>
                      <a:pt x="899" y="310"/>
                    </a:cubicBezTo>
                    <a:lnTo>
                      <a:pt x="899" y="310"/>
                    </a:lnTo>
                    <a:cubicBezTo>
                      <a:pt x="899" y="279"/>
                      <a:pt x="899" y="248"/>
                      <a:pt x="930" y="217"/>
                    </a:cubicBezTo>
                    <a:cubicBezTo>
                      <a:pt x="930" y="217"/>
                      <a:pt x="961" y="217"/>
                      <a:pt x="961" y="186"/>
                    </a:cubicBezTo>
                    <a:lnTo>
                      <a:pt x="961" y="186"/>
                    </a:lnTo>
                    <a:lnTo>
                      <a:pt x="992" y="186"/>
                    </a:lnTo>
                    <a:cubicBezTo>
                      <a:pt x="961" y="186"/>
                      <a:pt x="961" y="155"/>
                      <a:pt x="961" y="124"/>
                    </a:cubicBezTo>
                    <a:lnTo>
                      <a:pt x="961" y="124"/>
                    </a:lnTo>
                    <a:cubicBezTo>
                      <a:pt x="961" y="124"/>
                      <a:pt x="961" y="124"/>
                      <a:pt x="961" y="93"/>
                    </a:cubicBezTo>
                    <a:cubicBezTo>
                      <a:pt x="930" y="93"/>
                      <a:pt x="930" y="62"/>
                      <a:pt x="930" y="62"/>
                    </a:cubicBezTo>
                    <a:cubicBezTo>
                      <a:pt x="930" y="62"/>
                      <a:pt x="930" y="62"/>
                      <a:pt x="899" y="62"/>
                    </a:cubicBezTo>
                    <a:cubicBezTo>
                      <a:pt x="868" y="62"/>
                      <a:pt x="868" y="62"/>
                      <a:pt x="868" y="62"/>
                    </a:cubicBezTo>
                    <a:lnTo>
                      <a:pt x="868" y="62"/>
                    </a:lnTo>
                    <a:cubicBezTo>
                      <a:pt x="837" y="62"/>
                      <a:pt x="837" y="62"/>
                      <a:pt x="837" y="62"/>
                    </a:cubicBezTo>
                    <a:lnTo>
                      <a:pt x="837" y="62"/>
                    </a:lnTo>
                    <a:lnTo>
                      <a:pt x="837" y="62"/>
                    </a:lnTo>
                    <a:cubicBezTo>
                      <a:pt x="806" y="31"/>
                      <a:pt x="806" y="31"/>
                      <a:pt x="806" y="31"/>
                    </a:cubicBezTo>
                    <a:cubicBezTo>
                      <a:pt x="806" y="31"/>
                      <a:pt x="775" y="31"/>
                      <a:pt x="775" y="0"/>
                    </a:cubicBezTo>
                    <a:cubicBezTo>
                      <a:pt x="775" y="0"/>
                      <a:pt x="775" y="0"/>
                      <a:pt x="744" y="0"/>
                    </a:cubicBezTo>
                    <a:lnTo>
                      <a:pt x="744" y="0"/>
                    </a:lnTo>
                    <a:lnTo>
                      <a:pt x="713" y="0"/>
                    </a:lnTo>
                    <a:lnTo>
                      <a:pt x="682" y="0"/>
                    </a:lnTo>
                    <a:lnTo>
                      <a:pt x="682" y="0"/>
                    </a:lnTo>
                    <a:cubicBezTo>
                      <a:pt x="682" y="0"/>
                      <a:pt x="682" y="31"/>
                      <a:pt x="651" y="31"/>
                    </a:cubicBezTo>
                    <a:lnTo>
                      <a:pt x="651" y="31"/>
                    </a:lnTo>
                    <a:cubicBezTo>
                      <a:pt x="619" y="31"/>
                      <a:pt x="619" y="31"/>
                      <a:pt x="619" y="31"/>
                    </a:cubicBezTo>
                    <a:lnTo>
                      <a:pt x="619" y="31"/>
                    </a:lnTo>
                    <a:lnTo>
                      <a:pt x="619" y="31"/>
                    </a:lnTo>
                    <a:cubicBezTo>
                      <a:pt x="589" y="31"/>
                      <a:pt x="589" y="31"/>
                      <a:pt x="558" y="31"/>
                    </a:cubicBezTo>
                    <a:lnTo>
                      <a:pt x="558" y="31"/>
                    </a:lnTo>
                    <a:cubicBezTo>
                      <a:pt x="558" y="62"/>
                      <a:pt x="527" y="62"/>
                      <a:pt x="527" y="62"/>
                    </a:cubicBezTo>
                    <a:lnTo>
                      <a:pt x="527" y="62"/>
                    </a:lnTo>
                    <a:cubicBezTo>
                      <a:pt x="527" y="62"/>
                      <a:pt x="527" y="62"/>
                      <a:pt x="496" y="62"/>
                    </a:cubicBezTo>
                    <a:lnTo>
                      <a:pt x="465" y="62"/>
                    </a:lnTo>
                    <a:lnTo>
                      <a:pt x="434" y="62"/>
                    </a:lnTo>
                    <a:lnTo>
                      <a:pt x="434" y="62"/>
                    </a:lnTo>
                    <a:lnTo>
                      <a:pt x="434" y="62"/>
                    </a:lnTo>
                    <a:cubicBezTo>
                      <a:pt x="403" y="62"/>
                      <a:pt x="403" y="62"/>
                      <a:pt x="372" y="31"/>
                    </a:cubicBezTo>
                    <a:lnTo>
                      <a:pt x="372" y="31"/>
                    </a:lnTo>
                    <a:lnTo>
                      <a:pt x="372" y="31"/>
                    </a:lnTo>
                    <a:lnTo>
                      <a:pt x="372" y="0"/>
                    </a:lnTo>
                    <a:lnTo>
                      <a:pt x="372" y="0"/>
                    </a:lnTo>
                    <a:lnTo>
                      <a:pt x="341" y="0"/>
                    </a:lnTo>
                    <a:lnTo>
                      <a:pt x="341" y="31"/>
                    </a:lnTo>
                    <a:lnTo>
                      <a:pt x="341" y="31"/>
                    </a:lnTo>
                    <a:lnTo>
                      <a:pt x="341" y="31"/>
                    </a:lnTo>
                    <a:cubicBezTo>
                      <a:pt x="341" y="31"/>
                      <a:pt x="341" y="31"/>
                      <a:pt x="341" y="62"/>
                    </a:cubicBezTo>
                    <a:lnTo>
                      <a:pt x="341" y="62"/>
                    </a:lnTo>
                    <a:lnTo>
                      <a:pt x="341" y="62"/>
                    </a:lnTo>
                    <a:lnTo>
                      <a:pt x="341" y="62"/>
                    </a:lnTo>
                    <a:lnTo>
                      <a:pt x="341" y="62"/>
                    </a:lnTo>
                    <a:cubicBezTo>
                      <a:pt x="341" y="93"/>
                      <a:pt x="310" y="124"/>
                      <a:pt x="310" y="155"/>
                    </a:cubicBezTo>
                    <a:cubicBezTo>
                      <a:pt x="310" y="186"/>
                      <a:pt x="279" y="186"/>
                      <a:pt x="279" y="248"/>
                    </a:cubicBezTo>
                    <a:cubicBezTo>
                      <a:pt x="279" y="279"/>
                      <a:pt x="279" y="310"/>
                      <a:pt x="279" y="310"/>
                    </a:cubicBezTo>
                    <a:cubicBezTo>
                      <a:pt x="279" y="341"/>
                      <a:pt x="279" y="372"/>
                      <a:pt x="248" y="372"/>
                    </a:cubicBezTo>
                    <a:lnTo>
                      <a:pt x="248" y="372"/>
                    </a:lnTo>
                    <a:cubicBezTo>
                      <a:pt x="248" y="372"/>
                      <a:pt x="248" y="372"/>
                      <a:pt x="248" y="403"/>
                    </a:cubicBezTo>
                    <a:cubicBezTo>
                      <a:pt x="248" y="403"/>
                      <a:pt x="248" y="403"/>
                      <a:pt x="217" y="403"/>
                    </a:cubicBezTo>
                    <a:lnTo>
                      <a:pt x="217" y="403"/>
                    </a:lnTo>
                    <a:lnTo>
                      <a:pt x="217" y="403"/>
                    </a:lnTo>
                    <a:lnTo>
                      <a:pt x="217" y="434"/>
                    </a:lnTo>
                    <a:cubicBezTo>
                      <a:pt x="186" y="465"/>
                      <a:pt x="186" y="465"/>
                      <a:pt x="186" y="465"/>
                    </a:cubicBezTo>
                    <a:lnTo>
                      <a:pt x="186" y="465"/>
                    </a:lnTo>
                    <a:lnTo>
                      <a:pt x="186" y="496"/>
                    </a:lnTo>
                    <a:cubicBezTo>
                      <a:pt x="186" y="527"/>
                      <a:pt x="186" y="527"/>
                      <a:pt x="186" y="558"/>
                    </a:cubicBezTo>
                    <a:lnTo>
                      <a:pt x="186" y="558"/>
                    </a:lnTo>
                    <a:lnTo>
                      <a:pt x="186" y="558"/>
                    </a:lnTo>
                    <a:cubicBezTo>
                      <a:pt x="186" y="589"/>
                      <a:pt x="155" y="589"/>
                      <a:pt x="124" y="620"/>
                    </a:cubicBezTo>
                    <a:lnTo>
                      <a:pt x="124" y="620"/>
                    </a:lnTo>
                    <a:lnTo>
                      <a:pt x="124" y="620"/>
                    </a:lnTo>
                    <a:lnTo>
                      <a:pt x="124" y="620"/>
                    </a:lnTo>
                    <a:cubicBezTo>
                      <a:pt x="93" y="651"/>
                      <a:pt x="93" y="651"/>
                      <a:pt x="93" y="651"/>
                    </a:cubicBezTo>
                    <a:lnTo>
                      <a:pt x="93" y="651"/>
                    </a:lnTo>
                    <a:cubicBezTo>
                      <a:pt x="62" y="651"/>
                      <a:pt x="62" y="651"/>
                      <a:pt x="62" y="620"/>
                    </a:cubicBezTo>
                    <a:lnTo>
                      <a:pt x="62" y="620"/>
                    </a:lnTo>
                    <a:lnTo>
                      <a:pt x="62" y="620"/>
                    </a:lnTo>
                    <a:lnTo>
                      <a:pt x="62" y="620"/>
                    </a:lnTo>
                    <a:lnTo>
                      <a:pt x="62" y="620"/>
                    </a:lnTo>
                    <a:cubicBezTo>
                      <a:pt x="62" y="620"/>
                      <a:pt x="31" y="620"/>
                      <a:pt x="31" y="651"/>
                    </a:cubicBezTo>
                    <a:lnTo>
                      <a:pt x="31" y="651"/>
                    </a:lnTo>
                    <a:cubicBezTo>
                      <a:pt x="0" y="651"/>
                      <a:pt x="0" y="651"/>
                      <a:pt x="0" y="651"/>
                    </a:cubicBezTo>
                    <a:lnTo>
                      <a:pt x="0" y="651"/>
                    </a:lnTo>
                    <a:lnTo>
                      <a:pt x="0" y="651"/>
                    </a:lnTo>
                    <a:lnTo>
                      <a:pt x="0" y="651"/>
                    </a:lnTo>
                    <a:cubicBezTo>
                      <a:pt x="217" y="651"/>
                      <a:pt x="217" y="651"/>
                      <a:pt x="217" y="651"/>
                    </a:cubicBezTo>
                    <a:cubicBezTo>
                      <a:pt x="217" y="682"/>
                      <a:pt x="217" y="682"/>
                      <a:pt x="217" y="682"/>
                    </a:cubicBezTo>
                    <a:lnTo>
                      <a:pt x="217" y="713"/>
                    </a:lnTo>
                    <a:cubicBezTo>
                      <a:pt x="217" y="744"/>
                      <a:pt x="217" y="744"/>
                      <a:pt x="217" y="744"/>
                    </a:cubicBezTo>
                    <a:cubicBezTo>
                      <a:pt x="217" y="744"/>
                      <a:pt x="248" y="744"/>
                      <a:pt x="248" y="775"/>
                    </a:cubicBezTo>
                    <a:lnTo>
                      <a:pt x="248" y="775"/>
                    </a:lnTo>
                    <a:lnTo>
                      <a:pt x="248" y="806"/>
                    </a:lnTo>
                    <a:cubicBezTo>
                      <a:pt x="279" y="806"/>
                      <a:pt x="279" y="806"/>
                      <a:pt x="310" y="806"/>
                    </a:cubicBezTo>
                    <a:lnTo>
                      <a:pt x="310" y="806"/>
                    </a:lnTo>
                    <a:lnTo>
                      <a:pt x="310" y="806"/>
                    </a:lnTo>
                    <a:cubicBezTo>
                      <a:pt x="341" y="775"/>
                      <a:pt x="341" y="775"/>
                      <a:pt x="341" y="775"/>
                    </a:cubicBezTo>
                    <a:lnTo>
                      <a:pt x="341" y="775"/>
                    </a:lnTo>
                    <a:lnTo>
                      <a:pt x="341" y="775"/>
                    </a:lnTo>
                    <a:cubicBezTo>
                      <a:pt x="310" y="744"/>
                      <a:pt x="310" y="744"/>
                      <a:pt x="310" y="744"/>
                    </a:cubicBezTo>
                    <a:cubicBezTo>
                      <a:pt x="434" y="744"/>
                      <a:pt x="434" y="744"/>
                      <a:pt x="434" y="744"/>
                    </a:cubicBezTo>
                    <a:lnTo>
                      <a:pt x="434" y="744"/>
                    </a:lnTo>
                    <a:cubicBezTo>
                      <a:pt x="527" y="744"/>
                      <a:pt x="527" y="744"/>
                      <a:pt x="527" y="744"/>
                    </a:cubicBezTo>
                    <a:cubicBezTo>
                      <a:pt x="496" y="775"/>
                      <a:pt x="496" y="775"/>
                      <a:pt x="496" y="775"/>
                    </a:cubicBezTo>
                    <a:cubicBezTo>
                      <a:pt x="496" y="806"/>
                      <a:pt x="496" y="806"/>
                      <a:pt x="496" y="806"/>
                    </a:cubicBezTo>
                    <a:lnTo>
                      <a:pt x="496" y="806"/>
                    </a:lnTo>
                    <a:lnTo>
                      <a:pt x="496" y="806"/>
                    </a:lnTo>
                    <a:lnTo>
                      <a:pt x="496" y="837"/>
                    </a:lnTo>
                    <a:cubicBezTo>
                      <a:pt x="496" y="837"/>
                      <a:pt x="496" y="837"/>
                      <a:pt x="496" y="868"/>
                    </a:cubicBezTo>
                    <a:cubicBezTo>
                      <a:pt x="496" y="868"/>
                      <a:pt x="496" y="899"/>
                      <a:pt x="496" y="930"/>
                    </a:cubicBezTo>
                    <a:lnTo>
                      <a:pt x="496" y="930"/>
                    </a:lnTo>
                    <a:lnTo>
                      <a:pt x="496" y="930"/>
                    </a:lnTo>
                    <a:cubicBezTo>
                      <a:pt x="527" y="930"/>
                      <a:pt x="527" y="930"/>
                      <a:pt x="527" y="961"/>
                    </a:cubicBezTo>
                    <a:lnTo>
                      <a:pt x="527" y="961"/>
                    </a:lnTo>
                    <a:lnTo>
                      <a:pt x="527" y="961"/>
                    </a:lnTo>
                    <a:lnTo>
                      <a:pt x="527" y="961"/>
                    </a:lnTo>
                    <a:cubicBezTo>
                      <a:pt x="527" y="992"/>
                      <a:pt x="527" y="992"/>
                      <a:pt x="527" y="992"/>
                    </a:cubicBezTo>
                    <a:cubicBezTo>
                      <a:pt x="558" y="992"/>
                      <a:pt x="558" y="992"/>
                      <a:pt x="589" y="992"/>
                    </a:cubicBezTo>
                    <a:lnTo>
                      <a:pt x="589" y="992"/>
                    </a:lnTo>
                    <a:lnTo>
                      <a:pt x="589" y="992"/>
                    </a:lnTo>
                    <a:lnTo>
                      <a:pt x="589" y="992"/>
                    </a:lnTo>
                    <a:lnTo>
                      <a:pt x="589" y="992"/>
                    </a:lnTo>
                    <a:lnTo>
                      <a:pt x="619" y="992"/>
                    </a:lnTo>
                    <a:lnTo>
                      <a:pt x="619" y="992"/>
                    </a:lnTo>
                    <a:lnTo>
                      <a:pt x="619" y="992"/>
                    </a:lnTo>
                    <a:lnTo>
                      <a:pt x="619" y="992"/>
                    </a:lnTo>
                    <a:lnTo>
                      <a:pt x="619" y="992"/>
                    </a:lnTo>
                    <a:lnTo>
                      <a:pt x="651" y="1023"/>
                    </a:lnTo>
                    <a:lnTo>
                      <a:pt x="651" y="992"/>
                    </a:lnTo>
                    <a:lnTo>
                      <a:pt x="651" y="992"/>
                    </a:lnTo>
                    <a:cubicBezTo>
                      <a:pt x="682" y="992"/>
                      <a:pt x="682" y="1023"/>
                      <a:pt x="682" y="1023"/>
                    </a:cubicBezTo>
                    <a:lnTo>
                      <a:pt x="682" y="1023"/>
                    </a:lnTo>
                    <a:lnTo>
                      <a:pt x="682" y="1023"/>
                    </a:lnTo>
                    <a:cubicBezTo>
                      <a:pt x="713" y="1054"/>
                      <a:pt x="713" y="1054"/>
                      <a:pt x="713" y="1054"/>
                    </a:cubicBezTo>
                    <a:lnTo>
                      <a:pt x="744" y="1054"/>
                    </a:lnTo>
                    <a:lnTo>
                      <a:pt x="744" y="1054"/>
                    </a:lnTo>
                    <a:cubicBezTo>
                      <a:pt x="744" y="1054"/>
                      <a:pt x="744" y="1054"/>
                      <a:pt x="775" y="1023"/>
                    </a:cubicBezTo>
                    <a:lnTo>
                      <a:pt x="775" y="1023"/>
                    </a:lnTo>
                    <a:lnTo>
                      <a:pt x="775" y="1023"/>
                    </a:lnTo>
                    <a:lnTo>
                      <a:pt x="806" y="1054"/>
                    </a:lnTo>
                    <a:lnTo>
                      <a:pt x="806" y="1054"/>
                    </a:lnTo>
                    <a:lnTo>
                      <a:pt x="806" y="1054"/>
                    </a:lnTo>
                    <a:cubicBezTo>
                      <a:pt x="806" y="1054"/>
                      <a:pt x="806" y="1054"/>
                      <a:pt x="837" y="1085"/>
                    </a:cubicBezTo>
                    <a:cubicBezTo>
                      <a:pt x="806" y="1054"/>
                      <a:pt x="806" y="1054"/>
                      <a:pt x="806" y="1054"/>
                    </a:cubicBezTo>
                    <a:cubicBezTo>
                      <a:pt x="806" y="1023"/>
                      <a:pt x="837" y="1023"/>
                      <a:pt x="837" y="1023"/>
                    </a:cubicBezTo>
                    <a:cubicBezTo>
                      <a:pt x="837" y="992"/>
                      <a:pt x="837" y="992"/>
                      <a:pt x="837" y="992"/>
                    </a:cubicBezTo>
                    <a:cubicBezTo>
                      <a:pt x="837" y="992"/>
                      <a:pt x="837" y="992"/>
                      <a:pt x="837" y="961"/>
                    </a:cubicBezTo>
                    <a:cubicBezTo>
                      <a:pt x="837" y="961"/>
                      <a:pt x="837" y="961"/>
                      <a:pt x="837" y="930"/>
                    </a:cubicBezTo>
                    <a:lnTo>
                      <a:pt x="837" y="930"/>
                    </a:lnTo>
                    <a:lnTo>
                      <a:pt x="837" y="930"/>
                    </a:lnTo>
                    <a:cubicBezTo>
                      <a:pt x="837" y="930"/>
                      <a:pt x="806" y="930"/>
                      <a:pt x="806" y="899"/>
                    </a:cubicBezTo>
                    <a:lnTo>
                      <a:pt x="837" y="868"/>
                    </a:lnTo>
                    <a:lnTo>
                      <a:pt x="837" y="868"/>
                    </a:lnTo>
                    <a:cubicBezTo>
                      <a:pt x="837" y="837"/>
                      <a:pt x="868" y="837"/>
                      <a:pt x="868" y="837"/>
                    </a:cubicBezTo>
                    <a:cubicBezTo>
                      <a:pt x="868" y="837"/>
                      <a:pt x="868" y="837"/>
                      <a:pt x="899" y="837"/>
                    </a:cubicBezTo>
                    <a:cubicBezTo>
                      <a:pt x="899" y="806"/>
                      <a:pt x="930" y="806"/>
                      <a:pt x="930" y="806"/>
                    </a:cubicBezTo>
                    <a:lnTo>
                      <a:pt x="930" y="806"/>
                    </a:lnTo>
                    <a:cubicBezTo>
                      <a:pt x="930" y="775"/>
                      <a:pt x="930" y="775"/>
                      <a:pt x="899" y="775"/>
                    </a:cubicBezTo>
                    <a:cubicBezTo>
                      <a:pt x="899" y="744"/>
                      <a:pt x="899" y="744"/>
                      <a:pt x="899" y="74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9" name="Freeform 26"/>
              <p:cNvSpPr>
                <a:spLocks noChangeArrowheads="1"/>
              </p:cNvSpPr>
              <p:nvPr/>
            </p:nvSpPr>
            <p:spPr bwMode="auto">
              <a:xfrm>
                <a:off x="4248150" y="2695575"/>
                <a:ext cx="22225" cy="11113"/>
              </a:xfrm>
              <a:custGeom>
                <a:avLst/>
                <a:gdLst>
                  <a:gd name="T0" fmla="*/ 31 w 63"/>
                  <a:gd name="T1" fmla="*/ 0 h 32"/>
                  <a:gd name="T2" fmla="*/ 31 w 63"/>
                  <a:gd name="T3" fmla="*/ 0 h 32"/>
                  <a:gd name="T4" fmla="*/ 31 w 63"/>
                  <a:gd name="T5" fmla="*/ 0 h 32"/>
                  <a:gd name="T6" fmla="*/ 0 w 63"/>
                  <a:gd name="T7" fmla="*/ 0 h 32"/>
                  <a:gd name="T8" fmla="*/ 0 w 63"/>
                  <a:gd name="T9" fmla="*/ 0 h 32"/>
                  <a:gd name="T10" fmla="*/ 0 w 63"/>
                  <a:gd name="T11" fmla="*/ 0 h 32"/>
                  <a:gd name="T12" fmla="*/ 0 w 63"/>
                  <a:gd name="T13" fmla="*/ 0 h 32"/>
                  <a:gd name="T14" fmla="*/ 0 w 63"/>
                  <a:gd name="T15" fmla="*/ 0 h 32"/>
                  <a:gd name="T16" fmla="*/ 0 w 63"/>
                  <a:gd name="T17" fmla="*/ 31 h 32"/>
                  <a:gd name="T18" fmla="*/ 0 w 63"/>
                  <a:gd name="T19" fmla="*/ 31 h 32"/>
                  <a:gd name="T20" fmla="*/ 31 w 63"/>
                  <a:gd name="T21" fmla="*/ 0 h 32"/>
                  <a:gd name="T22" fmla="*/ 62 w 63"/>
                  <a:gd name="T23" fmla="*/ 0 h 32"/>
                  <a:gd name="T24" fmla="*/ 62 w 63"/>
                  <a:gd name="T25" fmla="*/ 0 h 32"/>
                  <a:gd name="T26" fmla="*/ 62 w 63"/>
                  <a:gd name="T27" fmla="*/ 0 h 32"/>
                  <a:gd name="T28" fmla="*/ 62 w 63"/>
                  <a:gd name="T29" fmla="*/ 0 h 32"/>
                  <a:gd name="T30" fmla="*/ 62 w 63"/>
                  <a:gd name="T31" fmla="*/ 0 h 32"/>
                  <a:gd name="T32" fmla="*/ 31 w 63"/>
                  <a:gd name="T3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32">
                    <a:moveTo>
                      <a:pt x="31" y="0"/>
                    </a:moveTo>
                    <a:lnTo>
                      <a:pt x="31" y="0"/>
                    </a:lnTo>
                    <a:lnTo>
                      <a:pt x="31" y="0"/>
                    </a:lnTo>
                    <a:cubicBezTo>
                      <a:pt x="31" y="0"/>
                      <a:pt x="31" y="0"/>
                      <a:pt x="0" y="0"/>
                    </a:cubicBezTo>
                    <a:lnTo>
                      <a:pt x="0" y="0"/>
                    </a:lnTo>
                    <a:lnTo>
                      <a:pt x="0" y="0"/>
                    </a:lnTo>
                    <a:lnTo>
                      <a:pt x="0" y="0"/>
                    </a:lnTo>
                    <a:lnTo>
                      <a:pt x="0" y="0"/>
                    </a:lnTo>
                    <a:cubicBezTo>
                      <a:pt x="0" y="31"/>
                      <a:pt x="0" y="31"/>
                      <a:pt x="0" y="31"/>
                    </a:cubicBezTo>
                    <a:lnTo>
                      <a:pt x="0" y="31"/>
                    </a:lnTo>
                    <a:cubicBezTo>
                      <a:pt x="31" y="0"/>
                      <a:pt x="31" y="0"/>
                      <a:pt x="31" y="0"/>
                    </a:cubicBezTo>
                    <a:cubicBezTo>
                      <a:pt x="62" y="0"/>
                      <a:pt x="62" y="0"/>
                      <a:pt x="62" y="0"/>
                    </a:cubicBezTo>
                    <a:lnTo>
                      <a:pt x="62" y="0"/>
                    </a:lnTo>
                    <a:lnTo>
                      <a:pt x="62" y="0"/>
                    </a:lnTo>
                    <a:lnTo>
                      <a:pt x="62" y="0"/>
                    </a:lnTo>
                    <a:lnTo>
                      <a:pt x="62" y="0"/>
                    </a:lnTo>
                    <a:cubicBezTo>
                      <a:pt x="31" y="0"/>
                      <a:pt x="31" y="0"/>
                      <a:pt x="31"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30" name="Freeform 27"/>
              <p:cNvSpPr>
                <a:spLocks noChangeArrowheads="1"/>
              </p:cNvSpPr>
              <p:nvPr/>
            </p:nvSpPr>
            <p:spPr bwMode="auto">
              <a:xfrm>
                <a:off x="4248150" y="2717800"/>
                <a:ext cx="11113" cy="22225"/>
              </a:xfrm>
              <a:custGeom>
                <a:avLst/>
                <a:gdLst>
                  <a:gd name="T0" fmla="*/ 31 w 32"/>
                  <a:gd name="T1" fmla="*/ 62 h 63"/>
                  <a:gd name="T2" fmla="*/ 31 w 32"/>
                  <a:gd name="T3" fmla="*/ 62 h 63"/>
                  <a:gd name="T4" fmla="*/ 31 w 32"/>
                  <a:gd name="T5" fmla="*/ 31 h 63"/>
                  <a:gd name="T6" fmla="*/ 31 w 32"/>
                  <a:gd name="T7" fmla="*/ 31 h 63"/>
                  <a:gd name="T8" fmla="*/ 31 w 32"/>
                  <a:gd name="T9" fmla="*/ 31 h 63"/>
                  <a:gd name="T10" fmla="*/ 31 w 32"/>
                  <a:gd name="T11" fmla="*/ 31 h 63"/>
                  <a:gd name="T12" fmla="*/ 31 w 32"/>
                  <a:gd name="T13" fmla="*/ 31 h 63"/>
                  <a:gd name="T14" fmla="*/ 31 w 32"/>
                  <a:gd name="T15" fmla="*/ 0 h 63"/>
                  <a:gd name="T16" fmla="*/ 31 w 32"/>
                  <a:gd name="T17" fmla="*/ 0 h 63"/>
                  <a:gd name="T18" fmla="*/ 31 w 32"/>
                  <a:gd name="T19" fmla="*/ 0 h 63"/>
                  <a:gd name="T20" fmla="*/ 0 w 32"/>
                  <a:gd name="T21" fmla="*/ 31 h 63"/>
                  <a:gd name="T22" fmla="*/ 0 w 32"/>
                  <a:gd name="T23" fmla="*/ 31 h 63"/>
                  <a:gd name="T24" fmla="*/ 0 w 32"/>
                  <a:gd name="T25" fmla="*/ 31 h 63"/>
                  <a:gd name="T26" fmla="*/ 0 w 32"/>
                  <a:gd name="T27" fmla="*/ 31 h 63"/>
                  <a:gd name="T28" fmla="*/ 0 w 32"/>
                  <a:gd name="T29" fmla="*/ 62 h 63"/>
                  <a:gd name="T30" fmla="*/ 0 w 32"/>
                  <a:gd name="T31" fmla="*/ 62 h 63"/>
                  <a:gd name="T32" fmla="*/ 31 w 32"/>
                  <a:gd name="T33"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63">
                    <a:moveTo>
                      <a:pt x="31" y="62"/>
                    </a:moveTo>
                    <a:lnTo>
                      <a:pt x="31" y="62"/>
                    </a:lnTo>
                    <a:lnTo>
                      <a:pt x="31" y="31"/>
                    </a:lnTo>
                    <a:lnTo>
                      <a:pt x="31" y="31"/>
                    </a:lnTo>
                    <a:lnTo>
                      <a:pt x="31" y="31"/>
                    </a:lnTo>
                    <a:lnTo>
                      <a:pt x="31" y="31"/>
                    </a:lnTo>
                    <a:lnTo>
                      <a:pt x="31" y="31"/>
                    </a:lnTo>
                    <a:cubicBezTo>
                      <a:pt x="31" y="31"/>
                      <a:pt x="31" y="31"/>
                      <a:pt x="31" y="0"/>
                    </a:cubicBezTo>
                    <a:lnTo>
                      <a:pt x="31" y="0"/>
                    </a:lnTo>
                    <a:lnTo>
                      <a:pt x="31" y="0"/>
                    </a:lnTo>
                    <a:cubicBezTo>
                      <a:pt x="31" y="31"/>
                      <a:pt x="31" y="31"/>
                      <a:pt x="0" y="31"/>
                    </a:cubicBezTo>
                    <a:lnTo>
                      <a:pt x="0" y="31"/>
                    </a:lnTo>
                    <a:lnTo>
                      <a:pt x="0" y="31"/>
                    </a:lnTo>
                    <a:lnTo>
                      <a:pt x="0" y="31"/>
                    </a:lnTo>
                    <a:cubicBezTo>
                      <a:pt x="0" y="62"/>
                      <a:pt x="0" y="62"/>
                      <a:pt x="0" y="62"/>
                    </a:cubicBezTo>
                    <a:lnTo>
                      <a:pt x="0" y="62"/>
                    </a:lnTo>
                    <a:cubicBezTo>
                      <a:pt x="0" y="62"/>
                      <a:pt x="0" y="62"/>
                      <a:pt x="31" y="6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31" name="Freeform 28"/>
              <p:cNvSpPr>
                <a:spLocks noChangeArrowheads="1"/>
              </p:cNvSpPr>
              <p:nvPr/>
            </p:nvSpPr>
            <p:spPr bwMode="auto">
              <a:xfrm>
                <a:off x="4259263" y="2571750"/>
                <a:ext cx="88900" cy="100013"/>
              </a:xfrm>
              <a:custGeom>
                <a:avLst/>
                <a:gdLst>
                  <a:gd name="T0" fmla="*/ 186 w 249"/>
                  <a:gd name="T1" fmla="*/ 186 h 280"/>
                  <a:gd name="T2" fmla="*/ 186 w 249"/>
                  <a:gd name="T3" fmla="*/ 186 h 280"/>
                  <a:gd name="T4" fmla="*/ 186 w 249"/>
                  <a:gd name="T5" fmla="*/ 186 h 280"/>
                  <a:gd name="T6" fmla="*/ 217 w 249"/>
                  <a:gd name="T7" fmla="*/ 124 h 280"/>
                  <a:gd name="T8" fmla="*/ 248 w 249"/>
                  <a:gd name="T9" fmla="*/ 124 h 280"/>
                  <a:gd name="T10" fmla="*/ 248 w 249"/>
                  <a:gd name="T11" fmla="*/ 93 h 280"/>
                  <a:gd name="T12" fmla="*/ 248 w 249"/>
                  <a:gd name="T13" fmla="*/ 62 h 280"/>
                  <a:gd name="T14" fmla="*/ 217 w 249"/>
                  <a:gd name="T15" fmla="*/ 0 h 280"/>
                  <a:gd name="T16" fmla="*/ 217 w 249"/>
                  <a:gd name="T17" fmla="*/ 0 h 280"/>
                  <a:gd name="T18" fmla="*/ 217 w 249"/>
                  <a:gd name="T19" fmla="*/ 0 h 280"/>
                  <a:gd name="T20" fmla="*/ 186 w 249"/>
                  <a:gd name="T21" fmla="*/ 0 h 280"/>
                  <a:gd name="T22" fmla="*/ 186 w 249"/>
                  <a:gd name="T23" fmla="*/ 0 h 280"/>
                  <a:gd name="T24" fmla="*/ 155 w 249"/>
                  <a:gd name="T25" fmla="*/ 0 h 280"/>
                  <a:gd name="T26" fmla="*/ 155 w 249"/>
                  <a:gd name="T27" fmla="*/ 0 h 280"/>
                  <a:gd name="T28" fmla="*/ 155 w 249"/>
                  <a:gd name="T29" fmla="*/ 0 h 280"/>
                  <a:gd name="T30" fmla="*/ 155 w 249"/>
                  <a:gd name="T31" fmla="*/ 0 h 280"/>
                  <a:gd name="T32" fmla="*/ 124 w 249"/>
                  <a:gd name="T33" fmla="*/ 0 h 280"/>
                  <a:gd name="T34" fmla="*/ 124 w 249"/>
                  <a:gd name="T35" fmla="*/ 0 h 280"/>
                  <a:gd name="T36" fmla="*/ 93 w 249"/>
                  <a:gd name="T37" fmla="*/ 0 h 280"/>
                  <a:gd name="T38" fmla="*/ 62 w 249"/>
                  <a:gd name="T39" fmla="*/ 0 h 280"/>
                  <a:gd name="T40" fmla="*/ 62 w 249"/>
                  <a:gd name="T41" fmla="*/ 0 h 280"/>
                  <a:gd name="T42" fmla="*/ 62 w 249"/>
                  <a:gd name="T43" fmla="*/ 0 h 280"/>
                  <a:gd name="T44" fmla="*/ 62 w 249"/>
                  <a:gd name="T45" fmla="*/ 31 h 280"/>
                  <a:gd name="T46" fmla="*/ 93 w 249"/>
                  <a:gd name="T47" fmla="*/ 62 h 280"/>
                  <a:gd name="T48" fmla="*/ 93 w 249"/>
                  <a:gd name="T49" fmla="*/ 62 h 280"/>
                  <a:gd name="T50" fmla="*/ 93 w 249"/>
                  <a:gd name="T51" fmla="*/ 93 h 280"/>
                  <a:gd name="T52" fmla="*/ 93 w 249"/>
                  <a:gd name="T53" fmla="*/ 93 h 280"/>
                  <a:gd name="T54" fmla="*/ 62 w 249"/>
                  <a:gd name="T55" fmla="*/ 155 h 280"/>
                  <a:gd name="T56" fmla="*/ 62 w 249"/>
                  <a:gd name="T57" fmla="*/ 155 h 280"/>
                  <a:gd name="T58" fmla="*/ 31 w 249"/>
                  <a:gd name="T59" fmla="*/ 186 h 280"/>
                  <a:gd name="T60" fmla="*/ 0 w 249"/>
                  <a:gd name="T61" fmla="*/ 217 h 280"/>
                  <a:gd name="T62" fmla="*/ 0 w 249"/>
                  <a:gd name="T63" fmla="*/ 248 h 280"/>
                  <a:gd name="T64" fmla="*/ 0 w 249"/>
                  <a:gd name="T65" fmla="*/ 279 h 280"/>
                  <a:gd name="T66" fmla="*/ 0 w 249"/>
                  <a:gd name="T67" fmla="*/ 279 h 280"/>
                  <a:gd name="T68" fmla="*/ 0 w 249"/>
                  <a:gd name="T69" fmla="*/ 279 h 280"/>
                  <a:gd name="T70" fmla="*/ 31 w 249"/>
                  <a:gd name="T71" fmla="*/ 248 h 280"/>
                  <a:gd name="T72" fmla="*/ 31 w 249"/>
                  <a:gd name="T73" fmla="*/ 248 h 280"/>
                  <a:gd name="T74" fmla="*/ 186 w 249"/>
                  <a:gd name="T75" fmla="*/ 248 h 280"/>
                  <a:gd name="T76" fmla="*/ 186 w 249"/>
                  <a:gd name="T77" fmla="*/ 18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9" h="280">
                    <a:moveTo>
                      <a:pt x="186" y="186"/>
                    </a:moveTo>
                    <a:lnTo>
                      <a:pt x="186" y="186"/>
                    </a:lnTo>
                    <a:lnTo>
                      <a:pt x="186" y="186"/>
                    </a:lnTo>
                    <a:cubicBezTo>
                      <a:pt x="186" y="186"/>
                      <a:pt x="217" y="155"/>
                      <a:pt x="217" y="124"/>
                    </a:cubicBezTo>
                    <a:cubicBezTo>
                      <a:pt x="248" y="124"/>
                      <a:pt x="248" y="124"/>
                      <a:pt x="248" y="124"/>
                    </a:cubicBezTo>
                    <a:lnTo>
                      <a:pt x="248" y="93"/>
                    </a:lnTo>
                    <a:lnTo>
                      <a:pt x="248" y="62"/>
                    </a:lnTo>
                    <a:cubicBezTo>
                      <a:pt x="217" y="31"/>
                      <a:pt x="217" y="0"/>
                      <a:pt x="217" y="0"/>
                    </a:cubicBezTo>
                    <a:lnTo>
                      <a:pt x="217" y="0"/>
                    </a:lnTo>
                    <a:lnTo>
                      <a:pt x="217" y="0"/>
                    </a:lnTo>
                    <a:cubicBezTo>
                      <a:pt x="217" y="0"/>
                      <a:pt x="217" y="0"/>
                      <a:pt x="186" y="0"/>
                    </a:cubicBezTo>
                    <a:lnTo>
                      <a:pt x="186" y="0"/>
                    </a:lnTo>
                    <a:cubicBezTo>
                      <a:pt x="186" y="0"/>
                      <a:pt x="186" y="0"/>
                      <a:pt x="155" y="0"/>
                    </a:cubicBezTo>
                    <a:lnTo>
                      <a:pt x="155" y="0"/>
                    </a:lnTo>
                    <a:lnTo>
                      <a:pt x="155" y="0"/>
                    </a:lnTo>
                    <a:lnTo>
                      <a:pt x="155" y="0"/>
                    </a:lnTo>
                    <a:lnTo>
                      <a:pt x="124" y="0"/>
                    </a:lnTo>
                    <a:lnTo>
                      <a:pt x="124" y="0"/>
                    </a:lnTo>
                    <a:cubicBezTo>
                      <a:pt x="93" y="0"/>
                      <a:pt x="93" y="0"/>
                      <a:pt x="93" y="0"/>
                    </a:cubicBezTo>
                    <a:cubicBezTo>
                      <a:pt x="93" y="0"/>
                      <a:pt x="93" y="0"/>
                      <a:pt x="62" y="0"/>
                    </a:cubicBezTo>
                    <a:lnTo>
                      <a:pt x="62" y="0"/>
                    </a:lnTo>
                    <a:lnTo>
                      <a:pt x="62" y="0"/>
                    </a:lnTo>
                    <a:cubicBezTo>
                      <a:pt x="62" y="31"/>
                      <a:pt x="62" y="31"/>
                      <a:pt x="62" y="31"/>
                    </a:cubicBezTo>
                    <a:cubicBezTo>
                      <a:pt x="93" y="31"/>
                      <a:pt x="93" y="62"/>
                      <a:pt x="93" y="62"/>
                    </a:cubicBezTo>
                    <a:lnTo>
                      <a:pt x="93" y="62"/>
                    </a:lnTo>
                    <a:lnTo>
                      <a:pt x="93" y="93"/>
                    </a:lnTo>
                    <a:lnTo>
                      <a:pt x="93" y="93"/>
                    </a:lnTo>
                    <a:cubicBezTo>
                      <a:pt x="93" y="93"/>
                      <a:pt x="93" y="124"/>
                      <a:pt x="62" y="155"/>
                    </a:cubicBezTo>
                    <a:lnTo>
                      <a:pt x="62" y="155"/>
                    </a:lnTo>
                    <a:cubicBezTo>
                      <a:pt x="31" y="155"/>
                      <a:pt x="31" y="155"/>
                      <a:pt x="31" y="186"/>
                    </a:cubicBezTo>
                    <a:lnTo>
                      <a:pt x="0" y="217"/>
                    </a:lnTo>
                    <a:lnTo>
                      <a:pt x="0" y="248"/>
                    </a:lnTo>
                    <a:cubicBezTo>
                      <a:pt x="0" y="248"/>
                      <a:pt x="0" y="248"/>
                      <a:pt x="0" y="279"/>
                    </a:cubicBezTo>
                    <a:lnTo>
                      <a:pt x="0" y="279"/>
                    </a:lnTo>
                    <a:lnTo>
                      <a:pt x="0" y="279"/>
                    </a:lnTo>
                    <a:cubicBezTo>
                      <a:pt x="31" y="248"/>
                      <a:pt x="31" y="248"/>
                      <a:pt x="31" y="248"/>
                    </a:cubicBezTo>
                    <a:lnTo>
                      <a:pt x="31" y="248"/>
                    </a:lnTo>
                    <a:cubicBezTo>
                      <a:pt x="186" y="248"/>
                      <a:pt x="186" y="248"/>
                      <a:pt x="186" y="248"/>
                    </a:cubicBezTo>
                    <a:cubicBezTo>
                      <a:pt x="186" y="217"/>
                      <a:pt x="186" y="217"/>
                      <a:pt x="186" y="186"/>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32" name="Freeform 29"/>
              <p:cNvSpPr>
                <a:spLocks noChangeArrowheads="1"/>
              </p:cNvSpPr>
              <p:nvPr/>
            </p:nvSpPr>
            <p:spPr bwMode="auto">
              <a:xfrm>
                <a:off x="4159250" y="1925638"/>
                <a:ext cx="201613" cy="212725"/>
              </a:xfrm>
              <a:custGeom>
                <a:avLst/>
                <a:gdLst>
                  <a:gd name="T0" fmla="*/ 434 w 559"/>
                  <a:gd name="T1" fmla="*/ 93 h 590"/>
                  <a:gd name="T2" fmla="*/ 496 w 559"/>
                  <a:gd name="T3" fmla="*/ 185 h 590"/>
                  <a:gd name="T4" fmla="*/ 496 w 559"/>
                  <a:gd name="T5" fmla="*/ 185 h 590"/>
                  <a:gd name="T6" fmla="*/ 527 w 559"/>
                  <a:gd name="T7" fmla="*/ 185 h 590"/>
                  <a:gd name="T8" fmla="*/ 527 w 559"/>
                  <a:gd name="T9" fmla="*/ 124 h 590"/>
                  <a:gd name="T10" fmla="*/ 496 w 559"/>
                  <a:gd name="T11" fmla="*/ 61 h 590"/>
                  <a:gd name="T12" fmla="*/ 496 w 559"/>
                  <a:gd name="T13" fmla="*/ 30 h 590"/>
                  <a:gd name="T14" fmla="*/ 465 w 559"/>
                  <a:gd name="T15" fmla="*/ 30 h 590"/>
                  <a:gd name="T16" fmla="*/ 403 w 559"/>
                  <a:gd name="T17" fmla="*/ 30 h 590"/>
                  <a:gd name="T18" fmla="*/ 341 w 559"/>
                  <a:gd name="T19" fmla="*/ 0 h 590"/>
                  <a:gd name="T20" fmla="*/ 310 w 559"/>
                  <a:gd name="T21" fmla="*/ 30 h 590"/>
                  <a:gd name="T22" fmla="*/ 217 w 559"/>
                  <a:gd name="T23" fmla="*/ 61 h 590"/>
                  <a:gd name="T24" fmla="*/ 62 w 559"/>
                  <a:gd name="T25" fmla="*/ 30 h 590"/>
                  <a:gd name="T26" fmla="*/ 62 w 559"/>
                  <a:gd name="T27" fmla="*/ 30 h 590"/>
                  <a:gd name="T28" fmla="*/ 31 w 559"/>
                  <a:gd name="T29" fmla="*/ 30 h 590"/>
                  <a:gd name="T30" fmla="*/ 31 w 559"/>
                  <a:gd name="T31" fmla="*/ 30 h 590"/>
                  <a:gd name="T32" fmla="*/ 31 w 559"/>
                  <a:gd name="T33" fmla="*/ 93 h 590"/>
                  <a:gd name="T34" fmla="*/ 0 w 559"/>
                  <a:gd name="T35" fmla="*/ 93 h 590"/>
                  <a:gd name="T36" fmla="*/ 31 w 559"/>
                  <a:gd name="T37" fmla="*/ 124 h 590"/>
                  <a:gd name="T38" fmla="*/ 31 w 559"/>
                  <a:gd name="T39" fmla="*/ 185 h 590"/>
                  <a:gd name="T40" fmla="*/ 31 w 559"/>
                  <a:gd name="T41" fmla="*/ 341 h 590"/>
                  <a:gd name="T42" fmla="*/ 341 w 559"/>
                  <a:gd name="T43" fmla="*/ 589 h 590"/>
                  <a:gd name="T44" fmla="*/ 372 w 559"/>
                  <a:gd name="T45" fmla="*/ 557 h 590"/>
                  <a:gd name="T46" fmla="*/ 403 w 559"/>
                  <a:gd name="T47" fmla="*/ 589 h 590"/>
                  <a:gd name="T48" fmla="*/ 496 w 559"/>
                  <a:gd name="T49" fmla="*/ 589 h 590"/>
                  <a:gd name="T50" fmla="*/ 527 w 559"/>
                  <a:gd name="T51" fmla="*/ 557 h 590"/>
                  <a:gd name="T52" fmla="*/ 527 w 559"/>
                  <a:gd name="T53" fmla="*/ 557 h 590"/>
                  <a:gd name="T54" fmla="*/ 558 w 559"/>
                  <a:gd name="T55" fmla="*/ 526 h 590"/>
                  <a:gd name="T56" fmla="*/ 558 w 559"/>
                  <a:gd name="T57" fmla="*/ 526 h 590"/>
                  <a:gd name="T58" fmla="*/ 465 w 559"/>
                  <a:gd name="T59" fmla="*/ 309 h 590"/>
                  <a:gd name="T60" fmla="*/ 465 w 559"/>
                  <a:gd name="T61" fmla="*/ 217 h 590"/>
                  <a:gd name="T62" fmla="*/ 372 w 559"/>
                  <a:gd name="T63" fmla="*/ 154 h 590"/>
                  <a:gd name="T64" fmla="*/ 434 w 559"/>
                  <a:gd name="T65" fmla="*/ 9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9" h="590">
                    <a:moveTo>
                      <a:pt x="434" y="93"/>
                    </a:moveTo>
                    <a:lnTo>
                      <a:pt x="434" y="93"/>
                    </a:lnTo>
                    <a:cubicBezTo>
                      <a:pt x="434" y="93"/>
                      <a:pt x="465" y="124"/>
                      <a:pt x="465" y="154"/>
                    </a:cubicBezTo>
                    <a:cubicBezTo>
                      <a:pt x="465" y="185"/>
                      <a:pt x="496" y="185"/>
                      <a:pt x="496" y="185"/>
                    </a:cubicBezTo>
                    <a:lnTo>
                      <a:pt x="496" y="185"/>
                    </a:lnTo>
                    <a:lnTo>
                      <a:pt x="496" y="185"/>
                    </a:lnTo>
                    <a:lnTo>
                      <a:pt x="496" y="185"/>
                    </a:lnTo>
                    <a:lnTo>
                      <a:pt x="527" y="185"/>
                    </a:lnTo>
                    <a:cubicBezTo>
                      <a:pt x="527" y="154"/>
                      <a:pt x="527" y="154"/>
                      <a:pt x="527" y="124"/>
                    </a:cubicBezTo>
                    <a:lnTo>
                      <a:pt x="527" y="124"/>
                    </a:lnTo>
                    <a:cubicBezTo>
                      <a:pt x="527" y="93"/>
                      <a:pt x="527" y="93"/>
                      <a:pt x="527" y="93"/>
                    </a:cubicBezTo>
                    <a:cubicBezTo>
                      <a:pt x="496" y="93"/>
                      <a:pt x="496" y="61"/>
                      <a:pt x="496" y="61"/>
                    </a:cubicBezTo>
                    <a:cubicBezTo>
                      <a:pt x="496" y="61"/>
                      <a:pt x="496" y="61"/>
                      <a:pt x="496" y="30"/>
                    </a:cubicBezTo>
                    <a:lnTo>
                      <a:pt x="496" y="30"/>
                    </a:lnTo>
                    <a:lnTo>
                      <a:pt x="496" y="30"/>
                    </a:lnTo>
                    <a:lnTo>
                      <a:pt x="465" y="30"/>
                    </a:lnTo>
                    <a:lnTo>
                      <a:pt x="465" y="30"/>
                    </a:lnTo>
                    <a:cubicBezTo>
                      <a:pt x="434" y="30"/>
                      <a:pt x="403" y="30"/>
                      <a:pt x="403" y="30"/>
                    </a:cubicBezTo>
                    <a:lnTo>
                      <a:pt x="372" y="30"/>
                    </a:lnTo>
                    <a:cubicBezTo>
                      <a:pt x="372" y="30"/>
                      <a:pt x="341" y="30"/>
                      <a:pt x="341" y="0"/>
                    </a:cubicBezTo>
                    <a:lnTo>
                      <a:pt x="341" y="0"/>
                    </a:lnTo>
                    <a:cubicBezTo>
                      <a:pt x="341" y="0"/>
                      <a:pt x="341" y="30"/>
                      <a:pt x="310" y="30"/>
                    </a:cubicBezTo>
                    <a:lnTo>
                      <a:pt x="310" y="30"/>
                    </a:lnTo>
                    <a:cubicBezTo>
                      <a:pt x="279" y="30"/>
                      <a:pt x="248" y="61"/>
                      <a:pt x="217" y="61"/>
                    </a:cubicBezTo>
                    <a:lnTo>
                      <a:pt x="217" y="61"/>
                    </a:lnTo>
                    <a:lnTo>
                      <a:pt x="62" y="30"/>
                    </a:lnTo>
                    <a:lnTo>
                      <a:pt x="62" y="30"/>
                    </a:lnTo>
                    <a:lnTo>
                      <a:pt x="62" y="30"/>
                    </a:lnTo>
                    <a:lnTo>
                      <a:pt x="31" y="30"/>
                    </a:lnTo>
                    <a:lnTo>
                      <a:pt x="31" y="30"/>
                    </a:lnTo>
                    <a:lnTo>
                      <a:pt x="31" y="30"/>
                    </a:lnTo>
                    <a:lnTo>
                      <a:pt x="31" y="30"/>
                    </a:lnTo>
                    <a:lnTo>
                      <a:pt x="31" y="30"/>
                    </a:lnTo>
                    <a:cubicBezTo>
                      <a:pt x="31" y="61"/>
                      <a:pt x="31" y="61"/>
                      <a:pt x="31" y="93"/>
                    </a:cubicBezTo>
                    <a:lnTo>
                      <a:pt x="31" y="93"/>
                    </a:lnTo>
                    <a:cubicBezTo>
                      <a:pt x="0" y="93"/>
                      <a:pt x="0" y="93"/>
                      <a:pt x="0" y="93"/>
                    </a:cubicBezTo>
                    <a:cubicBezTo>
                      <a:pt x="0" y="93"/>
                      <a:pt x="31" y="93"/>
                      <a:pt x="31" y="124"/>
                    </a:cubicBezTo>
                    <a:lnTo>
                      <a:pt x="31" y="124"/>
                    </a:lnTo>
                    <a:lnTo>
                      <a:pt x="31" y="124"/>
                    </a:lnTo>
                    <a:cubicBezTo>
                      <a:pt x="31" y="154"/>
                      <a:pt x="31" y="154"/>
                      <a:pt x="31" y="185"/>
                    </a:cubicBezTo>
                    <a:lnTo>
                      <a:pt x="31" y="185"/>
                    </a:lnTo>
                    <a:cubicBezTo>
                      <a:pt x="31" y="217"/>
                      <a:pt x="31" y="248"/>
                      <a:pt x="31" y="341"/>
                    </a:cubicBezTo>
                    <a:cubicBezTo>
                      <a:pt x="31" y="433"/>
                      <a:pt x="31" y="526"/>
                      <a:pt x="31" y="589"/>
                    </a:cubicBezTo>
                    <a:cubicBezTo>
                      <a:pt x="341" y="589"/>
                      <a:pt x="341" y="589"/>
                      <a:pt x="341" y="589"/>
                    </a:cubicBezTo>
                    <a:cubicBezTo>
                      <a:pt x="341" y="557"/>
                      <a:pt x="341" y="557"/>
                      <a:pt x="372" y="557"/>
                    </a:cubicBezTo>
                    <a:lnTo>
                      <a:pt x="372" y="557"/>
                    </a:lnTo>
                    <a:lnTo>
                      <a:pt x="372" y="557"/>
                    </a:lnTo>
                    <a:cubicBezTo>
                      <a:pt x="372" y="557"/>
                      <a:pt x="372" y="589"/>
                      <a:pt x="403" y="589"/>
                    </a:cubicBezTo>
                    <a:cubicBezTo>
                      <a:pt x="496" y="589"/>
                      <a:pt x="496" y="589"/>
                      <a:pt x="496" y="589"/>
                    </a:cubicBezTo>
                    <a:lnTo>
                      <a:pt x="496" y="589"/>
                    </a:lnTo>
                    <a:lnTo>
                      <a:pt x="496" y="589"/>
                    </a:lnTo>
                    <a:cubicBezTo>
                      <a:pt x="496" y="557"/>
                      <a:pt x="496" y="557"/>
                      <a:pt x="527" y="557"/>
                    </a:cubicBezTo>
                    <a:lnTo>
                      <a:pt x="527" y="557"/>
                    </a:lnTo>
                    <a:lnTo>
                      <a:pt x="527" y="557"/>
                    </a:lnTo>
                    <a:cubicBezTo>
                      <a:pt x="527" y="557"/>
                      <a:pt x="527" y="557"/>
                      <a:pt x="527" y="526"/>
                    </a:cubicBezTo>
                    <a:cubicBezTo>
                      <a:pt x="527" y="526"/>
                      <a:pt x="527" y="526"/>
                      <a:pt x="558" y="526"/>
                    </a:cubicBezTo>
                    <a:lnTo>
                      <a:pt x="558" y="526"/>
                    </a:lnTo>
                    <a:lnTo>
                      <a:pt x="558" y="526"/>
                    </a:lnTo>
                    <a:cubicBezTo>
                      <a:pt x="527" y="465"/>
                      <a:pt x="496" y="372"/>
                      <a:pt x="496" y="372"/>
                    </a:cubicBezTo>
                    <a:cubicBezTo>
                      <a:pt x="496" y="341"/>
                      <a:pt x="496" y="341"/>
                      <a:pt x="465" y="309"/>
                    </a:cubicBezTo>
                    <a:lnTo>
                      <a:pt x="465" y="309"/>
                    </a:lnTo>
                    <a:cubicBezTo>
                      <a:pt x="465" y="278"/>
                      <a:pt x="465" y="248"/>
                      <a:pt x="465" y="217"/>
                    </a:cubicBezTo>
                    <a:cubicBezTo>
                      <a:pt x="434" y="217"/>
                      <a:pt x="403" y="185"/>
                      <a:pt x="403" y="154"/>
                    </a:cubicBezTo>
                    <a:cubicBezTo>
                      <a:pt x="372" y="154"/>
                      <a:pt x="372" y="154"/>
                      <a:pt x="372" y="154"/>
                    </a:cubicBezTo>
                    <a:cubicBezTo>
                      <a:pt x="403" y="30"/>
                      <a:pt x="403" y="30"/>
                      <a:pt x="403" y="30"/>
                    </a:cubicBezTo>
                    <a:lnTo>
                      <a:pt x="434" y="93"/>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33" name="Freeform 30"/>
              <p:cNvSpPr>
                <a:spLocks noChangeArrowheads="1"/>
              </p:cNvSpPr>
              <p:nvPr/>
            </p:nvSpPr>
            <p:spPr bwMode="auto">
              <a:xfrm>
                <a:off x="3859213" y="1903413"/>
                <a:ext cx="290512" cy="279400"/>
              </a:xfrm>
              <a:custGeom>
                <a:avLst/>
                <a:gdLst>
                  <a:gd name="T0" fmla="*/ 804 w 805"/>
                  <a:gd name="T1" fmla="*/ 187 h 777"/>
                  <a:gd name="T2" fmla="*/ 804 w 805"/>
                  <a:gd name="T3" fmla="*/ 156 h 777"/>
                  <a:gd name="T4" fmla="*/ 804 w 805"/>
                  <a:gd name="T5" fmla="*/ 124 h 777"/>
                  <a:gd name="T6" fmla="*/ 804 w 805"/>
                  <a:gd name="T7" fmla="*/ 93 h 777"/>
                  <a:gd name="T8" fmla="*/ 804 w 805"/>
                  <a:gd name="T9" fmla="*/ 93 h 777"/>
                  <a:gd name="T10" fmla="*/ 774 w 805"/>
                  <a:gd name="T11" fmla="*/ 32 h 777"/>
                  <a:gd name="T12" fmla="*/ 743 w 805"/>
                  <a:gd name="T13" fmla="*/ 32 h 777"/>
                  <a:gd name="T14" fmla="*/ 712 w 805"/>
                  <a:gd name="T15" fmla="*/ 0 h 777"/>
                  <a:gd name="T16" fmla="*/ 650 w 805"/>
                  <a:gd name="T17" fmla="*/ 0 h 777"/>
                  <a:gd name="T18" fmla="*/ 588 w 805"/>
                  <a:gd name="T19" fmla="*/ 32 h 777"/>
                  <a:gd name="T20" fmla="*/ 588 w 805"/>
                  <a:gd name="T21" fmla="*/ 63 h 777"/>
                  <a:gd name="T22" fmla="*/ 495 w 805"/>
                  <a:gd name="T23" fmla="*/ 156 h 777"/>
                  <a:gd name="T24" fmla="*/ 433 w 805"/>
                  <a:gd name="T25" fmla="*/ 124 h 777"/>
                  <a:gd name="T26" fmla="*/ 371 w 805"/>
                  <a:gd name="T27" fmla="*/ 93 h 777"/>
                  <a:gd name="T28" fmla="*/ 309 w 805"/>
                  <a:gd name="T29" fmla="*/ 63 h 777"/>
                  <a:gd name="T30" fmla="*/ 278 w 805"/>
                  <a:gd name="T31" fmla="*/ 32 h 777"/>
                  <a:gd name="T32" fmla="*/ 278 w 805"/>
                  <a:gd name="T33" fmla="*/ 32 h 777"/>
                  <a:gd name="T34" fmla="*/ 247 w 805"/>
                  <a:gd name="T35" fmla="*/ 0 h 777"/>
                  <a:gd name="T36" fmla="*/ 216 w 805"/>
                  <a:gd name="T37" fmla="*/ 0 h 777"/>
                  <a:gd name="T38" fmla="*/ 185 w 805"/>
                  <a:gd name="T39" fmla="*/ 0 h 777"/>
                  <a:gd name="T40" fmla="*/ 154 w 805"/>
                  <a:gd name="T41" fmla="*/ 0 h 777"/>
                  <a:gd name="T42" fmla="*/ 123 w 805"/>
                  <a:gd name="T43" fmla="*/ 0 h 777"/>
                  <a:gd name="T44" fmla="*/ 31 w 805"/>
                  <a:gd name="T45" fmla="*/ 63 h 777"/>
                  <a:gd name="T46" fmla="*/ 31 w 805"/>
                  <a:gd name="T47" fmla="*/ 93 h 777"/>
                  <a:gd name="T48" fmla="*/ 31 w 805"/>
                  <a:gd name="T49" fmla="*/ 124 h 777"/>
                  <a:gd name="T50" fmla="*/ 31 w 805"/>
                  <a:gd name="T51" fmla="*/ 187 h 777"/>
                  <a:gd name="T52" fmla="*/ 31 w 805"/>
                  <a:gd name="T53" fmla="*/ 187 h 777"/>
                  <a:gd name="T54" fmla="*/ 31 w 805"/>
                  <a:gd name="T55" fmla="*/ 248 h 777"/>
                  <a:gd name="T56" fmla="*/ 31 w 805"/>
                  <a:gd name="T57" fmla="*/ 311 h 777"/>
                  <a:gd name="T58" fmla="*/ 31 w 805"/>
                  <a:gd name="T59" fmla="*/ 341 h 777"/>
                  <a:gd name="T60" fmla="*/ 31 w 805"/>
                  <a:gd name="T61" fmla="*/ 372 h 777"/>
                  <a:gd name="T62" fmla="*/ 31 w 805"/>
                  <a:gd name="T63" fmla="*/ 372 h 777"/>
                  <a:gd name="T64" fmla="*/ 0 w 805"/>
                  <a:gd name="T65" fmla="*/ 404 h 777"/>
                  <a:gd name="T66" fmla="*/ 31 w 805"/>
                  <a:gd name="T67" fmla="*/ 465 h 777"/>
                  <a:gd name="T68" fmla="*/ 63 w 805"/>
                  <a:gd name="T69" fmla="*/ 465 h 777"/>
                  <a:gd name="T70" fmla="*/ 123 w 805"/>
                  <a:gd name="T71" fmla="*/ 496 h 777"/>
                  <a:gd name="T72" fmla="*/ 216 w 805"/>
                  <a:gd name="T73" fmla="*/ 558 h 777"/>
                  <a:gd name="T74" fmla="*/ 278 w 805"/>
                  <a:gd name="T75" fmla="*/ 589 h 777"/>
                  <a:gd name="T76" fmla="*/ 278 w 805"/>
                  <a:gd name="T77" fmla="*/ 589 h 777"/>
                  <a:gd name="T78" fmla="*/ 309 w 805"/>
                  <a:gd name="T79" fmla="*/ 558 h 777"/>
                  <a:gd name="T80" fmla="*/ 340 w 805"/>
                  <a:gd name="T81" fmla="*/ 528 h 777"/>
                  <a:gd name="T82" fmla="*/ 743 w 805"/>
                  <a:gd name="T83" fmla="*/ 776 h 777"/>
                  <a:gd name="T84" fmla="*/ 804 w 805"/>
                  <a:gd name="T85" fmla="*/ 682 h 777"/>
                  <a:gd name="T86" fmla="*/ 804 w 805"/>
                  <a:gd name="T87" fmla="*/ 404 h 777"/>
                  <a:gd name="T88" fmla="*/ 804 w 805"/>
                  <a:gd name="T89" fmla="*/ 248 h 777"/>
                  <a:gd name="T90" fmla="*/ 804 w 805"/>
                  <a:gd name="T91" fmla="*/ 187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5" h="777">
                    <a:moveTo>
                      <a:pt x="804" y="187"/>
                    </a:moveTo>
                    <a:lnTo>
                      <a:pt x="804" y="187"/>
                    </a:lnTo>
                    <a:lnTo>
                      <a:pt x="804" y="187"/>
                    </a:lnTo>
                    <a:cubicBezTo>
                      <a:pt x="804" y="187"/>
                      <a:pt x="804" y="187"/>
                      <a:pt x="804" y="156"/>
                    </a:cubicBezTo>
                    <a:cubicBezTo>
                      <a:pt x="804" y="156"/>
                      <a:pt x="804" y="156"/>
                      <a:pt x="804" y="124"/>
                    </a:cubicBezTo>
                    <a:lnTo>
                      <a:pt x="804" y="124"/>
                    </a:lnTo>
                    <a:lnTo>
                      <a:pt x="804" y="93"/>
                    </a:lnTo>
                    <a:lnTo>
                      <a:pt x="804" y="93"/>
                    </a:lnTo>
                    <a:lnTo>
                      <a:pt x="804" y="93"/>
                    </a:lnTo>
                    <a:lnTo>
                      <a:pt x="804" y="93"/>
                    </a:lnTo>
                    <a:cubicBezTo>
                      <a:pt x="804" y="63"/>
                      <a:pt x="804" y="63"/>
                      <a:pt x="804" y="63"/>
                    </a:cubicBezTo>
                    <a:cubicBezTo>
                      <a:pt x="804" y="63"/>
                      <a:pt x="774" y="63"/>
                      <a:pt x="774" y="32"/>
                    </a:cubicBezTo>
                    <a:cubicBezTo>
                      <a:pt x="774" y="32"/>
                      <a:pt x="774" y="32"/>
                      <a:pt x="743" y="32"/>
                    </a:cubicBezTo>
                    <a:lnTo>
                      <a:pt x="743" y="32"/>
                    </a:lnTo>
                    <a:cubicBezTo>
                      <a:pt x="743" y="32"/>
                      <a:pt x="712" y="32"/>
                      <a:pt x="712" y="0"/>
                    </a:cubicBezTo>
                    <a:lnTo>
                      <a:pt x="712" y="0"/>
                    </a:lnTo>
                    <a:lnTo>
                      <a:pt x="681" y="0"/>
                    </a:lnTo>
                    <a:lnTo>
                      <a:pt x="650" y="0"/>
                    </a:lnTo>
                    <a:cubicBezTo>
                      <a:pt x="650" y="0"/>
                      <a:pt x="588" y="0"/>
                      <a:pt x="588" y="32"/>
                    </a:cubicBezTo>
                    <a:lnTo>
                      <a:pt x="588" y="32"/>
                    </a:lnTo>
                    <a:cubicBezTo>
                      <a:pt x="588" y="32"/>
                      <a:pt x="588" y="32"/>
                      <a:pt x="588" y="63"/>
                    </a:cubicBezTo>
                    <a:lnTo>
                      <a:pt x="588" y="63"/>
                    </a:lnTo>
                    <a:cubicBezTo>
                      <a:pt x="588" y="93"/>
                      <a:pt x="557" y="156"/>
                      <a:pt x="526" y="156"/>
                    </a:cubicBezTo>
                    <a:cubicBezTo>
                      <a:pt x="526" y="156"/>
                      <a:pt x="526" y="156"/>
                      <a:pt x="495" y="156"/>
                    </a:cubicBezTo>
                    <a:lnTo>
                      <a:pt x="495" y="156"/>
                    </a:lnTo>
                    <a:cubicBezTo>
                      <a:pt x="495" y="156"/>
                      <a:pt x="464" y="156"/>
                      <a:pt x="433" y="124"/>
                    </a:cubicBezTo>
                    <a:lnTo>
                      <a:pt x="433" y="124"/>
                    </a:lnTo>
                    <a:cubicBezTo>
                      <a:pt x="402" y="93"/>
                      <a:pt x="402" y="93"/>
                      <a:pt x="371" y="93"/>
                    </a:cubicBezTo>
                    <a:lnTo>
                      <a:pt x="371" y="93"/>
                    </a:lnTo>
                    <a:cubicBezTo>
                      <a:pt x="340" y="93"/>
                      <a:pt x="309" y="93"/>
                      <a:pt x="309" y="63"/>
                    </a:cubicBezTo>
                    <a:lnTo>
                      <a:pt x="309" y="63"/>
                    </a:lnTo>
                    <a:lnTo>
                      <a:pt x="278" y="32"/>
                    </a:lnTo>
                    <a:lnTo>
                      <a:pt x="278" y="32"/>
                    </a:lnTo>
                    <a:lnTo>
                      <a:pt x="278" y="32"/>
                    </a:lnTo>
                    <a:lnTo>
                      <a:pt x="247" y="0"/>
                    </a:lnTo>
                    <a:lnTo>
                      <a:pt x="247" y="0"/>
                    </a:lnTo>
                    <a:cubicBezTo>
                      <a:pt x="216" y="0"/>
                      <a:pt x="216" y="0"/>
                      <a:pt x="216" y="0"/>
                    </a:cubicBezTo>
                    <a:lnTo>
                      <a:pt x="216" y="0"/>
                    </a:lnTo>
                    <a:lnTo>
                      <a:pt x="216" y="0"/>
                    </a:lnTo>
                    <a:cubicBezTo>
                      <a:pt x="185" y="0"/>
                      <a:pt x="185" y="0"/>
                      <a:pt x="185" y="0"/>
                    </a:cubicBezTo>
                    <a:lnTo>
                      <a:pt x="185" y="0"/>
                    </a:lnTo>
                    <a:cubicBezTo>
                      <a:pt x="154" y="0"/>
                      <a:pt x="154" y="0"/>
                      <a:pt x="154" y="0"/>
                    </a:cubicBezTo>
                    <a:cubicBezTo>
                      <a:pt x="123" y="0"/>
                      <a:pt x="123" y="0"/>
                      <a:pt x="123" y="0"/>
                    </a:cubicBezTo>
                    <a:lnTo>
                      <a:pt x="123" y="0"/>
                    </a:lnTo>
                    <a:cubicBezTo>
                      <a:pt x="123" y="32"/>
                      <a:pt x="92" y="32"/>
                      <a:pt x="92" y="32"/>
                    </a:cubicBezTo>
                    <a:cubicBezTo>
                      <a:pt x="62" y="32"/>
                      <a:pt x="63" y="63"/>
                      <a:pt x="31" y="63"/>
                    </a:cubicBezTo>
                    <a:cubicBezTo>
                      <a:pt x="31" y="63"/>
                      <a:pt x="31" y="63"/>
                      <a:pt x="31" y="93"/>
                    </a:cubicBezTo>
                    <a:lnTo>
                      <a:pt x="31" y="93"/>
                    </a:lnTo>
                    <a:cubicBezTo>
                      <a:pt x="31" y="124"/>
                      <a:pt x="31" y="124"/>
                      <a:pt x="31" y="124"/>
                    </a:cubicBezTo>
                    <a:lnTo>
                      <a:pt x="31" y="124"/>
                    </a:lnTo>
                    <a:cubicBezTo>
                      <a:pt x="31" y="156"/>
                      <a:pt x="31" y="156"/>
                      <a:pt x="0" y="156"/>
                    </a:cubicBezTo>
                    <a:lnTo>
                      <a:pt x="31" y="187"/>
                    </a:lnTo>
                    <a:lnTo>
                      <a:pt x="31" y="187"/>
                    </a:lnTo>
                    <a:lnTo>
                      <a:pt x="31" y="187"/>
                    </a:lnTo>
                    <a:cubicBezTo>
                      <a:pt x="31" y="217"/>
                      <a:pt x="31" y="217"/>
                      <a:pt x="31" y="217"/>
                    </a:cubicBezTo>
                    <a:lnTo>
                      <a:pt x="31" y="248"/>
                    </a:lnTo>
                    <a:lnTo>
                      <a:pt x="31" y="280"/>
                    </a:lnTo>
                    <a:cubicBezTo>
                      <a:pt x="31" y="311"/>
                      <a:pt x="31" y="311"/>
                      <a:pt x="31" y="311"/>
                    </a:cubicBezTo>
                    <a:lnTo>
                      <a:pt x="31" y="311"/>
                    </a:lnTo>
                    <a:cubicBezTo>
                      <a:pt x="31" y="311"/>
                      <a:pt x="31" y="311"/>
                      <a:pt x="31" y="341"/>
                    </a:cubicBezTo>
                    <a:cubicBezTo>
                      <a:pt x="31" y="341"/>
                      <a:pt x="31" y="341"/>
                      <a:pt x="31" y="372"/>
                    </a:cubicBezTo>
                    <a:lnTo>
                      <a:pt x="31" y="372"/>
                    </a:lnTo>
                    <a:lnTo>
                      <a:pt x="31" y="372"/>
                    </a:lnTo>
                    <a:lnTo>
                      <a:pt x="31" y="372"/>
                    </a:lnTo>
                    <a:lnTo>
                      <a:pt x="31" y="372"/>
                    </a:lnTo>
                    <a:cubicBezTo>
                      <a:pt x="31" y="372"/>
                      <a:pt x="31" y="404"/>
                      <a:pt x="0" y="404"/>
                    </a:cubicBezTo>
                    <a:cubicBezTo>
                      <a:pt x="31" y="404"/>
                      <a:pt x="31" y="404"/>
                      <a:pt x="31" y="435"/>
                    </a:cubicBezTo>
                    <a:cubicBezTo>
                      <a:pt x="31" y="435"/>
                      <a:pt x="31" y="435"/>
                      <a:pt x="31" y="465"/>
                    </a:cubicBezTo>
                    <a:lnTo>
                      <a:pt x="31" y="465"/>
                    </a:lnTo>
                    <a:lnTo>
                      <a:pt x="63" y="465"/>
                    </a:lnTo>
                    <a:cubicBezTo>
                      <a:pt x="63" y="465"/>
                      <a:pt x="92" y="496"/>
                      <a:pt x="123" y="496"/>
                    </a:cubicBezTo>
                    <a:lnTo>
                      <a:pt x="123" y="496"/>
                    </a:lnTo>
                    <a:cubicBezTo>
                      <a:pt x="123" y="496"/>
                      <a:pt x="123" y="528"/>
                      <a:pt x="154" y="558"/>
                    </a:cubicBezTo>
                    <a:cubicBezTo>
                      <a:pt x="185" y="558"/>
                      <a:pt x="185" y="558"/>
                      <a:pt x="216" y="558"/>
                    </a:cubicBezTo>
                    <a:lnTo>
                      <a:pt x="247" y="589"/>
                    </a:lnTo>
                    <a:cubicBezTo>
                      <a:pt x="247" y="589"/>
                      <a:pt x="247" y="589"/>
                      <a:pt x="278" y="589"/>
                    </a:cubicBezTo>
                    <a:lnTo>
                      <a:pt x="278" y="589"/>
                    </a:lnTo>
                    <a:lnTo>
                      <a:pt x="278" y="589"/>
                    </a:lnTo>
                    <a:lnTo>
                      <a:pt x="278" y="589"/>
                    </a:lnTo>
                    <a:cubicBezTo>
                      <a:pt x="278" y="558"/>
                      <a:pt x="278" y="558"/>
                      <a:pt x="309" y="558"/>
                    </a:cubicBezTo>
                    <a:lnTo>
                      <a:pt x="340" y="558"/>
                    </a:lnTo>
                    <a:cubicBezTo>
                      <a:pt x="340" y="528"/>
                      <a:pt x="340" y="528"/>
                      <a:pt x="340" y="528"/>
                    </a:cubicBezTo>
                    <a:cubicBezTo>
                      <a:pt x="743" y="776"/>
                      <a:pt x="743" y="776"/>
                      <a:pt x="743" y="776"/>
                    </a:cubicBezTo>
                    <a:lnTo>
                      <a:pt x="743" y="776"/>
                    </a:lnTo>
                    <a:cubicBezTo>
                      <a:pt x="804" y="776"/>
                      <a:pt x="804" y="776"/>
                      <a:pt x="804" y="776"/>
                    </a:cubicBezTo>
                    <a:cubicBezTo>
                      <a:pt x="804" y="744"/>
                      <a:pt x="804" y="713"/>
                      <a:pt x="804" y="682"/>
                    </a:cubicBezTo>
                    <a:lnTo>
                      <a:pt x="804" y="682"/>
                    </a:lnTo>
                    <a:cubicBezTo>
                      <a:pt x="804" y="589"/>
                      <a:pt x="804" y="496"/>
                      <a:pt x="804" y="404"/>
                    </a:cubicBezTo>
                    <a:cubicBezTo>
                      <a:pt x="804" y="311"/>
                      <a:pt x="804" y="280"/>
                      <a:pt x="804" y="248"/>
                    </a:cubicBezTo>
                    <a:lnTo>
                      <a:pt x="804" y="248"/>
                    </a:lnTo>
                    <a:cubicBezTo>
                      <a:pt x="804" y="217"/>
                      <a:pt x="804" y="217"/>
                      <a:pt x="804" y="217"/>
                    </a:cubicBezTo>
                    <a:lnTo>
                      <a:pt x="804" y="18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34" name="Freeform 31"/>
              <p:cNvSpPr>
                <a:spLocks noChangeArrowheads="1"/>
              </p:cNvSpPr>
              <p:nvPr/>
            </p:nvSpPr>
            <p:spPr bwMode="auto">
              <a:xfrm>
                <a:off x="4114800" y="2138363"/>
                <a:ext cx="301625" cy="423862"/>
              </a:xfrm>
              <a:custGeom>
                <a:avLst/>
                <a:gdLst>
                  <a:gd name="T0" fmla="*/ 651 w 838"/>
                  <a:gd name="T1" fmla="*/ 1083 h 1177"/>
                  <a:gd name="T2" fmla="*/ 651 w 838"/>
                  <a:gd name="T3" fmla="*/ 1083 h 1177"/>
                  <a:gd name="T4" fmla="*/ 682 w 838"/>
                  <a:gd name="T5" fmla="*/ 1083 h 1177"/>
                  <a:gd name="T6" fmla="*/ 651 w 838"/>
                  <a:gd name="T7" fmla="*/ 1052 h 1177"/>
                  <a:gd name="T8" fmla="*/ 651 w 838"/>
                  <a:gd name="T9" fmla="*/ 1021 h 1177"/>
                  <a:gd name="T10" fmla="*/ 620 w 838"/>
                  <a:gd name="T11" fmla="*/ 959 h 1177"/>
                  <a:gd name="T12" fmla="*/ 589 w 838"/>
                  <a:gd name="T13" fmla="*/ 959 h 1177"/>
                  <a:gd name="T14" fmla="*/ 558 w 838"/>
                  <a:gd name="T15" fmla="*/ 928 h 1177"/>
                  <a:gd name="T16" fmla="*/ 558 w 838"/>
                  <a:gd name="T17" fmla="*/ 867 h 1177"/>
                  <a:gd name="T18" fmla="*/ 589 w 838"/>
                  <a:gd name="T19" fmla="*/ 835 h 1177"/>
                  <a:gd name="T20" fmla="*/ 620 w 838"/>
                  <a:gd name="T21" fmla="*/ 835 h 1177"/>
                  <a:gd name="T22" fmla="*/ 620 w 838"/>
                  <a:gd name="T23" fmla="*/ 773 h 1177"/>
                  <a:gd name="T24" fmla="*/ 620 w 838"/>
                  <a:gd name="T25" fmla="*/ 743 h 1177"/>
                  <a:gd name="T26" fmla="*/ 651 w 838"/>
                  <a:gd name="T27" fmla="*/ 711 h 1177"/>
                  <a:gd name="T28" fmla="*/ 682 w 838"/>
                  <a:gd name="T29" fmla="*/ 619 h 1177"/>
                  <a:gd name="T30" fmla="*/ 713 w 838"/>
                  <a:gd name="T31" fmla="*/ 587 h 1177"/>
                  <a:gd name="T32" fmla="*/ 744 w 838"/>
                  <a:gd name="T33" fmla="*/ 495 h 1177"/>
                  <a:gd name="T34" fmla="*/ 744 w 838"/>
                  <a:gd name="T35" fmla="*/ 402 h 1177"/>
                  <a:gd name="T36" fmla="*/ 775 w 838"/>
                  <a:gd name="T37" fmla="*/ 372 h 1177"/>
                  <a:gd name="T38" fmla="*/ 775 w 838"/>
                  <a:gd name="T39" fmla="*/ 340 h 1177"/>
                  <a:gd name="T40" fmla="*/ 837 w 838"/>
                  <a:gd name="T41" fmla="*/ 278 h 1177"/>
                  <a:gd name="T42" fmla="*/ 775 w 838"/>
                  <a:gd name="T43" fmla="*/ 124 h 1177"/>
                  <a:gd name="T44" fmla="*/ 775 w 838"/>
                  <a:gd name="T45" fmla="*/ 61 h 1177"/>
                  <a:gd name="T46" fmla="*/ 775 w 838"/>
                  <a:gd name="T47" fmla="*/ 30 h 1177"/>
                  <a:gd name="T48" fmla="*/ 713 w 838"/>
                  <a:gd name="T49" fmla="*/ 0 h 1177"/>
                  <a:gd name="T50" fmla="*/ 682 w 838"/>
                  <a:gd name="T51" fmla="*/ 0 h 1177"/>
                  <a:gd name="T52" fmla="*/ 651 w 838"/>
                  <a:gd name="T53" fmla="*/ 30 h 1177"/>
                  <a:gd name="T54" fmla="*/ 651 w 838"/>
                  <a:gd name="T55" fmla="*/ 61 h 1177"/>
                  <a:gd name="T56" fmla="*/ 620 w 838"/>
                  <a:gd name="T57" fmla="*/ 61 h 1177"/>
                  <a:gd name="T58" fmla="*/ 589 w 838"/>
                  <a:gd name="T59" fmla="*/ 61 h 1177"/>
                  <a:gd name="T60" fmla="*/ 496 w 838"/>
                  <a:gd name="T61" fmla="*/ 61 h 1177"/>
                  <a:gd name="T62" fmla="*/ 155 w 838"/>
                  <a:gd name="T63" fmla="*/ 185 h 1177"/>
                  <a:gd name="T64" fmla="*/ 31 w 838"/>
                  <a:gd name="T65" fmla="*/ 433 h 1177"/>
                  <a:gd name="T66" fmla="*/ 0 w 838"/>
                  <a:gd name="T67" fmla="*/ 525 h 1177"/>
                  <a:gd name="T68" fmla="*/ 0 w 838"/>
                  <a:gd name="T69" fmla="*/ 525 h 1177"/>
                  <a:gd name="T70" fmla="*/ 0 w 838"/>
                  <a:gd name="T71" fmla="*/ 556 h 1177"/>
                  <a:gd name="T72" fmla="*/ 0 w 838"/>
                  <a:gd name="T73" fmla="*/ 619 h 1177"/>
                  <a:gd name="T74" fmla="*/ 31 w 838"/>
                  <a:gd name="T75" fmla="*/ 649 h 1177"/>
                  <a:gd name="T76" fmla="*/ 31 w 838"/>
                  <a:gd name="T77" fmla="*/ 649 h 1177"/>
                  <a:gd name="T78" fmla="*/ 31 w 838"/>
                  <a:gd name="T79" fmla="*/ 680 h 1177"/>
                  <a:gd name="T80" fmla="*/ 62 w 838"/>
                  <a:gd name="T81" fmla="*/ 743 h 1177"/>
                  <a:gd name="T82" fmla="*/ 92 w 838"/>
                  <a:gd name="T83" fmla="*/ 804 h 1177"/>
                  <a:gd name="T84" fmla="*/ 62 w 838"/>
                  <a:gd name="T85" fmla="*/ 835 h 1177"/>
                  <a:gd name="T86" fmla="*/ 92 w 838"/>
                  <a:gd name="T87" fmla="*/ 867 h 1177"/>
                  <a:gd name="T88" fmla="*/ 124 w 838"/>
                  <a:gd name="T89" fmla="*/ 897 h 1177"/>
                  <a:gd name="T90" fmla="*/ 155 w 838"/>
                  <a:gd name="T91" fmla="*/ 928 h 1177"/>
                  <a:gd name="T92" fmla="*/ 186 w 838"/>
                  <a:gd name="T93" fmla="*/ 928 h 1177"/>
                  <a:gd name="T94" fmla="*/ 217 w 838"/>
                  <a:gd name="T95" fmla="*/ 959 h 1177"/>
                  <a:gd name="T96" fmla="*/ 248 w 838"/>
                  <a:gd name="T97" fmla="*/ 1021 h 1177"/>
                  <a:gd name="T98" fmla="*/ 279 w 838"/>
                  <a:gd name="T99" fmla="*/ 1021 h 1177"/>
                  <a:gd name="T100" fmla="*/ 279 w 838"/>
                  <a:gd name="T101" fmla="*/ 1083 h 1177"/>
                  <a:gd name="T102" fmla="*/ 279 w 838"/>
                  <a:gd name="T103" fmla="*/ 1083 h 1177"/>
                  <a:gd name="T104" fmla="*/ 310 w 838"/>
                  <a:gd name="T105" fmla="*/ 1114 h 1177"/>
                  <a:gd name="T106" fmla="*/ 403 w 838"/>
                  <a:gd name="T107" fmla="*/ 1083 h 1177"/>
                  <a:gd name="T108" fmla="*/ 465 w 838"/>
                  <a:gd name="T109" fmla="*/ 1176 h 1177"/>
                  <a:gd name="T110" fmla="*/ 465 w 838"/>
                  <a:gd name="T111" fmla="*/ 1145 h 1177"/>
                  <a:gd name="T112" fmla="*/ 527 w 838"/>
                  <a:gd name="T113" fmla="*/ 1145 h 1177"/>
                  <a:gd name="T114" fmla="*/ 589 w 838"/>
                  <a:gd name="T115" fmla="*/ 1145 h 1177"/>
                  <a:gd name="T116" fmla="*/ 589 w 838"/>
                  <a:gd name="T117" fmla="*/ 1145 h 1177"/>
                  <a:gd name="T118" fmla="*/ 620 w 838"/>
                  <a:gd name="T119" fmla="*/ 1114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8" h="1177">
                    <a:moveTo>
                      <a:pt x="651" y="1083"/>
                    </a:moveTo>
                    <a:lnTo>
                      <a:pt x="651" y="1083"/>
                    </a:lnTo>
                    <a:lnTo>
                      <a:pt x="651" y="1083"/>
                    </a:lnTo>
                    <a:lnTo>
                      <a:pt x="651" y="1083"/>
                    </a:lnTo>
                    <a:lnTo>
                      <a:pt x="651" y="1083"/>
                    </a:lnTo>
                    <a:lnTo>
                      <a:pt x="651" y="1083"/>
                    </a:lnTo>
                    <a:cubicBezTo>
                      <a:pt x="682" y="1083"/>
                      <a:pt x="682" y="1083"/>
                      <a:pt x="682" y="1083"/>
                    </a:cubicBezTo>
                    <a:lnTo>
                      <a:pt x="682" y="1083"/>
                    </a:lnTo>
                    <a:lnTo>
                      <a:pt x="682" y="1083"/>
                    </a:lnTo>
                    <a:cubicBezTo>
                      <a:pt x="682" y="1083"/>
                      <a:pt x="682" y="1083"/>
                      <a:pt x="682" y="1052"/>
                    </a:cubicBezTo>
                    <a:cubicBezTo>
                      <a:pt x="682" y="1052"/>
                      <a:pt x="682" y="1052"/>
                      <a:pt x="651" y="1052"/>
                    </a:cubicBezTo>
                    <a:lnTo>
                      <a:pt x="651" y="1052"/>
                    </a:lnTo>
                    <a:lnTo>
                      <a:pt x="651" y="1052"/>
                    </a:lnTo>
                    <a:lnTo>
                      <a:pt x="651" y="1021"/>
                    </a:lnTo>
                    <a:lnTo>
                      <a:pt x="651" y="1021"/>
                    </a:lnTo>
                    <a:cubicBezTo>
                      <a:pt x="651" y="1021"/>
                      <a:pt x="651" y="1021"/>
                      <a:pt x="651" y="991"/>
                    </a:cubicBezTo>
                    <a:lnTo>
                      <a:pt x="620" y="991"/>
                    </a:lnTo>
                    <a:lnTo>
                      <a:pt x="620" y="959"/>
                    </a:lnTo>
                    <a:cubicBezTo>
                      <a:pt x="589" y="959"/>
                      <a:pt x="589" y="959"/>
                      <a:pt x="589" y="959"/>
                    </a:cubicBezTo>
                    <a:lnTo>
                      <a:pt x="589" y="959"/>
                    </a:lnTo>
                    <a:lnTo>
                      <a:pt x="589" y="959"/>
                    </a:lnTo>
                    <a:cubicBezTo>
                      <a:pt x="558" y="959"/>
                      <a:pt x="558" y="959"/>
                      <a:pt x="558" y="928"/>
                    </a:cubicBezTo>
                    <a:lnTo>
                      <a:pt x="558" y="928"/>
                    </a:lnTo>
                    <a:lnTo>
                      <a:pt x="558" y="928"/>
                    </a:lnTo>
                    <a:lnTo>
                      <a:pt x="558" y="928"/>
                    </a:lnTo>
                    <a:cubicBezTo>
                      <a:pt x="558" y="897"/>
                      <a:pt x="558" y="897"/>
                      <a:pt x="558" y="897"/>
                    </a:cubicBezTo>
                    <a:cubicBezTo>
                      <a:pt x="558" y="867"/>
                      <a:pt x="558" y="867"/>
                      <a:pt x="558" y="867"/>
                    </a:cubicBezTo>
                    <a:lnTo>
                      <a:pt x="558" y="867"/>
                    </a:lnTo>
                    <a:cubicBezTo>
                      <a:pt x="558" y="867"/>
                      <a:pt x="558" y="835"/>
                      <a:pt x="589" y="835"/>
                    </a:cubicBezTo>
                    <a:lnTo>
                      <a:pt x="589" y="835"/>
                    </a:lnTo>
                    <a:cubicBezTo>
                      <a:pt x="589" y="835"/>
                      <a:pt x="589" y="867"/>
                      <a:pt x="620" y="867"/>
                    </a:cubicBezTo>
                    <a:cubicBezTo>
                      <a:pt x="620" y="835"/>
                      <a:pt x="620" y="835"/>
                      <a:pt x="620" y="835"/>
                    </a:cubicBezTo>
                    <a:lnTo>
                      <a:pt x="620" y="835"/>
                    </a:lnTo>
                    <a:cubicBezTo>
                      <a:pt x="620" y="835"/>
                      <a:pt x="620" y="835"/>
                      <a:pt x="620" y="804"/>
                    </a:cubicBezTo>
                    <a:lnTo>
                      <a:pt x="620" y="804"/>
                    </a:lnTo>
                    <a:lnTo>
                      <a:pt x="620" y="773"/>
                    </a:lnTo>
                    <a:lnTo>
                      <a:pt x="620" y="773"/>
                    </a:lnTo>
                    <a:lnTo>
                      <a:pt x="620" y="743"/>
                    </a:lnTo>
                    <a:lnTo>
                      <a:pt x="620" y="743"/>
                    </a:lnTo>
                    <a:cubicBezTo>
                      <a:pt x="620" y="743"/>
                      <a:pt x="620" y="711"/>
                      <a:pt x="651" y="711"/>
                    </a:cubicBezTo>
                    <a:lnTo>
                      <a:pt x="651" y="711"/>
                    </a:lnTo>
                    <a:lnTo>
                      <a:pt x="651" y="711"/>
                    </a:lnTo>
                    <a:cubicBezTo>
                      <a:pt x="651" y="680"/>
                      <a:pt x="651" y="680"/>
                      <a:pt x="651" y="649"/>
                    </a:cubicBezTo>
                    <a:lnTo>
                      <a:pt x="651" y="649"/>
                    </a:lnTo>
                    <a:lnTo>
                      <a:pt x="682" y="619"/>
                    </a:lnTo>
                    <a:cubicBezTo>
                      <a:pt x="682" y="619"/>
                      <a:pt x="682" y="619"/>
                      <a:pt x="713" y="587"/>
                    </a:cubicBezTo>
                    <a:lnTo>
                      <a:pt x="713" y="587"/>
                    </a:lnTo>
                    <a:lnTo>
                      <a:pt x="713" y="587"/>
                    </a:lnTo>
                    <a:lnTo>
                      <a:pt x="713" y="556"/>
                    </a:lnTo>
                    <a:cubicBezTo>
                      <a:pt x="713" y="556"/>
                      <a:pt x="744" y="556"/>
                      <a:pt x="744" y="525"/>
                    </a:cubicBezTo>
                    <a:cubicBezTo>
                      <a:pt x="744" y="525"/>
                      <a:pt x="744" y="525"/>
                      <a:pt x="744" y="495"/>
                    </a:cubicBezTo>
                    <a:lnTo>
                      <a:pt x="744" y="463"/>
                    </a:lnTo>
                    <a:cubicBezTo>
                      <a:pt x="744" y="433"/>
                      <a:pt x="744" y="433"/>
                      <a:pt x="744" y="402"/>
                    </a:cubicBezTo>
                    <a:lnTo>
                      <a:pt x="744" y="402"/>
                    </a:lnTo>
                    <a:lnTo>
                      <a:pt x="744" y="402"/>
                    </a:lnTo>
                    <a:cubicBezTo>
                      <a:pt x="775" y="402"/>
                      <a:pt x="775" y="402"/>
                      <a:pt x="775" y="372"/>
                    </a:cubicBezTo>
                    <a:lnTo>
                      <a:pt x="775" y="372"/>
                    </a:lnTo>
                    <a:lnTo>
                      <a:pt x="775" y="372"/>
                    </a:lnTo>
                    <a:cubicBezTo>
                      <a:pt x="775" y="372"/>
                      <a:pt x="775" y="372"/>
                      <a:pt x="775" y="340"/>
                    </a:cubicBezTo>
                    <a:lnTo>
                      <a:pt x="775" y="340"/>
                    </a:lnTo>
                    <a:cubicBezTo>
                      <a:pt x="775" y="309"/>
                      <a:pt x="775" y="309"/>
                      <a:pt x="806" y="309"/>
                    </a:cubicBezTo>
                    <a:cubicBezTo>
                      <a:pt x="806" y="278"/>
                      <a:pt x="837" y="278"/>
                      <a:pt x="837" y="278"/>
                    </a:cubicBezTo>
                    <a:lnTo>
                      <a:pt x="837" y="278"/>
                    </a:lnTo>
                    <a:lnTo>
                      <a:pt x="837" y="278"/>
                    </a:lnTo>
                    <a:lnTo>
                      <a:pt x="806" y="248"/>
                    </a:lnTo>
                    <a:cubicBezTo>
                      <a:pt x="806" y="216"/>
                      <a:pt x="775" y="154"/>
                      <a:pt x="775" y="124"/>
                    </a:cubicBezTo>
                    <a:lnTo>
                      <a:pt x="775" y="92"/>
                    </a:lnTo>
                    <a:lnTo>
                      <a:pt x="775" y="92"/>
                    </a:lnTo>
                    <a:cubicBezTo>
                      <a:pt x="775" y="92"/>
                      <a:pt x="775" y="92"/>
                      <a:pt x="775" y="61"/>
                    </a:cubicBezTo>
                    <a:lnTo>
                      <a:pt x="775" y="61"/>
                    </a:lnTo>
                    <a:cubicBezTo>
                      <a:pt x="775" y="30"/>
                      <a:pt x="775" y="30"/>
                      <a:pt x="775" y="30"/>
                    </a:cubicBezTo>
                    <a:lnTo>
                      <a:pt x="775" y="30"/>
                    </a:lnTo>
                    <a:lnTo>
                      <a:pt x="744" y="30"/>
                    </a:lnTo>
                    <a:lnTo>
                      <a:pt x="744" y="30"/>
                    </a:lnTo>
                    <a:cubicBezTo>
                      <a:pt x="744" y="0"/>
                      <a:pt x="713" y="0"/>
                      <a:pt x="713" y="0"/>
                    </a:cubicBezTo>
                    <a:cubicBezTo>
                      <a:pt x="713" y="0"/>
                      <a:pt x="713" y="0"/>
                      <a:pt x="682" y="0"/>
                    </a:cubicBezTo>
                    <a:lnTo>
                      <a:pt x="682" y="0"/>
                    </a:lnTo>
                    <a:lnTo>
                      <a:pt x="682" y="0"/>
                    </a:lnTo>
                    <a:lnTo>
                      <a:pt x="682" y="0"/>
                    </a:lnTo>
                    <a:cubicBezTo>
                      <a:pt x="682" y="0"/>
                      <a:pt x="682" y="30"/>
                      <a:pt x="651" y="30"/>
                    </a:cubicBezTo>
                    <a:lnTo>
                      <a:pt x="651" y="30"/>
                    </a:lnTo>
                    <a:lnTo>
                      <a:pt x="651" y="30"/>
                    </a:lnTo>
                    <a:lnTo>
                      <a:pt x="651" y="30"/>
                    </a:lnTo>
                    <a:lnTo>
                      <a:pt x="651" y="61"/>
                    </a:lnTo>
                    <a:cubicBezTo>
                      <a:pt x="620" y="61"/>
                      <a:pt x="620" y="61"/>
                      <a:pt x="620" y="61"/>
                    </a:cubicBezTo>
                    <a:lnTo>
                      <a:pt x="620" y="61"/>
                    </a:lnTo>
                    <a:lnTo>
                      <a:pt x="620" y="61"/>
                    </a:lnTo>
                    <a:lnTo>
                      <a:pt x="620" y="61"/>
                    </a:lnTo>
                    <a:cubicBezTo>
                      <a:pt x="589" y="61"/>
                      <a:pt x="589" y="61"/>
                      <a:pt x="589" y="61"/>
                    </a:cubicBezTo>
                    <a:lnTo>
                      <a:pt x="589" y="61"/>
                    </a:lnTo>
                    <a:lnTo>
                      <a:pt x="589" y="61"/>
                    </a:lnTo>
                    <a:cubicBezTo>
                      <a:pt x="496" y="61"/>
                      <a:pt x="496" y="61"/>
                      <a:pt x="496" y="61"/>
                    </a:cubicBezTo>
                    <a:lnTo>
                      <a:pt x="496" y="61"/>
                    </a:lnTo>
                    <a:cubicBezTo>
                      <a:pt x="155" y="61"/>
                      <a:pt x="155" y="61"/>
                      <a:pt x="155" y="61"/>
                    </a:cubicBezTo>
                    <a:cubicBezTo>
                      <a:pt x="155" y="61"/>
                      <a:pt x="155" y="92"/>
                      <a:pt x="155" y="124"/>
                    </a:cubicBezTo>
                    <a:cubicBezTo>
                      <a:pt x="155" y="185"/>
                      <a:pt x="155" y="185"/>
                      <a:pt x="155" y="185"/>
                    </a:cubicBezTo>
                    <a:cubicBezTo>
                      <a:pt x="92" y="185"/>
                      <a:pt x="92" y="185"/>
                      <a:pt x="92" y="185"/>
                    </a:cubicBezTo>
                    <a:cubicBezTo>
                      <a:pt x="92" y="433"/>
                      <a:pt x="92" y="433"/>
                      <a:pt x="92" y="433"/>
                    </a:cubicBezTo>
                    <a:cubicBezTo>
                      <a:pt x="31" y="433"/>
                      <a:pt x="31" y="433"/>
                      <a:pt x="31" y="433"/>
                    </a:cubicBezTo>
                    <a:cubicBezTo>
                      <a:pt x="31" y="463"/>
                      <a:pt x="31" y="463"/>
                      <a:pt x="31" y="463"/>
                    </a:cubicBezTo>
                    <a:cubicBezTo>
                      <a:pt x="31" y="463"/>
                      <a:pt x="31" y="463"/>
                      <a:pt x="31" y="495"/>
                    </a:cubicBezTo>
                    <a:cubicBezTo>
                      <a:pt x="31" y="495"/>
                      <a:pt x="31" y="495"/>
                      <a:pt x="0" y="525"/>
                    </a:cubicBezTo>
                    <a:lnTo>
                      <a:pt x="0" y="525"/>
                    </a:lnTo>
                    <a:lnTo>
                      <a:pt x="0" y="525"/>
                    </a:lnTo>
                    <a:lnTo>
                      <a:pt x="0" y="525"/>
                    </a:lnTo>
                    <a:lnTo>
                      <a:pt x="0" y="556"/>
                    </a:lnTo>
                    <a:lnTo>
                      <a:pt x="0" y="556"/>
                    </a:lnTo>
                    <a:lnTo>
                      <a:pt x="0" y="556"/>
                    </a:lnTo>
                    <a:lnTo>
                      <a:pt x="0" y="556"/>
                    </a:lnTo>
                    <a:cubicBezTo>
                      <a:pt x="0" y="587"/>
                      <a:pt x="0" y="587"/>
                      <a:pt x="0" y="587"/>
                    </a:cubicBezTo>
                    <a:lnTo>
                      <a:pt x="0" y="619"/>
                    </a:lnTo>
                    <a:lnTo>
                      <a:pt x="0" y="619"/>
                    </a:lnTo>
                    <a:cubicBezTo>
                      <a:pt x="0" y="619"/>
                      <a:pt x="31" y="619"/>
                      <a:pt x="31" y="649"/>
                    </a:cubicBezTo>
                    <a:lnTo>
                      <a:pt x="31" y="649"/>
                    </a:lnTo>
                    <a:lnTo>
                      <a:pt x="31" y="649"/>
                    </a:lnTo>
                    <a:lnTo>
                      <a:pt x="31" y="649"/>
                    </a:lnTo>
                    <a:lnTo>
                      <a:pt x="31" y="649"/>
                    </a:lnTo>
                    <a:lnTo>
                      <a:pt x="31" y="680"/>
                    </a:lnTo>
                    <a:lnTo>
                      <a:pt x="31" y="680"/>
                    </a:lnTo>
                    <a:lnTo>
                      <a:pt x="31" y="680"/>
                    </a:lnTo>
                    <a:lnTo>
                      <a:pt x="31" y="711"/>
                    </a:lnTo>
                    <a:lnTo>
                      <a:pt x="31" y="711"/>
                    </a:lnTo>
                    <a:cubicBezTo>
                      <a:pt x="31" y="711"/>
                      <a:pt x="62" y="711"/>
                      <a:pt x="62" y="743"/>
                    </a:cubicBezTo>
                    <a:lnTo>
                      <a:pt x="62" y="743"/>
                    </a:lnTo>
                    <a:lnTo>
                      <a:pt x="62" y="743"/>
                    </a:lnTo>
                    <a:cubicBezTo>
                      <a:pt x="62" y="773"/>
                      <a:pt x="92" y="773"/>
                      <a:pt x="92" y="804"/>
                    </a:cubicBezTo>
                    <a:lnTo>
                      <a:pt x="92" y="804"/>
                    </a:lnTo>
                    <a:cubicBezTo>
                      <a:pt x="62" y="804"/>
                      <a:pt x="62" y="835"/>
                      <a:pt x="62" y="835"/>
                    </a:cubicBezTo>
                    <a:lnTo>
                      <a:pt x="62" y="835"/>
                    </a:lnTo>
                    <a:cubicBezTo>
                      <a:pt x="92" y="835"/>
                      <a:pt x="92" y="835"/>
                      <a:pt x="92" y="835"/>
                    </a:cubicBezTo>
                    <a:lnTo>
                      <a:pt x="92" y="835"/>
                    </a:lnTo>
                    <a:lnTo>
                      <a:pt x="92" y="867"/>
                    </a:lnTo>
                    <a:cubicBezTo>
                      <a:pt x="124" y="867"/>
                      <a:pt x="124" y="867"/>
                      <a:pt x="124" y="867"/>
                    </a:cubicBezTo>
                    <a:lnTo>
                      <a:pt x="124" y="897"/>
                    </a:lnTo>
                    <a:lnTo>
                      <a:pt x="124" y="897"/>
                    </a:lnTo>
                    <a:cubicBezTo>
                      <a:pt x="124" y="897"/>
                      <a:pt x="124" y="897"/>
                      <a:pt x="155" y="897"/>
                    </a:cubicBezTo>
                    <a:lnTo>
                      <a:pt x="155" y="897"/>
                    </a:lnTo>
                    <a:cubicBezTo>
                      <a:pt x="155" y="897"/>
                      <a:pt x="155" y="897"/>
                      <a:pt x="155" y="928"/>
                    </a:cubicBezTo>
                    <a:lnTo>
                      <a:pt x="186" y="928"/>
                    </a:lnTo>
                    <a:lnTo>
                      <a:pt x="186" y="928"/>
                    </a:lnTo>
                    <a:lnTo>
                      <a:pt x="186" y="928"/>
                    </a:lnTo>
                    <a:lnTo>
                      <a:pt x="186" y="928"/>
                    </a:lnTo>
                    <a:lnTo>
                      <a:pt x="186" y="928"/>
                    </a:lnTo>
                    <a:cubicBezTo>
                      <a:pt x="217" y="959"/>
                      <a:pt x="217" y="959"/>
                      <a:pt x="217" y="959"/>
                    </a:cubicBezTo>
                    <a:cubicBezTo>
                      <a:pt x="217" y="991"/>
                      <a:pt x="248" y="991"/>
                      <a:pt x="248" y="1021"/>
                    </a:cubicBezTo>
                    <a:lnTo>
                      <a:pt x="248" y="1021"/>
                    </a:lnTo>
                    <a:lnTo>
                      <a:pt x="248" y="1021"/>
                    </a:lnTo>
                    <a:lnTo>
                      <a:pt x="248" y="1021"/>
                    </a:lnTo>
                    <a:lnTo>
                      <a:pt x="248" y="1021"/>
                    </a:lnTo>
                    <a:cubicBezTo>
                      <a:pt x="279" y="1021"/>
                      <a:pt x="279" y="1021"/>
                      <a:pt x="279" y="1021"/>
                    </a:cubicBezTo>
                    <a:cubicBezTo>
                      <a:pt x="279" y="1052"/>
                      <a:pt x="279" y="1052"/>
                      <a:pt x="279" y="1052"/>
                    </a:cubicBezTo>
                    <a:lnTo>
                      <a:pt x="279" y="1052"/>
                    </a:lnTo>
                    <a:cubicBezTo>
                      <a:pt x="279" y="1083"/>
                      <a:pt x="279" y="1083"/>
                      <a:pt x="279" y="1083"/>
                    </a:cubicBezTo>
                    <a:lnTo>
                      <a:pt x="279" y="1083"/>
                    </a:lnTo>
                    <a:lnTo>
                      <a:pt x="279" y="1083"/>
                    </a:lnTo>
                    <a:lnTo>
                      <a:pt x="279" y="1083"/>
                    </a:lnTo>
                    <a:lnTo>
                      <a:pt x="279" y="1083"/>
                    </a:lnTo>
                    <a:cubicBezTo>
                      <a:pt x="279" y="1083"/>
                      <a:pt x="279" y="1083"/>
                      <a:pt x="279" y="1114"/>
                    </a:cubicBezTo>
                    <a:cubicBezTo>
                      <a:pt x="310" y="1114"/>
                      <a:pt x="310" y="1114"/>
                      <a:pt x="310" y="1114"/>
                    </a:cubicBezTo>
                    <a:cubicBezTo>
                      <a:pt x="341" y="1114"/>
                      <a:pt x="341" y="1114"/>
                      <a:pt x="341" y="1114"/>
                    </a:cubicBezTo>
                    <a:cubicBezTo>
                      <a:pt x="372" y="1114"/>
                      <a:pt x="372" y="1114"/>
                      <a:pt x="372" y="1114"/>
                    </a:cubicBezTo>
                    <a:cubicBezTo>
                      <a:pt x="403" y="1083"/>
                      <a:pt x="403" y="1083"/>
                      <a:pt x="403" y="1083"/>
                    </a:cubicBezTo>
                    <a:cubicBezTo>
                      <a:pt x="403" y="1114"/>
                      <a:pt x="403" y="1114"/>
                      <a:pt x="403" y="1114"/>
                    </a:cubicBezTo>
                    <a:lnTo>
                      <a:pt x="434" y="1145"/>
                    </a:lnTo>
                    <a:cubicBezTo>
                      <a:pt x="434" y="1145"/>
                      <a:pt x="434" y="1145"/>
                      <a:pt x="465" y="1176"/>
                    </a:cubicBezTo>
                    <a:cubicBezTo>
                      <a:pt x="465" y="1176"/>
                      <a:pt x="465" y="1176"/>
                      <a:pt x="465" y="1145"/>
                    </a:cubicBezTo>
                    <a:lnTo>
                      <a:pt x="465" y="1145"/>
                    </a:lnTo>
                    <a:lnTo>
                      <a:pt x="465" y="1145"/>
                    </a:lnTo>
                    <a:lnTo>
                      <a:pt x="465" y="1145"/>
                    </a:lnTo>
                    <a:cubicBezTo>
                      <a:pt x="496" y="1145"/>
                      <a:pt x="496" y="1145"/>
                      <a:pt x="496" y="1145"/>
                    </a:cubicBezTo>
                    <a:lnTo>
                      <a:pt x="527" y="1145"/>
                    </a:lnTo>
                    <a:lnTo>
                      <a:pt x="558" y="1145"/>
                    </a:lnTo>
                    <a:lnTo>
                      <a:pt x="558" y="1145"/>
                    </a:lnTo>
                    <a:cubicBezTo>
                      <a:pt x="589" y="1145"/>
                      <a:pt x="589" y="1145"/>
                      <a:pt x="589" y="1145"/>
                    </a:cubicBezTo>
                    <a:lnTo>
                      <a:pt x="589" y="1145"/>
                    </a:lnTo>
                    <a:lnTo>
                      <a:pt x="589" y="1145"/>
                    </a:lnTo>
                    <a:lnTo>
                      <a:pt x="589" y="1145"/>
                    </a:lnTo>
                    <a:cubicBezTo>
                      <a:pt x="620" y="1145"/>
                      <a:pt x="620" y="1145"/>
                      <a:pt x="620" y="1145"/>
                    </a:cubicBezTo>
                    <a:lnTo>
                      <a:pt x="620" y="1145"/>
                    </a:lnTo>
                    <a:cubicBezTo>
                      <a:pt x="620" y="1114"/>
                      <a:pt x="620" y="1114"/>
                      <a:pt x="620" y="1114"/>
                    </a:cubicBezTo>
                    <a:lnTo>
                      <a:pt x="620" y="1114"/>
                    </a:lnTo>
                    <a:cubicBezTo>
                      <a:pt x="620" y="1114"/>
                      <a:pt x="620" y="1114"/>
                      <a:pt x="651" y="108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35" name="Freeform 32"/>
              <p:cNvSpPr>
                <a:spLocks noChangeArrowheads="1"/>
              </p:cNvSpPr>
              <p:nvPr/>
            </p:nvSpPr>
            <p:spPr bwMode="auto">
              <a:xfrm>
                <a:off x="3824288" y="1801813"/>
                <a:ext cx="57150" cy="123825"/>
              </a:xfrm>
              <a:custGeom>
                <a:avLst/>
                <a:gdLst>
                  <a:gd name="T0" fmla="*/ 32 w 157"/>
                  <a:gd name="T1" fmla="*/ 248 h 343"/>
                  <a:gd name="T2" fmla="*/ 32 w 157"/>
                  <a:gd name="T3" fmla="*/ 248 h 343"/>
                  <a:gd name="T4" fmla="*/ 32 w 157"/>
                  <a:gd name="T5" fmla="*/ 248 h 343"/>
                  <a:gd name="T6" fmla="*/ 32 w 157"/>
                  <a:gd name="T7" fmla="*/ 248 h 343"/>
                  <a:gd name="T8" fmla="*/ 32 w 157"/>
                  <a:gd name="T9" fmla="*/ 279 h 343"/>
                  <a:gd name="T10" fmla="*/ 62 w 157"/>
                  <a:gd name="T11" fmla="*/ 279 h 343"/>
                  <a:gd name="T12" fmla="*/ 93 w 157"/>
                  <a:gd name="T13" fmla="*/ 342 h 343"/>
                  <a:gd name="T14" fmla="*/ 93 w 157"/>
                  <a:gd name="T15" fmla="*/ 311 h 343"/>
                  <a:gd name="T16" fmla="*/ 156 w 157"/>
                  <a:gd name="T17" fmla="*/ 279 h 343"/>
                  <a:gd name="T18" fmla="*/ 156 w 157"/>
                  <a:gd name="T19" fmla="*/ 279 h 343"/>
                  <a:gd name="T20" fmla="*/ 156 w 157"/>
                  <a:gd name="T21" fmla="*/ 248 h 343"/>
                  <a:gd name="T22" fmla="*/ 156 w 157"/>
                  <a:gd name="T23" fmla="*/ 218 h 343"/>
                  <a:gd name="T24" fmla="*/ 124 w 157"/>
                  <a:gd name="T25" fmla="*/ 218 h 343"/>
                  <a:gd name="T26" fmla="*/ 124 w 157"/>
                  <a:gd name="T27" fmla="*/ 218 h 343"/>
                  <a:gd name="T28" fmla="*/ 93 w 157"/>
                  <a:gd name="T29" fmla="*/ 187 h 343"/>
                  <a:gd name="T30" fmla="*/ 124 w 157"/>
                  <a:gd name="T31" fmla="*/ 94 h 343"/>
                  <a:gd name="T32" fmla="*/ 156 w 157"/>
                  <a:gd name="T33" fmla="*/ 94 h 343"/>
                  <a:gd name="T34" fmla="*/ 156 w 157"/>
                  <a:gd name="T35" fmla="*/ 94 h 343"/>
                  <a:gd name="T36" fmla="*/ 156 w 157"/>
                  <a:gd name="T37" fmla="*/ 94 h 343"/>
                  <a:gd name="T38" fmla="*/ 124 w 157"/>
                  <a:gd name="T39" fmla="*/ 63 h 343"/>
                  <a:gd name="T40" fmla="*/ 124 w 157"/>
                  <a:gd name="T41" fmla="*/ 63 h 343"/>
                  <a:gd name="T42" fmla="*/ 124 w 157"/>
                  <a:gd name="T43" fmla="*/ 63 h 343"/>
                  <a:gd name="T44" fmla="*/ 124 w 157"/>
                  <a:gd name="T45" fmla="*/ 31 h 343"/>
                  <a:gd name="T46" fmla="*/ 93 w 157"/>
                  <a:gd name="T47" fmla="*/ 0 h 343"/>
                  <a:gd name="T48" fmla="*/ 62 w 157"/>
                  <a:gd name="T49" fmla="*/ 0 h 343"/>
                  <a:gd name="T50" fmla="*/ 32 w 157"/>
                  <a:gd name="T51" fmla="*/ 0 h 343"/>
                  <a:gd name="T52" fmla="*/ 32 w 157"/>
                  <a:gd name="T53" fmla="*/ 31 h 343"/>
                  <a:gd name="T54" fmla="*/ 32 w 157"/>
                  <a:gd name="T55" fmla="*/ 31 h 343"/>
                  <a:gd name="T56" fmla="*/ 32 w 157"/>
                  <a:gd name="T57" fmla="*/ 31 h 343"/>
                  <a:gd name="T58" fmla="*/ 32 w 157"/>
                  <a:gd name="T59" fmla="*/ 63 h 343"/>
                  <a:gd name="T60" fmla="*/ 32 w 157"/>
                  <a:gd name="T61" fmla="*/ 94 h 343"/>
                  <a:gd name="T62" fmla="*/ 32 w 157"/>
                  <a:gd name="T63" fmla="*/ 94 h 343"/>
                  <a:gd name="T64" fmla="*/ 32 w 157"/>
                  <a:gd name="T65" fmla="*/ 94 h 343"/>
                  <a:gd name="T66" fmla="*/ 32 w 157"/>
                  <a:gd name="T67" fmla="*/ 94 h 343"/>
                  <a:gd name="T68" fmla="*/ 32 w 157"/>
                  <a:gd name="T69" fmla="*/ 94 h 343"/>
                  <a:gd name="T70" fmla="*/ 32 w 157"/>
                  <a:gd name="T71" fmla="*/ 94 h 343"/>
                  <a:gd name="T72" fmla="*/ 32 w 157"/>
                  <a:gd name="T73" fmla="*/ 94 h 343"/>
                  <a:gd name="T74" fmla="*/ 0 w 157"/>
                  <a:gd name="T75" fmla="*/ 187 h 343"/>
                  <a:gd name="T76" fmla="*/ 0 w 157"/>
                  <a:gd name="T77" fmla="*/ 187 h 343"/>
                  <a:gd name="T78" fmla="*/ 0 w 157"/>
                  <a:gd name="T79" fmla="*/ 187 h 343"/>
                  <a:gd name="T80" fmla="*/ 0 w 157"/>
                  <a:gd name="T81" fmla="*/ 218 h 343"/>
                  <a:gd name="T82" fmla="*/ 0 w 157"/>
                  <a:gd name="T83" fmla="*/ 218 h 343"/>
                  <a:gd name="T84" fmla="*/ 0 w 157"/>
                  <a:gd name="T85" fmla="*/ 218 h 343"/>
                  <a:gd name="T86" fmla="*/ 32 w 157"/>
                  <a:gd name="T87" fmla="*/ 24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 h="343">
                    <a:moveTo>
                      <a:pt x="32" y="248"/>
                    </a:moveTo>
                    <a:lnTo>
                      <a:pt x="32" y="248"/>
                    </a:lnTo>
                    <a:lnTo>
                      <a:pt x="32" y="248"/>
                    </a:lnTo>
                    <a:lnTo>
                      <a:pt x="32" y="248"/>
                    </a:lnTo>
                    <a:cubicBezTo>
                      <a:pt x="32" y="279"/>
                      <a:pt x="32" y="279"/>
                      <a:pt x="32" y="279"/>
                    </a:cubicBezTo>
                    <a:cubicBezTo>
                      <a:pt x="62" y="279"/>
                      <a:pt x="62" y="279"/>
                      <a:pt x="62" y="279"/>
                    </a:cubicBezTo>
                    <a:cubicBezTo>
                      <a:pt x="93" y="311"/>
                      <a:pt x="93" y="311"/>
                      <a:pt x="93" y="342"/>
                    </a:cubicBezTo>
                    <a:cubicBezTo>
                      <a:pt x="93" y="311"/>
                      <a:pt x="93" y="311"/>
                      <a:pt x="93" y="311"/>
                    </a:cubicBezTo>
                    <a:cubicBezTo>
                      <a:pt x="124" y="311"/>
                      <a:pt x="156" y="279"/>
                      <a:pt x="156" y="279"/>
                    </a:cubicBezTo>
                    <a:lnTo>
                      <a:pt x="156" y="279"/>
                    </a:lnTo>
                    <a:cubicBezTo>
                      <a:pt x="156" y="248"/>
                      <a:pt x="156" y="248"/>
                      <a:pt x="156" y="248"/>
                    </a:cubicBezTo>
                    <a:lnTo>
                      <a:pt x="156" y="218"/>
                    </a:lnTo>
                    <a:lnTo>
                      <a:pt x="124" y="218"/>
                    </a:lnTo>
                    <a:lnTo>
                      <a:pt x="124" y="218"/>
                    </a:lnTo>
                    <a:cubicBezTo>
                      <a:pt x="124" y="218"/>
                      <a:pt x="93" y="218"/>
                      <a:pt x="93" y="187"/>
                    </a:cubicBezTo>
                    <a:cubicBezTo>
                      <a:pt x="93" y="155"/>
                      <a:pt x="93" y="124"/>
                      <a:pt x="124" y="94"/>
                    </a:cubicBezTo>
                    <a:cubicBezTo>
                      <a:pt x="124" y="94"/>
                      <a:pt x="124" y="94"/>
                      <a:pt x="156" y="94"/>
                    </a:cubicBezTo>
                    <a:lnTo>
                      <a:pt x="156" y="94"/>
                    </a:lnTo>
                    <a:lnTo>
                      <a:pt x="156" y="94"/>
                    </a:lnTo>
                    <a:cubicBezTo>
                      <a:pt x="124" y="94"/>
                      <a:pt x="124" y="63"/>
                      <a:pt x="124" y="63"/>
                    </a:cubicBezTo>
                    <a:lnTo>
                      <a:pt x="124" y="63"/>
                    </a:lnTo>
                    <a:lnTo>
                      <a:pt x="124" y="63"/>
                    </a:lnTo>
                    <a:cubicBezTo>
                      <a:pt x="124" y="31"/>
                      <a:pt x="124" y="31"/>
                      <a:pt x="124" y="31"/>
                    </a:cubicBezTo>
                    <a:cubicBezTo>
                      <a:pt x="124" y="0"/>
                      <a:pt x="93" y="0"/>
                      <a:pt x="93" y="0"/>
                    </a:cubicBezTo>
                    <a:lnTo>
                      <a:pt x="62" y="0"/>
                    </a:lnTo>
                    <a:lnTo>
                      <a:pt x="32" y="0"/>
                    </a:lnTo>
                    <a:lnTo>
                      <a:pt x="32" y="31"/>
                    </a:lnTo>
                    <a:lnTo>
                      <a:pt x="32" y="31"/>
                    </a:lnTo>
                    <a:lnTo>
                      <a:pt x="32" y="31"/>
                    </a:lnTo>
                    <a:lnTo>
                      <a:pt x="32" y="63"/>
                    </a:lnTo>
                    <a:cubicBezTo>
                      <a:pt x="32" y="63"/>
                      <a:pt x="32" y="63"/>
                      <a:pt x="32" y="94"/>
                    </a:cubicBezTo>
                    <a:lnTo>
                      <a:pt x="32" y="94"/>
                    </a:lnTo>
                    <a:lnTo>
                      <a:pt x="32" y="94"/>
                    </a:lnTo>
                    <a:lnTo>
                      <a:pt x="32" y="94"/>
                    </a:lnTo>
                    <a:lnTo>
                      <a:pt x="32" y="94"/>
                    </a:lnTo>
                    <a:lnTo>
                      <a:pt x="32" y="94"/>
                    </a:lnTo>
                    <a:lnTo>
                      <a:pt x="32" y="94"/>
                    </a:lnTo>
                    <a:cubicBezTo>
                      <a:pt x="32" y="124"/>
                      <a:pt x="0" y="155"/>
                      <a:pt x="0" y="187"/>
                    </a:cubicBezTo>
                    <a:lnTo>
                      <a:pt x="0" y="187"/>
                    </a:lnTo>
                    <a:lnTo>
                      <a:pt x="0" y="187"/>
                    </a:lnTo>
                    <a:cubicBezTo>
                      <a:pt x="0" y="187"/>
                      <a:pt x="0" y="187"/>
                      <a:pt x="0" y="218"/>
                    </a:cubicBezTo>
                    <a:lnTo>
                      <a:pt x="0" y="218"/>
                    </a:lnTo>
                    <a:lnTo>
                      <a:pt x="0" y="218"/>
                    </a:lnTo>
                    <a:cubicBezTo>
                      <a:pt x="0" y="218"/>
                      <a:pt x="32" y="218"/>
                      <a:pt x="32" y="24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36" name="Freeform 33"/>
              <p:cNvSpPr>
                <a:spLocks noChangeArrowheads="1"/>
              </p:cNvSpPr>
              <p:nvPr/>
            </p:nvSpPr>
            <p:spPr bwMode="auto">
              <a:xfrm>
                <a:off x="4806950" y="3119438"/>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37" name="Freeform 34"/>
              <p:cNvSpPr>
                <a:spLocks noChangeArrowheads="1"/>
              </p:cNvSpPr>
              <p:nvPr/>
            </p:nvSpPr>
            <p:spPr bwMode="auto">
              <a:xfrm>
                <a:off x="4806950" y="3119438"/>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38" name="Freeform 35"/>
              <p:cNvSpPr>
                <a:spLocks noChangeArrowheads="1"/>
              </p:cNvSpPr>
              <p:nvPr/>
            </p:nvSpPr>
            <p:spPr bwMode="auto">
              <a:xfrm>
                <a:off x="4706938" y="2092325"/>
                <a:ext cx="134937" cy="155575"/>
              </a:xfrm>
              <a:custGeom>
                <a:avLst/>
                <a:gdLst>
                  <a:gd name="T0" fmla="*/ 217 w 373"/>
                  <a:gd name="T1" fmla="*/ 0 h 434"/>
                  <a:gd name="T2" fmla="*/ 217 w 373"/>
                  <a:gd name="T3" fmla="*/ 0 h 434"/>
                  <a:gd name="T4" fmla="*/ 217 w 373"/>
                  <a:gd name="T5" fmla="*/ 30 h 434"/>
                  <a:gd name="T6" fmla="*/ 217 w 373"/>
                  <a:gd name="T7" fmla="*/ 30 h 434"/>
                  <a:gd name="T8" fmla="*/ 217 w 373"/>
                  <a:gd name="T9" fmla="*/ 30 h 434"/>
                  <a:gd name="T10" fmla="*/ 186 w 373"/>
                  <a:gd name="T11" fmla="*/ 30 h 434"/>
                  <a:gd name="T12" fmla="*/ 186 w 373"/>
                  <a:gd name="T13" fmla="*/ 61 h 434"/>
                  <a:gd name="T14" fmla="*/ 186 w 373"/>
                  <a:gd name="T15" fmla="*/ 92 h 434"/>
                  <a:gd name="T16" fmla="*/ 186 w 373"/>
                  <a:gd name="T17" fmla="*/ 92 h 434"/>
                  <a:gd name="T18" fmla="*/ 186 w 373"/>
                  <a:gd name="T19" fmla="*/ 92 h 434"/>
                  <a:gd name="T20" fmla="*/ 217 w 373"/>
                  <a:gd name="T21" fmla="*/ 92 h 434"/>
                  <a:gd name="T22" fmla="*/ 154 w 373"/>
                  <a:gd name="T23" fmla="*/ 278 h 434"/>
                  <a:gd name="T24" fmla="*/ 154 w 373"/>
                  <a:gd name="T25" fmla="*/ 309 h 434"/>
                  <a:gd name="T26" fmla="*/ 124 w 373"/>
                  <a:gd name="T27" fmla="*/ 309 h 434"/>
                  <a:gd name="T28" fmla="*/ 62 w 373"/>
                  <a:gd name="T29" fmla="*/ 309 h 434"/>
                  <a:gd name="T30" fmla="*/ 30 w 373"/>
                  <a:gd name="T31" fmla="*/ 340 h 434"/>
                  <a:gd name="T32" fmla="*/ 0 w 373"/>
                  <a:gd name="T33" fmla="*/ 372 h 434"/>
                  <a:gd name="T34" fmla="*/ 0 w 373"/>
                  <a:gd name="T35" fmla="*/ 372 h 434"/>
                  <a:gd name="T36" fmla="*/ 0 w 373"/>
                  <a:gd name="T37" fmla="*/ 372 h 434"/>
                  <a:gd name="T38" fmla="*/ 0 w 373"/>
                  <a:gd name="T39" fmla="*/ 372 h 434"/>
                  <a:gd name="T40" fmla="*/ 30 w 373"/>
                  <a:gd name="T41" fmla="*/ 433 h 434"/>
                  <a:gd name="T42" fmla="*/ 30 w 373"/>
                  <a:gd name="T43" fmla="*/ 433 h 434"/>
                  <a:gd name="T44" fmla="*/ 30 w 373"/>
                  <a:gd name="T45" fmla="*/ 433 h 434"/>
                  <a:gd name="T46" fmla="*/ 30 w 373"/>
                  <a:gd name="T47" fmla="*/ 433 h 434"/>
                  <a:gd name="T48" fmla="*/ 30 w 373"/>
                  <a:gd name="T49" fmla="*/ 433 h 434"/>
                  <a:gd name="T50" fmla="*/ 124 w 373"/>
                  <a:gd name="T51" fmla="*/ 433 h 434"/>
                  <a:gd name="T52" fmla="*/ 124 w 373"/>
                  <a:gd name="T53" fmla="*/ 433 h 434"/>
                  <a:gd name="T54" fmla="*/ 124 w 373"/>
                  <a:gd name="T55" fmla="*/ 433 h 434"/>
                  <a:gd name="T56" fmla="*/ 124 w 373"/>
                  <a:gd name="T57" fmla="*/ 433 h 434"/>
                  <a:gd name="T58" fmla="*/ 124 w 373"/>
                  <a:gd name="T59" fmla="*/ 433 h 434"/>
                  <a:gd name="T60" fmla="*/ 186 w 373"/>
                  <a:gd name="T61" fmla="*/ 372 h 434"/>
                  <a:gd name="T62" fmla="*/ 217 w 373"/>
                  <a:gd name="T63" fmla="*/ 372 h 434"/>
                  <a:gd name="T64" fmla="*/ 217 w 373"/>
                  <a:gd name="T65" fmla="*/ 372 h 434"/>
                  <a:gd name="T66" fmla="*/ 217 w 373"/>
                  <a:gd name="T67" fmla="*/ 372 h 434"/>
                  <a:gd name="T68" fmla="*/ 248 w 373"/>
                  <a:gd name="T69" fmla="*/ 309 h 434"/>
                  <a:gd name="T70" fmla="*/ 248 w 373"/>
                  <a:gd name="T71" fmla="*/ 309 h 434"/>
                  <a:gd name="T72" fmla="*/ 278 w 373"/>
                  <a:gd name="T73" fmla="*/ 309 h 434"/>
                  <a:gd name="T74" fmla="*/ 278 w 373"/>
                  <a:gd name="T75" fmla="*/ 309 h 434"/>
                  <a:gd name="T76" fmla="*/ 278 w 373"/>
                  <a:gd name="T77" fmla="*/ 248 h 434"/>
                  <a:gd name="T78" fmla="*/ 310 w 373"/>
                  <a:gd name="T79" fmla="*/ 216 h 434"/>
                  <a:gd name="T80" fmla="*/ 341 w 373"/>
                  <a:gd name="T81" fmla="*/ 216 h 434"/>
                  <a:gd name="T82" fmla="*/ 341 w 373"/>
                  <a:gd name="T83" fmla="*/ 185 h 434"/>
                  <a:gd name="T84" fmla="*/ 372 w 373"/>
                  <a:gd name="T85" fmla="*/ 124 h 434"/>
                  <a:gd name="T86" fmla="*/ 372 w 373"/>
                  <a:gd name="T87" fmla="*/ 124 h 434"/>
                  <a:gd name="T88" fmla="*/ 372 w 373"/>
                  <a:gd name="T89" fmla="*/ 92 h 434"/>
                  <a:gd name="T90" fmla="*/ 341 w 373"/>
                  <a:gd name="T91" fmla="*/ 61 h 434"/>
                  <a:gd name="T92" fmla="*/ 310 w 373"/>
                  <a:gd name="T93" fmla="*/ 61 h 434"/>
                  <a:gd name="T94" fmla="*/ 310 w 373"/>
                  <a:gd name="T95" fmla="*/ 61 h 434"/>
                  <a:gd name="T96" fmla="*/ 248 w 373"/>
                  <a:gd name="T97" fmla="*/ 30 h 434"/>
                  <a:gd name="T98" fmla="*/ 217 w 373"/>
                  <a:gd name="T99" fmla="*/ 30 h 434"/>
                  <a:gd name="T100" fmla="*/ 217 w 373"/>
                  <a:gd name="T101"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3" h="434">
                    <a:moveTo>
                      <a:pt x="217" y="0"/>
                    </a:moveTo>
                    <a:lnTo>
                      <a:pt x="217" y="0"/>
                    </a:lnTo>
                    <a:cubicBezTo>
                      <a:pt x="217" y="0"/>
                      <a:pt x="217" y="0"/>
                      <a:pt x="217" y="30"/>
                    </a:cubicBezTo>
                    <a:lnTo>
                      <a:pt x="217" y="30"/>
                    </a:lnTo>
                    <a:lnTo>
                      <a:pt x="217" y="30"/>
                    </a:lnTo>
                    <a:cubicBezTo>
                      <a:pt x="186" y="30"/>
                      <a:pt x="186" y="30"/>
                      <a:pt x="186" y="30"/>
                    </a:cubicBezTo>
                    <a:lnTo>
                      <a:pt x="186" y="61"/>
                    </a:lnTo>
                    <a:cubicBezTo>
                      <a:pt x="186" y="61"/>
                      <a:pt x="186" y="61"/>
                      <a:pt x="186" y="92"/>
                    </a:cubicBezTo>
                    <a:lnTo>
                      <a:pt x="186" y="92"/>
                    </a:lnTo>
                    <a:lnTo>
                      <a:pt x="186" y="92"/>
                    </a:lnTo>
                    <a:cubicBezTo>
                      <a:pt x="217" y="92"/>
                      <a:pt x="217" y="92"/>
                      <a:pt x="217" y="92"/>
                    </a:cubicBezTo>
                    <a:cubicBezTo>
                      <a:pt x="154" y="278"/>
                      <a:pt x="154" y="278"/>
                      <a:pt x="154" y="278"/>
                    </a:cubicBezTo>
                    <a:cubicBezTo>
                      <a:pt x="154" y="309"/>
                      <a:pt x="154" y="309"/>
                      <a:pt x="154" y="309"/>
                    </a:cubicBezTo>
                    <a:lnTo>
                      <a:pt x="124" y="309"/>
                    </a:lnTo>
                    <a:cubicBezTo>
                      <a:pt x="93" y="309"/>
                      <a:pt x="93" y="309"/>
                      <a:pt x="62" y="309"/>
                    </a:cubicBezTo>
                    <a:cubicBezTo>
                      <a:pt x="62" y="309"/>
                      <a:pt x="62" y="340"/>
                      <a:pt x="30" y="340"/>
                    </a:cubicBezTo>
                    <a:cubicBezTo>
                      <a:pt x="0" y="340"/>
                      <a:pt x="0" y="340"/>
                      <a:pt x="0" y="372"/>
                    </a:cubicBezTo>
                    <a:lnTo>
                      <a:pt x="0" y="372"/>
                    </a:lnTo>
                    <a:lnTo>
                      <a:pt x="0" y="372"/>
                    </a:lnTo>
                    <a:lnTo>
                      <a:pt x="0" y="372"/>
                    </a:lnTo>
                    <a:cubicBezTo>
                      <a:pt x="30" y="402"/>
                      <a:pt x="30" y="402"/>
                      <a:pt x="30" y="433"/>
                    </a:cubicBezTo>
                    <a:lnTo>
                      <a:pt x="30" y="433"/>
                    </a:lnTo>
                    <a:lnTo>
                      <a:pt x="30" y="433"/>
                    </a:lnTo>
                    <a:lnTo>
                      <a:pt x="30" y="433"/>
                    </a:lnTo>
                    <a:lnTo>
                      <a:pt x="30" y="433"/>
                    </a:lnTo>
                    <a:cubicBezTo>
                      <a:pt x="62" y="433"/>
                      <a:pt x="93" y="433"/>
                      <a:pt x="124" y="433"/>
                    </a:cubicBezTo>
                    <a:lnTo>
                      <a:pt x="124" y="433"/>
                    </a:lnTo>
                    <a:lnTo>
                      <a:pt x="124" y="433"/>
                    </a:lnTo>
                    <a:lnTo>
                      <a:pt x="124" y="433"/>
                    </a:lnTo>
                    <a:lnTo>
                      <a:pt x="124" y="433"/>
                    </a:lnTo>
                    <a:cubicBezTo>
                      <a:pt x="154" y="372"/>
                      <a:pt x="186" y="372"/>
                      <a:pt x="186" y="372"/>
                    </a:cubicBezTo>
                    <a:lnTo>
                      <a:pt x="217" y="372"/>
                    </a:lnTo>
                    <a:lnTo>
                      <a:pt x="217" y="372"/>
                    </a:lnTo>
                    <a:lnTo>
                      <a:pt x="217" y="372"/>
                    </a:lnTo>
                    <a:cubicBezTo>
                      <a:pt x="217" y="340"/>
                      <a:pt x="217" y="340"/>
                      <a:pt x="248" y="309"/>
                    </a:cubicBezTo>
                    <a:lnTo>
                      <a:pt x="248" y="309"/>
                    </a:lnTo>
                    <a:cubicBezTo>
                      <a:pt x="278" y="309"/>
                      <a:pt x="278" y="309"/>
                      <a:pt x="278" y="309"/>
                    </a:cubicBezTo>
                    <a:lnTo>
                      <a:pt x="278" y="309"/>
                    </a:lnTo>
                    <a:cubicBezTo>
                      <a:pt x="278" y="309"/>
                      <a:pt x="278" y="278"/>
                      <a:pt x="278" y="248"/>
                    </a:cubicBezTo>
                    <a:cubicBezTo>
                      <a:pt x="310" y="248"/>
                      <a:pt x="310" y="216"/>
                      <a:pt x="310" y="216"/>
                    </a:cubicBezTo>
                    <a:cubicBezTo>
                      <a:pt x="310" y="216"/>
                      <a:pt x="310" y="216"/>
                      <a:pt x="341" y="216"/>
                    </a:cubicBezTo>
                    <a:cubicBezTo>
                      <a:pt x="341" y="185"/>
                      <a:pt x="341" y="185"/>
                      <a:pt x="341" y="185"/>
                    </a:cubicBezTo>
                    <a:cubicBezTo>
                      <a:pt x="372" y="154"/>
                      <a:pt x="372" y="124"/>
                      <a:pt x="372" y="124"/>
                    </a:cubicBezTo>
                    <a:lnTo>
                      <a:pt x="372" y="124"/>
                    </a:lnTo>
                    <a:cubicBezTo>
                      <a:pt x="372" y="92"/>
                      <a:pt x="372" y="92"/>
                      <a:pt x="372" y="92"/>
                    </a:cubicBezTo>
                    <a:cubicBezTo>
                      <a:pt x="341" y="61"/>
                      <a:pt x="341" y="61"/>
                      <a:pt x="341" y="61"/>
                    </a:cubicBezTo>
                    <a:cubicBezTo>
                      <a:pt x="310" y="61"/>
                      <a:pt x="310" y="61"/>
                      <a:pt x="310" y="61"/>
                    </a:cubicBezTo>
                    <a:lnTo>
                      <a:pt x="310" y="61"/>
                    </a:lnTo>
                    <a:cubicBezTo>
                      <a:pt x="278" y="61"/>
                      <a:pt x="248" y="30"/>
                      <a:pt x="248" y="30"/>
                    </a:cubicBezTo>
                    <a:lnTo>
                      <a:pt x="217" y="30"/>
                    </a:lnTo>
                    <a:cubicBezTo>
                      <a:pt x="217" y="30"/>
                      <a:pt x="217" y="30"/>
                      <a:pt x="217"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39" name="Freeform 36"/>
              <p:cNvSpPr>
                <a:spLocks noChangeArrowheads="1"/>
              </p:cNvSpPr>
              <p:nvPr/>
            </p:nvSpPr>
            <p:spPr bwMode="auto">
              <a:xfrm>
                <a:off x="4483100" y="2382838"/>
                <a:ext cx="201613" cy="290512"/>
              </a:xfrm>
              <a:custGeom>
                <a:avLst/>
                <a:gdLst>
                  <a:gd name="T0" fmla="*/ 124 w 559"/>
                  <a:gd name="T1" fmla="*/ 93 h 807"/>
                  <a:gd name="T2" fmla="*/ 154 w 559"/>
                  <a:gd name="T3" fmla="*/ 155 h 807"/>
                  <a:gd name="T4" fmla="*/ 217 w 559"/>
                  <a:gd name="T5" fmla="*/ 155 h 807"/>
                  <a:gd name="T6" fmla="*/ 310 w 559"/>
                  <a:gd name="T7" fmla="*/ 217 h 807"/>
                  <a:gd name="T8" fmla="*/ 341 w 559"/>
                  <a:gd name="T9" fmla="*/ 217 h 807"/>
                  <a:gd name="T10" fmla="*/ 372 w 559"/>
                  <a:gd name="T11" fmla="*/ 217 h 807"/>
                  <a:gd name="T12" fmla="*/ 402 w 559"/>
                  <a:gd name="T13" fmla="*/ 217 h 807"/>
                  <a:gd name="T14" fmla="*/ 402 w 559"/>
                  <a:gd name="T15" fmla="*/ 248 h 807"/>
                  <a:gd name="T16" fmla="*/ 372 w 559"/>
                  <a:gd name="T17" fmla="*/ 279 h 807"/>
                  <a:gd name="T18" fmla="*/ 341 w 559"/>
                  <a:gd name="T19" fmla="*/ 279 h 807"/>
                  <a:gd name="T20" fmla="*/ 217 w 559"/>
                  <a:gd name="T21" fmla="*/ 465 h 807"/>
                  <a:gd name="T22" fmla="*/ 154 w 559"/>
                  <a:gd name="T23" fmla="*/ 465 h 807"/>
                  <a:gd name="T24" fmla="*/ 124 w 559"/>
                  <a:gd name="T25" fmla="*/ 465 h 807"/>
                  <a:gd name="T26" fmla="*/ 62 w 559"/>
                  <a:gd name="T27" fmla="*/ 496 h 807"/>
                  <a:gd name="T28" fmla="*/ 30 w 559"/>
                  <a:gd name="T29" fmla="*/ 558 h 807"/>
                  <a:gd name="T30" fmla="*/ 30 w 559"/>
                  <a:gd name="T31" fmla="*/ 589 h 807"/>
                  <a:gd name="T32" fmla="*/ 0 w 559"/>
                  <a:gd name="T33" fmla="*/ 620 h 807"/>
                  <a:gd name="T34" fmla="*/ 0 w 559"/>
                  <a:gd name="T35" fmla="*/ 775 h 807"/>
                  <a:gd name="T36" fmla="*/ 30 w 559"/>
                  <a:gd name="T37" fmla="*/ 775 h 807"/>
                  <a:gd name="T38" fmla="*/ 62 w 559"/>
                  <a:gd name="T39" fmla="*/ 744 h 807"/>
                  <a:gd name="T40" fmla="*/ 278 w 559"/>
                  <a:gd name="T41" fmla="*/ 558 h 807"/>
                  <a:gd name="T42" fmla="*/ 372 w 559"/>
                  <a:gd name="T43" fmla="*/ 434 h 807"/>
                  <a:gd name="T44" fmla="*/ 465 w 559"/>
                  <a:gd name="T45" fmla="*/ 248 h 807"/>
                  <a:gd name="T46" fmla="*/ 526 w 559"/>
                  <a:gd name="T47" fmla="*/ 124 h 807"/>
                  <a:gd name="T48" fmla="*/ 526 w 559"/>
                  <a:gd name="T49" fmla="*/ 0 h 807"/>
                  <a:gd name="T50" fmla="*/ 496 w 559"/>
                  <a:gd name="T51" fmla="*/ 31 h 807"/>
                  <a:gd name="T52" fmla="*/ 434 w 559"/>
                  <a:gd name="T53" fmla="*/ 31 h 807"/>
                  <a:gd name="T54" fmla="*/ 434 w 559"/>
                  <a:gd name="T55" fmla="*/ 31 h 807"/>
                  <a:gd name="T56" fmla="*/ 402 w 559"/>
                  <a:gd name="T57" fmla="*/ 63 h 807"/>
                  <a:gd name="T58" fmla="*/ 341 w 559"/>
                  <a:gd name="T59" fmla="*/ 63 h 807"/>
                  <a:gd name="T60" fmla="*/ 310 w 559"/>
                  <a:gd name="T61" fmla="*/ 93 h 807"/>
                  <a:gd name="T62" fmla="*/ 248 w 559"/>
                  <a:gd name="T63" fmla="*/ 93 h 807"/>
                  <a:gd name="T64" fmla="*/ 248 w 559"/>
                  <a:gd name="T65" fmla="*/ 93 h 807"/>
                  <a:gd name="T66" fmla="*/ 124 w 559"/>
                  <a:gd name="T67" fmla="*/ 63 h 807"/>
                  <a:gd name="T68" fmla="*/ 124 w 559"/>
                  <a:gd name="T69" fmla="*/ 63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9" h="807">
                    <a:moveTo>
                      <a:pt x="124" y="93"/>
                    </a:moveTo>
                    <a:lnTo>
                      <a:pt x="124" y="93"/>
                    </a:lnTo>
                    <a:cubicBezTo>
                      <a:pt x="124" y="124"/>
                      <a:pt x="154" y="124"/>
                      <a:pt x="154" y="155"/>
                    </a:cubicBezTo>
                    <a:lnTo>
                      <a:pt x="154" y="155"/>
                    </a:lnTo>
                    <a:lnTo>
                      <a:pt x="186" y="155"/>
                    </a:lnTo>
                    <a:lnTo>
                      <a:pt x="217" y="155"/>
                    </a:lnTo>
                    <a:cubicBezTo>
                      <a:pt x="248" y="155"/>
                      <a:pt x="278" y="187"/>
                      <a:pt x="278" y="187"/>
                    </a:cubicBezTo>
                    <a:cubicBezTo>
                      <a:pt x="310" y="187"/>
                      <a:pt x="310" y="217"/>
                      <a:pt x="310" y="217"/>
                    </a:cubicBezTo>
                    <a:lnTo>
                      <a:pt x="310" y="217"/>
                    </a:lnTo>
                    <a:cubicBezTo>
                      <a:pt x="341" y="217"/>
                      <a:pt x="341" y="217"/>
                      <a:pt x="341" y="217"/>
                    </a:cubicBezTo>
                    <a:cubicBezTo>
                      <a:pt x="341" y="217"/>
                      <a:pt x="341" y="217"/>
                      <a:pt x="372" y="217"/>
                    </a:cubicBezTo>
                    <a:lnTo>
                      <a:pt x="372" y="217"/>
                    </a:lnTo>
                    <a:lnTo>
                      <a:pt x="402" y="217"/>
                    </a:lnTo>
                    <a:lnTo>
                      <a:pt x="402" y="217"/>
                    </a:lnTo>
                    <a:lnTo>
                      <a:pt x="402" y="248"/>
                    </a:lnTo>
                    <a:lnTo>
                      <a:pt x="402" y="248"/>
                    </a:lnTo>
                    <a:cubicBezTo>
                      <a:pt x="402" y="248"/>
                      <a:pt x="402" y="248"/>
                      <a:pt x="372" y="279"/>
                    </a:cubicBezTo>
                    <a:lnTo>
                      <a:pt x="372" y="279"/>
                    </a:lnTo>
                    <a:lnTo>
                      <a:pt x="372" y="279"/>
                    </a:lnTo>
                    <a:cubicBezTo>
                      <a:pt x="372" y="279"/>
                      <a:pt x="372" y="279"/>
                      <a:pt x="341" y="279"/>
                    </a:cubicBezTo>
                    <a:cubicBezTo>
                      <a:pt x="217" y="465"/>
                      <a:pt x="217" y="465"/>
                      <a:pt x="217" y="465"/>
                    </a:cubicBezTo>
                    <a:lnTo>
                      <a:pt x="217" y="465"/>
                    </a:lnTo>
                    <a:lnTo>
                      <a:pt x="154" y="465"/>
                    </a:lnTo>
                    <a:lnTo>
                      <a:pt x="154" y="465"/>
                    </a:lnTo>
                    <a:lnTo>
                      <a:pt x="124" y="465"/>
                    </a:lnTo>
                    <a:lnTo>
                      <a:pt x="124" y="465"/>
                    </a:lnTo>
                    <a:cubicBezTo>
                      <a:pt x="124" y="496"/>
                      <a:pt x="124" y="496"/>
                      <a:pt x="93" y="496"/>
                    </a:cubicBezTo>
                    <a:cubicBezTo>
                      <a:pt x="93" y="496"/>
                      <a:pt x="93" y="496"/>
                      <a:pt x="62" y="496"/>
                    </a:cubicBezTo>
                    <a:lnTo>
                      <a:pt x="62" y="496"/>
                    </a:lnTo>
                    <a:cubicBezTo>
                      <a:pt x="30" y="558"/>
                      <a:pt x="30" y="558"/>
                      <a:pt x="30" y="558"/>
                    </a:cubicBezTo>
                    <a:lnTo>
                      <a:pt x="30" y="558"/>
                    </a:lnTo>
                    <a:cubicBezTo>
                      <a:pt x="30" y="558"/>
                      <a:pt x="30" y="558"/>
                      <a:pt x="30" y="589"/>
                    </a:cubicBezTo>
                    <a:cubicBezTo>
                      <a:pt x="0" y="589"/>
                      <a:pt x="0" y="589"/>
                      <a:pt x="0" y="589"/>
                    </a:cubicBezTo>
                    <a:cubicBezTo>
                      <a:pt x="0" y="589"/>
                      <a:pt x="0" y="589"/>
                      <a:pt x="0" y="620"/>
                    </a:cubicBezTo>
                    <a:cubicBezTo>
                      <a:pt x="0" y="651"/>
                      <a:pt x="0" y="682"/>
                      <a:pt x="0" y="744"/>
                    </a:cubicBezTo>
                    <a:lnTo>
                      <a:pt x="0" y="775"/>
                    </a:lnTo>
                    <a:cubicBezTo>
                      <a:pt x="30" y="806"/>
                      <a:pt x="30" y="806"/>
                      <a:pt x="30" y="806"/>
                    </a:cubicBezTo>
                    <a:lnTo>
                      <a:pt x="30" y="775"/>
                    </a:lnTo>
                    <a:cubicBezTo>
                      <a:pt x="62" y="775"/>
                      <a:pt x="62" y="775"/>
                      <a:pt x="62" y="744"/>
                    </a:cubicBezTo>
                    <a:lnTo>
                      <a:pt x="62" y="744"/>
                    </a:lnTo>
                    <a:cubicBezTo>
                      <a:pt x="93" y="713"/>
                      <a:pt x="154" y="651"/>
                      <a:pt x="154" y="620"/>
                    </a:cubicBezTo>
                    <a:cubicBezTo>
                      <a:pt x="186" y="620"/>
                      <a:pt x="248" y="558"/>
                      <a:pt x="278" y="558"/>
                    </a:cubicBezTo>
                    <a:cubicBezTo>
                      <a:pt x="278" y="558"/>
                      <a:pt x="310" y="527"/>
                      <a:pt x="310" y="496"/>
                    </a:cubicBezTo>
                    <a:cubicBezTo>
                      <a:pt x="341" y="465"/>
                      <a:pt x="341" y="434"/>
                      <a:pt x="372" y="434"/>
                    </a:cubicBezTo>
                    <a:cubicBezTo>
                      <a:pt x="372" y="434"/>
                      <a:pt x="372" y="403"/>
                      <a:pt x="402" y="403"/>
                    </a:cubicBezTo>
                    <a:cubicBezTo>
                      <a:pt x="402" y="372"/>
                      <a:pt x="434" y="311"/>
                      <a:pt x="465" y="248"/>
                    </a:cubicBezTo>
                    <a:cubicBezTo>
                      <a:pt x="526" y="155"/>
                      <a:pt x="526" y="124"/>
                      <a:pt x="526" y="124"/>
                    </a:cubicBezTo>
                    <a:lnTo>
                      <a:pt x="526" y="124"/>
                    </a:lnTo>
                    <a:cubicBezTo>
                      <a:pt x="526" y="63"/>
                      <a:pt x="526" y="63"/>
                      <a:pt x="558" y="63"/>
                    </a:cubicBezTo>
                    <a:cubicBezTo>
                      <a:pt x="558" y="31"/>
                      <a:pt x="526" y="0"/>
                      <a:pt x="526" y="0"/>
                    </a:cubicBezTo>
                    <a:lnTo>
                      <a:pt x="526" y="0"/>
                    </a:lnTo>
                    <a:cubicBezTo>
                      <a:pt x="526" y="0"/>
                      <a:pt x="526" y="0"/>
                      <a:pt x="496" y="31"/>
                    </a:cubicBezTo>
                    <a:lnTo>
                      <a:pt x="496" y="31"/>
                    </a:lnTo>
                    <a:cubicBezTo>
                      <a:pt x="465" y="31"/>
                      <a:pt x="434" y="31"/>
                      <a:pt x="434" y="31"/>
                    </a:cubicBezTo>
                    <a:lnTo>
                      <a:pt x="434" y="31"/>
                    </a:lnTo>
                    <a:lnTo>
                      <a:pt x="434" y="31"/>
                    </a:lnTo>
                    <a:cubicBezTo>
                      <a:pt x="402" y="63"/>
                      <a:pt x="402" y="63"/>
                      <a:pt x="402" y="63"/>
                    </a:cubicBezTo>
                    <a:lnTo>
                      <a:pt x="402" y="63"/>
                    </a:lnTo>
                    <a:cubicBezTo>
                      <a:pt x="372" y="63"/>
                      <a:pt x="372" y="63"/>
                      <a:pt x="341" y="63"/>
                    </a:cubicBezTo>
                    <a:lnTo>
                      <a:pt x="341" y="63"/>
                    </a:lnTo>
                    <a:lnTo>
                      <a:pt x="310" y="63"/>
                    </a:lnTo>
                    <a:cubicBezTo>
                      <a:pt x="310" y="93"/>
                      <a:pt x="310" y="93"/>
                      <a:pt x="310" y="93"/>
                    </a:cubicBezTo>
                    <a:cubicBezTo>
                      <a:pt x="278" y="93"/>
                      <a:pt x="278" y="93"/>
                      <a:pt x="278" y="93"/>
                    </a:cubicBezTo>
                    <a:lnTo>
                      <a:pt x="248" y="93"/>
                    </a:lnTo>
                    <a:lnTo>
                      <a:pt x="248" y="93"/>
                    </a:lnTo>
                    <a:lnTo>
                      <a:pt x="248" y="93"/>
                    </a:lnTo>
                    <a:cubicBezTo>
                      <a:pt x="217" y="93"/>
                      <a:pt x="217" y="93"/>
                      <a:pt x="186" y="93"/>
                    </a:cubicBezTo>
                    <a:cubicBezTo>
                      <a:pt x="154" y="93"/>
                      <a:pt x="154" y="93"/>
                      <a:pt x="124" y="63"/>
                    </a:cubicBezTo>
                    <a:lnTo>
                      <a:pt x="124" y="63"/>
                    </a:lnTo>
                    <a:lnTo>
                      <a:pt x="124" y="63"/>
                    </a:lnTo>
                    <a:lnTo>
                      <a:pt x="124" y="93"/>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40" name="Freeform 37"/>
              <p:cNvSpPr>
                <a:spLocks noChangeArrowheads="1"/>
              </p:cNvSpPr>
              <p:nvPr/>
            </p:nvSpPr>
            <p:spPr bwMode="auto">
              <a:xfrm>
                <a:off x="4527550" y="2227263"/>
                <a:ext cx="179388" cy="122237"/>
              </a:xfrm>
              <a:custGeom>
                <a:avLst/>
                <a:gdLst>
                  <a:gd name="T0" fmla="*/ 496 w 497"/>
                  <a:gd name="T1" fmla="*/ 61 h 340"/>
                  <a:gd name="T2" fmla="*/ 496 w 497"/>
                  <a:gd name="T3" fmla="*/ 61 h 340"/>
                  <a:gd name="T4" fmla="*/ 465 w 497"/>
                  <a:gd name="T5" fmla="*/ 30 h 340"/>
                  <a:gd name="T6" fmla="*/ 465 w 497"/>
                  <a:gd name="T7" fmla="*/ 0 h 340"/>
                  <a:gd name="T8" fmla="*/ 402 w 497"/>
                  <a:gd name="T9" fmla="*/ 0 h 340"/>
                  <a:gd name="T10" fmla="*/ 341 w 497"/>
                  <a:gd name="T11" fmla="*/ 30 h 340"/>
                  <a:gd name="T12" fmla="*/ 341 w 497"/>
                  <a:gd name="T13" fmla="*/ 30 h 340"/>
                  <a:gd name="T14" fmla="*/ 310 w 497"/>
                  <a:gd name="T15" fmla="*/ 30 h 340"/>
                  <a:gd name="T16" fmla="*/ 248 w 497"/>
                  <a:gd name="T17" fmla="*/ 92 h 340"/>
                  <a:gd name="T18" fmla="*/ 217 w 497"/>
                  <a:gd name="T19" fmla="*/ 124 h 340"/>
                  <a:gd name="T20" fmla="*/ 186 w 497"/>
                  <a:gd name="T21" fmla="*/ 154 h 340"/>
                  <a:gd name="T22" fmla="*/ 186 w 497"/>
                  <a:gd name="T23" fmla="*/ 154 h 340"/>
                  <a:gd name="T24" fmla="*/ 124 w 497"/>
                  <a:gd name="T25" fmla="*/ 124 h 340"/>
                  <a:gd name="T26" fmla="*/ 62 w 497"/>
                  <a:gd name="T27" fmla="*/ 92 h 340"/>
                  <a:gd name="T28" fmla="*/ 0 w 497"/>
                  <a:gd name="T29" fmla="*/ 92 h 340"/>
                  <a:gd name="T30" fmla="*/ 0 w 497"/>
                  <a:gd name="T31" fmla="*/ 92 h 340"/>
                  <a:gd name="T32" fmla="*/ 0 w 497"/>
                  <a:gd name="T33" fmla="*/ 124 h 340"/>
                  <a:gd name="T34" fmla="*/ 0 w 497"/>
                  <a:gd name="T35" fmla="*/ 154 h 340"/>
                  <a:gd name="T36" fmla="*/ 0 w 497"/>
                  <a:gd name="T37" fmla="*/ 185 h 340"/>
                  <a:gd name="T38" fmla="*/ 0 w 497"/>
                  <a:gd name="T39" fmla="*/ 308 h 340"/>
                  <a:gd name="T40" fmla="*/ 30 w 497"/>
                  <a:gd name="T41" fmla="*/ 339 h 340"/>
                  <a:gd name="T42" fmla="*/ 93 w 497"/>
                  <a:gd name="T43" fmla="*/ 339 h 340"/>
                  <a:gd name="T44" fmla="*/ 93 w 497"/>
                  <a:gd name="T45" fmla="*/ 308 h 340"/>
                  <a:gd name="T46" fmla="*/ 124 w 497"/>
                  <a:gd name="T47" fmla="*/ 308 h 340"/>
                  <a:gd name="T48" fmla="*/ 154 w 497"/>
                  <a:gd name="T49" fmla="*/ 277 h 340"/>
                  <a:gd name="T50" fmla="*/ 248 w 497"/>
                  <a:gd name="T51" fmla="*/ 247 h 340"/>
                  <a:gd name="T52" fmla="*/ 278 w 497"/>
                  <a:gd name="T53" fmla="*/ 247 h 340"/>
                  <a:gd name="T54" fmla="*/ 372 w 497"/>
                  <a:gd name="T55" fmla="*/ 185 h 340"/>
                  <a:gd name="T56" fmla="*/ 402 w 497"/>
                  <a:gd name="T57" fmla="*/ 185 h 340"/>
                  <a:gd name="T58" fmla="*/ 465 w 497"/>
                  <a:gd name="T59" fmla="*/ 154 h 340"/>
                  <a:gd name="T60" fmla="*/ 465 w 497"/>
                  <a:gd name="T61" fmla="*/ 154 h 340"/>
                  <a:gd name="T62" fmla="*/ 496 w 497"/>
                  <a:gd name="T63" fmla="*/ 92 h 340"/>
                  <a:gd name="T64" fmla="*/ 496 w 497"/>
                  <a:gd name="T65" fmla="*/ 61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7" h="340">
                    <a:moveTo>
                      <a:pt x="496" y="61"/>
                    </a:moveTo>
                    <a:lnTo>
                      <a:pt x="496" y="61"/>
                    </a:lnTo>
                    <a:lnTo>
                      <a:pt x="496" y="61"/>
                    </a:lnTo>
                    <a:lnTo>
                      <a:pt x="496" y="61"/>
                    </a:lnTo>
                    <a:cubicBezTo>
                      <a:pt x="496" y="61"/>
                      <a:pt x="496" y="61"/>
                      <a:pt x="465" y="61"/>
                    </a:cubicBezTo>
                    <a:cubicBezTo>
                      <a:pt x="465" y="30"/>
                      <a:pt x="465" y="30"/>
                      <a:pt x="465" y="30"/>
                    </a:cubicBezTo>
                    <a:cubicBezTo>
                      <a:pt x="465" y="30"/>
                      <a:pt x="465" y="30"/>
                      <a:pt x="465" y="0"/>
                    </a:cubicBezTo>
                    <a:lnTo>
                      <a:pt x="465" y="0"/>
                    </a:lnTo>
                    <a:cubicBezTo>
                      <a:pt x="434" y="0"/>
                      <a:pt x="434" y="0"/>
                      <a:pt x="434" y="0"/>
                    </a:cubicBezTo>
                    <a:cubicBezTo>
                      <a:pt x="434" y="0"/>
                      <a:pt x="434" y="0"/>
                      <a:pt x="402" y="0"/>
                    </a:cubicBezTo>
                    <a:lnTo>
                      <a:pt x="402" y="0"/>
                    </a:lnTo>
                    <a:cubicBezTo>
                      <a:pt x="372" y="30"/>
                      <a:pt x="372" y="30"/>
                      <a:pt x="341" y="30"/>
                    </a:cubicBezTo>
                    <a:lnTo>
                      <a:pt x="341" y="30"/>
                    </a:lnTo>
                    <a:lnTo>
                      <a:pt x="341" y="30"/>
                    </a:lnTo>
                    <a:cubicBezTo>
                      <a:pt x="310" y="30"/>
                      <a:pt x="310" y="30"/>
                      <a:pt x="310" y="30"/>
                    </a:cubicBezTo>
                    <a:lnTo>
                      <a:pt x="310" y="30"/>
                    </a:lnTo>
                    <a:cubicBezTo>
                      <a:pt x="310" y="61"/>
                      <a:pt x="278" y="61"/>
                      <a:pt x="248" y="61"/>
                    </a:cubicBezTo>
                    <a:cubicBezTo>
                      <a:pt x="248" y="92"/>
                      <a:pt x="248" y="92"/>
                      <a:pt x="248" y="92"/>
                    </a:cubicBezTo>
                    <a:cubicBezTo>
                      <a:pt x="248" y="92"/>
                      <a:pt x="248" y="92"/>
                      <a:pt x="248" y="124"/>
                    </a:cubicBezTo>
                    <a:cubicBezTo>
                      <a:pt x="217" y="124"/>
                      <a:pt x="217" y="124"/>
                      <a:pt x="217" y="124"/>
                    </a:cubicBezTo>
                    <a:lnTo>
                      <a:pt x="217" y="124"/>
                    </a:lnTo>
                    <a:cubicBezTo>
                      <a:pt x="217" y="154"/>
                      <a:pt x="217" y="154"/>
                      <a:pt x="186" y="154"/>
                    </a:cubicBezTo>
                    <a:lnTo>
                      <a:pt x="186" y="154"/>
                    </a:lnTo>
                    <a:lnTo>
                      <a:pt x="186" y="154"/>
                    </a:lnTo>
                    <a:cubicBezTo>
                      <a:pt x="154" y="154"/>
                      <a:pt x="154" y="154"/>
                      <a:pt x="154" y="154"/>
                    </a:cubicBezTo>
                    <a:cubicBezTo>
                      <a:pt x="154" y="124"/>
                      <a:pt x="124" y="124"/>
                      <a:pt x="124" y="124"/>
                    </a:cubicBezTo>
                    <a:cubicBezTo>
                      <a:pt x="93" y="124"/>
                      <a:pt x="93" y="92"/>
                      <a:pt x="93" y="92"/>
                    </a:cubicBezTo>
                    <a:lnTo>
                      <a:pt x="62" y="92"/>
                    </a:lnTo>
                    <a:cubicBezTo>
                      <a:pt x="62" y="92"/>
                      <a:pt x="62" y="92"/>
                      <a:pt x="30" y="92"/>
                    </a:cubicBezTo>
                    <a:cubicBezTo>
                      <a:pt x="30" y="92"/>
                      <a:pt x="30" y="92"/>
                      <a:pt x="0" y="92"/>
                    </a:cubicBezTo>
                    <a:lnTo>
                      <a:pt x="0" y="92"/>
                    </a:lnTo>
                    <a:lnTo>
                      <a:pt x="0" y="92"/>
                    </a:lnTo>
                    <a:lnTo>
                      <a:pt x="0" y="92"/>
                    </a:lnTo>
                    <a:cubicBezTo>
                      <a:pt x="0" y="124"/>
                      <a:pt x="0" y="124"/>
                      <a:pt x="0" y="124"/>
                    </a:cubicBezTo>
                    <a:lnTo>
                      <a:pt x="0" y="124"/>
                    </a:lnTo>
                    <a:cubicBezTo>
                      <a:pt x="0" y="124"/>
                      <a:pt x="0" y="124"/>
                      <a:pt x="0" y="154"/>
                    </a:cubicBezTo>
                    <a:lnTo>
                      <a:pt x="0" y="185"/>
                    </a:lnTo>
                    <a:lnTo>
                      <a:pt x="0" y="185"/>
                    </a:lnTo>
                    <a:cubicBezTo>
                      <a:pt x="0" y="215"/>
                      <a:pt x="0" y="215"/>
                      <a:pt x="0" y="215"/>
                    </a:cubicBezTo>
                    <a:cubicBezTo>
                      <a:pt x="0" y="247"/>
                      <a:pt x="0" y="277"/>
                      <a:pt x="0" y="308"/>
                    </a:cubicBezTo>
                    <a:cubicBezTo>
                      <a:pt x="0" y="308"/>
                      <a:pt x="0" y="308"/>
                      <a:pt x="0" y="339"/>
                    </a:cubicBezTo>
                    <a:lnTo>
                      <a:pt x="30" y="339"/>
                    </a:lnTo>
                    <a:lnTo>
                      <a:pt x="30" y="339"/>
                    </a:lnTo>
                    <a:cubicBezTo>
                      <a:pt x="62" y="339"/>
                      <a:pt x="62" y="339"/>
                      <a:pt x="93" y="339"/>
                    </a:cubicBezTo>
                    <a:lnTo>
                      <a:pt x="93" y="339"/>
                    </a:lnTo>
                    <a:lnTo>
                      <a:pt x="93" y="308"/>
                    </a:lnTo>
                    <a:cubicBezTo>
                      <a:pt x="124" y="277"/>
                      <a:pt x="124" y="277"/>
                      <a:pt x="124" y="277"/>
                    </a:cubicBezTo>
                    <a:cubicBezTo>
                      <a:pt x="124" y="308"/>
                      <a:pt x="124" y="308"/>
                      <a:pt x="124" y="308"/>
                    </a:cubicBezTo>
                    <a:lnTo>
                      <a:pt x="124" y="308"/>
                    </a:lnTo>
                    <a:cubicBezTo>
                      <a:pt x="124" y="308"/>
                      <a:pt x="154" y="308"/>
                      <a:pt x="154" y="277"/>
                    </a:cubicBezTo>
                    <a:cubicBezTo>
                      <a:pt x="186" y="277"/>
                      <a:pt x="186" y="277"/>
                      <a:pt x="217" y="277"/>
                    </a:cubicBezTo>
                    <a:cubicBezTo>
                      <a:pt x="217" y="247"/>
                      <a:pt x="248" y="247"/>
                      <a:pt x="248" y="247"/>
                    </a:cubicBezTo>
                    <a:cubicBezTo>
                      <a:pt x="278" y="247"/>
                      <a:pt x="278" y="247"/>
                      <a:pt x="278" y="247"/>
                    </a:cubicBezTo>
                    <a:lnTo>
                      <a:pt x="278" y="247"/>
                    </a:lnTo>
                    <a:cubicBezTo>
                      <a:pt x="278" y="247"/>
                      <a:pt x="310" y="215"/>
                      <a:pt x="341" y="215"/>
                    </a:cubicBezTo>
                    <a:lnTo>
                      <a:pt x="372" y="185"/>
                    </a:lnTo>
                    <a:cubicBezTo>
                      <a:pt x="372" y="185"/>
                      <a:pt x="372" y="185"/>
                      <a:pt x="402" y="185"/>
                    </a:cubicBezTo>
                    <a:lnTo>
                      <a:pt x="402" y="185"/>
                    </a:lnTo>
                    <a:lnTo>
                      <a:pt x="402" y="185"/>
                    </a:lnTo>
                    <a:cubicBezTo>
                      <a:pt x="402" y="185"/>
                      <a:pt x="434" y="185"/>
                      <a:pt x="465" y="154"/>
                    </a:cubicBezTo>
                    <a:lnTo>
                      <a:pt x="465" y="154"/>
                    </a:lnTo>
                    <a:lnTo>
                      <a:pt x="465" y="154"/>
                    </a:lnTo>
                    <a:lnTo>
                      <a:pt x="465" y="124"/>
                    </a:lnTo>
                    <a:cubicBezTo>
                      <a:pt x="496" y="124"/>
                      <a:pt x="496" y="124"/>
                      <a:pt x="496" y="92"/>
                    </a:cubicBezTo>
                    <a:lnTo>
                      <a:pt x="496" y="92"/>
                    </a:lnTo>
                    <a:lnTo>
                      <a:pt x="496" y="6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41" name="Freeform 38"/>
              <p:cNvSpPr>
                <a:spLocks noChangeArrowheads="1"/>
              </p:cNvSpPr>
              <p:nvPr/>
            </p:nvSpPr>
            <p:spPr bwMode="auto">
              <a:xfrm>
                <a:off x="3322638" y="2271713"/>
                <a:ext cx="112712" cy="88900"/>
              </a:xfrm>
              <a:custGeom>
                <a:avLst/>
                <a:gdLst>
                  <a:gd name="T0" fmla="*/ 63 w 312"/>
                  <a:gd name="T1" fmla="*/ 153 h 248"/>
                  <a:gd name="T2" fmla="*/ 63 w 312"/>
                  <a:gd name="T3" fmla="*/ 153 h 248"/>
                  <a:gd name="T4" fmla="*/ 63 w 312"/>
                  <a:gd name="T5" fmla="*/ 153 h 248"/>
                  <a:gd name="T6" fmla="*/ 63 w 312"/>
                  <a:gd name="T7" fmla="*/ 153 h 248"/>
                  <a:gd name="T8" fmla="*/ 63 w 312"/>
                  <a:gd name="T9" fmla="*/ 153 h 248"/>
                  <a:gd name="T10" fmla="*/ 93 w 312"/>
                  <a:gd name="T11" fmla="*/ 123 h 248"/>
                  <a:gd name="T12" fmla="*/ 93 w 312"/>
                  <a:gd name="T13" fmla="*/ 123 h 248"/>
                  <a:gd name="T14" fmla="*/ 124 w 312"/>
                  <a:gd name="T15" fmla="*/ 123 h 248"/>
                  <a:gd name="T16" fmla="*/ 124 w 312"/>
                  <a:gd name="T17" fmla="*/ 123 h 248"/>
                  <a:gd name="T18" fmla="*/ 124 w 312"/>
                  <a:gd name="T19" fmla="*/ 123 h 248"/>
                  <a:gd name="T20" fmla="*/ 155 w 312"/>
                  <a:gd name="T21" fmla="*/ 153 h 248"/>
                  <a:gd name="T22" fmla="*/ 187 w 312"/>
                  <a:gd name="T23" fmla="*/ 153 h 248"/>
                  <a:gd name="T24" fmla="*/ 187 w 312"/>
                  <a:gd name="T25" fmla="*/ 153 h 248"/>
                  <a:gd name="T26" fmla="*/ 217 w 312"/>
                  <a:gd name="T27" fmla="*/ 184 h 248"/>
                  <a:gd name="T28" fmla="*/ 217 w 312"/>
                  <a:gd name="T29" fmla="*/ 184 h 248"/>
                  <a:gd name="T30" fmla="*/ 217 w 312"/>
                  <a:gd name="T31" fmla="*/ 184 h 248"/>
                  <a:gd name="T32" fmla="*/ 217 w 312"/>
                  <a:gd name="T33" fmla="*/ 184 h 248"/>
                  <a:gd name="T34" fmla="*/ 217 w 312"/>
                  <a:gd name="T35" fmla="*/ 184 h 248"/>
                  <a:gd name="T36" fmla="*/ 217 w 312"/>
                  <a:gd name="T37" fmla="*/ 184 h 248"/>
                  <a:gd name="T38" fmla="*/ 187 w 312"/>
                  <a:gd name="T39" fmla="*/ 215 h 248"/>
                  <a:gd name="T40" fmla="*/ 187 w 312"/>
                  <a:gd name="T41" fmla="*/ 215 h 248"/>
                  <a:gd name="T42" fmla="*/ 187 w 312"/>
                  <a:gd name="T43" fmla="*/ 215 h 248"/>
                  <a:gd name="T44" fmla="*/ 187 w 312"/>
                  <a:gd name="T45" fmla="*/ 215 h 248"/>
                  <a:gd name="T46" fmla="*/ 248 w 312"/>
                  <a:gd name="T47" fmla="*/ 215 h 248"/>
                  <a:gd name="T48" fmla="*/ 248 w 312"/>
                  <a:gd name="T49" fmla="*/ 247 h 248"/>
                  <a:gd name="T50" fmla="*/ 279 w 312"/>
                  <a:gd name="T51" fmla="*/ 247 h 248"/>
                  <a:gd name="T52" fmla="*/ 311 w 312"/>
                  <a:gd name="T53" fmla="*/ 247 h 248"/>
                  <a:gd name="T54" fmla="*/ 279 w 312"/>
                  <a:gd name="T55" fmla="*/ 215 h 248"/>
                  <a:gd name="T56" fmla="*/ 279 w 312"/>
                  <a:gd name="T57" fmla="*/ 215 h 248"/>
                  <a:gd name="T58" fmla="*/ 248 w 312"/>
                  <a:gd name="T59" fmla="*/ 184 h 248"/>
                  <a:gd name="T60" fmla="*/ 248 w 312"/>
                  <a:gd name="T61" fmla="*/ 184 h 248"/>
                  <a:gd name="T62" fmla="*/ 248 w 312"/>
                  <a:gd name="T63" fmla="*/ 153 h 248"/>
                  <a:gd name="T64" fmla="*/ 248 w 312"/>
                  <a:gd name="T65" fmla="*/ 153 h 248"/>
                  <a:gd name="T66" fmla="*/ 248 w 312"/>
                  <a:gd name="T67" fmla="*/ 153 h 248"/>
                  <a:gd name="T68" fmla="*/ 248 w 312"/>
                  <a:gd name="T69" fmla="*/ 123 h 248"/>
                  <a:gd name="T70" fmla="*/ 248 w 312"/>
                  <a:gd name="T71" fmla="*/ 123 h 248"/>
                  <a:gd name="T72" fmla="*/ 217 w 312"/>
                  <a:gd name="T73" fmla="*/ 91 h 248"/>
                  <a:gd name="T74" fmla="*/ 187 w 312"/>
                  <a:gd name="T75" fmla="*/ 61 h 248"/>
                  <a:gd name="T76" fmla="*/ 155 w 312"/>
                  <a:gd name="T77" fmla="*/ 30 h 248"/>
                  <a:gd name="T78" fmla="*/ 155 w 312"/>
                  <a:gd name="T79" fmla="*/ 30 h 248"/>
                  <a:gd name="T80" fmla="*/ 155 w 312"/>
                  <a:gd name="T81" fmla="*/ 30 h 248"/>
                  <a:gd name="T82" fmla="*/ 124 w 312"/>
                  <a:gd name="T83" fmla="*/ 0 h 248"/>
                  <a:gd name="T84" fmla="*/ 124 w 312"/>
                  <a:gd name="T85" fmla="*/ 30 h 248"/>
                  <a:gd name="T86" fmla="*/ 63 w 312"/>
                  <a:gd name="T87" fmla="*/ 30 h 248"/>
                  <a:gd name="T88" fmla="*/ 63 w 312"/>
                  <a:gd name="T89" fmla="*/ 30 h 248"/>
                  <a:gd name="T90" fmla="*/ 31 w 312"/>
                  <a:gd name="T91" fmla="*/ 61 h 248"/>
                  <a:gd name="T92" fmla="*/ 31 w 312"/>
                  <a:gd name="T93" fmla="*/ 61 h 248"/>
                  <a:gd name="T94" fmla="*/ 0 w 312"/>
                  <a:gd name="T95" fmla="*/ 123 h 248"/>
                  <a:gd name="T96" fmla="*/ 31 w 312"/>
                  <a:gd name="T97" fmla="*/ 123 h 248"/>
                  <a:gd name="T98" fmla="*/ 31 w 312"/>
                  <a:gd name="T99" fmla="*/ 123 h 248"/>
                  <a:gd name="T100" fmla="*/ 63 w 312"/>
                  <a:gd name="T101" fmla="*/ 15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2" h="248">
                    <a:moveTo>
                      <a:pt x="63" y="153"/>
                    </a:moveTo>
                    <a:lnTo>
                      <a:pt x="63" y="153"/>
                    </a:lnTo>
                    <a:lnTo>
                      <a:pt x="63" y="153"/>
                    </a:lnTo>
                    <a:lnTo>
                      <a:pt x="63" y="153"/>
                    </a:lnTo>
                    <a:lnTo>
                      <a:pt x="63" y="153"/>
                    </a:lnTo>
                    <a:cubicBezTo>
                      <a:pt x="93" y="153"/>
                      <a:pt x="93" y="123"/>
                      <a:pt x="93" y="123"/>
                    </a:cubicBezTo>
                    <a:lnTo>
                      <a:pt x="93" y="123"/>
                    </a:lnTo>
                    <a:lnTo>
                      <a:pt x="124" y="123"/>
                    </a:lnTo>
                    <a:lnTo>
                      <a:pt x="124" y="123"/>
                    </a:lnTo>
                    <a:lnTo>
                      <a:pt x="124" y="123"/>
                    </a:lnTo>
                    <a:cubicBezTo>
                      <a:pt x="155" y="123"/>
                      <a:pt x="155" y="153"/>
                      <a:pt x="155" y="153"/>
                    </a:cubicBezTo>
                    <a:cubicBezTo>
                      <a:pt x="187" y="153"/>
                      <a:pt x="187" y="153"/>
                      <a:pt x="187" y="153"/>
                    </a:cubicBezTo>
                    <a:lnTo>
                      <a:pt x="187" y="153"/>
                    </a:lnTo>
                    <a:cubicBezTo>
                      <a:pt x="187" y="153"/>
                      <a:pt x="187" y="184"/>
                      <a:pt x="217" y="184"/>
                    </a:cubicBezTo>
                    <a:lnTo>
                      <a:pt x="217" y="184"/>
                    </a:lnTo>
                    <a:lnTo>
                      <a:pt x="217" y="184"/>
                    </a:lnTo>
                    <a:lnTo>
                      <a:pt x="217" y="184"/>
                    </a:lnTo>
                    <a:lnTo>
                      <a:pt x="217" y="184"/>
                    </a:lnTo>
                    <a:lnTo>
                      <a:pt x="217" y="184"/>
                    </a:lnTo>
                    <a:cubicBezTo>
                      <a:pt x="217" y="184"/>
                      <a:pt x="217" y="215"/>
                      <a:pt x="187" y="215"/>
                    </a:cubicBezTo>
                    <a:lnTo>
                      <a:pt x="187" y="215"/>
                    </a:lnTo>
                    <a:lnTo>
                      <a:pt x="187" y="215"/>
                    </a:lnTo>
                    <a:lnTo>
                      <a:pt x="187" y="215"/>
                    </a:lnTo>
                    <a:cubicBezTo>
                      <a:pt x="217" y="215"/>
                      <a:pt x="217" y="215"/>
                      <a:pt x="248" y="215"/>
                    </a:cubicBezTo>
                    <a:cubicBezTo>
                      <a:pt x="248" y="247"/>
                      <a:pt x="248" y="247"/>
                      <a:pt x="248" y="247"/>
                    </a:cubicBezTo>
                    <a:lnTo>
                      <a:pt x="279" y="247"/>
                    </a:lnTo>
                    <a:cubicBezTo>
                      <a:pt x="279" y="247"/>
                      <a:pt x="279" y="247"/>
                      <a:pt x="311" y="247"/>
                    </a:cubicBezTo>
                    <a:cubicBezTo>
                      <a:pt x="279" y="247"/>
                      <a:pt x="279" y="247"/>
                      <a:pt x="279" y="215"/>
                    </a:cubicBezTo>
                    <a:lnTo>
                      <a:pt x="279" y="215"/>
                    </a:lnTo>
                    <a:cubicBezTo>
                      <a:pt x="279" y="215"/>
                      <a:pt x="248" y="215"/>
                      <a:pt x="248" y="184"/>
                    </a:cubicBezTo>
                    <a:lnTo>
                      <a:pt x="248" y="184"/>
                    </a:lnTo>
                    <a:lnTo>
                      <a:pt x="248" y="153"/>
                    </a:lnTo>
                    <a:lnTo>
                      <a:pt x="248" y="153"/>
                    </a:lnTo>
                    <a:lnTo>
                      <a:pt x="248" y="153"/>
                    </a:lnTo>
                    <a:lnTo>
                      <a:pt x="248" y="123"/>
                    </a:lnTo>
                    <a:lnTo>
                      <a:pt x="248" y="123"/>
                    </a:lnTo>
                    <a:cubicBezTo>
                      <a:pt x="248" y="123"/>
                      <a:pt x="217" y="123"/>
                      <a:pt x="217" y="91"/>
                    </a:cubicBezTo>
                    <a:lnTo>
                      <a:pt x="187" y="61"/>
                    </a:lnTo>
                    <a:cubicBezTo>
                      <a:pt x="187" y="61"/>
                      <a:pt x="187" y="61"/>
                      <a:pt x="155" y="30"/>
                    </a:cubicBezTo>
                    <a:lnTo>
                      <a:pt x="155" y="30"/>
                    </a:lnTo>
                    <a:lnTo>
                      <a:pt x="155" y="30"/>
                    </a:lnTo>
                    <a:lnTo>
                      <a:pt x="124" y="0"/>
                    </a:lnTo>
                    <a:cubicBezTo>
                      <a:pt x="124" y="0"/>
                      <a:pt x="124" y="0"/>
                      <a:pt x="124" y="30"/>
                    </a:cubicBezTo>
                    <a:cubicBezTo>
                      <a:pt x="93" y="30"/>
                      <a:pt x="93" y="30"/>
                      <a:pt x="63" y="30"/>
                    </a:cubicBezTo>
                    <a:lnTo>
                      <a:pt x="63" y="30"/>
                    </a:lnTo>
                    <a:lnTo>
                      <a:pt x="31" y="61"/>
                    </a:lnTo>
                    <a:lnTo>
                      <a:pt x="31" y="61"/>
                    </a:lnTo>
                    <a:cubicBezTo>
                      <a:pt x="31" y="91"/>
                      <a:pt x="31" y="91"/>
                      <a:pt x="0" y="123"/>
                    </a:cubicBezTo>
                    <a:cubicBezTo>
                      <a:pt x="31" y="123"/>
                      <a:pt x="31" y="123"/>
                      <a:pt x="31" y="123"/>
                    </a:cubicBezTo>
                    <a:lnTo>
                      <a:pt x="31" y="123"/>
                    </a:lnTo>
                    <a:cubicBezTo>
                      <a:pt x="31" y="123"/>
                      <a:pt x="31" y="153"/>
                      <a:pt x="63" y="15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42" name="Freeform 39"/>
              <p:cNvSpPr>
                <a:spLocks noChangeArrowheads="1"/>
              </p:cNvSpPr>
              <p:nvPr/>
            </p:nvSpPr>
            <p:spPr bwMode="auto">
              <a:xfrm>
                <a:off x="3411538" y="2427288"/>
                <a:ext cx="33337" cy="55562"/>
              </a:xfrm>
              <a:custGeom>
                <a:avLst/>
                <a:gdLst>
                  <a:gd name="T0" fmla="*/ 93 w 94"/>
                  <a:gd name="T1" fmla="*/ 93 h 156"/>
                  <a:gd name="T2" fmla="*/ 93 w 94"/>
                  <a:gd name="T3" fmla="*/ 93 h 156"/>
                  <a:gd name="T4" fmla="*/ 93 w 94"/>
                  <a:gd name="T5" fmla="*/ 93 h 156"/>
                  <a:gd name="T6" fmla="*/ 93 w 94"/>
                  <a:gd name="T7" fmla="*/ 63 h 156"/>
                  <a:gd name="T8" fmla="*/ 93 w 94"/>
                  <a:gd name="T9" fmla="*/ 63 h 156"/>
                  <a:gd name="T10" fmla="*/ 63 w 94"/>
                  <a:gd name="T11" fmla="*/ 0 h 156"/>
                  <a:gd name="T12" fmla="*/ 63 w 94"/>
                  <a:gd name="T13" fmla="*/ 0 h 156"/>
                  <a:gd name="T14" fmla="*/ 63 w 94"/>
                  <a:gd name="T15" fmla="*/ 0 h 156"/>
                  <a:gd name="T16" fmla="*/ 63 w 94"/>
                  <a:gd name="T17" fmla="*/ 0 h 156"/>
                  <a:gd name="T18" fmla="*/ 31 w 94"/>
                  <a:gd name="T19" fmla="*/ 31 h 156"/>
                  <a:gd name="T20" fmla="*/ 0 w 94"/>
                  <a:gd name="T21" fmla="*/ 63 h 156"/>
                  <a:gd name="T22" fmla="*/ 0 w 94"/>
                  <a:gd name="T23" fmla="*/ 63 h 156"/>
                  <a:gd name="T24" fmla="*/ 0 w 94"/>
                  <a:gd name="T25" fmla="*/ 93 h 156"/>
                  <a:gd name="T26" fmla="*/ 0 w 94"/>
                  <a:gd name="T27" fmla="*/ 93 h 156"/>
                  <a:gd name="T28" fmla="*/ 0 w 94"/>
                  <a:gd name="T29" fmla="*/ 93 h 156"/>
                  <a:gd name="T30" fmla="*/ 31 w 94"/>
                  <a:gd name="T31" fmla="*/ 124 h 156"/>
                  <a:gd name="T32" fmla="*/ 31 w 94"/>
                  <a:gd name="T33" fmla="*/ 124 h 156"/>
                  <a:gd name="T34" fmla="*/ 31 w 94"/>
                  <a:gd name="T35" fmla="*/ 155 h 156"/>
                  <a:gd name="T36" fmla="*/ 93 w 94"/>
                  <a:gd name="T37" fmla="*/ 124 h 156"/>
                  <a:gd name="T38" fmla="*/ 93 w 94"/>
                  <a:gd name="T39" fmla="*/ 9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6">
                    <a:moveTo>
                      <a:pt x="93" y="93"/>
                    </a:moveTo>
                    <a:lnTo>
                      <a:pt x="93" y="93"/>
                    </a:lnTo>
                    <a:lnTo>
                      <a:pt x="93" y="93"/>
                    </a:lnTo>
                    <a:cubicBezTo>
                      <a:pt x="93" y="63"/>
                      <a:pt x="93" y="63"/>
                      <a:pt x="93" y="63"/>
                    </a:cubicBezTo>
                    <a:lnTo>
                      <a:pt x="93" y="63"/>
                    </a:lnTo>
                    <a:cubicBezTo>
                      <a:pt x="93" y="63"/>
                      <a:pt x="63" y="31"/>
                      <a:pt x="63" y="0"/>
                    </a:cubicBezTo>
                    <a:lnTo>
                      <a:pt x="63" y="0"/>
                    </a:lnTo>
                    <a:lnTo>
                      <a:pt x="63" y="0"/>
                    </a:lnTo>
                    <a:lnTo>
                      <a:pt x="63" y="0"/>
                    </a:lnTo>
                    <a:cubicBezTo>
                      <a:pt x="31" y="0"/>
                      <a:pt x="31" y="31"/>
                      <a:pt x="31" y="31"/>
                    </a:cubicBezTo>
                    <a:cubicBezTo>
                      <a:pt x="31" y="31"/>
                      <a:pt x="0" y="31"/>
                      <a:pt x="0" y="63"/>
                    </a:cubicBezTo>
                    <a:lnTo>
                      <a:pt x="0" y="63"/>
                    </a:lnTo>
                    <a:cubicBezTo>
                      <a:pt x="0" y="63"/>
                      <a:pt x="0" y="63"/>
                      <a:pt x="0" y="93"/>
                    </a:cubicBezTo>
                    <a:lnTo>
                      <a:pt x="0" y="93"/>
                    </a:lnTo>
                    <a:lnTo>
                      <a:pt x="0" y="93"/>
                    </a:lnTo>
                    <a:lnTo>
                      <a:pt x="31" y="124"/>
                    </a:lnTo>
                    <a:lnTo>
                      <a:pt x="31" y="124"/>
                    </a:lnTo>
                    <a:cubicBezTo>
                      <a:pt x="31" y="124"/>
                      <a:pt x="31" y="124"/>
                      <a:pt x="31" y="155"/>
                    </a:cubicBezTo>
                    <a:cubicBezTo>
                      <a:pt x="63" y="124"/>
                      <a:pt x="63" y="124"/>
                      <a:pt x="93" y="124"/>
                    </a:cubicBezTo>
                    <a:lnTo>
                      <a:pt x="93" y="93"/>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43" name="Freeform 40"/>
              <p:cNvSpPr>
                <a:spLocks noChangeArrowheads="1"/>
              </p:cNvSpPr>
              <p:nvPr/>
            </p:nvSpPr>
            <p:spPr bwMode="auto">
              <a:xfrm>
                <a:off x="3378200" y="2371725"/>
                <a:ext cx="123825" cy="100013"/>
              </a:xfrm>
              <a:custGeom>
                <a:avLst/>
                <a:gdLst>
                  <a:gd name="T0" fmla="*/ 93 w 342"/>
                  <a:gd name="T1" fmla="*/ 124 h 280"/>
                  <a:gd name="T2" fmla="*/ 124 w 342"/>
                  <a:gd name="T3" fmla="*/ 94 h 280"/>
                  <a:gd name="T4" fmla="*/ 156 w 342"/>
                  <a:gd name="T5" fmla="*/ 94 h 280"/>
                  <a:gd name="T6" fmla="*/ 217 w 342"/>
                  <a:gd name="T7" fmla="*/ 155 h 280"/>
                  <a:gd name="T8" fmla="*/ 248 w 342"/>
                  <a:gd name="T9" fmla="*/ 186 h 280"/>
                  <a:gd name="T10" fmla="*/ 280 w 342"/>
                  <a:gd name="T11" fmla="*/ 218 h 280"/>
                  <a:gd name="T12" fmla="*/ 280 w 342"/>
                  <a:gd name="T13" fmla="*/ 248 h 280"/>
                  <a:gd name="T14" fmla="*/ 310 w 342"/>
                  <a:gd name="T15" fmla="*/ 248 h 280"/>
                  <a:gd name="T16" fmla="*/ 310 w 342"/>
                  <a:gd name="T17" fmla="*/ 248 h 280"/>
                  <a:gd name="T18" fmla="*/ 310 w 342"/>
                  <a:gd name="T19" fmla="*/ 248 h 280"/>
                  <a:gd name="T20" fmla="*/ 310 w 342"/>
                  <a:gd name="T21" fmla="*/ 218 h 280"/>
                  <a:gd name="T22" fmla="*/ 341 w 342"/>
                  <a:gd name="T23" fmla="*/ 186 h 280"/>
                  <a:gd name="T24" fmla="*/ 310 w 342"/>
                  <a:gd name="T25" fmla="*/ 155 h 280"/>
                  <a:gd name="T26" fmla="*/ 310 w 342"/>
                  <a:gd name="T27" fmla="*/ 124 h 280"/>
                  <a:gd name="T28" fmla="*/ 310 w 342"/>
                  <a:gd name="T29" fmla="*/ 94 h 280"/>
                  <a:gd name="T30" fmla="*/ 310 w 342"/>
                  <a:gd name="T31" fmla="*/ 62 h 280"/>
                  <a:gd name="T32" fmla="*/ 310 w 342"/>
                  <a:gd name="T33" fmla="*/ 62 h 280"/>
                  <a:gd name="T34" fmla="*/ 280 w 342"/>
                  <a:gd name="T35" fmla="*/ 31 h 280"/>
                  <a:gd name="T36" fmla="*/ 280 w 342"/>
                  <a:gd name="T37" fmla="*/ 31 h 280"/>
                  <a:gd name="T38" fmla="*/ 217 w 342"/>
                  <a:gd name="T39" fmla="*/ 31 h 280"/>
                  <a:gd name="T40" fmla="*/ 217 w 342"/>
                  <a:gd name="T41" fmla="*/ 31 h 280"/>
                  <a:gd name="T42" fmla="*/ 186 w 342"/>
                  <a:gd name="T43" fmla="*/ 31 h 280"/>
                  <a:gd name="T44" fmla="*/ 186 w 342"/>
                  <a:gd name="T45" fmla="*/ 31 h 280"/>
                  <a:gd name="T46" fmla="*/ 156 w 342"/>
                  <a:gd name="T47" fmla="*/ 31 h 280"/>
                  <a:gd name="T48" fmla="*/ 124 w 342"/>
                  <a:gd name="T49" fmla="*/ 31 h 280"/>
                  <a:gd name="T50" fmla="*/ 62 w 342"/>
                  <a:gd name="T51" fmla="*/ 0 h 280"/>
                  <a:gd name="T52" fmla="*/ 62 w 342"/>
                  <a:gd name="T53" fmla="*/ 0 h 280"/>
                  <a:gd name="T54" fmla="*/ 62 w 342"/>
                  <a:gd name="T55" fmla="*/ 31 h 280"/>
                  <a:gd name="T56" fmla="*/ 62 w 342"/>
                  <a:gd name="T57" fmla="*/ 31 h 280"/>
                  <a:gd name="T58" fmla="*/ 32 w 342"/>
                  <a:gd name="T59" fmla="*/ 62 h 280"/>
                  <a:gd name="T60" fmla="*/ 0 w 342"/>
                  <a:gd name="T61" fmla="*/ 62 h 280"/>
                  <a:gd name="T62" fmla="*/ 0 w 342"/>
                  <a:gd name="T63" fmla="*/ 62 h 280"/>
                  <a:gd name="T64" fmla="*/ 62 w 342"/>
                  <a:gd name="T65" fmla="*/ 124 h 280"/>
                  <a:gd name="T66" fmla="*/ 62 w 342"/>
                  <a:gd name="T67" fmla="*/ 124 h 280"/>
                  <a:gd name="T68" fmla="*/ 62 w 342"/>
                  <a:gd name="T69" fmla="*/ 155 h 280"/>
                  <a:gd name="T70" fmla="*/ 62 w 342"/>
                  <a:gd name="T71" fmla="*/ 155 h 280"/>
                  <a:gd name="T72" fmla="*/ 93 w 342"/>
                  <a:gd name="T73"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2" h="280">
                    <a:moveTo>
                      <a:pt x="93" y="124"/>
                    </a:moveTo>
                    <a:lnTo>
                      <a:pt x="93" y="124"/>
                    </a:lnTo>
                    <a:cubicBezTo>
                      <a:pt x="93" y="124"/>
                      <a:pt x="93" y="124"/>
                      <a:pt x="124" y="124"/>
                    </a:cubicBezTo>
                    <a:lnTo>
                      <a:pt x="124" y="94"/>
                    </a:lnTo>
                    <a:cubicBezTo>
                      <a:pt x="124" y="94"/>
                      <a:pt x="124" y="94"/>
                      <a:pt x="156" y="94"/>
                    </a:cubicBezTo>
                    <a:lnTo>
                      <a:pt x="156" y="94"/>
                    </a:lnTo>
                    <a:cubicBezTo>
                      <a:pt x="186" y="94"/>
                      <a:pt x="186" y="124"/>
                      <a:pt x="217" y="124"/>
                    </a:cubicBezTo>
                    <a:cubicBezTo>
                      <a:pt x="217" y="155"/>
                      <a:pt x="217" y="155"/>
                      <a:pt x="217" y="155"/>
                    </a:cubicBezTo>
                    <a:cubicBezTo>
                      <a:pt x="217" y="155"/>
                      <a:pt x="217" y="186"/>
                      <a:pt x="217" y="218"/>
                    </a:cubicBezTo>
                    <a:cubicBezTo>
                      <a:pt x="248" y="186"/>
                      <a:pt x="248" y="186"/>
                      <a:pt x="248" y="186"/>
                    </a:cubicBezTo>
                    <a:lnTo>
                      <a:pt x="280" y="218"/>
                    </a:lnTo>
                    <a:lnTo>
                      <a:pt x="280" y="218"/>
                    </a:lnTo>
                    <a:lnTo>
                      <a:pt x="280" y="248"/>
                    </a:lnTo>
                    <a:lnTo>
                      <a:pt x="280" y="248"/>
                    </a:lnTo>
                    <a:lnTo>
                      <a:pt x="280" y="279"/>
                    </a:lnTo>
                    <a:cubicBezTo>
                      <a:pt x="310" y="248"/>
                      <a:pt x="310" y="248"/>
                      <a:pt x="310" y="248"/>
                    </a:cubicBezTo>
                    <a:lnTo>
                      <a:pt x="310" y="248"/>
                    </a:lnTo>
                    <a:lnTo>
                      <a:pt x="310" y="248"/>
                    </a:lnTo>
                    <a:lnTo>
                      <a:pt x="310" y="248"/>
                    </a:lnTo>
                    <a:lnTo>
                      <a:pt x="310" y="248"/>
                    </a:lnTo>
                    <a:cubicBezTo>
                      <a:pt x="310" y="248"/>
                      <a:pt x="310" y="248"/>
                      <a:pt x="310" y="218"/>
                    </a:cubicBezTo>
                    <a:lnTo>
                      <a:pt x="310" y="218"/>
                    </a:lnTo>
                    <a:cubicBezTo>
                      <a:pt x="310" y="218"/>
                      <a:pt x="310" y="218"/>
                      <a:pt x="341" y="218"/>
                    </a:cubicBezTo>
                    <a:cubicBezTo>
                      <a:pt x="341" y="218"/>
                      <a:pt x="341" y="218"/>
                      <a:pt x="341" y="186"/>
                    </a:cubicBezTo>
                    <a:lnTo>
                      <a:pt x="341" y="186"/>
                    </a:lnTo>
                    <a:cubicBezTo>
                      <a:pt x="310" y="186"/>
                      <a:pt x="310" y="155"/>
                      <a:pt x="310" y="155"/>
                    </a:cubicBezTo>
                    <a:lnTo>
                      <a:pt x="310" y="124"/>
                    </a:lnTo>
                    <a:lnTo>
                      <a:pt x="310" y="124"/>
                    </a:lnTo>
                    <a:cubicBezTo>
                      <a:pt x="310" y="94"/>
                      <a:pt x="310" y="94"/>
                      <a:pt x="310" y="94"/>
                    </a:cubicBezTo>
                    <a:lnTo>
                      <a:pt x="310" y="94"/>
                    </a:lnTo>
                    <a:lnTo>
                      <a:pt x="310" y="62"/>
                    </a:lnTo>
                    <a:lnTo>
                      <a:pt x="310" y="62"/>
                    </a:lnTo>
                    <a:lnTo>
                      <a:pt x="310" y="62"/>
                    </a:lnTo>
                    <a:lnTo>
                      <a:pt x="310" y="62"/>
                    </a:lnTo>
                    <a:cubicBezTo>
                      <a:pt x="280" y="31"/>
                      <a:pt x="280" y="31"/>
                      <a:pt x="280" y="0"/>
                    </a:cubicBezTo>
                    <a:cubicBezTo>
                      <a:pt x="280" y="31"/>
                      <a:pt x="280" y="31"/>
                      <a:pt x="280" y="31"/>
                    </a:cubicBezTo>
                    <a:lnTo>
                      <a:pt x="280" y="31"/>
                    </a:lnTo>
                    <a:lnTo>
                      <a:pt x="280" y="31"/>
                    </a:lnTo>
                    <a:cubicBezTo>
                      <a:pt x="248" y="31"/>
                      <a:pt x="248" y="31"/>
                      <a:pt x="248" y="31"/>
                    </a:cubicBezTo>
                    <a:cubicBezTo>
                      <a:pt x="217" y="31"/>
                      <a:pt x="217" y="31"/>
                      <a:pt x="217" y="31"/>
                    </a:cubicBezTo>
                    <a:lnTo>
                      <a:pt x="217" y="31"/>
                    </a:lnTo>
                    <a:lnTo>
                      <a:pt x="217" y="31"/>
                    </a:lnTo>
                    <a:cubicBezTo>
                      <a:pt x="217" y="31"/>
                      <a:pt x="217" y="31"/>
                      <a:pt x="186" y="31"/>
                    </a:cubicBezTo>
                    <a:lnTo>
                      <a:pt x="186" y="31"/>
                    </a:lnTo>
                    <a:lnTo>
                      <a:pt x="186" y="31"/>
                    </a:lnTo>
                    <a:lnTo>
                      <a:pt x="186" y="31"/>
                    </a:lnTo>
                    <a:cubicBezTo>
                      <a:pt x="186" y="31"/>
                      <a:pt x="186" y="31"/>
                      <a:pt x="156" y="31"/>
                    </a:cubicBezTo>
                    <a:lnTo>
                      <a:pt x="156" y="31"/>
                    </a:lnTo>
                    <a:cubicBezTo>
                      <a:pt x="156" y="31"/>
                      <a:pt x="156" y="31"/>
                      <a:pt x="124" y="31"/>
                    </a:cubicBezTo>
                    <a:lnTo>
                      <a:pt x="124" y="31"/>
                    </a:lnTo>
                    <a:cubicBezTo>
                      <a:pt x="124" y="31"/>
                      <a:pt x="93" y="31"/>
                      <a:pt x="93" y="0"/>
                    </a:cubicBezTo>
                    <a:cubicBezTo>
                      <a:pt x="93" y="0"/>
                      <a:pt x="93" y="0"/>
                      <a:pt x="62" y="0"/>
                    </a:cubicBezTo>
                    <a:lnTo>
                      <a:pt x="62" y="0"/>
                    </a:lnTo>
                    <a:lnTo>
                      <a:pt x="62" y="0"/>
                    </a:lnTo>
                    <a:lnTo>
                      <a:pt x="62" y="0"/>
                    </a:lnTo>
                    <a:cubicBezTo>
                      <a:pt x="62" y="0"/>
                      <a:pt x="62" y="0"/>
                      <a:pt x="62" y="31"/>
                    </a:cubicBezTo>
                    <a:lnTo>
                      <a:pt x="62" y="31"/>
                    </a:lnTo>
                    <a:lnTo>
                      <a:pt x="62" y="31"/>
                    </a:lnTo>
                    <a:cubicBezTo>
                      <a:pt x="62" y="62"/>
                      <a:pt x="32" y="62"/>
                      <a:pt x="32" y="62"/>
                    </a:cubicBezTo>
                    <a:lnTo>
                      <a:pt x="32" y="62"/>
                    </a:lnTo>
                    <a:lnTo>
                      <a:pt x="0" y="62"/>
                    </a:lnTo>
                    <a:lnTo>
                      <a:pt x="0" y="62"/>
                    </a:lnTo>
                    <a:lnTo>
                      <a:pt x="0" y="62"/>
                    </a:lnTo>
                    <a:lnTo>
                      <a:pt x="0" y="62"/>
                    </a:lnTo>
                    <a:lnTo>
                      <a:pt x="0" y="62"/>
                    </a:lnTo>
                    <a:cubicBezTo>
                      <a:pt x="32" y="94"/>
                      <a:pt x="32" y="94"/>
                      <a:pt x="62" y="124"/>
                    </a:cubicBezTo>
                    <a:lnTo>
                      <a:pt x="62" y="124"/>
                    </a:lnTo>
                    <a:lnTo>
                      <a:pt x="62" y="124"/>
                    </a:lnTo>
                    <a:cubicBezTo>
                      <a:pt x="62" y="155"/>
                      <a:pt x="62" y="155"/>
                      <a:pt x="62" y="155"/>
                    </a:cubicBezTo>
                    <a:lnTo>
                      <a:pt x="62" y="155"/>
                    </a:lnTo>
                    <a:lnTo>
                      <a:pt x="62" y="155"/>
                    </a:lnTo>
                    <a:lnTo>
                      <a:pt x="62" y="155"/>
                    </a:lnTo>
                    <a:lnTo>
                      <a:pt x="62" y="124"/>
                    </a:lnTo>
                    <a:lnTo>
                      <a:pt x="93" y="12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44" name="Freeform 41"/>
              <p:cNvSpPr>
                <a:spLocks noChangeArrowheads="1"/>
              </p:cNvSpPr>
              <p:nvPr/>
            </p:nvSpPr>
            <p:spPr bwMode="auto">
              <a:xfrm>
                <a:off x="3344863" y="2371725"/>
                <a:ext cx="33337" cy="11113"/>
              </a:xfrm>
              <a:custGeom>
                <a:avLst/>
                <a:gdLst>
                  <a:gd name="T0" fmla="*/ 92 w 93"/>
                  <a:gd name="T1" fmla="*/ 0 h 32"/>
                  <a:gd name="T2" fmla="*/ 92 w 93"/>
                  <a:gd name="T3" fmla="*/ 0 h 32"/>
                  <a:gd name="T4" fmla="*/ 92 w 93"/>
                  <a:gd name="T5" fmla="*/ 0 h 32"/>
                  <a:gd name="T6" fmla="*/ 92 w 93"/>
                  <a:gd name="T7" fmla="*/ 0 h 32"/>
                  <a:gd name="T8" fmla="*/ 30 w 93"/>
                  <a:gd name="T9" fmla="*/ 0 h 32"/>
                  <a:gd name="T10" fmla="*/ 0 w 93"/>
                  <a:gd name="T11" fmla="*/ 0 h 32"/>
                  <a:gd name="T12" fmla="*/ 30 w 93"/>
                  <a:gd name="T13" fmla="*/ 0 h 32"/>
                  <a:gd name="T14" fmla="*/ 30 w 93"/>
                  <a:gd name="T15" fmla="*/ 31 h 32"/>
                  <a:gd name="T16" fmla="*/ 30 w 93"/>
                  <a:gd name="T17" fmla="*/ 31 h 32"/>
                  <a:gd name="T18" fmla="*/ 61 w 93"/>
                  <a:gd name="T19" fmla="*/ 31 h 32"/>
                  <a:gd name="T20" fmla="*/ 61 w 93"/>
                  <a:gd name="T21" fmla="*/ 31 h 32"/>
                  <a:gd name="T22" fmla="*/ 92 w 9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32">
                    <a:moveTo>
                      <a:pt x="92" y="0"/>
                    </a:moveTo>
                    <a:lnTo>
                      <a:pt x="92" y="0"/>
                    </a:lnTo>
                    <a:lnTo>
                      <a:pt x="92" y="0"/>
                    </a:lnTo>
                    <a:lnTo>
                      <a:pt x="92" y="0"/>
                    </a:lnTo>
                    <a:cubicBezTo>
                      <a:pt x="61" y="0"/>
                      <a:pt x="30" y="0"/>
                      <a:pt x="30" y="0"/>
                    </a:cubicBezTo>
                    <a:lnTo>
                      <a:pt x="0" y="0"/>
                    </a:lnTo>
                    <a:lnTo>
                      <a:pt x="30" y="0"/>
                    </a:lnTo>
                    <a:lnTo>
                      <a:pt x="30" y="31"/>
                    </a:lnTo>
                    <a:lnTo>
                      <a:pt x="30" y="31"/>
                    </a:lnTo>
                    <a:cubicBezTo>
                      <a:pt x="61" y="31"/>
                      <a:pt x="61" y="31"/>
                      <a:pt x="61" y="31"/>
                    </a:cubicBezTo>
                    <a:lnTo>
                      <a:pt x="61" y="31"/>
                    </a:lnTo>
                    <a:cubicBezTo>
                      <a:pt x="61" y="0"/>
                      <a:pt x="92" y="0"/>
                      <a:pt x="92"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45" name="Freeform 42"/>
              <p:cNvSpPr>
                <a:spLocks noChangeArrowheads="1"/>
              </p:cNvSpPr>
              <p:nvPr/>
            </p:nvSpPr>
            <p:spPr bwMode="auto">
              <a:xfrm>
                <a:off x="3602038" y="2405063"/>
                <a:ext cx="66675" cy="133350"/>
              </a:xfrm>
              <a:custGeom>
                <a:avLst/>
                <a:gdLst>
                  <a:gd name="T0" fmla="*/ 186 w 187"/>
                  <a:gd name="T1" fmla="*/ 248 h 372"/>
                  <a:gd name="T2" fmla="*/ 186 w 187"/>
                  <a:gd name="T3" fmla="*/ 248 h 372"/>
                  <a:gd name="T4" fmla="*/ 186 w 187"/>
                  <a:gd name="T5" fmla="*/ 248 h 372"/>
                  <a:gd name="T6" fmla="*/ 186 w 187"/>
                  <a:gd name="T7" fmla="*/ 216 h 372"/>
                  <a:gd name="T8" fmla="*/ 186 w 187"/>
                  <a:gd name="T9" fmla="*/ 216 h 372"/>
                  <a:gd name="T10" fmla="*/ 186 w 187"/>
                  <a:gd name="T11" fmla="*/ 185 h 372"/>
                  <a:gd name="T12" fmla="*/ 186 w 187"/>
                  <a:gd name="T13" fmla="*/ 185 h 372"/>
                  <a:gd name="T14" fmla="*/ 186 w 187"/>
                  <a:gd name="T15" fmla="*/ 154 h 372"/>
                  <a:gd name="T16" fmla="*/ 186 w 187"/>
                  <a:gd name="T17" fmla="*/ 154 h 372"/>
                  <a:gd name="T18" fmla="*/ 186 w 187"/>
                  <a:gd name="T19" fmla="*/ 92 h 372"/>
                  <a:gd name="T20" fmla="*/ 156 w 187"/>
                  <a:gd name="T21" fmla="*/ 92 h 372"/>
                  <a:gd name="T22" fmla="*/ 156 w 187"/>
                  <a:gd name="T23" fmla="*/ 92 h 372"/>
                  <a:gd name="T24" fmla="*/ 156 w 187"/>
                  <a:gd name="T25" fmla="*/ 61 h 372"/>
                  <a:gd name="T26" fmla="*/ 156 w 187"/>
                  <a:gd name="T27" fmla="*/ 30 h 372"/>
                  <a:gd name="T28" fmla="*/ 156 w 187"/>
                  <a:gd name="T29" fmla="*/ 0 h 372"/>
                  <a:gd name="T30" fmla="*/ 62 w 187"/>
                  <a:gd name="T31" fmla="*/ 0 h 372"/>
                  <a:gd name="T32" fmla="*/ 32 w 187"/>
                  <a:gd name="T33" fmla="*/ 0 h 372"/>
                  <a:gd name="T34" fmla="*/ 62 w 187"/>
                  <a:gd name="T35" fmla="*/ 30 h 372"/>
                  <a:gd name="T36" fmla="*/ 62 w 187"/>
                  <a:gd name="T37" fmla="*/ 30 h 372"/>
                  <a:gd name="T38" fmla="*/ 62 w 187"/>
                  <a:gd name="T39" fmla="*/ 61 h 372"/>
                  <a:gd name="T40" fmla="*/ 32 w 187"/>
                  <a:gd name="T41" fmla="*/ 61 h 372"/>
                  <a:gd name="T42" fmla="*/ 32 w 187"/>
                  <a:gd name="T43" fmla="*/ 92 h 372"/>
                  <a:gd name="T44" fmla="*/ 32 w 187"/>
                  <a:gd name="T45" fmla="*/ 92 h 372"/>
                  <a:gd name="T46" fmla="*/ 62 w 187"/>
                  <a:gd name="T47" fmla="*/ 124 h 372"/>
                  <a:gd name="T48" fmla="*/ 62 w 187"/>
                  <a:gd name="T49" fmla="*/ 124 h 372"/>
                  <a:gd name="T50" fmla="*/ 62 w 187"/>
                  <a:gd name="T51" fmla="*/ 124 h 372"/>
                  <a:gd name="T52" fmla="*/ 62 w 187"/>
                  <a:gd name="T53" fmla="*/ 154 h 372"/>
                  <a:gd name="T54" fmla="*/ 62 w 187"/>
                  <a:gd name="T55" fmla="*/ 154 h 372"/>
                  <a:gd name="T56" fmla="*/ 32 w 187"/>
                  <a:gd name="T57" fmla="*/ 216 h 372"/>
                  <a:gd name="T58" fmla="*/ 32 w 187"/>
                  <a:gd name="T59" fmla="*/ 216 h 372"/>
                  <a:gd name="T60" fmla="*/ 32 w 187"/>
                  <a:gd name="T61" fmla="*/ 216 h 372"/>
                  <a:gd name="T62" fmla="*/ 32 w 187"/>
                  <a:gd name="T63" fmla="*/ 216 h 372"/>
                  <a:gd name="T64" fmla="*/ 32 w 187"/>
                  <a:gd name="T65" fmla="*/ 216 h 372"/>
                  <a:gd name="T66" fmla="*/ 32 w 187"/>
                  <a:gd name="T67" fmla="*/ 216 h 372"/>
                  <a:gd name="T68" fmla="*/ 0 w 187"/>
                  <a:gd name="T69" fmla="*/ 278 h 372"/>
                  <a:gd name="T70" fmla="*/ 0 w 187"/>
                  <a:gd name="T71" fmla="*/ 278 h 372"/>
                  <a:gd name="T72" fmla="*/ 32 w 187"/>
                  <a:gd name="T73" fmla="*/ 278 h 372"/>
                  <a:gd name="T74" fmla="*/ 32 w 187"/>
                  <a:gd name="T75" fmla="*/ 309 h 372"/>
                  <a:gd name="T76" fmla="*/ 32 w 187"/>
                  <a:gd name="T77" fmla="*/ 309 h 372"/>
                  <a:gd name="T78" fmla="*/ 32 w 187"/>
                  <a:gd name="T79" fmla="*/ 340 h 372"/>
                  <a:gd name="T80" fmla="*/ 32 w 187"/>
                  <a:gd name="T81" fmla="*/ 340 h 372"/>
                  <a:gd name="T82" fmla="*/ 62 w 187"/>
                  <a:gd name="T83" fmla="*/ 371 h 372"/>
                  <a:gd name="T84" fmla="*/ 62 w 187"/>
                  <a:gd name="T85" fmla="*/ 371 h 372"/>
                  <a:gd name="T86" fmla="*/ 62 w 187"/>
                  <a:gd name="T87" fmla="*/ 340 h 372"/>
                  <a:gd name="T88" fmla="*/ 156 w 187"/>
                  <a:gd name="T89" fmla="*/ 309 h 372"/>
                  <a:gd name="T90" fmla="*/ 156 w 187"/>
                  <a:gd name="T91" fmla="*/ 309 h 372"/>
                  <a:gd name="T92" fmla="*/ 186 w 187"/>
                  <a:gd name="T93" fmla="*/ 278 h 372"/>
                  <a:gd name="T94" fmla="*/ 186 w 187"/>
                  <a:gd name="T95" fmla="*/ 24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7" h="372">
                    <a:moveTo>
                      <a:pt x="186" y="248"/>
                    </a:moveTo>
                    <a:lnTo>
                      <a:pt x="186" y="248"/>
                    </a:lnTo>
                    <a:lnTo>
                      <a:pt x="186" y="248"/>
                    </a:lnTo>
                    <a:lnTo>
                      <a:pt x="186" y="216"/>
                    </a:lnTo>
                    <a:lnTo>
                      <a:pt x="186" y="216"/>
                    </a:lnTo>
                    <a:cubicBezTo>
                      <a:pt x="186" y="216"/>
                      <a:pt x="186" y="216"/>
                      <a:pt x="186" y="185"/>
                    </a:cubicBezTo>
                    <a:lnTo>
                      <a:pt x="186" y="185"/>
                    </a:lnTo>
                    <a:lnTo>
                      <a:pt x="186" y="154"/>
                    </a:lnTo>
                    <a:lnTo>
                      <a:pt x="186" y="154"/>
                    </a:lnTo>
                    <a:cubicBezTo>
                      <a:pt x="186" y="124"/>
                      <a:pt x="186" y="124"/>
                      <a:pt x="186" y="92"/>
                    </a:cubicBezTo>
                    <a:cubicBezTo>
                      <a:pt x="186" y="92"/>
                      <a:pt x="186" y="92"/>
                      <a:pt x="156" y="92"/>
                    </a:cubicBezTo>
                    <a:lnTo>
                      <a:pt x="156" y="92"/>
                    </a:lnTo>
                    <a:cubicBezTo>
                      <a:pt x="156" y="61"/>
                      <a:pt x="156" y="61"/>
                      <a:pt x="156" y="61"/>
                    </a:cubicBezTo>
                    <a:cubicBezTo>
                      <a:pt x="156" y="30"/>
                      <a:pt x="156" y="30"/>
                      <a:pt x="156" y="30"/>
                    </a:cubicBezTo>
                    <a:cubicBezTo>
                      <a:pt x="156" y="0"/>
                      <a:pt x="156" y="0"/>
                      <a:pt x="156" y="0"/>
                    </a:cubicBezTo>
                    <a:cubicBezTo>
                      <a:pt x="156" y="0"/>
                      <a:pt x="124" y="0"/>
                      <a:pt x="62" y="0"/>
                    </a:cubicBezTo>
                    <a:lnTo>
                      <a:pt x="32" y="0"/>
                    </a:lnTo>
                    <a:cubicBezTo>
                      <a:pt x="32" y="30"/>
                      <a:pt x="62" y="30"/>
                      <a:pt x="62" y="30"/>
                    </a:cubicBezTo>
                    <a:lnTo>
                      <a:pt x="62" y="30"/>
                    </a:lnTo>
                    <a:cubicBezTo>
                      <a:pt x="62" y="30"/>
                      <a:pt x="62" y="30"/>
                      <a:pt x="62" y="61"/>
                    </a:cubicBezTo>
                    <a:cubicBezTo>
                      <a:pt x="62" y="61"/>
                      <a:pt x="62" y="61"/>
                      <a:pt x="32" y="61"/>
                    </a:cubicBezTo>
                    <a:cubicBezTo>
                      <a:pt x="32" y="92"/>
                      <a:pt x="32" y="92"/>
                      <a:pt x="32" y="92"/>
                    </a:cubicBezTo>
                    <a:lnTo>
                      <a:pt x="32" y="92"/>
                    </a:lnTo>
                    <a:cubicBezTo>
                      <a:pt x="62" y="92"/>
                      <a:pt x="62" y="124"/>
                      <a:pt x="62" y="124"/>
                    </a:cubicBezTo>
                    <a:lnTo>
                      <a:pt x="62" y="124"/>
                    </a:lnTo>
                    <a:lnTo>
                      <a:pt x="62" y="124"/>
                    </a:lnTo>
                    <a:cubicBezTo>
                      <a:pt x="62" y="124"/>
                      <a:pt x="62" y="124"/>
                      <a:pt x="62" y="154"/>
                    </a:cubicBezTo>
                    <a:lnTo>
                      <a:pt x="62" y="154"/>
                    </a:lnTo>
                    <a:cubicBezTo>
                      <a:pt x="62" y="185"/>
                      <a:pt x="62" y="185"/>
                      <a:pt x="32" y="216"/>
                    </a:cubicBezTo>
                    <a:lnTo>
                      <a:pt x="32" y="216"/>
                    </a:lnTo>
                    <a:lnTo>
                      <a:pt x="32" y="216"/>
                    </a:lnTo>
                    <a:lnTo>
                      <a:pt x="32" y="216"/>
                    </a:lnTo>
                    <a:lnTo>
                      <a:pt x="32" y="216"/>
                    </a:lnTo>
                    <a:lnTo>
                      <a:pt x="32" y="216"/>
                    </a:lnTo>
                    <a:cubicBezTo>
                      <a:pt x="32" y="248"/>
                      <a:pt x="32" y="248"/>
                      <a:pt x="0" y="278"/>
                    </a:cubicBezTo>
                    <a:lnTo>
                      <a:pt x="0" y="278"/>
                    </a:lnTo>
                    <a:lnTo>
                      <a:pt x="32" y="278"/>
                    </a:lnTo>
                    <a:cubicBezTo>
                      <a:pt x="32" y="309"/>
                      <a:pt x="32" y="309"/>
                      <a:pt x="32" y="309"/>
                    </a:cubicBezTo>
                    <a:lnTo>
                      <a:pt x="32" y="309"/>
                    </a:lnTo>
                    <a:lnTo>
                      <a:pt x="32" y="340"/>
                    </a:lnTo>
                    <a:lnTo>
                      <a:pt x="32" y="340"/>
                    </a:lnTo>
                    <a:cubicBezTo>
                      <a:pt x="32" y="340"/>
                      <a:pt x="62" y="340"/>
                      <a:pt x="62" y="371"/>
                    </a:cubicBezTo>
                    <a:lnTo>
                      <a:pt x="62" y="371"/>
                    </a:lnTo>
                    <a:lnTo>
                      <a:pt x="62" y="340"/>
                    </a:lnTo>
                    <a:cubicBezTo>
                      <a:pt x="93" y="340"/>
                      <a:pt x="124" y="309"/>
                      <a:pt x="156" y="309"/>
                    </a:cubicBezTo>
                    <a:lnTo>
                      <a:pt x="156" y="309"/>
                    </a:lnTo>
                    <a:lnTo>
                      <a:pt x="186" y="278"/>
                    </a:lnTo>
                    <a:cubicBezTo>
                      <a:pt x="186" y="278"/>
                      <a:pt x="186" y="278"/>
                      <a:pt x="186" y="24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46" name="Freeform 43"/>
              <p:cNvSpPr>
                <a:spLocks noChangeArrowheads="1"/>
              </p:cNvSpPr>
              <p:nvPr/>
            </p:nvSpPr>
            <p:spPr bwMode="auto">
              <a:xfrm>
                <a:off x="4270375" y="2906713"/>
                <a:ext cx="190500" cy="334962"/>
              </a:xfrm>
              <a:custGeom>
                <a:avLst/>
                <a:gdLst>
                  <a:gd name="T0" fmla="*/ 526 w 527"/>
                  <a:gd name="T1" fmla="*/ 186 h 930"/>
                  <a:gd name="T2" fmla="*/ 496 w 527"/>
                  <a:gd name="T3" fmla="*/ 31 h 930"/>
                  <a:gd name="T4" fmla="*/ 434 w 527"/>
                  <a:gd name="T5" fmla="*/ 62 h 930"/>
                  <a:gd name="T6" fmla="*/ 434 w 527"/>
                  <a:gd name="T7" fmla="*/ 31 h 930"/>
                  <a:gd name="T8" fmla="*/ 372 w 527"/>
                  <a:gd name="T9" fmla="*/ 62 h 930"/>
                  <a:gd name="T10" fmla="*/ 310 w 527"/>
                  <a:gd name="T11" fmla="*/ 62 h 930"/>
                  <a:gd name="T12" fmla="*/ 279 w 527"/>
                  <a:gd name="T13" fmla="*/ 62 h 930"/>
                  <a:gd name="T14" fmla="*/ 279 w 527"/>
                  <a:gd name="T15" fmla="*/ 62 h 930"/>
                  <a:gd name="T16" fmla="*/ 248 w 527"/>
                  <a:gd name="T17" fmla="*/ 62 h 930"/>
                  <a:gd name="T18" fmla="*/ 248 w 527"/>
                  <a:gd name="T19" fmla="*/ 124 h 930"/>
                  <a:gd name="T20" fmla="*/ 248 w 527"/>
                  <a:gd name="T21" fmla="*/ 124 h 930"/>
                  <a:gd name="T22" fmla="*/ 310 w 527"/>
                  <a:gd name="T23" fmla="*/ 217 h 930"/>
                  <a:gd name="T24" fmla="*/ 310 w 527"/>
                  <a:gd name="T25" fmla="*/ 217 h 930"/>
                  <a:gd name="T26" fmla="*/ 310 w 527"/>
                  <a:gd name="T27" fmla="*/ 279 h 930"/>
                  <a:gd name="T28" fmla="*/ 279 w 527"/>
                  <a:gd name="T29" fmla="*/ 341 h 930"/>
                  <a:gd name="T30" fmla="*/ 248 w 527"/>
                  <a:gd name="T31" fmla="*/ 403 h 930"/>
                  <a:gd name="T32" fmla="*/ 217 w 527"/>
                  <a:gd name="T33" fmla="*/ 372 h 930"/>
                  <a:gd name="T34" fmla="*/ 186 w 527"/>
                  <a:gd name="T35" fmla="*/ 279 h 930"/>
                  <a:gd name="T36" fmla="*/ 186 w 527"/>
                  <a:gd name="T37" fmla="*/ 248 h 930"/>
                  <a:gd name="T38" fmla="*/ 155 w 527"/>
                  <a:gd name="T39" fmla="*/ 248 h 930"/>
                  <a:gd name="T40" fmla="*/ 93 w 527"/>
                  <a:gd name="T41" fmla="*/ 248 h 930"/>
                  <a:gd name="T42" fmla="*/ 31 w 527"/>
                  <a:gd name="T43" fmla="*/ 279 h 930"/>
                  <a:gd name="T44" fmla="*/ 31 w 527"/>
                  <a:gd name="T45" fmla="*/ 279 h 930"/>
                  <a:gd name="T46" fmla="*/ 62 w 527"/>
                  <a:gd name="T47" fmla="*/ 309 h 930"/>
                  <a:gd name="T48" fmla="*/ 155 w 527"/>
                  <a:gd name="T49" fmla="*/ 341 h 930"/>
                  <a:gd name="T50" fmla="*/ 155 w 527"/>
                  <a:gd name="T51" fmla="*/ 403 h 930"/>
                  <a:gd name="T52" fmla="*/ 155 w 527"/>
                  <a:gd name="T53" fmla="*/ 465 h 930"/>
                  <a:gd name="T54" fmla="*/ 155 w 527"/>
                  <a:gd name="T55" fmla="*/ 496 h 930"/>
                  <a:gd name="T56" fmla="*/ 155 w 527"/>
                  <a:gd name="T57" fmla="*/ 557 h 930"/>
                  <a:gd name="T58" fmla="*/ 124 w 527"/>
                  <a:gd name="T59" fmla="*/ 620 h 930"/>
                  <a:gd name="T60" fmla="*/ 124 w 527"/>
                  <a:gd name="T61" fmla="*/ 651 h 930"/>
                  <a:gd name="T62" fmla="*/ 62 w 527"/>
                  <a:gd name="T63" fmla="*/ 713 h 930"/>
                  <a:gd name="T64" fmla="*/ 62 w 527"/>
                  <a:gd name="T65" fmla="*/ 744 h 930"/>
                  <a:gd name="T66" fmla="*/ 93 w 527"/>
                  <a:gd name="T67" fmla="*/ 868 h 930"/>
                  <a:gd name="T68" fmla="*/ 124 w 527"/>
                  <a:gd name="T69" fmla="*/ 929 h 930"/>
                  <a:gd name="T70" fmla="*/ 217 w 527"/>
                  <a:gd name="T71" fmla="*/ 868 h 930"/>
                  <a:gd name="T72" fmla="*/ 248 w 527"/>
                  <a:gd name="T73" fmla="*/ 805 h 930"/>
                  <a:gd name="T74" fmla="*/ 217 w 527"/>
                  <a:gd name="T75" fmla="*/ 651 h 930"/>
                  <a:gd name="T76" fmla="*/ 217 w 527"/>
                  <a:gd name="T77" fmla="*/ 557 h 930"/>
                  <a:gd name="T78" fmla="*/ 310 w 527"/>
                  <a:gd name="T79" fmla="*/ 465 h 930"/>
                  <a:gd name="T80" fmla="*/ 341 w 527"/>
                  <a:gd name="T81" fmla="*/ 433 h 930"/>
                  <a:gd name="T82" fmla="*/ 465 w 527"/>
                  <a:gd name="T83" fmla="*/ 341 h 930"/>
                  <a:gd name="T84" fmla="*/ 526 w 527"/>
                  <a:gd name="T85" fmla="*/ 279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7" h="930">
                    <a:moveTo>
                      <a:pt x="526" y="217"/>
                    </a:moveTo>
                    <a:lnTo>
                      <a:pt x="526" y="217"/>
                    </a:lnTo>
                    <a:lnTo>
                      <a:pt x="526" y="186"/>
                    </a:lnTo>
                    <a:lnTo>
                      <a:pt x="526" y="186"/>
                    </a:lnTo>
                    <a:cubicBezTo>
                      <a:pt x="526" y="92"/>
                      <a:pt x="526" y="31"/>
                      <a:pt x="526" y="0"/>
                    </a:cubicBezTo>
                    <a:cubicBezTo>
                      <a:pt x="526" y="31"/>
                      <a:pt x="496" y="31"/>
                      <a:pt x="496" y="31"/>
                    </a:cubicBezTo>
                    <a:cubicBezTo>
                      <a:pt x="496" y="31"/>
                      <a:pt x="496" y="31"/>
                      <a:pt x="465" y="31"/>
                    </a:cubicBezTo>
                    <a:lnTo>
                      <a:pt x="465" y="31"/>
                    </a:lnTo>
                    <a:cubicBezTo>
                      <a:pt x="465" y="31"/>
                      <a:pt x="465" y="62"/>
                      <a:pt x="434" y="62"/>
                    </a:cubicBezTo>
                    <a:lnTo>
                      <a:pt x="434" y="62"/>
                    </a:lnTo>
                    <a:cubicBezTo>
                      <a:pt x="434" y="62"/>
                      <a:pt x="434" y="62"/>
                      <a:pt x="434" y="31"/>
                    </a:cubicBezTo>
                    <a:lnTo>
                      <a:pt x="434" y="31"/>
                    </a:lnTo>
                    <a:cubicBezTo>
                      <a:pt x="403" y="31"/>
                      <a:pt x="403" y="62"/>
                      <a:pt x="403" y="62"/>
                    </a:cubicBezTo>
                    <a:lnTo>
                      <a:pt x="403" y="62"/>
                    </a:lnTo>
                    <a:lnTo>
                      <a:pt x="372" y="62"/>
                    </a:lnTo>
                    <a:lnTo>
                      <a:pt x="372" y="62"/>
                    </a:lnTo>
                    <a:cubicBezTo>
                      <a:pt x="341" y="62"/>
                      <a:pt x="341" y="62"/>
                      <a:pt x="341" y="62"/>
                    </a:cubicBezTo>
                    <a:cubicBezTo>
                      <a:pt x="310" y="62"/>
                      <a:pt x="310" y="62"/>
                      <a:pt x="310" y="62"/>
                    </a:cubicBezTo>
                    <a:lnTo>
                      <a:pt x="310" y="62"/>
                    </a:lnTo>
                    <a:cubicBezTo>
                      <a:pt x="310" y="62"/>
                      <a:pt x="310" y="62"/>
                      <a:pt x="279" y="62"/>
                    </a:cubicBezTo>
                    <a:lnTo>
                      <a:pt x="279" y="62"/>
                    </a:lnTo>
                    <a:lnTo>
                      <a:pt x="279" y="62"/>
                    </a:lnTo>
                    <a:lnTo>
                      <a:pt x="279" y="62"/>
                    </a:lnTo>
                    <a:lnTo>
                      <a:pt x="279" y="62"/>
                    </a:lnTo>
                    <a:lnTo>
                      <a:pt x="279" y="62"/>
                    </a:lnTo>
                    <a:cubicBezTo>
                      <a:pt x="248" y="62"/>
                      <a:pt x="248" y="62"/>
                      <a:pt x="248" y="62"/>
                    </a:cubicBezTo>
                    <a:lnTo>
                      <a:pt x="248" y="62"/>
                    </a:lnTo>
                    <a:lnTo>
                      <a:pt x="248" y="92"/>
                    </a:lnTo>
                    <a:lnTo>
                      <a:pt x="248" y="92"/>
                    </a:lnTo>
                    <a:cubicBezTo>
                      <a:pt x="248" y="92"/>
                      <a:pt x="248" y="92"/>
                      <a:pt x="248" y="124"/>
                    </a:cubicBezTo>
                    <a:lnTo>
                      <a:pt x="248" y="124"/>
                    </a:lnTo>
                    <a:lnTo>
                      <a:pt x="248" y="124"/>
                    </a:lnTo>
                    <a:lnTo>
                      <a:pt x="248" y="124"/>
                    </a:lnTo>
                    <a:cubicBezTo>
                      <a:pt x="248" y="124"/>
                      <a:pt x="248" y="124"/>
                      <a:pt x="279" y="124"/>
                    </a:cubicBezTo>
                    <a:cubicBezTo>
                      <a:pt x="279" y="155"/>
                      <a:pt x="279" y="186"/>
                      <a:pt x="310" y="186"/>
                    </a:cubicBezTo>
                    <a:cubicBezTo>
                      <a:pt x="310" y="217"/>
                      <a:pt x="310" y="217"/>
                      <a:pt x="310" y="217"/>
                    </a:cubicBezTo>
                    <a:lnTo>
                      <a:pt x="310" y="217"/>
                    </a:lnTo>
                    <a:lnTo>
                      <a:pt x="310" y="217"/>
                    </a:lnTo>
                    <a:lnTo>
                      <a:pt x="310" y="217"/>
                    </a:lnTo>
                    <a:lnTo>
                      <a:pt x="310" y="217"/>
                    </a:lnTo>
                    <a:cubicBezTo>
                      <a:pt x="310" y="248"/>
                      <a:pt x="310" y="248"/>
                      <a:pt x="310" y="248"/>
                    </a:cubicBezTo>
                    <a:lnTo>
                      <a:pt x="310" y="279"/>
                    </a:lnTo>
                    <a:lnTo>
                      <a:pt x="310" y="279"/>
                    </a:lnTo>
                    <a:lnTo>
                      <a:pt x="310" y="279"/>
                    </a:lnTo>
                    <a:cubicBezTo>
                      <a:pt x="310" y="309"/>
                      <a:pt x="310" y="341"/>
                      <a:pt x="279" y="341"/>
                    </a:cubicBezTo>
                    <a:lnTo>
                      <a:pt x="279" y="372"/>
                    </a:lnTo>
                    <a:cubicBezTo>
                      <a:pt x="279" y="403"/>
                      <a:pt x="279" y="403"/>
                      <a:pt x="248" y="403"/>
                    </a:cubicBezTo>
                    <a:lnTo>
                      <a:pt x="248" y="403"/>
                    </a:lnTo>
                    <a:lnTo>
                      <a:pt x="248" y="403"/>
                    </a:lnTo>
                    <a:lnTo>
                      <a:pt x="248" y="403"/>
                    </a:lnTo>
                    <a:lnTo>
                      <a:pt x="217" y="372"/>
                    </a:lnTo>
                    <a:cubicBezTo>
                      <a:pt x="217" y="372"/>
                      <a:pt x="217" y="372"/>
                      <a:pt x="217" y="341"/>
                    </a:cubicBezTo>
                    <a:cubicBezTo>
                      <a:pt x="186" y="341"/>
                      <a:pt x="186" y="341"/>
                      <a:pt x="186" y="309"/>
                    </a:cubicBezTo>
                    <a:lnTo>
                      <a:pt x="186" y="279"/>
                    </a:lnTo>
                    <a:cubicBezTo>
                      <a:pt x="186" y="279"/>
                      <a:pt x="186" y="279"/>
                      <a:pt x="186" y="248"/>
                    </a:cubicBezTo>
                    <a:lnTo>
                      <a:pt x="186" y="248"/>
                    </a:lnTo>
                    <a:lnTo>
                      <a:pt x="186" y="248"/>
                    </a:lnTo>
                    <a:lnTo>
                      <a:pt x="186" y="248"/>
                    </a:lnTo>
                    <a:lnTo>
                      <a:pt x="186" y="248"/>
                    </a:lnTo>
                    <a:cubicBezTo>
                      <a:pt x="186" y="248"/>
                      <a:pt x="186" y="248"/>
                      <a:pt x="155" y="248"/>
                    </a:cubicBezTo>
                    <a:cubicBezTo>
                      <a:pt x="155" y="248"/>
                      <a:pt x="155" y="248"/>
                      <a:pt x="155" y="217"/>
                    </a:cubicBezTo>
                    <a:cubicBezTo>
                      <a:pt x="155" y="217"/>
                      <a:pt x="155" y="217"/>
                      <a:pt x="124" y="217"/>
                    </a:cubicBezTo>
                    <a:cubicBezTo>
                      <a:pt x="124" y="217"/>
                      <a:pt x="124" y="248"/>
                      <a:pt x="93" y="248"/>
                    </a:cubicBezTo>
                    <a:cubicBezTo>
                      <a:pt x="93" y="248"/>
                      <a:pt x="31" y="248"/>
                      <a:pt x="0" y="248"/>
                    </a:cubicBezTo>
                    <a:cubicBezTo>
                      <a:pt x="0" y="279"/>
                      <a:pt x="0" y="279"/>
                      <a:pt x="0" y="279"/>
                    </a:cubicBezTo>
                    <a:cubicBezTo>
                      <a:pt x="0" y="279"/>
                      <a:pt x="0" y="279"/>
                      <a:pt x="31" y="279"/>
                    </a:cubicBezTo>
                    <a:lnTo>
                      <a:pt x="31" y="279"/>
                    </a:lnTo>
                    <a:lnTo>
                      <a:pt x="31" y="279"/>
                    </a:lnTo>
                    <a:lnTo>
                      <a:pt x="31" y="279"/>
                    </a:lnTo>
                    <a:lnTo>
                      <a:pt x="31" y="279"/>
                    </a:lnTo>
                    <a:cubicBezTo>
                      <a:pt x="31" y="279"/>
                      <a:pt x="31" y="279"/>
                      <a:pt x="62" y="279"/>
                    </a:cubicBezTo>
                    <a:cubicBezTo>
                      <a:pt x="62" y="279"/>
                      <a:pt x="62" y="279"/>
                      <a:pt x="62" y="309"/>
                    </a:cubicBezTo>
                    <a:cubicBezTo>
                      <a:pt x="93" y="309"/>
                      <a:pt x="93" y="309"/>
                      <a:pt x="124" y="309"/>
                    </a:cubicBezTo>
                    <a:cubicBezTo>
                      <a:pt x="124" y="341"/>
                      <a:pt x="155" y="341"/>
                      <a:pt x="155" y="341"/>
                    </a:cubicBezTo>
                    <a:lnTo>
                      <a:pt x="155" y="341"/>
                    </a:lnTo>
                    <a:cubicBezTo>
                      <a:pt x="155" y="372"/>
                      <a:pt x="155" y="372"/>
                      <a:pt x="155" y="403"/>
                    </a:cubicBezTo>
                    <a:lnTo>
                      <a:pt x="155" y="403"/>
                    </a:lnTo>
                    <a:lnTo>
                      <a:pt x="155" y="403"/>
                    </a:lnTo>
                    <a:lnTo>
                      <a:pt x="155" y="433"/>
                    </a:lnTo>
                    <a:lnTo>
                      <a:pt x="155" y="433"/>
                    </a:lnTo>
                    <a:lnTo>
                      <a:pt x="155" y="465"/>
                    </a:lnTo>
                    <a:lnTo>
                      <a:pt x="155" y="496"/>
                    </a:lnTo>
                    <a:lnTo>
                      <a:pt x="155" y="496"/>
                    </a:lnTo>
                    <a:lnTo>
                      <a:pt x="155" y="496"/>
                    </a:lnTo>
                    <a:cubicBezTo>
                      <a:pt x="155" y="527"/>
                      <a:pt x="155" y="527"/>
                      <a:pt x="155" y="557"/>
                    </a:cubicBezTo>
                    <a:lnTo>
                      <a:pt x="155" y="557"/>
                    </a:lnTo>
                    <a:lnTo>
                      <a:pt x="155" y="557"/>
                    </a:lnTo>
                    <a:cubicBezTo>
                      <a:pt x="155" y="589"/>
                      <a:pt x="155" y="620"/>
                      <a:pt x="124" y="620"/>
                    </a:cubicBezTo>
                    <a:lnTo>
                      <a:pt x="124" y="620"/>
                    </a:lnTo>
                    <a:lnTo>
                      <a:pt x="124" y="620"/>
                    </a:lnTo>
                    <a:lnTo>
                      <a:pt x="124" y="620"/>
                    </a:lnTo>
                    <a:lnTo>
                      <a:pt x="124" y="620"/>
                    </a:lnTo>
                    <a:cubicBezTo>
                      <a:pt x="124" y="651"/>
                      <a:pt x="124" y="651"/>
                      <a:pt x="124" y="651"/>
                    </a:cubicBezTo>
                    <a:cubicBezTo>
                      <a:pt x="124" y="681"/>
                      <a:pt x="124" y="681"/>
                      <a:pt x="93" y="681"/>
                    </a:cubicBezTo>
                    <a:cubicBezTo>
                      <a:pt x="93" y="681"/>
                      <a:pt x="93" y="681"/>
                      <a:pt x="93" y="713"/>
                    </a:cubicBezTo>
                    <a:cubicBezTo>
                      <a:pt x="93" y="713"/>
                      <a:pt x="93" y="713"/>
                      <a:pt x="62" y="713"/>
                    </a:cubicBezTo>
                    <a:lnTo>
                      <a:pt x="62" y="744"/>
                    </a:lnTo>
                    <a:cubicBezTo>
                      <a:pt x="93" y="744"/>
                      <a:pt x="93" y="744"/>
                      <a:pt x="93" y="744"/>
                    </a:cubicBezTo>
                    <a:cubicBezTo>
                      <a:pt x="62" y="744"/>
                      <a:pt x="62" y="744"/>
                      <a:pt x="62" y="744"/>
                    </a:cubicBezTo>
                    <a:lnTo>
                      <a:pt x="62" y="744"/>
                    </a:lnTo>
                    <a:cubicBezTo>
                      <a:pt x="62" y="775"/>
                      <a:pt x="62" y="775"/>
                      <a:pt x="62" y="775"/>
                    </a:cubicBezTo>
                    <a:cubicBezTo>
                      <a:pt x="93" y="805"/>
                      <a:pt x="93" y="837"/>
                      <a:pt x="93" y="868"/>
                    </a:cubicBezTo>
                    <a:cubicBezTo>
                      <a:pt x="93" y="899"/>
                      <a:pt x="93" y="899"/>
                      <a:pt x="93" y="929"/>
                    </a:cubicBezTo>
                    <a:lnTo>
                      <a:pt x="93" y="929"/>
                    </a:lnTo>
                    <a:cubicBezTo>
                      <a:pt x="124" y="929"/>
                      <a:pt x="124" y="929"/>
                      <a:pt x="124" y="929"/>
                    </a:cubicBezTo>
                    <a:lnTo>
                      <a:pt x="124" y="929"/>
                    </a:lnTo>
                    <a:cubicBezTo>
                      <a:pt x="124" y="899"/>
                      <a:pt x="124" y="899"/>
                      <a:pt x="155" y="868"/>
                    </a:cubicBezTo>
                    <a:cubicBezTo>
                      <a:pt x="186" y="868"/>
                      <a:pt x="217" y="868"/>
                      <a:pt x="217" y="868"/>
                    </a:cubicBezTo>
                    <a:lnTo>
                      <a:pt x="217" y="868"/>
                    </a:lnTo>
                    <a:lnTo>
                      <a:pt x="217" y="868"/>
                    </a:lnTo>
                    <a:cubicBezTo>
                      <a:pt x="248" y="837"/>
                      <a:pt x="248" y="837"/>
                      <a:pt x="248" y="805"/>
                    </a:cubicBezTo>
                    <a:cubicBezTo>
                      <a:pt x="248" y="805"/>
                      <a:pt x="248" y="775"/>
                      <a:pt x="248" y="744"/>
                    </a:cubicBezTo>
                    <a:cubicBezTo>
                      <a:pt x="248" y="713"/>
                      <a:pt x="248" y="713"/>
                      <a:pt x="248" y="713"/>
                    </a:cubicBezTo>
                    <a:cubicBezTo>
                      <a:pt x="248" y="713"/>
                      <a:pt x="248" y="681"/>
                      <a:pt x="217" y="651"/>
                    </a:cubicBezTo>
                    <a:cubicBezTo>
                      <a:pt x="217" y="651"/>
                      <a:pt x="217" y="620"/>
                      <a:pt x="217" y="589"/>
                    </a:cubicBezTo>
                    <a:cubicBezTo>
                      <a:pt x="217" y="589"/>
                      <a:pt x="217" y="589"/>
                      <a:pt x="217" y="557"/>
                    </a:cubicBezTo>
                    <a:lnTo>
                      <a:pt x="217" y="557"/>
                    </a:lnTo>
                    <a:cubicBezTo>
                      <a:pt x="217" y="527"/>
                      <a:pt x="217" y="527"/>
                      <a:pt x="217" y="527"/>
                    </a:cubicBezTo>
                    <a:lnTo>
                      <a:pt x="217" y="527"/>
                    </a:lnTo>
                    <a:cubicBezTo>
                      <a:pt x="248" y="496"/>
                      <a:pt x="310" y="465"/>
                      <a:pt x="310" y="465"/>
                    </a:cubicBezTo>
                    <a:lnTo>
                      <a:pt x="310" y="465"/>
                    </a:lnTo>
                    <a:cubicBezTo>
                      <a:pt x="310" y="465"/>
                      <a:pt x="310" y="433"/>
                      <a:pt x="341" y="433"/>
                    </a:cubicBezTo>
                    <a:lnTo>
                      <a:pt x="341" y="433"/>
                    </a:lnTo>
                    <a:cubicBezTo>
                      <a:pt x="341" y="403"/>
                      <a:pt x="372" y="403"/>
                      <a:pt x="372" y="403"/>
                    </a:cubicBezTo>
                    <a:cubicBezTo>
                      <a:pt x="372" y="372"/>
                      <a:pt x="403" y="372"/>
                      <a:pt x="434" y="372"/>
                    </a:cubicBezTo>
                    <a:lnTo>
                      <a:pt x="465" y="341"/>
                    </a:lnTo>
                    <a:lnTo>
                      <a:pt x="465" y="341"/>
                    </a:lnTo>
                    <a:cubicBezTo>
                      <a:pt x="465" y="341"/>
                      <a:pt x="496" y="309"/>
                      <a:pt x="526" y="309"/>
                    </a:cubicBezTo>
                    <a:lnTo>
                      <a:pt x="526" y="279"/>
                    </a:lnTo>
                    <a:cubicBezTo>
                      <a:pt x="526" y="248"/>
                      <a:pt x="526" y="248"/>
                      <a:pt x="526" y="248"/>
                    </a:cubicBezTo>
                    <a:lnTo>
                      <a:pt x="526" y="21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47" name="Freeform 44"/>
              <p:cNvSpPr>
                <a:spLocks noChangeArrowheads="1"/>
              </p:cNvSpPr>
              <p:nvPr/>
            </p:nvSpPr>
            <p:spPr bwMode="auto">
              <a:xfrm>
                <a:off x="4292600" y="3006725"/>
                <a:ext cx="1588" cy="158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48" name="Freeform 45"/>
              <p:cNvSpPr>
                <a:spLocks noChangeArrowheads="1"/>
              </p:cNvSpPr>
              <p:nvPr/>
            </p:nvSpPr>
            <p:spPr bwMode="auto">
              <a:xfrm>
                <a:off x="4003675" y="3308350"/>
                <a:ext cx="1588" cy="11113"/>
              </a:xfrm>
              <a:custGeom>
                <a:avLst/>
                <a:gdLst>
                  <a:gd name="T0" fmla="*/ 0 w 1"/>
                  <a:gd name="T1" fmla="*/ 31 h 32"/>
                  <a:gd name="T2" fmla="*/ 0 w 1"/>
                  <a:gd name="T3" fmla="*/ 31 h 32"/>
                  <a:gd name="T4" fmla="*/ 0 w 1"/>
                  <a:gd name="T5" fmla="*/ 0 h 32"/>
                  <a:gd name="T6" fmla="*/ 0 w 1"/>
                  <a:gd name="T7" fmla="*/ 31 h 32"/>
                </a:gdLst>
                <a:ahLst/>
                <a:cxnLst>
                  <a:cxn ang="0">
                    <a:pos x="T0" y="T1"/>
                  </a:cxn>
                  <a:cxn ang="0">
                    <a:pos x="T2" y="T3"/>
                  </a:cxn>
                  <a:cxn ang="0">
                    <a:pos x="T4" y="T5"/>
                  </a:cxn>
                  <a:cxn ang="0">
                    <a:pos x="T6" y="T7"/>
                  </a:cxn>
                </a:cxnLst>
                <a:rect l="0" t="0" r="r" b="b"/>
                <a:pathLst>
                  <a:path w="1" h="32">
                    <a:moveTo>
                      <a:pt x="0" y="31"/>
                    </a:moveTo>
                    <a:lnTo>
                      <a:pt x="0" y="31"/>
                    </a:lnTo>
                    <a:cubicBezTo>
                      <a:pt x="0" y="31"/>
                      <a:pt x="0" y="31"/>
                      <a:pt x="0" y="0"/>
                    </a:cubicBezTo>
                    <a:lnTo>
                      <a:pt x="0" y="3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49" name="Freeform 46"/>
              <p:cNvSpPr>
                <a:spLocks noChangeArrowheads="1"/>
              </p:cNvSpPr>
              <p:nvPr/>
            </p:nvSpPr>
            <p:spPr bwMode="auto">
              <a:xfrm>
                <a:off x="4003675" y="3175000"/>
                <a:ext cx="301625" cy="268288"/>
              </a:xfrm>
              <a:custGeom>
                <a:avLst/>
                <a:gdLst>
                  <a:gd name="T0" fmla="*/ 806 w 838"/>
                  <a:gd name="T1" fmla="*/ 341 h 745"/>
                  <a:gd name="T2" fmla="*/ 775 w 838"/>
                  <a:gd name="T3" fmla="*/ 309 h 745"/>
                  <a:gd name="T4" fmla="*/ 744 w 838"/>
                  <a:gd name="T5" fmla="*/ 279 h 745"/>
                  <a:gd name="T6" fmla="*/ 744 w 838"/>
                  <a:gd name="T7" fmla="*/ 248 h 745"/>
                  <a:gd name="T8" fmla="*/ 775 w 838"/>
                  <a:gd name="T9" fmla="*/ 185 h 745"/>
                  <a:gd name="T10" fmla="*/ 806 w 838"/>
                  <a:gd name="T11" fmla="*/ 155 h 745"/>
                  <a:gd name="T12" fmla="*/ 775 w 838"/>
                  <a:gd name="T13" fmla="*/ 61 h 745"/>
                  <a:gd name="T14" fmla="*/ 713 w 838"/>
                  <a:gd name="T15" fmla="*/ 0 h 745"/>
                  <a:gd name="T16" fmla="*/ 682 w 838"/>
                  <a:gd name="T17" fmla="*/ 0 h 745"/>
                  <a:gd name="T18" fmla="*/ 651 w 838"/>
                  <a:gd name="T19" fmla="*/ 31 h 745"/>
                  <a:gd name="T20" fmla="*/ 651 w 838"/>
                  <a:gd name="T21" fmla="*/ 31 h 745"/>
                  <a:gd name="T22" fmla="*/ 620 w 838"/>
                  <a:gd name="T23" fmla="*/ 61 h 745"/>
                  <a:gd name="T24" fmla="*/ 558 w 838"/>
                  <a:gd name="T25" fmla="*/ 93 h 745"/>
                  <a:gd name="T26" fmla="*/ 527 w 838"/>
                  <a:gd name="T27" fmla="*/ 155 h 745"/>
                  <a:gd name="T28" fmla="*/ 496 w 838"/>
                  <a:gd name="T29" fmla="*/ 185 h 745"/>
                  <a:gd name="T30" fmla="*/ 402 w 838"/>
                  <a:gd name="T31" fmla="*/ 217 h 745"/>
                  <a:gd name="T32" fmla="*/ 341 w 838"/>
                  <a:gd name="T33" fmla="*/ 217 h 745"/>
                  <a:gd name="T34" fmla="*/ 310 w 838"/>
                  <a:gd name="T35" fmla="*/ 248 h 745"/>
                  <a:gd name="T36" fmla="*/ 279 w 838"/>
                  <a:gd name="T37" fmla="*/ 279 h 745"/>
                  <a:gd name="T38" fmla="*/ 186 w 838"/>
                  <a:gd name="T39" fmla="*/ 403 h 745"/>
                  <a:gd name="T40" fmla="*/ 155 w 838"/>
                  <a:gd name="T41" fmla="*/ 403 h 745"/>
                  <a:gd name="T42" fmla="*/ 93 w 838"/>
                  <a:gd name="T43" fmla="*/ 433 h 745"/>
                  <a:gd name="T44" fmla="*/ 31 w 838"/>
                  <a:gd name="T45" fmla="*/ 433 h 745"/>
                  <a:gd name="T46" fmla="*/ 31 w 838"/>
                  <a:gd name="T47" fmla="*/ 433 h 745"/>
                  <a:gd name="T48" fmla="*/ 31 w 838"/>
                  <a:gd name="T49" fmla="*/ 465 h 745"/>
                  <a:gd name="T50" fmla="*/ 93 w 838"/>
                  <a:gd name="T51" fmla="*/ 589 h 745"/>
                  <a:gd name="T52" fmla="*/ 62 w 838"/>
                  <a:gd name="T53" fmla="*/ 651 h 745"/>
                  <a:gd name="T54" fmla="*/ 93 w 838"/>
                  <a:gd name="T55" fmla="*/ 744 h 745"/>
                  <a:gd name="T56" fmla="*/ 155 w 838"/>
                  <a:gd name="T57" fmla="*/ 744 h 745"/>
                  <a:gd name="T58" fmla="*/ 248 w 838"/>
                  <a:gd name="T59" fmla="*/ 713 h 745"/>
                  <a:gd name="T60" fmla="*/ 310 w 838"/>
                  <a:gd name="T61" fmla="*/ 713 h 745"/>
                  <a:gd name="T62" fmla="*/ 434 w 838"/>
                  <a:gd name="T63" fmla="*/ 713 h 745"/>
                  <a:gd name="T64" fmla="*/ 496 w 838"/>
                  <a:gd name="T65" fmla="*/ 681 h 745"/>
                  <a:gd name="T66" fmla="*/ 589 w 838"/>
                  <a:gd name="T67" fmla="*/ 620 h 745"/>
                  <a:gd name="T68" fmla="*/ 744 w 838"/>
                  <a:gd name="T69" fmla="*/ 433 h 745"/>
                  <a:gd name="T70" fmla="*/ 806 w 838"/>
                  <a:gd name="T71" fmla="*/ 341 h 745"/>
                  <a:gd name="T72" fmla="*/ 682 w 838"/>
                  <a:gd name="T73" fmla="*/ 465 h 745"/>
                  <a:gd name="T74" fmla="*/ 620 w 838"/>
                  <a:gd name="T75" fmla="*/ 527 h 745"/>
                  <a:gd name="T76" fmla="*/ 589 w 838"/>
                  <a:gd name="T77" fmla="*/ 527 h 745"/>
                  <a:gd name="T78" fmla="*/ 558 w 838"/>
                  <a:gd name="T79" fmla="*/ 527 h 745"/>
                  <a:gd name="T80" fmla="*/ 527 w 838"/>
                  <a:gd name="T81" fmla="*/ 465 h 745"/>
                  <a:gd name="T82" fmla="*/ 527 w 838"/>
                  <a:gd name="T83" fmla="*/ 465 h 745"/>
                  <a:gd name="T84" fmla="*/ 527 w 838"/>
                  <a:gd name="T85" fmla="*/ 433 h 745"/>
                  <a:gd name="T86" fmla="*/ 558 w 838"/>
                  <a:gd name="T87" fmla="*/ 403 h 745"/>
                  <a:gd name="T88" fmla="*/ 620 w 838"/>
                  <a:gd name="T89" fmla="*/ 341 h 745"/>
                  <a:gd name="T90" fmla="*/ 682 w 838"/>
                  <a:gd name="T91" fmla="*/ 372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8" h="745">
                    <a:moveTo>
                      <a:pt x="806" y="341"/>
                    </a:moveTo>
                    <a:lnTo>
                      <a:pt x="806" y="341"/>
                    </a:lnTo>
                    <a:lnTo>
                      <a:pt x="806" y="341"/>
                    </a:lnTo>
                    <a:lnTo>
                      <a:pt x="806" y="341"/>
                    </a:lnTo>
                    <a:cubicBezTo>
                      <a:pt x="806" y="309"/>
                      <a:pt x="806" y="309"/>
                      <a:pt x="806" y="309"/>
                    </a:cubicBezTo>
                    <a:cubicBezTo>
                      <a:pt x="775" y="309"/>
                      <a:pt x="775" y="309"/>
                      <a:pt x="775" y="309"/>
                    </a:cubicBezTo>
                    <a:lnTo>
                      <a:pt x="775" y="309"/>
                    </a:lnTo>
                    <a:lnTo>
                      <a:pt x="775" y="309"/>
                    </a:lnTo>
                    <a:cubicBezTo>
                      <a:pt x="744" y="309"/>
                      <a:pt x="744" y="279"/>
                      <a:pt x="744" y="279"/>
                    </a:cubicBezTo>
                    <a:lnTo>
                      <a:pt x="744" y="279"/>
                    </a:lnTo>
                    <a:lnTo>
                      <a:pt x="744" y="248"/>
                    </a:lnTo>
                    <a:lnTo>
                      <a:pt x="744" y="248"/>
                    </a:lnTo>
                    <a:lnTo>
                      <a:pt x="744" y="248"/>
                    </a:lnTo>
                    <a:cubicBezTo>
                      <a:pt x="744" y="217"/>
                      <a:pt x="744" y="217"/>
                      <a:pt x="744" y="217"/>
                    </a:cubicBezTo>
                    <a:cubicBezTo>
                      <a:pt x="744" y="185"/>
                      <a:pt x="775" y="185"/>
                      <a:pt x="775" y="185"/>
                    </a:cubicBezTo>
                    <a:cubicBezTo>
                      <a:pt x="775" y="185"/>
                      <a:pt x="775" y="155"/>
                      <a:pt x="806" y="155"/>
                    </a:cubicBezTo>
                    <a:lnTo>
                      <a:pt x="806" y="155"/>
                    </a:lnTo>
                    <a:lnTo>
                      <a:pt x="806" y="155"/>
                    </a:lnTo>
                    <a:lnTo>
                      <a:pt x="806" y="124"/>
                    </a:lnTo>
                    <a:cubicBezTo>
                      <a:pt x="806" y="124"/>
                      <a:pt x="775" y="93"/>
                      <a:pt x="775" y="61"/>
                    </a:cubicBezTo>
                    <a:lnTo>
                      <a:pt x="775" y="61"/>
                    </a:lnTo>
                    <a:cubicBezTo>
                      <a:pt x="775" y="61"/>
                      <a:pt x="775" y="31"/>
                      <a:pt x="775" y="0"/>
                    </a:cubicBezTo>
                    <a:lnTo>
                      <a:pt x="775" y="0"/>
                    </a:lnTo>
                    <a:cubicBezTo>
                      <a:pt x="744" y="0"/>
                      <a:pt x="744" y="0"/>
                      <a:pt x="713" y="0"/>
                    </a:cubicBezTo>
                    <a:lnTo>
                      <a:pt x="713" y="0"/>
                    </a:lnTo>
                    <a:lnTo>
                      <a:pt x="682" y="0"/>
                    </a:lnTo>
                    <a:lnTo>
                      <a:pt x="682" y="0"/>
                    </a:lnTo>
                    <a:lnTo>
                      <a:pt x="682" y="0"/>
                    </a:lnTo>
                    <a:cubicBezTo>
                      <a:pt x="682" y="0"/>
                      <a:pt x="682" y="31"/>
                      <a:pt x="651" y="31"/>
                    </a:cubicBezTo>
                    <a:lnTo>
                      <a:pt x="651" y="31"/>
                    </a:lnTo>
                    <a:lnTo>
                      <a:pt x="651" y="31"/>
                    </a:lnTo>
                    <a:lnTo>
                      <a:pt x="651" y="31"/>
                    </a:lnTo>
                    <a:lnTo>
                      <a:pt x="651" y="31"/>
                    </a:lnTo>
                    <a:lnTo>
                      <a:pt x="651" y="31"/>
                    </a:lnTo>
                    <a:cubicBezTo>
                      <a:pt x="651" y="31"/>
                      <a:pt x="651" y="31"/>
                      <a:pt x="620" y="31"/>
                    </a:cubicBezTo>
                    <a:lnTo>
                      <a:pt x="620" y="61"/>
                    </a:lnTo>
                    <a:cubicBezTo>
                      <a:pt x="589" y="61"/>
                      <a:pt x="589" y="93"/>
                      <a:pt x="589" y="93"/>
                    </a:cubicBezTo>
                    <a:lnTo>
                      <a:pt x="589" y="93"/>
                    </a:lnTo>
                    <a:lnTo>
                      <a:pt x="558" y="93"/>
                    </a:lnTo>
                    <a:cubicBezTo>
                      <a:pt x="558" y="124"/>
                      <a:pt x="558" y="124"/>
                      <a:pt x="527" y="155"/>
                    </a:cubicBezTo>
                    <a:lnTo>
                      <a:pt x="527" y="155"/>
                    </a:lnTo>
                    <a:lnTo>
                      <a:pt x="527" y="155"/>
                    </a:lnTo>
                    <a:lnTo>
                      <a:pt x="527" y="155"/>
                    </a:lnTo>
                    <a:lnTo>
                      <a:pt x="527" y="155"/>
                    </a:lnTo>
                    <a:cubicBezTo>
                      <a:pt x="496" y="155"/>
                      <a:pt x="496" y="185"/>
                      <a:pt x="496" y="185"/>
                    </a:cubicBezTo>
                    <a:cubicBezTo>
                      <a:pt x="496" y="217"/>
                      <a:pt x="496" y="217"/>
                      <a:pt x="465" y="217"/>
                    </a:cubicBezTo>
                    <a:cubicBezTo>
                      <a:pt x="434" y="217"/>
                      <a:pt x="402" y="217"/>
                      <a:pt x="402" y="217"/>
                    </a:cubicBezTo>
                    <a:lnTo>
                      <a:pt x="402" y="217"/>
                    </a:lnTo>
                    <a:cubicBezTo>
                      <a:pt x="372" y="217"/>
                      <a:pt x="372" y="217"/>
                      <a:pt x="372" y="217"/>
                    </a:cubicBezTo>
                    <a:lnTo>
                      <a:pt x="372" y="217"/>
                    </a:lnTo>
                    <a:lnTo>
                      <a:pt x="341" y="217"/>
                    </a:lnTo>
                    <a:lnTo>
                      <a:pt x="341" y="217"/>
                    </a:lnTo>
                    <a:lnTo>
                      <a:pt x="341" y="248"/>
                    </a:lnTo>
                    <a:cubicBezTo>
                      <a:pt x="310" y="248"/>
                      <a:pt x="310" y="248"/>
                      <a:pt x="310" y="248"/>
                    </a:cubicBezTo>
                    <a:lnTo>
                      <a:pt x="310" y="248"/>
                    </a:lnTo>
                    <a:lnTo>
                      <a:pt x="279" y="279"/>
                    </a:lnTo>
                    <a:lnTo>
                      <a:pt x="279" y="279"/>
                    </a:lnTo>
                    <a:cubicBezTo>
                      <a:pt x="248" y="279"/>
                      <a:pt x="248" y="279"/>
                      <a:pt x="248" y="279"/>
                    </a:cubicBezTo>
                    <a:cubicBezTo>
                      <a:pt x="186" y="309"/>
                      <a:pt x="186" y="309"/>
                      <a:pt x="186" y="309"/>
                    </a:cubicBezTo>
                    <a:cubicBezTo>
                      <a:pt x="186" y="403"/>
                      <a:pt x="186" y="403"/>
                      <a:pt x="186" y="403"/>
                    </a:cubicBezTo>
                    <a:cubicBezTo>
                      <a:pt x="155" y="403"/>
                      <a:pt x="155" y="403"/>
                      <a:pt x="155" y="403"/>
                    </a:cubicBezTo>
                    <a:lnTo>
                      <a:pt x="155" y="403"/>
                    </a:lnTo>
                    <a:lnTo>
                      <a:pt x="155" y="403"/>
                    </a:lnTo>
                    <a:cubicBezTo>
                      <a:pt x="124" y="433"/>
                      <a:pt x="124" y="433"/>
                      <a:pt x="93" y="433"/>
                    </a:cubicBezTo>
                    <a:lnTo>
                      <a:pt x="93" y="433"/>
                    </a:lnTo>
                    <a:lnTo>
                      <a:pt x="93" y="433"/>
                    </a:lnTo>
                    <a:lnTo>
                      <a:pt x="62" y="433"/>
                    </a:lnTo>
                    <a:cubicBezTo>
                      <a:pt x="62" y="433"/>
                      <a:pt x="62" y="433"/>
                      <a:pt x="31" y="433"/>
                    </a:cubicBezTo>
                    <a:lnTo>
                      <a:pt x="31" y="433"/>
                    </a:lnTo>
                    <a:lnTo>
                      <a:pt x="31" y="433"/>
                    </a:lnTo>
                    <a:lnTo>
                      <a:pt x="31" y="433"/>
                    </a:lnTo>
                    <a:lnTo>
                      <a:pt x="31" y="433"/>
                    </a:lnTo>
                    <a:lnTo>
                      <a:pt x="0" y="403"/>
                    </a:lnTo>
                    <a:lnTo>
                      <a:pt x="0" y="403"/>
                    </a:lnTo>
                    <a:cubicBezTo>
                      <a:pt x="0" y="433"/>
                      <a:pt x="0" y="433"/>
                      <a:pt x="31" y="465"/>
                    </a:cubicBezTo>
                    <a:lnTo>
                      <a:pt x="31" y="465"/>
                    </a:lnTo>
                    <a:cubicBezTo>
                      <a:pt x="31" y="496"/>
                      <a:pt x="62" y="557"/>
                      <a:pt x="93" y="557"/>
                    </a:cubicBezTo>
                    <a:cubicBezTo>
                      <a:pt x="93" y="589"/>
                      <a:pt x="93" y="589"/>
                      <a:pt x="93" y="589"/>
                    </a:cubicBezTo>
                    <a:lnTo>
                      <a:pt x="93" y="589"/>
                    </a:lnTo>
                    <a:lnTo>
                      <a:pt x="93" y="620"/>
                    </a:lnTo>
                    <a:cubicBezTo>
                      <a:pt x="93" y="651"/>
                      <a:pt x="93" y="651"/>
                      <a:pt x="62" y="651"/>
                    </a:cubicBezTo>
                    <a:cubicBezTo>
                      <a:pt x="62" y="651"/>
                      <a:pt x="62" y="651"/>
                      <a:pt x="93" y="681"/>
                    </a:cubicBezTo>
                    <a:lnTo>
                      <a:pt x="93" y="713"/>
                    </a:lnTo>
                    <a:cubicBezTo>
                      <a:pt x="93" y="713"/>
                      <a:pt x="93" y="713"/>
                      <a:pt x="93" y="744"/>
                    </a:cubicBezTo>
                    <a:cubicBezTo>
                      <a:pt x="93" y="744"/>
                      <a:pt x="124" y="744"/>
                      <a:pt x="155" y="744"/>
                    </a:cubicBezTo>
                    <a:lnTo>
                      <a:pt x="155" y="744"/>
                    </a:lnTo>
                    <a:lnTo>
                      <a:pt x="155" y="744"/>
                    </a:lnTo>
                    <a:lnTo>
                      <a:pt x="186" y="744"/>
                    </a:lnTo>
                    <a:lnTo>
                      <a:pt x="217" y="713"/>
                    </a:lnTo>
                    <a:lnTo>
                      <a:pt x="248" y="713"/>
                    </a:lnTo>
                    <a:lnTo>
                      <a:pt x="248" y="713"/>
                    </a:lnTo>
                    <a:lnTo>
                      <a:pt x="279" y="713"/>
                    </a:lnTo>
                    <a:cubicBezTo>
                      <a:pt x="279" y="713"/>
                      <a:pt x="279" y="713"/>
                      <a:pt x="310" y="713"/>
                    </a:cubicBezTo>
                    <a:lnTo>
                      <a:pt x="310" y="713"/>
                    </a:lnTo>
                    <a:cubicBezTo>
                      <a:pt x="341" y="713"/>
                      <a:pt x="402" y="713"/>
                      <a:pt x="402" y="713"/>
                    </a:cubicBezTo>
                    <a:cubicBezTo>
                      <a:pt x="434" y="713"/>
                      <a:pt x="434" y="713"/>
                      <a:pt x="434" y="713"/>
                    </a:cubicBezTo>
                    <a:cubicBezTo>
                      <a:pt x="434" y="681"/>
                      <a:pt x="434" y="681"/>
                      <a:pt x="434" y="681"/>
                    </a:cubicBezTo>
                    <a:cubicBezTo>
                      <a:pt x="465" y="681"/>
                      <a:pt x="465" y="681"/>
                      <a:pt x="465" y="681"/>
                    </a:cubicBezTo>
                    <a:lnTo>
                      <a:pt x="496" y="681"/>
                    </a:lnTo>
                    <a:lnTo>
                      <a:pt x="496" y="681"/>
                    </a:lnTo>
                    <a:lnTo>
                      <a:pt x="496" y="681"/>
                    </a:lnTo>
                    <a:cubicBezTo>
                      <a:pt x="527" y="681"/>
                      <a:pt x="558" y="651"/>
                      <a:pt x="589" y="620"/>
                    </a:cubicBezTo>
                    <a:lnTo>
                      <a:pt x="620" y="620"/>
                    </a:lnTo>
                    <a:cubicBezTo>
                      <a:pt x="651" y="589"/>
                      <a:pt x="713" y="527"/>
                      <a:pt x="744" y="465"/>
                    </a:cubicBezTo>
                    <a:cubicBezTo>
                      <a:pt x="744" y="465"/>
                      <a:pt x="744" y="465"/>
                      <a:pt x="744" y="433"/>
                    </a:cubicBezTo>
                    <a:cubicBezTo>
                      <a:pt x="775" y="433"/>
                      <a:pt x="806" y="372"/>
                      <a:pt x="837" y="341"/>
                    </a:cubicBezTo>
                    <a:cubicBezTo>
                      <a:pt x="837" y="341"/>
                      <a:pt x="837" y="341"/>
                      <a:pt x="837" y="309"/>
                    </a:cubicBezTo>
                    <a:cubicBezTo>
                      <a:pt x="837" y="309"/>
                      <a:pt x="837" y="341"/>
                      <a:pt x="806" y="341"/>
                    </a:cubicBezTo>
                    <a:close/>
                    <a:moveTo>
                      <a:pt x="713" y="403"/>
                    </a:moveTo>
                    <a:lnTo>
                      <a:pt x="713" y="403"/>
                    </a:lnTo>
                    <a:cubicBezTo>
                      <a:pt x="682" y="433"/>
                      <a:pt x="682" y="465"/>
                      <a:pt x="682" y="465"/>
                    </a:cubicBezTo>
                    <a:cubicBezTo>
                      <a:pt x="682" y="496"/>
                      <a:pt x="651" y="496"/>
                      <a:pt x="651" y="496"/>
                    </a:cubicBezTo>
                    <a:lnTo>
                      <a:pt x="651" y="496"/>
                    </a:lnTo>
                    <a:lnTo>
                      <a:pt x="620" y="527"/>
                    </a:lnTo>
                    <a:cubicBezTo>
                      <a:pt x="620" y="527"/>
                      <a:pt x="620" y="527"/>
                      <a:pt x="589" y="527"/>
                    </a:cubicBezTo>
                    <a:lnTo>
                      <a:pt x="589" y="527"/>
                    </a:lnTo>
                    <a:lnTo>
                      <a:pt x="589" y="527"/>
                    </a:lnTo>
                    <a:lnTo>
                      <a:pt x="589" y="527"/>
                    </a:lnTo>
                    <a:lnTo>
                      <a:pt x="589" y="527"/>
                    </a:lnTo>
                    <a:cubicBezTo>
                      <a:pt x="558" y="527"/>
                      <a:pt x="558" y="527"/>
                      <a:pt x="558" y="527"/>
                    </a:cubicBezTo>
                    <a:cubicBezTo>
                      <a:pt x="558" y="496"/>
                      <a:pt x="558" y="496"/>
                      <a:pt x="527" y="496"/>
                    </a:cubicBezTo>
                    <a:cubicBezTo>
                      <a:pt x="527" y="465"/>
                      <a:pt x="527" y="465"/>
                      <a:pt x="527" y="465"/>
                    </a:cubicBezTo>
                    <a:lnTo>
                      <a:pt x="527" y="465"/>
                    </a:lnTo>
                    <a:lnTo>
                      <a:pt x="527" y="465"/>
                    </a:lnTo>
                    <a:lnTo>
                      <a:pt x="527" y="465"/>
                    </a:lnTo>
                    <a:lnTo>
                      <a:pt x="527" y="465"/>
                    </a:lnTo>
                    <a:lnTo>
                      <a:pt x="527" y="433"/>
                    </a:lnTo>
                    <a:lnTo>
                      <a:pt x="527" y="433"/>
                    </a:lnTo>
                    <a:lnTo>
                      <a:pt x="527" y="433"/>
                    </a:lnTo>
                    <a:lnTo>
                      <a:pt x="527" y="433"/>
                    </a:lnTo>
                    <a:lnTo>
                      <a:pt x="527" y="433"/>
                    </a:lnTo>
                    <a:cubicBezTo>
                      <a:pt x="558" y="403"/>
                      <a:pt x="558" y="403"/>
                      <a:pt x="558" y="403"/>
                    </a:cubicBezTo>
                    <a:lnTo>
                      <a:pt x="589" y="372"/>
                    </a:lnTo>
                    <a:lnTo>
                      <a:pt x="620" y="372"/>
                    </a:lnTo>
                    <a:cubicBezTo>
                      <a:pt x="620" y="372"/>
                      <a:pt x="620" y="372"/>
                      <a:pt x="620" y="341"/>
                    </a:cubicBezTo>
                    <a:cubicBezTo>
                      <a:pt x="651" y="341"/>
                      <a:pt x="651" y="341"/>
                      <a:pt x="651" y="341"/>
                    </a:cubicBezTo>
                    <a:lnTo>
                      <a:pt x="651" y="341"/>
                    </a:lnTo>
                    <a:lnTo>
                      <a:pt x="682" y="372"/>
                    </a:lnTo>
                    <a:lnTo>
                      <a:pt x="682" y="372"/>
                    </a:lnTo>
                    <a:cubicBezTo>
                      <a:pt x="713" y="403"/>
                      <a:pt x="713" y="403"/>
                      <a:pt x="713" y="403"/>
                    </a:cubicBez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50" name="Freeform 47"/>
              <p:cNvSpPr>
                <a:spLocks noChangeArrowheads="1"/>
              </p:cNvSpPr>
              <p:nvPr/>
            </p:nvSpPr>
            <p:spPr bwMode="auto">
              <a:xfrm>
                <a:off x="4281488" y="3252788"/>
                <a:ext cx="11112" cy="22225"/>
              </a:xfrm>
              <a:custGeom>
                <a:avLst/>
                <a:gdLst>
                  <a:gd name="T0" fmla="*/ 31 w 32"/>
                  <a:gd name="T1" fmla="*/ 0 h 63"/>
                  <a:gd name="T2" fmla="*/ 31 w 32"/>
                  <a:gd name="T3" fmla="*/ 0 h 63"/>
                  <a:gd name="T4" fmla="*/ 31 w 32"/>
                  <a:gd name="T5" fmla="*/ 0 h 63"/>
                  <a:gd name="T6" fmla="*/ 31 w 32"/>
                  <a:gd name="T7" fmla="*/ 0 h 63"/>
                  <a:gd name="T8" fmla="*/ 31 w 32"/>
                  <a:gd name="T9" fmla="*/ 0 h 63"/>
                  <a:gd name="T10" fmla="*/ 0 w 32"/>
                  <a:gd name="T11" fmla="*/ 31 h 63"/>
                  <a:gd name="T12" fmla="*/ 0 w 32"/>
                  <a:gd name="T13" fmla="*/ 31 h 63"/>
                  <a:gd name="T14" fmla="*/ 0 w 32"/>
                  <a:gd name="T15" fmla="*/ 31 h 63"/>
                  <a:gd name="T16" fmla="*/ 0 w 32"/>
                  <a:gd name="T17" fmla="*/ 31 h 63"/>
                  <a:gd name="T18" fmla="*/ 0 w 32"/>
                  <a:gd name="T19" fmla="*/ 31 h 63"/>
                  <a:gd name="T20" fmla="*/ 31 w 32"/>
                  <a:gd name="T21" fmla="*/ 62 h 63"/>
                  <a:gd name="T22" fmla="*/ 31 w 32"/>
                  <a:gd name="T23" fmla="*/ 62 h 63"/>
                  <a:gd name="T24" fmla="*/ 31 w 32"/>
                  <a:gd name="T25" fmla="*/ 31 h 63"/>
                  <a:gd name="T26" fmla="*/ 31 w 32"/>
                  <a:gd name="T27" fmla="*/ 31 h 63"/>
                  <a:gd name="T28" fmla="*/ 31 w 32"/>
                  <a:gd name="T2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63">
                    <a:moveTo>
                      <a:pt x="31" y="0"/>
                    </a:moveTo>
                    <a:lnTo>
                      <a:pt x="31" y="0"/>
                    </a:lnTo>
                    <a:lnTo>
                      <a:pt x="31" y="0"/>
                    </a:lnTo>
                    <a:lnTo>
                      <a:pt x="31" y="0"/>
                    </a:lnTo>
                    <a:lnTo>
                      <a:pt x="31" y="0"/>
                    </a:lnTo>
                    <a:cubicBezTo>
                      <a:pt x="31" y="31"/>
                      <a:pt x="31" y="31"/>
                      <a:pt x="0" y="31"/>
                    </a:cubicBezTo>
                    <a:lnTo>
                      <a:pt x="0" y="31"/>
                    </a:lnTo>
                    <a:lnTo>
                      <a:pt x="0" y="31"/>
                    </a:lnTo>
                    <a:lnTo>
                      <a:pt x="0" y="31"/>
                    </a:lnTo>
                    <a:lnTo>
                      <a:pt x="0" y="31"/>
                    </a:lnTo>
                    <a:cubicBezTo>
                      <a:pt x="31" y="31"/>
                      <a:pt x="31" y="62"/>
                      <a:pt x="31" y="62"/>
                    </a:cubicBezTo>
                    <a:lnTo>
                      <a:pt x="31" y="62"/>
                    </a:lnTo>
                    <a:cubicBezTo>
                      <a:pt x="31" y="31"/>
                      <a:pt x="31" y="31"/>
                      <a:pt x="31" y="31"/>
                    </a:cubicBezTo>
                    <a:lnTo>
                      <a:pt x="31" y="31"/>
                    </a:lnTo>
                    <a:lnTo>
                      <a:pt x="31"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51" name="Freeform 48"/>
              <p:cNvSpPr>
                <a:spLocks noChangeArrowheads="1"/>
              </p:cNvSpPr>
              <p:nvPr/>
            </p:nvSpPr>
            <p:spPr bwMode="auto">
              <a:xfrm>
                <a:off x="4527550" y="2951163"/>
                <a:ext cx="134938" cy="279400"/>
              </a:xfrm>
              <a:custGeom>
                <a:avLst/>
                <a:gdLst>
                  <a:gd name="T0" fmla="*/ 341 w 373"/>
                  <a:gd name="T1" fmla="*/ 93 h 776"/>
                  <a:gd name="T2" fmla="*/ 341 w 373"/>
                  <a:gd name="T3" fmla="*/ 93 h 776"/>
                  <a:gd name="T4" fmla="*/ 341 w 373"/>
                  <a:gd name="T5" fmla="*/ 31 h 776"/>
                  <a:gd name="T6" fmla="*/ 341 w 373"/>
                  <a:gd name="T7" fmla="*/ 0 h 776"/>
                  <a:gd name="T8" fmla="*/ 310 w 373"/>
                  <a:gd name="T9" fmla="*/ 62 h 776"/>
                  <a:gd name="T10" fmla="*/ 278 w 373"/>
                  <a:gd name="T11" fmla="*/ 62 h 776"/>
                  <a:gd name="T12" fmla="*/ 278 w 373"/>
                  <a:gd name="T13" fmla="*/ 62 h 776"/>
                  <a:gd name="T14" fmla="*/ 278 w 373"/>
                  <a:gd name="T15" fmla="*/ 93 h 776"/>
                  <a:gd name="T16" fmla="*/ 278 w 373"/>
                  <a:gd name="T17" fmla="*/ 93 h 776"/>
                  <a:gd name="T18" fmla="*/ 278 w 373"/>
                  <a:gd name="T19" fmla="*/ 124 h 776"/>
                  <a:gd name="T20" fmla="*/ 217 w 373"/>
                  <a:gd name="T21" fmla="*/ 155 h 776"/>
                  <a:gd name="T22" fmla="*/ 186 w 373"/>
                  <a:gd name="T23" fmla="*/ 155 h 776"/>
                  <a:gd name="T24" fmla="*/ 186 w 373"/>
                  <a:gd name="T25" fmla="*/ 155 h 776"/>
                  <a:gd name="T26" fmla="*/ 186 w 373"/>
                  <a:gd name="T27" fmla="*/ 217 h 776"/>
                  <a:gd name="T28" fmla="*/ 154 w 373"/>
                  <a:gd name="T29" fmla="*/ 217 h 776"/>
                  <a:gd name="T30" fmla="*/ 154 w 373"/>
                  <a:gd name="T31" fmla="*/ 217 h 776"/>
                  <a:gd name="T32" fmla="*/ 154 w 373"/>
                  <a:gd name="T33" fmla="*/ 217 h 776"/>
                  <a:gd name="T34" fmla="*/ 154 w 373"/>
                  <a:gd name="T35" fmla="*/ 217 h 776"/>
                  <a:gd name="T36" fmla="*/ 124 w 373"/>
                  <a:gd name="T37" fmla="*/ 217 h 776"/>
                  <a:gd name="T38" fmla="*/ 93 w 373"/>
                  <a:gd name="T39" fmla="*/ 217 h 776"/>
                  <a:gd name="T40" fmla="*/ 93 w 373"/>
                  <a:gd name="T41" fmla="*/ 217 h 776"/>
                  <a:gd name="T42" fmla="*/ 62 w 373"/>
                  <a:gd name="T43" fmla="*/ 217 h 776"/>
                  <a:gd name="T44" fmla="*/ 62 w 373"/>
                  <a:gd name="T45" fmla="*/ 217 h 776"/>
                  <a:gd name="T46" fmla="*/ 62 w 373"/>
                  <a:gd name="T47" fmla="*/ 217 h 776"/>
                  <a:gd name="T48" fmla="*/ 62 w 373"/>
                  <a:gd name="T49" fmla="*/ 248 h 776"/>
                  <a:gd name="T50" fmla="*/ 62 w 373"/>
                  <a:gd name="T51" fmla="*/ 309 h 776"/>
                  <a:gd name="T52" fmla="*/ 62 w 373"/>
                  <a:gd name="T53" fmla="*/ 309 h 776"/>
                  <a:gd name="T54" fmla="*/ 93 w 373"/>
                  <a:gd name="T55" fmla="*/ 465 h 776"/>
                  <a:gd name="T56" fmla="*/ 62 w 373"/>
                  <a:gd name="T57" fmla="*/ 465 h 776"/>
                  <a:gd name="T58" fmla="*/ 30 w 373"/>
                  <a:gd name="T59" fmla="*/ 589 h 776"/>
                  <a:gd name="T60" fmla="*/ 30 w 373"/>
                  <a:gd name="T61" fmla="*/ 589 h 776"/>
                  <a:gd name="T62" fmla="*/ 30 w 373"/>
                  <a:gd name="T63" fmla="*/ 620 h 776"/>
                  <a:gd name="T64" fmla="*/ 30 w 373"/>
                  <a:gd name="T65" fmla="*/ 651 h 776"/>
                  <a:gd name="T66" fmla="*/ 30 w 373"/>
                  <a:gd name="T67" fmla="*/ 713 h 776"/>
                  <a:gd name="T68" fmla="*/ 30 w 373"/>
                  <a:gd name="T69" fmla="*/ 744 h 776"/>
                  <a:gd name="T70" fmla="*/ 93 w 373"/>
                  <a:gd name="T71" fmla="*/ 775 h 776"/>
                  <a:gd name="T72" fmla="*/ 154 w 373"/>
                  <a:gd name="T73" fmla="*/ 775 h 776"/>
                  <a:gd name="T74" fmla="*/ 186 w 373"/>
                  <a:gd name="T75" fmla="*/ 744 h 776"/>
                  <a:gd name="T76" fmla="*/ 186 w 373"/>
                  <a:gd name="T77" fmla="*/ 744 h 776"/>
                  <a:gd name="T78" fmla="*/ 186 w 373"/>
                  <a:gd name="T79" fmla="*/ 744 h 776"/>
                  <a:gd name="T80" fmla="*/ 186 w 373"/>
                  <a:gd name="T81" fmla="*/ 744 h 776"/>
                  <a:gd name="T82" fmla="*/ 278 w 373"/>
                  <a:gd name="T83" fmla="*/ 372 h 776"/>
                  <a:gd name="T84" fmla="*/ 310 w 373"/>
                  <a:gd name="T85" fmla="*/ 309 h 776"/>
                  <a:gd name="T86" fmla="*/ 341 w 373"/>
                  <a:gd name="T87" fmla="*/ 248 h 776"/>
                  <a:gd name="T88" fmla="*/ 341 w 373"/>
                  <a:gd name="T89" fmla="*/ 248 h 776"/>
                  <a:gd name="T90" fmla="*/ 310 w 373"/>
                  <a:gd name="T91" fmla="*/ 217 h 776"/>
                  <a:gd name="T92" fmla="*/ 310 w 373"/>
                  <a:gd name="T93" fmla="*/ 155 h 776"/>
                  <a:gd name="T94" fmla="*/ 310 w 373"/>
                  <a:gd name="T95" fmla="*/ 155 h 776"/>
                  <a:gd name="T96" fmla="*/ 341 w 373"/>
                  <a:gd name="T97" fmla="*/ 155 h 776"/>
                  <a:gd name="T98" fmla="*/ 372 w 373"/>
                  <a:gd name="T99" fmla="*/ 124 h 776"/>
                  <a:gd name="T100" fmla="*/ 341 w 373"/>
                  <a:gd name="T101" fmla="*/ 124 h 776"/>
                  <a:gd name="T102" fmla="*/ 341 w 373"/>
                  <a:gd name="T103" fmla="*/ 93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776">
                    <a:moveTo>
                      <a:pt x="341" y="93"/>
                    </a:moveTo>
                    <a:lnTo>
                      <a:pt x="341" y="93"/>
                    </a:lnTo>
                    <a:cubicBezTo>
                      <a:pt x="341" y="62"/>
                      <a:pt x="341" y="31"/>
                      <a:pt x="341" y="31"/>
                    </a:cubicBezTo>
                    <a:lnTo>
                      <a:pt x="341" y="0"/>
                    </a:lnTo>
                    <a:cubicBezTo>
                      <a:pt x="341" y="31"/>
                      <a:pt x="310" y="62"/>
                      <a:pt x="310" y="62"/>
                    </a:cubicBezTo>
                    <a:lnTo>
                      <a:pt x="278" y="62"/>
                    </a:lnTo>
                    <a:lnTo>
                      <a:pt x="278" y="62"/>
                    </a:lnTo>
                    <a:cubicBezTo>
                      <a:pt x="278" y="93"/>
                      <a:pt x="278" y="93"/>
                      <a:pt x="278" y="93"/>
                    </a:cubicBezTo>
                    <a:lnTo>
                      <a:pt x="278" y="93"/>
                    </a:lnTo>
                    <a:lnTo>
                      <a:pt x="278" y="124"/>
                    </a:lnTo>
                    <a:cubicBezTo>
                      <a:pt x="248" y="155"/>
                      <a:pt x="248" y="155"/>
                      <a:pt x="217" y="155"/>
                    </a:cubicBezTo>
                    <a:lnTo>
                      <a:pt x="186" y="155"/>
                    </a:lnTo>
                    <a:lnTo>
                      <a:pt x="186" y="155"/>
                    </a:lnTo>
                    <a:cubicBezTo>
                      <a:pt x="186" y="185"/>
                      <a:pt x="186" y="185"/>
                      <a:pt x="186" y="217"/>
                    </a:cubicBezTo>
                    <a:cubicBezTo>
                      <a:pt x="186" y="217"/>
                      <a:pt x="186" y="217"/>
                      <a:pt x="154" y="217"/>
                    </a:cubicBezTo>
                    <a:lnTo>
                      <a:pt x="154" y="217"/>
                    </a:lnTo>
                    <a:lnTo>
                      <a:pt x="154" y="217"/>
                    </a:lnTo>
                    <a:lnTo>
                      <a:pt x="154" y="217"/>
                    </a:lnTo>
                    <a:lnTo>
                      <a:pt x="124" y="217"/>
                    </a:lnTo>
                    <a:cubicBezTo>
                      <a:pt x="124" y="217"/>
                      <a:pt x="124" y="217"/>
                      <a:pt x="93" y="217"/>
                    </a:cubicBezTo>
                    <a:lnTo>
                      <a:pt x="93" y="217"/>
                    </a:lnTo>
                    <a:lnTo>
                      <a:pt x="62" y="217"/>
                    </a:lnTo>
                    <a:lnTo>
                      <a:pt x="62" y="217"/>
                    </a:lnTo>
                    <a:lnTo>
                      <a:pt x="62" y="217"/>
                    </a:lnTo>
                    <a:cubicBezTo>
                      <a:pt x="62" y="248"/>
                      <a:pt x="62" y="248"/>
                      <a:pt x="62" y="248"/>
                    </a:cubicBezTo>
                    <a:cubicBezTo>
                      <a:pt x="62" y="279"/>
                      <a:pt x="62" y="279"/>
                      <a:pt x="62" y="309"/>
                    </a:cubicBezTo>
                    <a:lnTo>
                      <a:pt x="62" y="309"/>
                    </a:lnTo>
                    <a:cubicBezTo>
                      <a:pt x="93" y="372"/>
                      <a:pt x="93" y="433"/>
                      <a:pt x="93" y="465"/>
                    </a:cubicBezTo>
                    <a:cubicBezTo>
                      <a:pt x="62" y="465"/>
                      <a:pt x="62" y="465"/>
                      <a:pt x="62" y="465"/>
                    </a:cubicBezTo>
                    <a:cubicBezTo>
                      <a:pt x="62" y="496"/>
                      <a:pt x="30" y="557"/>
                      <a:pt x="30" y="589"/>
                    </a:cubicBezTo>
                    <a:cubicBezTo>
                      <a:pt x="0" y="589"/>
                      <a:pt x="0" y="589"/>
                      <a:pt x="30" y="589"/>
                    </a:cubicBezTo>
                    <a:cubicBezTo>
                      <a:pt x="30" y="620"/>
                      <a:pt x="30" y="620"/>
                      <a:pt x="30" y="620"/>
                    </a:cubicBezTo>
                    <a:cubicBezTo>
                      <a:pt x="30" y="651"/>
                      <a:pt x="30" y="651"/>
                      <a:pt x="30" y="651"/>
                    </a:cubicBezTo>
                    <a:cubicBezTo>
                      <a:pt x="30" y="681"/>
                      <a:pt x="30" y="681"/>
                      <a:pt x="30" y="713"/>
                    </a:cubicBezTo>
                    <a:cubicBezTo>
                      <a:pt x="30" y="713"/>
                      <a:pt x="30" y="713"/>
                      <a:pt x="30" y="744"/>
                    </a:cubicBezTo>
                    <a:cubicBezTo>
                      <a:pt x="62" y="744"/>
                      <a:pt x="93" y="775"/>
                      <a:pt x="93" y="775"/>
                    </a:cubicBezTo>
                    <a:cubicBezTo>
                      <a:pt x="93" y="775"/>
                      <a:pt x="124" y="775"/>
                      <a:pt x="154" y="775"/>
                    </a:cubicBezTo>
                    <a:cubicBezTo>
                      <a:pt x="154" y="744"/>
                      <a:pt x="186" y="744"/>
                      <a:pt x="186" y="744"/>
                    </a:cubicBezTo>
                    <a:lnTo>
                      <a:pt x="186" y="744"/>
                    </a:lnTo>
                    <a:lnTo>
                      <a:pt x="186" y="744"/>
                    </a:lnTo>
                    <a:lnTo>
                      <a:pt x="186" y="744"/>
                    </a:lnTo>
                    <a:cubicBezTo>
                      <a:pt x="186" y="713"/>
                      <a:pt x="278" y="433"/>
                      <a:pt x="278" y="372"/>
                    </a:cubicBezTo>
                    <a:cubicBezTo>
                      <a:pt x="310" y="341"/>
                      <a:pt x="310" y="341"/>
                      <a:pt x="310" y="309"/>
                    </a:cubicBezTo>
                    <a:cubicBezTo>
                      <a:pt x="310" y="279"/>
                      <a:pt x="310" y="279"/>
                      <a:pt x="341" y="248"/>
                    </a:cubicBezTo>
                    <a:lnTo>
                      <a:pt x="341" y="248"/>
                    </a:lnTo>
                    <a:lnTo>
                      <a:pt x="310" y="217"/>
                    </a:lnTo>
                    <a:cubicBezTo>
                      <a:pt x="310" y="185"/>
                      <a:pt x="310" y="155"/>
                      <a:pt x="310" y="155"/>
                    </a:cubicBezTo>
                    <a:lnTo>
                      <a:pt x="310" y="155"/>
                    </a:lnTo>
                    <a:cubicBezTo>
                      <a:pt x="341" y="155"/>
                      <a:pt x="341" y="155"/>
                      <a:pt x="341" y="155"/>
                    </a:cubicBezTo>
                    <a:cubicBezTo>
                      <a:pt x="341" y="155"/>
                      <a:pt x="341" y="124"/>
                      <a:pt x="372" y="124"/>
                    </a:cubicBezTo>
                    <a:cubicBezTo>
                      <a:pt x="372" y="124"/>
                      <a:pt x="372" y="124"/>
                      <a:pt x="341" y="124"/>
                    </a:cubicBezTo>
                    <a:lnTo>
                      <a:pt x="341" y="93"/>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52" name="Freeform 49"/>
              <p:cNvSpPr>
                <a:spLocks noChangeArrowheads="1"/>
              </p:cNvSpPr>
              <p:nvPr/>
            </p:nvSpPr>
            <p:spPr bwMode="auto">
              <a:xfrm>
                <a:off x="3902075" y="3052763"/>
                <a:ext cx="168275" cy="257175"/>
              </a:xfrm>
              <a:custGeom>
                <a:avLst/>
                <a:gdLst>
                  <a:gd name="T0" fmla="*/ 279 w 466"/>
                  <a:gd name="T1" fmla="*/ 650 h 714"/>
                  <a:gd name="T2" fmla="*/ 279 w 466"/>
                  <a:gd name="T3" fmla="*/ 650 h 714"/>
                  <a:gd name="T4" fmla="*/ 310 w 466"/>
                  <a:gd name="T5" fmla="*/ 682 h 714"/>
                  <a:gd name="T6" fmla="*/ 310 w 466"/>
                  <a:gd name="T7" fmla="*/ 713 h 714"/>
                  <a:gd name="T8" fmla="*/ 310 w 466"/>
                  <a:gd name="T9" fmla="*/ 713 h 714"/>
                  <a:gd name="T10" fmla="*/ 310 w 466"/>
                  <a:gd name="T11" fmla="*/ 713 h 714"/>
                  <a:gd name="T12" fmla="*/ 341 w 466"/>
                  <a:gd name="T13" fmla="*/ 713 h 714"/>
                  <a:gd name="T14" fmla="*/ 341 w 466"/>
                  <a:gd name="T15" fmla="*/ 713 h 714"/>
                  <a:gd name="T16" fmla="*/ 372 w 466"/>
                  <a:gd name="T17" fmla="*/ 713 h 714"/>
                  <a:gd name="T18" fmla="*/ 372 w 466"/>
                  <a:gd name="T19" fmla="*/ 713 h 714"/>
                  <a:gd name="T20" fmla="*/ 372 w 466"/>
                  <a:gd name="T21" fmla="*/ 713 h 714"/>
                  <a:gd name="T22" fmla="*/ 372 w 466"/>
                  <a:gd name="T23" fmla="*/ 713 h 714"/>
                  <a:gd name="T24" fmla="*/ 403 w 466"/>
                  <a:gd name="T25" fmla="*/ 682 h 714"/>
                  <a:gd name="T26" fmla="*/ 403 w 466"/>
                  <a:gd name="T27" fmla="*/ 248 h 714"/>
                  <a:gd name="T28" fmla="*/ 465 w 466"/>
                  <a:gd name="T29" fmla="*/ 248 h 714"/>
                  <a:gd name="T30" fmla="*/ 465 w 466"/>
                  <a:gd name="T31" fmla="*/ 62 h 714"/>
                  <a:gd name="T32" fmla="*/ 372 w 466"/>
                  <a:gd name="T33" fmla="*/ 62 h 714"/>
                  <a:gd name="T34" fmla="*/ 341 w 466"/>
                  <a:gd name="T35" fmla="*/ 30 h 714"/>
                  <a:gd name="T36" fmla="*/ 279 w 466"/>
                  <a:gd name="T37" fmla="*/ 30 h 714"/>
                  <a:gd name="T38" fmla="*/ 279 w 466"/>
                  <a:gd name="T39" fmla="*/ 30 h 714"/>
                  <a:gd name="T40" fmla="*/ 155 w 466"/>
                  <a:gd name="T41" fmla="*/ 30 h 714"/>
                  <a:gd name="T42" fmla="*/ 124 w 466"/>
                  <a:gd name="T43" fmla="*/ 30 h 714"/>
                  <a:gd name="T44" fmla="*/ 124 w 466"/>
                  <a:gd name="T45" fmla="*/ 30 h 714"/>
                  <a:gd name="T46" fmla="*/ 93 w 466"/>
                  <a:gd name="T47" fmla="*/ 30 h 714"/>
                  <a:gd name="T48" fmla="*/ 93 w 466"/>
                  <a:gd name="T49" fmla="*/ 30 h 714"/>
                  <a:gd name="T50" fmla="*/ 62 w 466"/>
                  <a:gd name="T51" fmla="*/ 0 h 714"/>
                  <a:gd name="T52" fmla="*/ 62 w 466"/>
                  <a:gd name="T53" fmla="*/ 0 h 714"/>
                  <a:gd name="T54" fmla="*/ 62 w 466"/>
                  <a:gd name="T55" fmla="*/ 0 h 714"/>
                  <a:gd name="T56" fmla="*/ 62 w 466"/>
                  <a:gd name="T57" fmla="*/ 0 h 714"/>
                  <a:gd name="T58" fmla="*/ 62 w 466"/>
                  <a:gd name="T59" fmla="*/ 0 h 714"/>
                  <a:gd name="T60" fmla="*/ 62 w 466"/>
                  <a:gd name="T61" fmla="*/ 0 h 714"/>
                  <a:gd name="T62" fmla="*/ 62 w 466"/>
                  <a:gd name="T63" fmla="*/ 0 h 714"/>
                  <a:gd name="T64" fmla="*/ 31 w 466"/>
                  <a:gd name="T65" fmla="*/ 30 h 714"/>
                  <a:gd name="T66" fmla="*/ 0 w 466"/>
                  <a:gd name="T67" fmla="*/ 30 h 714"/>
                  <a:gd name="T68" fmla="*/ 0 w 466"/>
                  <a:gd name="T69" fmla="*/ 30 h 714"/>
                  <a:gd name="T70" fmla="*/ 0 w 466"/>
                  <a:gd name="T71" fmla="*/ 30 h 714"/>
                  <a:gd name="T72" fmla="*/ 62 w 466"/>
                  <a:gd name="T73" fmla="*/ 124 h 714"/>
                  <a:gd name="T74" fmla="*/ 93 w 466"/>
                  <a:gd name="T75" fmla="*/ 217 h 714"/>
                  <a:gd name="T76" fmla="*/ 124 w 466"/>
                  <a:gd name="T77" fmla="*/ 278 h 714"/>
                  <a:gd name="T78" fmla="*/ 155 w 466"/>
                  <a:gd name="T79" fmla="*/ 310 h 714"/>
                  <a:gd name="T80" fmla="*/ 155 w 466"/>
                  <a:gd name="T81" fmla="*/ 402 h 714"/>
                  <a:gd name="T82" fmla="*/ 155 w 466"/>
                  <a:gd name="T83" fmla="*/ 402 h 714"/>
                  <a:gd name="T84" fmla="*/ 155 w 466"/>
                  <a:gd name="T85" fmla="*/ 434 h 714"/>
                  <a:gd name="T86" fmla="*/ 186 w 466"/>
                  <a:gd name="T87" fmla="*/ 465 h 714"/>
                  <a:gd name="T88" fmla="*/ 186 w 466"/>
                  <a:gd name="T89" fmla="*/ 526 h 714"/>
                  <a:gd name="T90" fmla="*/ 186 w 466"/>
                  <a:gd name="T91" fmla="*/ 526 h 714"/>
                  <a:gd name="T92" fmla="*/ 186 w 466"/>
                  <a:gd name="T93" fmla="*/ 620 h 714"/>
                  <a:gd name="T94" fmla="*/ 186 w 466"/>
                  <a:gd name="T95" fmla="*/ 620 h 714"/>
                  <a:gd name="T96" fmla="*/ 248 w 466"/>
                  <a:gd name="T97" fmla="*/ 682 h 714"/>
                  <a:gd name="T98" fmla="*/ 248 w 466"/>
                  <a:gd name="T99" fmla="*/ 650 h 714"/>
                  <a:gd name="T100" fmla="*/ 279 w 466"/>
                  <a:gd name="T101" fmla="*/ 65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6" h="714">
                    <a:moveTo>
                      <a:pt x="279" y="650"/>
                    </a:moveTo>
                    <a:lnTo>
                      <a:pt x="279" y="650"/>
                    </a:lnTo>
                    <a:cubicBezTo>
                      <a:pt x="279" y="650"/>
                      <a:pt x="310" y="650"/>
                      <a:pt x="310" y="682"/>
                    </a:cubicBezTo>
                    <a:cubicBezTo>
                      <a:pt x="310" y="682"/>
                      <a:pt x="310" y="682"/>
                      <a:pt x="310" y="713"/>
                    </a:cubicBezTo>
                    <a:lnTo>
                      <a:pt x="310" y="713"/>
                    </a:lnTo>
                    <a:lnTo>
                      <a:pt x="310" y="713"/>
                    </a:lnTo>
                    <a:lnTo>
                      <a:pt x="341" y="713"/>
                    </a:lnTo>
                    <a:lnTo>
                      <a:pt x="341" y="713"/>
                    </a:lnTo>
                    <a:lnTo>
                      <a:pt x="372" y="713"/>
                    </a:lnTo>
                    <a:lnTo>
                      <a:pt x="372" y="713"/>
                    </a:lnTo>
                    <a:lnTo>
                      <a:pt x="372" y="713"/>
                    </a:lnTo>
                    <a:lnTo>
                      <a:pt x="372" y="713"/>
                    </a:lnTo>
                    <a:cubicBezTo>
                      <a:pt x="403" y="713"/>
                      <a:pt x="403" y="713"/>
                      <a:pt x="403" y="682"/>
                    </a:cubicBezTo>
                    <a:cubicBezTo>
                      <a:pt x="403" y="248"/>
                      <a:pt x="403" y="248"/>
                      <a:pt x="403" y="248"/>
                    </a:cubicBezTo>
                    <a:cubicBezTo>
                      <a:pt x="465" y="248"/>
                      <a:pt x="465" y="248"/>
                      <a:pt x="465" y="248"/>
                    </a:cubicBezTo>
                    <a:cubicBezTo>
                      <a:pt x="465" y="62"/>
                      <a:pt x="465" y="62"/>
                      <a:pt x="465" y="62"/>
                    </a:cubicBezTo>
                    <a:cubicBezTo>
                      <a:pt x="372" y="62"/>
                      <a:pt x="372" y="62"/>
                      <a:pt x="372" y="62"/>
                    </a:cubicBezTo>
                    <a:cubicBezTo>
                      <a:pt x="341" y="30"/>
                      <a:pt x="341" y="30"/>
                      <a:pt x="341" y="30"/>
                    </a:cubicBezTo>
                    <a:cubicBezTo>
                      <a:pt x="341" y="30"/>
                      <a:pt x="310" y="30"/>
                      <a:pt x="279" y="30"/>
                    </a:cubicBezTo>
                    <a:lnTo>
                      <a:pt x="279" y="30"/>
                    </a:lnTo>
                    <a:cubicBezTo>
                      <a:pt x="248" y="30"/>
                      <a:pt x="155" y="30"/>
                      <a:pt x="155" y="30"/>
                    </a:cubicBezTo>
                    <a:lnTo>
                      <a:pt x="124" y="30"/>
                    </a:lnTo>
                    <a:lnTo>
                      <a:pt x="124" y="30"/>
                    </a:lnTo>
                    <a:cubicBezTo>
                      <a:pt x="93" y="30"/>
                      <a:pt x="93" y="30"/>
                      <a:pt x="93" y="30"/>
                    </a:cubicBezTo>
                    <a:lnTo>
                      <a:pt x="93" y="30"/>
                    </a:lnTo>
                    <a:cubicBezTo>
                      <a:pt x="93" y="30"/>
                      <a:pt x="62" y="30"/>
                      <a:pt x="62" y="0"/>
                    </a:cubicBezTo>
                    <a:lnTo>
                      <a:pt x="62" y="0"/>
                    </a:lnTo>
                    <a:lnTo>
                      <a:pt x="62" y="0"/>
                    </a:lnTo>
                    <a:lnTo>
                      <a:pt x="62" y="0"/>
                    </a:lnTo>
                    <a:lnTo>
                      <a:pt x="62" y="0"/>
                    </a:lnTo>
                    <a:lnTo>
                      <a:pt x="62" y="0"/>
                    </a:lnTo>
                    <a:lnTo>
                      <a:pt x="62" y="0"/>
                    </a:lnTo>
                    <a:lnTo>
                      <a:pt x="31" y="30"/>
                    </a:lnTo>
                    <a:cubicBezTo>
                      <a:pt x="31" y="30"/>
                      <a:pt x="31" y="30"/>
                      <a:pt x="0" y="30"/>
                    </a:cubicBezTo>
                    <a:lnTo>
                      <a:pt x="0" y="30"/>
                    </a:lnTo>
                    <a:lnTo>
                      <a:pt x="0" y="30"/>
                    </a:lnTo>
                    <a:cubicBezTo>
                      <a:pt x="0" y="30"/>
                      <a:pt x="31" y="93"/>
                      <a:pt x="62" y="124"/>
                    </a:cubicBezTo>
                    <a:cubicBezTo>
                      <a:pt x="93" y="154"/>
                      <a:pt x="93" y="186"/>
                      <a:pt x="93" y="217"/>
                    </a:cubicBezTo>
                    <a:cubicBezTo>
                      <a:pt x="93" y="217"/>
                      <a:pt x="124" y="248"/>
                      <a:pt x="124" y="278"/>
                    </a:cubicBezTo>
                    <a:cubicBezTo>
                      <a:pt x="155" y="310"/>
                      <a:pt x="155" y="310"/>
                      <a:pt x="155" y="310"/>
                    </a:cubicBezTo>
                    <a:cubicBezTo>
                      <a:pt x="155" y="310"/>
                      <a:pt x="155" y="341"/>
                      <a:pt x="155" y="402"/>
                    </a:cubicBezTo>
                    <a:lnTo>
                      <a:pt x="155" y="402"/>
                    </a:lnTo>
                    <a:cubicBezTo>
                      <a:pt x="155" y="434"/>
                      <a:pt x="155" y="434"/>
                      <a:pt x="155" y="434"/>
                    </a:cubicBezTo>
                    <a:lnTo>
                      <a:pt x="186" y="465"/>
                    </a:lnTo>
                    <a:cubicBezTo>
                      <a:pt x="186" y="496"/>
                      <a:pt x="186" y="496"/>
                      <a:pt x="186" y="526"/>
                    </a:cubicBezTo>
                    <a:lnTo>
                      <a:pt x="186" y="526"/>
                    </a:lnTo>
                    <a:cubicBezTo>
                      <a:pt x="186" y="558"/>
                      <a:pt x="186" y="589"/>
                      <a:pt x="186" y="620"/>
                    </a:cubicBezTo>
                    <a:lnTo>
                      <a:pt x="186" y="620"/>
                    </a:lnTo>
                    <a:cubicBezTo>
                      <a:pt x="217" y="650"/>
                      <a:pt x="217" y="650"/>
                      <a:pt x="248" y="682"/>
                    </a:cubicBezTo>
                    <a:lnTo>
                      <a:pt x="248" y="650"/>
                    </a:lnTo>
                    <a:cubicBezTo>
                      <a:pt x="279" y="650"/>
                      <a:pt x="279" y="650"/>
                      <a:pt x="279" y="65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53" name="Freeform 50"/>
              <p:cNvSpPr>
                <a:spLocks noChangeArrowheads="1"/>
              </p:cNvSpPr>
              <p:nvPr/>
            </p:nvSpPr>
            <p:spPr bwMode="auto">
              <a:xfrm>
                <a:off x="3502025" y="2416175"/>
                <a:ext cx="100013" cy="123825"/>
              </a:xfrm>
              <a:custGeom>
                <a:avLst/>
                <a:gdLst>
                  <a:gd name="T0" fmla="*/ 279 w 280"/>
                  <a:gd name="T1" fmla="*/ 124 h 342"/>
                  <a:gd name="T2" fmla="*/ 279 w 280"/>
                  <a:gd name="T3" fmla="*/ 94 h 342"/>
                  <a:gd name="T4" fmla="*/ 279 w 280"/>
                  <a:gd name="T5" fmla="*/ 62 h 342"/>
                  <a:gd name="T6" fmla="*/ 279 w 280"/>
                  <a:gd name="T7" fmla="*/ 62 h 342"/>
                  <a:gd name="T8" fmla="*/ 248 w 280"/>
                  <a:gd name="T9" fmla="*/ 62 h 342"/>
                  <a:gd name="T10" fmla="*/ 186 w 280"/>
                  <a:gd name="T11" fmla="*/ 62 h 342"/>
                  <a:gd name="T12" fmla="*/ 155 w 280"/>
                  <a:gd name="T13" fmla="*/ 31 h 342"/>
                  <a:gd name="T14" fmla="*/ 155 w 280"/>
                  <a:gd name="T15" fmla="*/ 31 h 342"/>
                  <a:gd name="T16" fmla="*/ 124 w 280"/>
                  <a:gd name="T17" fmla="*/ 31 h 342"/>
                  <a:gd name="T18" fmla="*/ 93 w 280"/>
                  <a:gd name="T19" fmla="*/ 0 h 342"/>
                  <a:gd name="T20" fmla="*/ 63 w 280"/>
                  <a:gd name="T21" fmla="*/ 31 h 342"/>
                  <a:gd name="T22" fmla="*/ 31 w 280"/>
                  <a:gd name="T23" fmla="*/ 31 h 342"/>
                  <a:gd name="T24" fmla="*/ 31 w 280"/>
                  <a:gd name="T25" fmla="*/ 0 h 342"/>
                  <a:gd name="T26" fmla="*/ 31 w 280"/>
                  <a:gd name="T27" fmla="*/ 31 h 342"/>
                  <a:gd name="T28" fmla="*/ 31 w 280"/>
                  <a:gd name="T29" fmla="*/ 31 h 342"/>
                  <a:gd name="T30" fmla="*/ 31 w 280"/>
                  <a:gd name="T31" fmla="*/ 31 h 342"/>
                  <a:gd name="T32" fmla="*/ 63 w 280"/>
                  <a:gd name="T33" fmla="*/ 62 h 342"/>
                  <a:gd name="T34" fmla="*/ 63 w 280"/>
                  <a:gd name="T35" fmla="*/ 94 h 342"/>
                  <a:gd name="T36" fmla="*/ 31 w 280"/>
                  <a:gd name="T37" fmla="*/ 124 h 342"/>
                  <a:gd name="T38" fmla="*/ 31 w 280"/>
                  <a:gd name="T39" fmla="*/ 155 h 342"/>
                  <a:gd name="T40" fmla="*/ 31 w 280"/>
                  <a:gd name="T41" fmla="*/ 155 h 342"/>
                  <a:gd name="T42" fmla="*/ 31 w 280"/>
                  <a:gd name="T43" fmla="*/ 186 h 342"/>
                  <a:gd name="T44" fmla="*/ 31 w 280"/>
                  <a:gd name="T45" fmla="*/ 186 h 342"/>
                  <a:gd name="T46" fmla="*/ 0 w 280"/>
                  <a:gd name="T47" fmla="*/ 186 h 342"/>
                  <a:gd name="T48" fmla="*/ 0 w 280"/>
                  <a:gd name="T49" fmla="*/ 218 h 342"/>
                  <a:gd name="T50" fmla="*/ 31 w 280"/>
                  <a:gd name="T51" fmla="*/ 218 h 342"/>
                  <a:gd name="T52" fmla="*/ 31 w 280"/>
                  <a:gd name="T53" fmla="*/ 248 h 342"/>
                  <a:gd name="T54" fmla="*/ 63 w 280"/>
                  <a:gd name="T55" fmla="*/ 279 h 342"/>
                  <a:gd name="T56" fmla="*/ 63 w 280"/>
                  <a:gd name="T57" fmla="*/ 310 h 342"/>
                  <a:gd name="T58" fmla="*/ 155 w 280"/>
                  <a:gd name="T59" fmla="*/ 310 h 342"/>
                  <a:gd name="T60" fmla="*/ 217 w 280"/>
                  <a:gd name="T61" fmla="*/ 279 h 342"/>
                  <a:gd name="T62" fmla="*/ 248 w 280"/>
                  <a:gd name="T63" fmla="*/ 279 h 342"/>
                  <a:gd name="T64" fmla="*/ 248 w 280"/>
                  <a:gd name="T65" fmla="*/ 279 h 342"/>
                  <a:gd name="T66" fmla="*/ 248 w 280"/>
                  <a:gd name="T67" fmla="*/ 186 h 342"/>
                  <a:gd name="T68" fmla="*/ 248 w 280"/>
                  <a:gd name="T69" fmla="*/ 186 h 342"/>
                  <a:gd name="T70" fmla="*/ 248 w 280"/>
                  <a:gd name="T71" fmla="*/ 186 h 342"/>
                  <a:gd name="T72" fmla="*/ 248 w 280"/>
                  <a:gd name="T73" fmla="*/ 155 h 342"/>
                  <a:gd name="T74" fmla="*/ 279 w 280"/>
                  <a:gd name="T75" fmla="*/ 12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0" h="342">
                    <a:moveTo>
                      <a:pt x="279" y="124"/>
                    </a:moveTo>
                    <a:lnTo>
                      <a:pt x="279" y="124"/>
                    </a:lnTo>
                    <a:lnTo>
                      <a:pt x="279" y="124"/>
                    </a:lnTo>
                    <a:cubicBezTo>
                      <a:pt x="279" y="124"/>
                      <a:pt x="279" y="124"/>
                      <a:pt x="279" y="94"/>
                    </a:cubicBezTo>
                    <a:cubicBezTo>
                      <a:pt x="279" y="94"/>
                      <a:pt x="279" y="94"/>
                      <a:pt x="279" y="62"/>
                    </a:cubicBezTo>
                    <a:lnTo>
                      <a:pt x="279" y="62"/>
                    </a:lnTo>
                    <a:lnTo>
                      <a:pt x="279" y="62"/>
                    </a:lnTo>
                    <a:lnTo>
                      <a:pt x="279" y="62"/>
                    </a:lnTo>
                    <a:lnTo>
                      <a:pt x="248" y="62"/>
                    </a:lnTo>
                    <a:lnTo>
                      <a:pt x="248" y="62"/>
                    </a:lnTo>
                    <a:cubicBezTo>
                      <a:pt x="248" y="62"/>
                      <a:pt x="248" y="62"/>
                      <a:pt x="217" y="62"/>
                    </a:cubicBezTo>
                    <a:cubicBezTo>
                      <a:pt x="217" y="62"/>
                      <a:pt x="217" y="62"/>
                      <a:pt x="186" y="62"/>
                    </a:cubicBezTo>
                    <a:cubicBezTo>
                      <a:pt x="186" y="62"/>
                      <a:pt x="155" y="62"/>
                      <a:pt x="155" y="31"/>
                    </a:cubicBezTo>
                    <a:lnTo>
                      <a:pt x="155" y="31"/>
                    </a:lnTo>
                    <a:lnTo>
                      <a:pt x="155" y="31"/>
                    </a:lnTo>
                    <a:lnTo>
                      <a:pt x="155" y="31"/>
                    </a:lnTo>
                    <a:cubicBezTo>
                      <a:pt x="124" y="31"/>
                      <a:pt x="124" y="31"/>
                      <a:pt x="124" y="31"/>
                    </a:cubicBezTo>
                    <a:lnTo>
                      <a:pt x="124" y="31"/>
                    </a:lnTo>
                    <a:lnTo>
                      <a:pt x="124" y="31"/>
                    </a:lnTo>
                    <a:cubicBezTo>
                      <a:pt x="124" y="31"/>
                      <a:pt x="93" y="31"/>
                      <a:pt x="93" y="0"/>
                    </a:cubicBezTo>
                    <a:lnTo>
                      <a:pt x="93" y="0"/>
                    </a:lnTo>
                    <a:cubicBezTo>
                      <a:pt x="93" y="31"/>
                      <a:pt x="63" y="31"/>
                      <a:pt x="63" y="31"/>
                    </a:cubicBezTo>
                    <a:lnTo>
                      <a:pt x="63" y="31"/>
                    </a:lnTo>
                    <a:lnTo>
                      <a:pt x="31" y="31"/>
                    </a:lnTo>
                    <a:lnTo>
                      <a:pt x="31" y="31"/>
                    </a:lnTo>
                    <a:lnTo>
                      <a:pt x="31" y="0"/>
                    </a:lnTo>
                    <a:lnTo>
                      <a:pt x="31" y="0"/>
                    </a:lnTo>
                    <a:cubicBezTo>
                      <a:pt x="31" y="31"/>
                      <a:pt x="31" y="31"/>
                      <a:pt x="31" y="31"/>
                    </a:cubicBezTo>
                    <a:lnTo>
                      <a:pt x="31" y="31"/>
                    </a:lnTo>
                    <a:lnTo>
                      <a:pt x="31" y="31"/>
                    </a:lnTo>
                    <a:lnTo>
                      <a:pt x="31" y="31"/>
                    </a:lnTo>
                    <a:lnTo>
                      <a:pt x="31" y="31"/>
                    </a:lnTo>
                    <a:cubicBezTo>
                      <a:pt x="31" y="62"/>
                      <a:pt x="63" y="62"/>
                      <a:pt x="63" y="62"/>
                    </a:cubicBezTo>
                    <a:lnTo>
                      <a:pt x="63" y="62"/>
                    </a:lnTo>
                    <a:cubicBezTo>
                      <a:pt x="63" y="94"/>
                      <a:pt x="63" y="94"/>
                      <a:pt x="31" y="94"/>
                    </a:cubicBezTo>
                    <a:cubicBezTo>
                      <a:pt x="63" y="94"/>
                      <a:pt x="63" y="94"/>
                      <a:pt x="63" y="94"/>
                    </a:cubicBezTo>
                    <a:cubicBezTo>
                      <a:pt x="93" y="124"/>
                      <a:pt x="93" y="124"/>
                      <a:pt x="93" y="124"/>
                    </a:cubicBezTo>
                    <a:cubicBezTo>
                      <a:pt x="31" y="124"/>
                      <a:pt x="31" y="124"/>
                      <a:pt x="31" y="124"/>
                    </a:cubicBezTo>
                    <a:lnTo>
                      <a:pt x="31" y="124"/>
                    </a:lnTo>
                    <a:lnTo>
                      <a:pt x="31" y="155"/>
                    </a:lnTo>
                    <a:lnTo>
                      <a:pt x="31" y="155"/>
                    </a:lnTo>
                    <a:lnTo>
                      <a:pt x="31" y="155"/>
                    </a:lnTo>
                    <a:lnTo>
                      <a:pt x="31" y="155"/>
                    </a:lnTo>
                    <a:cubicBezTo>
                      <a:pt x="31" y="155"/>
                      <a:pt x="31" y="155"/>
                      <a:pt x="31" y="186"/>
                    </a:cubicBezTo>
                    <a:lnTo>
                      <a:pt x="31" y="186"/>
                    </a:lnTo>
                    <a:lnTo>
                      <a:pt x="31" y="186"/>
                    </a:lnTo>
                    <a:lnTo>
                      <a:pt x="31" y="186"/>
                    </a:lnTo>
                    <a:cubicBezTo>
                      <a:pt x="0" y="186"/>
                      <a:pt x="0" y="186"/>
                      <a:pt x="0" y="186"/>
                    </a:cubicBezTo>
                    <a:cubicBezTo>
                      <a:pt x="0" y="186"/>
                      <a:pt x="0" y="186"/>
                      <a:pt x="0" y="218"/>
                    </a:cubicBezTo>
                    <a:lnTo>
                      <a:pt x="0" y="218"/>
                    </a:lnTo>
                    <a:lnTo>
                      <a:pt x="0" y="218"/>
                    </a:lnTo>
                    <a:cubicBezTo>
                      <a:pt x="31" y="218"/>
                      <a:pt x="31" y="218"/>
                      <a:pt x="31" y="218"/>
                    </a:cubicBezTo>
                    <a:lnTo>
                      <a:pt x="31" y="218"/>
                    </a:lnTo>
                    <a:cubicBezTo>
                      <a:pt x="31" y="248"/>
                      <a:pt x="31" y="248"/>
                      <a:pt x="31" y="248"/>
                    </a:cubicBezTo>
                    <a:cubicBezTo>
                      <a:pt x="63" y="248"/>
                      <a:pt x="63" y="248"/>
                      <a:pt x="63" y="248"/>
                    </a:cubicBezTo>
                    <a:cubicBezTo>
                      <a:pt x="63" y="279"/>
                      <a:pt x="63" y="279"/>
                      <a:pt x="63" y="279"/>
                    </a:cubicBezTo>
                    <a:cubicBezTo>
                      <a:pt x="63" y="279"/>
                      <a:pt x="63" y="279"/>
                      <a:pt x="63" y="310"/>
                    </a:cubicBezTo>
                    <a:lnTo>
                      <a:pt x="63" y="310"/>
                    </a:lnTo>
                    <a:lnTo>
                      <a:pt x="63" y="341"/>
                    </a:lnTo>
                    <a:cubicBezTo>
                      <a:pt x="93" y="341"/>
                      <a:pt x="124" y="310"/>
                      <a:pt x="155" y="310"/>
                    </a:cubicBezTo>
                    <a:cubicBezTo>
                      <a:pt x="155" y="279"/>
                      <a:pt x="155" y="279"/>
                      <a:pt x="186" y="279"/>
                    </a:cubicBezTo>
                    <a:lnTo>
                      <a:pt x="217" y="279"/>
                    </a:lnTo>
                    <a:lnTo>
                      <a:pt x="248" y="279"/>
                    </a:lnTo>
                    <a:lnTo>
                      <a:pt x="248" y="279"/>
                    </a:lnTo>
                    <a:lnTo>
                      <a:pt x="248" y="279"/>
                    </a:lnTo>
                    <a:lnTo>
                      <a:pt x="248" y="279"/>
                    </a:lnTo>
                    <a:cubicBezTo>
                      <a:pt x="248" y="248"/>
                      <a:pt x="248" y="248"/>
                      <a:pt x="248" y="248"/>
                    </a:cubicBezTo>
                    <a:cubicBezTo>
                      <a:pt x="248" y="218"/>
                      <a:pt x="248" y="218"/>
                      <a:pt x="248" y="186"/>
                    </a:cubicBezTo>
                    <a:lnTo>
                      <a:pt x="248" y="186"/>
                    </a:lnTo>
                    <a:lnTo>
                      <a:pt x="248" y="186"/>
                    </a:lnTo>
                    <a:lnTo>
                      <a:pt x="248" y="186"/>
                    </a:lnTo>
                    <a:lnTo>
                      <a:pt x="248" y="186"/>
                    </a:lnTo>
                    <a:cubicBezTo>
                      <a:pt x="248" y="186"/>
                      <a:pt x="248" y="186"/>
                      <a:pt x="248" y="155"/>
                    </a:cubicBezTo>
                    <a:lnTo>
                      <a:pt x="248" y="155"/>
                    </a:lnTo>
                    <a:cubicBezTo>
                      <a:pt x="279" y="155"/>
                      <a:pt x="279" y="155"/>
                      <a:pt x="279" y="155"/>
                    </a:cubicBezTo>
                    <a:lnTo>
                      <a:pt x="279" y="12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54" name="Freeform 51"/>
              <p:cNvSpPr>
                <a:spLocks noChangeArrowheads="1"/>
              </p:cNvSpPr>
              <p:nvPr/>
            </p:nvSpPr>
            <p:spPr bwMode="auto">
              <a:xfrm>
                <a:off x="3444875" y="2460625"/>
                <a:ext cx="66675" cy="77788"/>
              </a:xfrm>
              <a:custGeom>
                <a:avLst/>
                <a:gdLst>
                  <a:gd name="T0" fmla="*/ 155 w 187"/>
                  <a:gd name="T1" fmla="*/ 155 h 218"/>
                  <a:gd name="T2" fmla="*/ 155 w 187"/>
                  <a:gd name="T3" fmla="*/ 155 h 218"/>
                  <a:gd name="T4" fmla="*/ 155 w 187"/>
                  <a:gd name="T5" fmla="*/ 155 h 218"/>
                  <a:gd name="T6" fmla="*/ 155 w 187"/>
                  <a:gd name="T7" fmla="*/ 155 h 218"/>
                  <a:gd name="T8" fmla="*/ 155 w 187"/>
                  <a:gd name="T9" fmla="*/ 155 h 218"/>
                  <a:gd name="T10" fmla="*/ 124 w 187"/>
                  <a:gd name="T11" fmla="*/ 155 h 218"/>
                  <a:gd name="T12" fmla="*/ 124 w 187"/>
                  <a:gd name="T13" fmla="*/ 124 h 218"/>
                  <a:gd name="T14" fmla="*/ 124 w 187"/>
                  <a:gd name="T15" fmla="*/ 124 h 218"/>
                  <a:gd name="T16" fmla="*/ 124 w 187"/>
                  <a:gd name="T17" fmla="*/ 124 h 218"/>
                  <a:gd name="T18" fmla="*/ 124 w 187"/>
                  <a:gd name="T19" fmla="*/ 94 h 218"/>
                  <a:gd name="T20" fmla="*/ 94 w 187"/>
                  <a:gd name="T21" fmla="*/ 94 h 218"/>
                  <a:gd name="T22" fmla="*/ 62 w 187"/>
                  <a:gd name="T23" fmla="*/ 62 h 218"/>
                  <a:gd name="T24" fmla="*/ 62 w 187"/>
                  <a:gd name="T25" fmla="*/ 31 h 218"/>
                  <a:gd name="T26" fmla="*/ 62 w 187"/>
                  <a:gd name="T27" fmla="*/ 31 h 218"/>
                  <a:gd name="T28" fmla="*/ 62 w 187"/>
                  <a:gd name="T29" fmla="*/ 0 h 218"/>
                  <a:gd name="T30" fmla="*/ 62 w 187"/>
                  <a:gd name="T31" fmla="*/ 0 h 218"/>
                  <a:gd name="T32" fmla="*/ 62 w 187"/>
                  <a:gd name="T33" fmla="*/ 31 h 218"/>
                  <a:gd name="T34" fmla="*/ 31 w 187"/>
                  <a:gd name="T35" fmla="*/ 31 h 218"/>
                  <a:gd name="T36" fmla="*/ 0 w 187"/>
                  <a:gd name="T37" fmla="*/ 62 h 218"/>
                  <a:gd name="T38" fmla="*/ 0 w 187"/>
                  <a:gd name="T39" fmla="*/ 94 h 218"/>
                  <a:gd name="T40" fmla="*/ 0 w 187"/>
                  <a:gd name="T41" fmla="*/ 94 h 218"/>
                  <a:gd name="T42" fmla="*/ 62 w 187"/>
                  <a:gd name="T43" fmla="*/ 124 h 218"/>
                  <a:gd name="T44" fmla="*/ 124 w 187"/>
                  <a:gd name="T45" fmla="*/ 186 h 218"/>
                  <a:gd name="T46" fmla="*/ 155 w 187"/>
                  <a:gd name="T47" fmla="*/ 217 h 218"/>
                  <a:gd name="T48" fmla="*/ 155 w 187"/>
                  <a:gd name="T49" fmla="*/ 186 h 218"/>
                  <a:gd name="T50" fmla="*/ 186 w 187"/>
                  <a:gd name="T51" fmla="*/ 186 h 218"/>
                  <a:gd name="T52" fmla="*/ 155 w 187"/>
                  <a:gd name="T53" fmla="*/ 15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7" h="218">
                    <a:moveTo>
                      <a:pt x="155" y="155"/>
                    </a:moveTo>
                    <a:lnTo>
                      <a:pt x="155" y="155"/>
                    </a:lnTo>
                    <a:lnTo>
                      <a:pt x="155" y="155"/>
                    </a:lnTo>
                    <a:lnTo>
                      <a:pt x="155" y="155"/>
                    </a:lnTo>
                    <a:lnTo>
                      <a:pt x="155" y="155"/>
                    </a:lnTo>
                    <a:lnTo>
                      <a:pt x="124" y="155"/>
                    </a:lnTo>
                    <a:cubicBezTo>
                      <a:pt x="124" y="124"/>
                      <a:pt x="124" y="124"/>
                      <a:pt x="124" y="124"/>
                    </a:cubicBezTo>
                    <a:lnTo>
                      <a:pt x="124" y="124"/>
                    </a:lnTo>
                    <a:lnTo>
                      <a:pt x="124" y="124"/>
                    </a:lnTo>
                    <a:cubicBezTo>
                      <a:pt x="124" y="94"/>
                      <a:pt x="124" y="94"/>
                      <a:pt x="124" y="94"/>
                    </a:cubicBezTo>
                    <a:cubicBezTo>
                      <a:pt x="124" y="94"/>
                      <a:pt x="124" y="94"/>
                      <a:pt x="94" y="94"/>
                    </a:cubicBezTo>
                    <a:lnTo>
                      <a:pt x="62" y="62"/>
                    </a:lnTo>
                    <a:cubicBezTo>
                      <a:pt x="62" y="31"/>
                      <a:pt x="62" y="31"/>
                      <a:pt x="62" y="31"/>
                    </a:cubicBezTo>
                    <a:lnTo>
                      <a:pt x="62" y="31"/>
                    </a:lnTo>
                    <a:cubicBezTo>
                      <a:pt x="62" y="0"/>
                      <a:pt x="62" y="0"/>
                      <a:pt x="62" y="0"/>
                    </a:cubicBezTo>
                    <a:lnTo>
                      <a:pt x="62" y="0"/>
                    </a:lnTo>
                    <a:cubicBezTo>
                      <a:pt x="62" y="0"/>
                      <a:pt x="62" y="0"/>
                      <a:pt x="62" y="31"/>
                    </a:cubicBezTo>
                    <a:cubicBezTo>
                      <a:pt x="31" y="31"/>
                      <a:pt x="31" y="31"/>
                      <a:pt x="31" y="31"/>
                    </a:cubicBezTo>
                    <a:cubicBezTo>
                      <a:pt x="31" y="62"/>
                      <a:pt x="31" y="62"/>
                      <a:pt x="0" y="62"/>
                    </a:cubicBezTo>
                    <a:cubicBezTo>
                      <a:pt x="0" y="62"/>
                      <a:pt x="0" y="62"/>
                      <a:pt x="0" y="94"/>
                    </a:cubicBezTo>
                    <a:lnTo>
                      <a:pt x="0" y="94"/>
                    </a:lnTo>
                    <a:cubicBezTo>
                      <a:pt x="0" y="94"/>
                      <a:pt x="31" y="124"/>
                      <a:pt x="62" y="124"/>
                    </a:cubicBezTo>
                    <a:cubicBezTo>
                      <a:pt x="94" y="155"/>
                      <a:pt x="94" y="186"/>
                      <a:pt x="124" y="186"/>
                    </a:cubicBezTo>
                    <a:lnTo>
                      <a:pt x="155" y="217"/>
                    </a:lnTo>
                    <a:lnTo>
                      <a:pt x="155" y="186"/>
                    </a:lnTo>
                    <a:cubicBezTo>
                      <a:pt x="155" y="186"/>
                      <a:pt x="155" y="186"/>
                      <a:pt x="186" y="186"/>
                    </a:cubicBezTo>
                    <a:cubicBezTo>
                      <a:pt x="155" y="155"/>
                      <a:pt x="155" y="155"/>
                      <a:pt x="155" y="1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55" name="Freeform 52"/>
              <p:cNvSpPr>
                <a:spLocks noChangeArrowheads="1"/>
              </p:cNvSpPr>
              <p:nvPr/>
            </p:nvSpPr>
            <p:spPr bwMode="auto">
              <a:xfrm>
                <a:off x="3679825" y="2427288"/>
                <a:ext cx="11113" cy="68262"/>
              </a:xfrm>
              <a:custGeom>
                <a:avLst/>
                <a:gdLst>
                  <a:gd name="T0" fmla="*/ 31 w 32"/>
                  <a:gd name="T1" fmla="*/ 63 h 188"/>
                  <a:gd name="T2" fmla="*/ 31 w 32"/>
                  <a:gd name="T3" fmla="*/ 63 h 188"/>
                  <a:gd name="T4" fmla="*/ 0 w 32"/>
                  <a:gd name="T5" fmla="*/ 31 h 188"/>
                  <a:gd name="T6" fmla="*/ 0 w 32"/>
                  <a:gd name="T7" fmla="*/ 31 h 188"/>
                  <a:gd name="T8" fmla="*/ 0 w 32"/>
                  <a:gd name="T9" fmla="*/ 0 h 188"/>
                  <a:gd name="T10" fmla="*/ 0 w 32"/>
                  <a:gd name="T11" fmla="*/ 0 h 188"/>
                  <a:gd name="T12" fmla="*/ 0 w 32"/>
                  <a:gd name="T13" fmla="*/ 0 h 188"/>
                  <a:gd name="T14" fmla="*/ 0 w 32"/>
                  <a:gd name="T15" fmla="*/ 0 h 188"/>
                  <a:gd name="T16" fmla="*/ 0 w 32"/>
                  <a:gd name="T17" fmla="*/ 31 h 188"/>
                  <a:gd name="T18" fmla="*/ 0 w 32"/>
                  <a:gd name="T19" fmla="*/ 63 h 188"/>
                  <a:gd name="T20" fmla="*/ 31 w 32"/>
                  <a:gd name="T21" fmla="*/ 93 h 188"/>
                  <a:gd name="T22" fmla="*/ 31 w 32"/>
                  <a:gd name="T23" fmla="*/ 93 h 188"/>
                  <a:gd name="T24" fmla="*/ 0 w 32"/>
                  <a:gd name="T25" fmla="*/ 93 h 188"/>
                  <a:gd name="T26" fmla="*/ 0 w 32"/>
                  <a:gd name="T27" fmla="*/ 124 h 188"/>
                  <a:gd name="T28" fmla="*/ 0 w 32"/>
                  <a:gd name="T29" fmla="*/ 124 h 188"/>
                  <a:gd name="T30" fmla="*/ 0 w 32"/>
                  <a:gd name="T31" fmla="*/ 124 h 188"/>
                  <a:gd name="T32" fmla="*/ 0 w 32"/>
                  <a:gd name="T33" fmla="*/ 155 h 188"/>
                  <a:gd name="T34" fmla="*/ 0 w 32"/>
                  <a:gd name="T35" fmla="*/ 155 h 188"/>
                  <a:gd name="T36" fmla="*/ 0 w 32"/>
                  <a:gd name="T37" fmla="*/ 187 h 188"/>
                  <a:gd name="T38" fmla="*/ 0 w 32"/>
                  <a:gd name="T39" fmla="*/ 187 h 188"/>
                  <a:gd name="T40" fmla="*/ 0 w 32"/>
                  <a:gd name="T41" fmla="*/ 187 h 188"/>
                  <a:gd name="T42" fmla="*/ 0 w 32"/>
                  <a:gd name="T43" fmla="*/ 187 h 188"/>
                  <a:gd name="T44" fmla="*/ 31 w 32"/>
                  <a:gd name="T45" fmla="*/ 155 h 188"/>
                  <a:gd name="T46" fmla="*/ 31 w 32"/>
                  <a:gd name="T47" fmla="*/ 124 h 188"/>
                  <a:gd name="T48" fmla="*/ 31 w 32"/>
                  <a:gd name="T49" fmla="*/ 6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188">
                    <a:moveTo>
                      <a:pt x="31" y="63"/>
                    </a:moveTo>
                    <a:lnTo>
                      <a:pt x="31" y="63"/>
                    </a:lnTo>
                    <a:cubicBezTo>
                      <a:pt x="31" y="31"/>
                      <a:pt x="0" y="31"/>
                      <a:pt x="0" y="31"/>
                    </a:cubicBezTo>
                    <a:lnTo>
                      <a:pt x="0" y="31"/>
                    </a:lnTo>
                    <a:lnTo>
                      <a:pt x="0" y="0"/>
                    </a:lnTo>
                    <a:lnTo>
                      <a:pt x="0" y="0"/>
                    </a:lnTo>
                    <a:lnTo>
                      <a:pt x="0" y="0"/>
                    </a:lnTo>
                    <a:lnTo>
                      <a:pt x="0" y="0"/>
                    </a:lnTo>
                    <a:cubicBezTo>
                      <a:pt x="0" y="31"/>
                      <a:pt x="0" y="31"/>
                      <a:pt x="0" y="31"/>
                    </a:cubicBezTo>
                    <a:cubicBezTo>
                      <a:pt x="0" y="63"/>
                      <a:pt x="0" y="63"/>
                      <a:pt x="0" y="63"/>
                    </a:cubicBezTo>
                    <a:cubicBezTo>
                      <a:pt x="0" y="63"/>
                      <a:pt x="31" y="63"/>
                      <a:pt x="31" y="93"/>
                    </a:cubicBezTo>
                    <a:lnTo>
                      <a:pt x="31" y="93"/>
                    </a:lnTo>
                    <a:cubicBezTo>
                      <a:pt x="31" y="93"/>
                      <a:pt x="31" y="93"/>
                      <a:pt x="0" y="93"/>
                    </a:cubicBezTo>
                    <a:cubicBezTo>
                      <a:pt x="0" y="124"/>
                      <a:pt x="0" y="124"/>
                      <a:pt x="0" y="124"/>
                    </a:cubicBezTo>
                    <a:lnTo>
                      <a:pt x="0" y="124"/>
                    </a:lnTo>
                    <a:lnTo>
                      <a:pt x="0" y="124"/>
                    </a:lnTo>
                    <a:cubicBezTo>
                      <a:pt x="0" y="124"/>
                      <a:pt x="0" y="124"/>
                      <a:pt x="0" y="155"/>
                    </a:cubicBezTo>
                    <a:lnTo>
                      <a:pt x="0" y="155"/>
                    </a:lnTo>
                    <a:lnTo>
                      <a:pt x="0" y="187"/>
                    </a:lnTo>
                    <a:lnTo>
                      <a:pt x="0" y="187"/>
                    </a:lnTo>
                    <a:lnTo>
                      <a:pt x="0" y="187"/>
                    </a:lnTo>
                    <a:lnTo>
                      <a:pt x="0" y="187"/>
                    </a:lnTo>
                    <a:lnTo>
                      <a:pt x="31" y="155"/>
                    </a:lnTo>
                    <a:cubicBezTo>
                      <a:pt x="31" y="155"/>
                      <a:pt x="31" y="155"/>
                      <a:pt x="31" y="124"/>
                    </a:cubicBezTo>
                    <a:cubicBezTo>
                      <a:pt x="31" y="93"/>
                      <a:pt x="31" y="63"/>
                      <a:pt x="31" y="6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56" name="Freeform 53"/>
              <p:cNvSpPr>
                <a:spLocks noChangeArrowheads="1"/>
              </p:cNvSpPr>
              <p:nvPr/>
            </p:nvSpPr>
            <p:spPr bwMode="auto">
              <a:xfrm>
                <a:off x="3724275" y="2338388"/>
                <a:ext cx="223838" cy="201612"/>
              </a:xfrm>
              <a:custGeom>
                <a:avLst/>
                <a:gdLst>
                  <a:gd name="T0" fmla="*/ 372 w 620"/>
                  <a:gd name="T1" fmla="*/ 403 h 559"/>
                  <a:gd name="T2" fmla="*/ 435 w 620"/>
                  <a:gd name="T3" fmla="*/ 403 h 559"/>
                  <a:gd name="T4" fmla="*/ 464 w 620"/>
                  <a:gd name="T5" fmla="*/ 403 h 559"/>
                  <a:gd name="T6" fmla="*/ 464 w 620"/>
                  <a:gd name="T7" fmla="*/ 403 h 559"/>
                  <a:gd name="T8" fmla="*/ 464 w 620"/>
                  <a:gd name="T9" fmla="*/ 372 h 559"/>
                  <a:gd name="T10" fmla="*/ 526 w 620"/>
                  <a:gd name="T11" fmla="*/ 279 h 559"/>
                  <a:gd name="T12" fmla="*/ 526 w 620"/>
                  <a:gd name="T13" fmla="*/ 279 h 559"/>
                  <a:gd name="T14" fmla="*/ 526 w 620"/>
                  <a:gd name="T15" fmla="*/ 217 h 559"/>
                  <a:gd name="T16" fmla="*/ 557 w 620"/>
                  <a:gd name="T17" fmla="*/ 187 h 559"/>
                  <a:gd name="T18" fmla="*/ 557 w 620"/>
                  <a:gd name="T19" fmla="*/ 124 h 559"/>
                  <a:gd name="T20" fmla="*/ 619 w 620"/>
                  <a:gd name="T21" fmla="*/ 124 h 559"/>
                  <a:gd name="T22" fmla="*/ 619 w 620"/>
                  <a:gd name="T23" fmla="*/ 124 h 559"/>
                  <a:gd name="T24" fmla="*/ 619 w 620"/>
                  <a:gd name="T25" fmla="*/ 124 h 559"/>
                  <a:gd name="T26" fmla="*/ 588 w 620"/>
                  <a:gd name="T27" fmla="*/ 63 h 559"/>
                  <a:gd name="T28" fmla="*/ 588 w 620"/>
                  <a:gd name="T29" fmla="*/ 63 h 559"/>
                  <a:gd name="T30" fmla="*/ 557 w 620"/>
                  <a:gd name="T31" fmla="*/ 31 h 559"/>
                  <a:gd name="T32" fmla="*/ 495 w 620"/>
                  <a:gd name="T33" fmla="*/ 63 h 559"/>
                  <a:gd name="T34" fmla="*/ 464 w 620"/>
                  <a:gd name="T35" fmla="*/ 31 h 559"/>
                  <a:gd name="T36" fmla="*/ 403 w 620"/>
                  <a:gd name="T37" fmla="*/ 31 h 559"/>
                  <a:gd name="T38" fmla="*/ 403 w 620"/>
                  <a:gd name="T39" fmla="*/ 63 h 559"/>
                  <a:gd name="T40" fmla="*/ 341 w 620"/>
                  <a:gd name="T41" fmla="*/ 93 h 559"/>
                  <a:gd name="T42" fmla="*/ 279 w 620"/>
                  <a:gd name="T43" fmla="*/ 63 h 559"/>
                  <a:gd name="T44" fmla="*/ 279 w 620"/>
                  <a:gd name="T45" fmla="*/ 31 h 559"/>
                  <a:gd name="T46" fmla="*/ 217 w 620"/>
                  <a:gd name="T47" fmla="*/ 63 h 559"/>
                  <a:gd name="T48" fmla="*/ 187 w 620"/>
                  <a:gd name="T49" fmla="*/ 63 h 559"/>
                  <a:gd name="T50" fmla="*/ 155 w 620"/>
                  <a:gd name="T51" fmla="*/ 31 h 559"/>
                  <a:gd name="T52" fmla="*/ 124 w 620"/>
                  <a:gd name="T53" fmla="*/ 0 h 559"/>
                  <a:gd name="T54" fmla="*/ 124 w 620"/>
                  <a:gd name="T55" fmla="*/ 31 h 559"/>
                  <a:gd name="T56" fmla="*/ 93 w 620"/>
                  <a:gd name="T57" fmla="*/ 31 h 559"/>
                  <a:gd name="T58" fmla="*/ 63 w 620"/>
                  <a:gd name="T59" fmla="*/ 93 h 559"/>
                  <a:gd name="T60" fmla="*/ 63 w 620"/>
                  <a:gd name="T61" fmla="*/ 93 h 559"/>
                  <a:gd name="T62" fmla="*/ 63 w 620"/>
                  <a:gd name="T63" fmla="*/ 124 h 559"/>
                  <a:gd name="T64" fmla="*/ 63 w 620"/>
                  <a:gd name="T65" fmla="*/ 155 h 559"/>
                  <a:gd name="T66" fmla="*/ 63 w 620"/>
                  <a:gd name="T67" fmla="*/ 217 h 559"/>
                  <a:gd name="T68" fmla="*/ 63 w 620"/>
                  <a:gd name="T69" fmla="*/ 248 h 559"/>
                  <a:gd name="T70" fmla="*/ 31 w 620"/>
                  <a:gd name="T71" fmla="*/ 279 h 559"/>
                  <a:gd name="T72" fmla="*/ 31 w 620"/>
                  <a:gd name="T73" fmla="*/ 279 h 559"/>
                  <a:gd name="T74" fmla="*/ 0 w 620"/>
                  <a:gd name="T75" fmla="*/ 341 h 559"/>
                  <a:gd name="T76" fmla="*/ 0 w 620"/>
                  <a:gd name="T77" fmla="*/ 435 h 559"/>
                  <a:gd name="T78" fmla="*/ 31 w 620"/>
                  <a:gd name="T79" fmla="*/ 435 h 559"/>
                  <a:gd name="T80" fmla="*/ 124 w 620"/>
                  <a:gd name="T81" fmla="*/ 465 h 559"/>
                  <a:gd name="T82" fmla="*/ 155 w 620"/>
                  <a:gd name="T83" fmla="*/ 558 h 559"/>
                  <a:gd name="T84" fmla="*/ 187 w 620"/>
                  <a:gd name="T85" fmla="*/ 558 h 559"/>
                  <a:gd name="T86" fmla="*/ 279 w 620"/>
                  <a:gd name="T87" fmla="*/ 558 h 559"/>
                  <a:gd name="T88" fmla="*/ 279 w 620"/>
                  <a:gd name="T89" fmla="*/ 527 h 559"/>
                  <a:gd name="T90" fmla="*/ 311 w 620"/>
                  <a:gd name="T91" fmla="*/ 465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0" h="559">
                    <a:moveTo>
                      <a:pt x="372" y="403"/>
                    </a:moveTo>
                    <a:lnTo>
                      <a:pt x="372" y="403"/>
                    </a:lnTo>
                    <a:cubicBezTo>
                      <a:pt x="372" y="403"/>
                      <a:pt x="403" y="403"/>
                      <a:pt x="435" y="403"/>
                    </a:cubicBezTo>
                    <a:lnTo>
                      <a:pt x="435" y="403"/>
                    </a:lnTo>
                    <a:cubicBezTo>
                      <a:pt x="435" y="403"/>
                      <a:pt x="434" y="403"/>
                      <a:pt x="464" y="403"/>
                    </a:cubicBezTo>
                    <a:lnTo>
                      <a:pt x="464" y="403"/>
                    </a:lnTo>
                    <a:lnTo>
                      <a:pt x="464" y="403"/>
                    </a:lnTo>
                    <a:lnTo>
                      <a:pt x="464" y="403"/>
                    </a:lnTo>
                    <a:cubicBezTo>
                      <a:pt x="464" y="403"/>
                      <a:pt x="464" y="403"/>
                      <a:pt x="464" y="372"/>
                    </a:cubicBezTo>
                    <a:lnTo>
                      <a:pt x="464" y="372"/>
                    </a:lnTo>
                    <a:cubicBezTo>
                      <a:pt x="464" y="372"/>
                      <a:pt x="495" y="341"/>
                      <a:pt x="495" y="311"/>
                    </a:cubicBezTo>
                    <a:cubicBezTo>
                      <a:pt x="495" y="279"/>
                      <a:pt x="495" y="279"/>
                      <a:pt x="526" y="279"/>
                    </a:cubicBezTo>
                    <a:lnTo>
                      <a:pt x="526" y="279"/>
                    </a:lnTo>
                    <a:lnTo>
                      <a:pt x="526" y="279"/>
                    </a:lnTo>
                    <a:cubicBezTo>
                      <a:pt x="526" y="248"/>
                      <a:pt x="526" y="248"/>
                      <a:pt x="526" y="217"/>
                    </a:cubicBezTo>
                    <a:lnTo>
                      <a:pt x="526" y="217"/>
                    </a:lnTo>
                    <a:lnTo>
                      <a:pt x="557" y="217"/>
                    </a:lnTo>
                    <a:cubicBezTo>
                      <a:pt x="557" y="187"/>
                      <a:pt x="557" y="187"/>
                      <a:pt x="557" y="187"/>
                    </a:cubicBezTo>
                    <a:lnTo>
                      <a:pt x="557" y="187"/>
                    </a:lnTo>
                    <a:cubicBezTo>
                      <a:pt x="557" y="155"/>
                      <a:pt x="557" y="155"/>
                      <a:pt x="557" y="124"/>
                    </a:cubicBezTo>
                    <a:lnTo>
                      <a:pt x="557" y="124"/>
                    </a:lnTo>
                    <a:cubicBezTo>
                      <a:pt x="588" y="124"/>
                      <a:pt x="588" y="124"/>
                      <a:pt x="619" y="124"/>
                    </a:cubicBezTo>
                    <a:lnTo>
                      <a:pt x="619" y="124"/>
                    </a:lnTo>
                    <a:lnTo>
                      <a:pt x="619" y="124"/>
                    </a:lnTo>
                    <a:lnTo>
                      <a:pt x="619" y="124"/>
                    </a:lnTo>
                    <a:lnTo>
                      <a:pt x="619" y="124"/>
                    </a:lnTo>
                    <a:cubicBezTo>
                      <a:pt x="619" y="93"/>
                      <a:pt x="619" y="93"/>
                      <a:pt x="619" y="93"/>
                    </a:cubicBezTo>
                    <a:cubicBezTo>
                      <a:pt x="588" y="93"/>
                      <a:pt x="588" y="63"/>
                      <a:pt x="588" y="63"/>
                    </a:cubicBezTo>
                    <a:lnTo>
                      <a:pt x="588" y="63"/>
                    </a:lnTo>
                    <a:lnTo>
                      <a:pt x="588" y="63"/>
                    </a:lnTo>
                    <a:cubicBezTo>
                      <a:pt x="588" y="31"/>
                      <a:pt x="588" y="31"/>
                      <a:pt x="557" y="31"/>
                    </a:cubicBezTo>
                    <a:lnTo>
                      <a:pt x="557" y="31"/>
                    </a:lnTo>
                    <a:cubicBezTo>
                      <a:pt x="557" y="63"/>
                      <a:pt x="526" y="63"/>
                      <a:pt x="495" y="63"/>
                    </a:cubicBezTo>
                    <a:lnTo>
                      <a:pt x="495" y="63"/>
                    </a:lnTo>
                    <a:lnTo>
                      <a:pt x="495" y="63"/>
                    </a:lnTo>
                    <a:cubicBezTo>
                      <a:pt x="495" y="63"/>
                      <a:pt x="464" y="63"/>
                      <a:pt x="464" y="31"/>
                    </a:cubicBezTo>
                    <a:cubicBezTo>
                      <a:pt x="434" y="31"/>
                      <a:pt x="435" y="31"/>
                      <a:pt x="435" y="31"/>
                    </a:cubicBezTo>
                    <a:lnTo>
                      <a:pt x="403" y="31"/>
                    </a:lnTo>
                    <a:lnTo>
                      <a:pt x="403" y="63"/>
                    </a:lnTo>
                    <a:lnTo>
                      <a:pt x="403" y="63"/>
                    </a:lnTo>
                    <a:cubicBezTo>
                      <a:pt x="372" y="63"/>
                      <a:pt x="372" y="63"/>
                      <a:pt x="372" y="93"/>
                    </a:cubicBezTo>
                    <a:lnTo>
                      <a:pt x="341" y="93"/>
                    </a:lnTo>
                    <a:cubicBezTo>
                      <a:pt x="311" y="93"/>
                      <a:pt x="279" y="63"/>
                      <a:pt x="279" y="63"/>
                    </a:cubicBezTo>
                    <a:lnTo>
                      <a:pt x="279" y="63"/>
                    </a:lnTo>
                    <a:lnTo>
                      <a:pt x="279" y="63"/>
                    </a:lnTo>
                    <a:lnTo>
                      <a:pt x="279" y="31"/>
                    </a:lnTo>
                    <a:lnTo>
                      <a:pt x="248" y="63"/>
                    </a:lnTo>
                    <a:cubicBezTo>
                      <a:pt x="248" y="63"/>
                      <a:pt x="248" y="63"/>
                      <a:pt x="217" y="63"/>
                    </a:cubicBezTo>
                    <a:lnTo>
                      <a:pt x="187" y="63"/>
                    </a:lnTo>
                    <a:lnTo>
                      <a:pt x="187" y="63"/>
                    </a:lnTo>
                    <a:cubicBezTo>
                      <a:pt x="187" y="63"/>
                      <a:pt x="187" y="31"/>
                      <a:pt x="155" y="31"/>
                    </a:cubicBezTo>
                    <a:lnTo>
                      <a:pt x="155" y="31"/>
                    </a:lnTo>
                    <a:lnTo>
                      <a:pt x="155" y="31"/>
                    </a:lnTo>
                    <a:cubicBezTo>
                      <a:pt x="155" y="31"/>
                      <a:pt x="155" y="31"/>
                      <a:pt x="124" y="0"/>
                    </a:cubicBezTo>
                    <a:lnTo>
                      <a:pt x="124" y="0"/>
                    </a:lnTo>
                    <a:cubicBezTo>
                      <a:pt x="124" y="0"/>
                      <a:pt x="124" y="0"/>
                      <a:pt x="124" y="31"/>
                    </a:cubicBezTo>
                    <a:lnTo>
                      <a:pt x="93" y="31"/>
                    </a:lnTo>
                    <a:lnTo>
                      <a:pt x="93" y="31"/>
                    </a:lnTo>
                    <a:cubicBezTo>
                      <a:pt x="93" y="63"/>
                      <a:pt x="63" y="63"/>
                      <a:pt x="63" y="93"/>
                    </a:cubicBezTo>
                    <a:lnTo>
                      <a:pt x="63" y="93"/>
                    </a:lnTo>
                    <a:lnTo>
                      <a:pt x="63" y="93"/>
                    </a:lnTo>
                    <a:lnTo>
                      <a:pt x="63" y="93"/>
                    </a:lnTo>
                    <a:cubicBezTo>
                      <a:pt x="63" y="124"/>
                      <a:pt x="63" y="124"/>
                      <a:pt x="63" y="124"/>
                    </a:cubicBezTo>
                    <a:lnTo>
                      <a:pt x="63" y="124"/>
                    </a:lnTo>
                    <a:lnTo>
                      <a:pt x="63" y="155"/>
                    </a:lnTo>
                    <a:lnTo>
                      <a:pt x="63" y="155"/>
                    </a:lnTo>
                    <a:lnTo>
                      <a:pt x="63" y="187"/>
                    </a:lnTo>
                    <a:cubicBezTo>
                      <a:pt x="63" y="217"/>
                      <a:pt x="63" y="217"/>
                      <a:pt x="63" y="217"/>
                    </a:cubicBezTo>
                    <a:lnTo>
                      <a:pt x="63" y="217"/>
                    </a:lnTo>
                    <a:cubicBezTo>
                      <a:pt x="63" y="248"/>
                      <a:pt x="63" y="248"/>
                      <a:pt x="63" y="248"/>
                    </a:cubicBezTo>
                    <a:lnTo>
                      <a:pt x="31" y="279"/>
                    </a:lnTo>
                    <a:lnTo>
                      <a:pt x="31" y="279"/>
                    </a:lnTo>
                    <a:lnTo>
                      <a:pt x="31" y="279"/>
                    </a:lnTo>
                    <a:lnTo>
                      <a:pt x="31" y="279"/>
                    </a:lnTo>
                    <a:cubicBezTo>
                      <a:pt x="31" y="311"/>
                      <a:pt x="0" y="311"/>
                      <a:pt x="0" y="311"/>
                    </a:cubicBezTo>
                    <a:lnTo>
                      <a:pt x="0" y="341"/>
                    </a:lnTo>
                    <a:cubicBezTo>
                      <a:pt x="0" y="372"/>
                      <a:pt x="0" y="372"/>
                      <a:pt x="0" y="403"/>
                    </a:cubicBezTo>
                    <a:cubicBezTo>
                      <a:pt x="0" y="403"/>
                      <a:pt x="0" y="403"/>
                      <a:pt x="0" y="435"/>
                    </a:cubicBezTo>
                    <a:lnTo>
                      <a:pt x="0" y="435"/>
                    </a:lnTo>
                    <a:cubicBezTo>
                      <a:pt x="31" y="435"/>
                      <a:pt x="31" y="435"/>
                      <a:pt x="31" y="435"/>
                    </a:cubicBezTo>
                    <a:cubicBezTo>
                      <a:pt x="31" y="435"/>
                      <a:pt x="31" y="435"/>
                      <a:pt x="63" y="435"/>
                    </a:cubicBezTo>
                    <a:cubicBezTo>
                      <a:pt x="93" y="435"/>
                      <a:pt x="93" y="465"/>
                      <a:pt x="124" y="465"/>
                    </a:cubicBezTo>
                    <a:lnTo>
                      <a:pt x="124" y="465"/>
                    </a:lnTo>
                    <a:cubicBezTo>
                      <a:pt x="155" y="496"/>
                      <a:pt x="155" y="527"/>
                      <a:pt x="155" y="558"/>
                    </a:cubicBezTo>
                    <a:lnTo>
                      <a:pt x="155" y="558"/>
                    </a:lnTo>
                    <a:cubicBezTo>
                      <a:pt x="155" y="558"/>
                      <a:pt x="155" y="558"/>
                      <a:pt x="187" y="558"/>
                    </a:cubicBezTo>
                    <a:lnTo>
                      <a:pt x="187" y="558"/>
                    </a:lnTo>
                    <a:cubicBezTo>
                      <a:pt x="187" y="558"/>
                      <a:pt x="248" y="558"/>
                      <a:pt x="279" y="558"/>
                    </a:cubicBezTo>
                    <a:cubicBezTo>
                      <a:pt x="279" y="527"/>
                      <a:pt x="279" y="527"/>
                      <a:pt x="279" y="527"/>
                    </a:cubicBezTo>
                    <a:lnTo>
                      <a:pt x="279" y="527"/>
                    </a:lnTo>
                    <a:cubicBezTo>
                      <a:pt x="279" y="527"/>
                      <a:pt x="279" y="496"/>
                      <a:pt x="311" y="465"/>
                    </a:cubicBezTo>
                    <a:lnTo>
                      <a:pt x="311" y="465"/>
                    </a:lnTo>
                    <a:lnTo>
                      <a:pt x="372" y="403"/>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57" name="Freeform 54"/>
              <p:cNvSpPr>
                <a:spLocks noChangeArrowheads="1"/>
              </p:cNvSpPr>
              <p:nvPr/>
            </p:nvSpPr>
            <p:spPr bwMode="auto">
              <a:xfrm>
                <a:off x="3848100" y="2605088"/>
                <a:ext cx="100013" cy="123825"/>
              </a:xfrm>
              <a:custGeom>
                <a:avLst/>
                <a:gdLst>
                  <a:gd name="T0" fmla="*/ 94 w 279"/>
                  <a:gd name="T1" fmla="*/ 248 h 342"/>
                  <a:gd name="T2" fmla="*/ 94 w 279"/>
                  <a:gd name="T3" fmla="*/ 248 h 342"/>
                  <a:gd name="T4" fmla="*/ 154 w 279"/>
                  <a:gd name="T5" fmla="*/ 248 h 342"/>
                  <a:gd name="T6" fmla="*/ 154 w 279"/>
                  <a:gd name="T7" fmla="*/ 217 h 342"/>
                  <a:gd name="T8" fmla="*/ 216 w 279"/>
                  <a:gd name="T9" fmla="*/ 217 h 342"/>
                  <a:gd name="T10" fmla="*/ 216 w 279"/>
                  <a:gd name="T11" fmla="*/ 248 h 342"/>
                  <a:gd name="T12" fmla="*/ 216 w 279"/>
                  <a:gd name="T13" fmla="*/ 248 h 342"/>
                  <a:gd name="T14" fmla="*/ 216 w 279"/>
                  <a:gd name="T15" fmla="*/ 248 h 342"/>
                  <a:gd name="T16" fmla="*/ 247 w 279"/>
                  <a:gd name="T17" fmla="*/ 217 h 342"/>
                  <a:gd name="T18" fmla="*/ 247 w 279"/>
                  <a:gd name="T19" fmla="*/ 248 h 342"/>
                  <a:gd name="T20" fmla="*/ 278 w 279"/>
                  <a:gd name="T21" fmla="*/ 248 h 342"/>
                  <a:gd name="T22" fmla="*/ 278 w 279"/>
                  <a:gd name="T23" fmla="*/ 217 h 342"/>
                  <a:gd name="T24" fmla="*/ 247 w 279"/>
                  <a:gd name="T25" fmla="*/ 186 h 342"/>
                  <a:gd name="T26" fmla="*/ 247 w 279"/>
                  <a:gd name="T27" fmla="*/ 155 h 342"/>
                  <a:gd name="T28" fmla="*/ 247 w 279"/>
                  <a:gd name="T29" fmla="*/ 155 h 342"/>
                  <a:gd name="T30" fmla="*/ 247 w 279"/>
                  <a:gd name="T31" fmla="*/ 155 h 342"/>
                  <a:gd name="T32" fmla="*/ 247 w 279"/>
                  <a:gd name="T33" fmla="*/ 155 h 342"/>
                  <a:gd name="T34" fmla="*/ 216 w 279"/>
                  <a:gd name="T35" fmla="*/ 124 h 342"/>
                  <a:gd name="T36" fmla="*/ 247 w 279"/>
                  <a:gd name="T37" fmla="*/ 93 h 342"/>
                  <a:gd name="T38" fmla="*/ 247 w 279"/>
                  <a:gd name="T39" fmla="*/ 93 h 342"/>
                  <a:gd name="T40" fmla="*/ 247 w 279"/>
                  <a:gd name="T41" fmla="*/ 62 h 342"/>
                  <a:gd name="T42" fmla="*/ 247 w 279"/>
                  <a:gd name="T43" fmla="*/ 62 h 342"/>
                  <a:gd name="T44" fmla="*/ 247 w 279"/>
                  <a:gd name="T45" fmla="*/ 62 h 342"/>
                  <a:gd name="T46" fmla="*/ 216 w 279"/>
                  <a:gd name="T47" fmla="*/ 62 h 342"/>
                  <a:gd name="T48" fmla="*/ 216 w 279"/>
                  <a:gd name="T49" fmla="*/ 62 h 342"/>
                  <a:gd name="T50" fmla="*/ 216 w 279"/>
                  <a:gd name="T51" fmla="*/ 93 h 342"/>
                  <a:gd name="T52" fmla="*/ 185 w 279"/>
                  <a:gd name="T53" fmla="*/ 62 h 342"/>
                  <a:gd name="T54" fmla="*/ 185 w 279"/>
                  <a:gd name="T55" fmla="*/ 62 h 342"/>
                  <a:gd name="T56" fmla="*/ 185 w 279"/>
                  <a:gd name="T57" fmla="*/ 31 h 342"/>
                  <a:gd name="T58" fmla="*/ 185 w 279"/>
                  <a:gd name="T59" fmla="*/ 31 h 342"/>
                  <a:gd name="T60" fmla="*/ 185 w 279"/>
                  <a:gd name="T61" fmla="*/ 0 h 342"/>
                  <a:gd name="T62" fmla="*/ 154 w 279"/>
                  <a:gd name="T63" fmla="*/ 0 h 342"/>
                  <a:gd name="T64" fmla="*/ 154 w 279"/>
                  <a:gd name="T65" fmla="*/ 0 h 342"/>
                  <a:gd name="T66" fmla="*/ 154 w 279"/>
                  <a:gd name="T67" fmla="*/ 0 h 342"/>
                  <a:gd name="T68" fmla="*/ 154 w 279"/>
                  <a:gd name="T69" fmla="*/ 93 h 342"/>
                  <a:gd name="T70" fmla="*/ 31 w 279"/>
                  <a:gd name="T71" fmla="*/ 93 h 342"/>
                  <a:gd name="T72" fmla="*/ 0 w 279"/>
                  <a:gd name="T73" fmla="*/ 155 h 342"/>
                  <a:gd name="T74" fmla="*/ 0 w 279"/>
                  <a:gd name="T75" fmla="*/ 155 h 342"/>
                  <a:gd name="T76" fmla="*/ 0 w 279"/>
                  <a:gd name="T77" fmla="*/ 186 h 342"/>
                  <a:gd name="T78" fmla="*/ 0 w 279"/>
                  <a:gd name="T79" fmla="*/ 186 h 342"/>
                  <a:gd name="T80" fmla="*/ 0 w 279"/>
                  <a:gd name="T81" fmla="*/ 217 h 342"/>
                  <a:gd name="T82" fmla="*/ 31 w 279"/>
                  <a:gd name="T83" fmla="*/ 217 h 342"/>
                  <a:gd name="T84" fmla="*/ 31 w 279"/>
                  <a:gd name="T85" fmla="*/ 248 h 342"/>
                  <a:gd name="T86" fmla="*/ 94 w 279"/>
                  <a:gd name="T87" fmla="*/ 341 h 342"/>
                  <a:gd name="T88" fmla="*/ 123 w 279"/>
                  <a:gd name="T89" fmla="*/ 341 h 342"/>
                  <a:gd name="T90" fmla="*/ 94 w 279"/>
                  <a:gd name="T91" fmla="*/ 310 h 342"/>
                  <a:gd name="T92" fmla="*/ 94 w 279"/>
                  <a:gd name="T93" fmla="*/ 24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342">
                    <a:moveTo>
                      <a:pt x="94" y="248"/>
                    </a:moveTo>
                    <a:lnTo>
                      <a:pt x="94" y="248"/>
                    </a:lnTo>
                    <a:cubicBezTo>
                      <a:pt x="154" y="248"/>
                      <a:pt x="154" y="248"/>
                      <a:pt x="154" y="248"/>
                    </a:cubicBezTo>
                    <a:cubicBezTo>
                      <a:pt x="154" y="217"/>
                      <a:pt x="154" y="217"/>
                      <a:pt x="154" y="217"/>
                    </a:cubicBezTo>
                    <a:cubicBezTo>
                      <a:pt x="216" y="217"/>
                      <a:pt x="216" y="217"/>
                      <a:pt x="216" y="217"/>
                    </a:cubicBezTo>
                    <a:cubicBezTo>
                      <a:pt x="216" y="248"/>
                      <a:pt x="216" y="248"/>
                      <a:pt x="216" y="248"/>
                    </a:cubicBezTo>
                    <a:lnTo>
                      <a:pt x="216" y="248"/>
                    </a:lnTo>
                    <a:lnTo>
                      <a:pt x="216" y="248"/>
                    </a:lnTo>
                    <a:cubicBezTo>
                      <a:pt x="247" y="217"/>
                      <a:pt x="247" y="217"/>
                      <a:pt x="247" y="217"/>
                    </a:cubicBezTo>
                    <a:cubicBezTo>
                      <a:pt x="247" y="248"/>
                      <a:pt x="247" y="248"/>
                      <a:pt x="247" y="248"/>
                    </a:cubicBezTo>
                    <a:lnTo>
                      <a:pt x="278" y="248"/>
                    </a:lnTo>
                    <a:lnTo>
                      <a:pt x="278" y="217"/>
                    </a:lnTo>
                    <a:cubicBezTo>
                      <a:pt x="278" y="217"/>
                      <a:pt x="278" y="186"/>
                      <a:pt x="247" y="186"/>
                    </a:cubicBezTo>
                    <a:cubicBezTo>
                      <a:pt x="247" y="186"/>
                      <a:pt x="247" y="186"/>
                      <a:pt x="247" y="155"/>
                    </a:cubicBezTo>
                    <a:lnTo>
                      <a:pt x="247" y="155"/>
                    </a:lnTo>
                    <a:lnTo>
                      <a:pt x="247" y="155"/>
                    </a:lnTo>
                    <a:lnTo>
                      <a:pt x="247" y="155"/>
                    </a:lnTo>
                    <a:lnTo>
                      <a:pt x="216" y="124"/>
                    </a:lnTo>
                    <a:lnTo>
                      <a:pt x="247" y="93"/>
                    </a:lnTo>
                    <a:lnTo>
                      <a:pt x="247" y="93"/>
                    </a:lnTo>
                    <a:cubicBezTo>
                      <a:pt x="247" y="62"/>
                      <a:pt x="247" y="62"/>
                      <a:pt x="247" y="62"/>
                    </a:cubicBezTo>
                    <a:lnTo>
                      <a:pt x="247" y="62"/>
                    </a:lnTo>
                    <a:lnTo>
                      <a:pt x="247" y="62"/>
                    </a:lnTo>
                    <a:cubicBezTo>
                      <a:pt x="247" y="62"/>
                      <a:pt x="247" y="62"/>
                      <a:pt x="216" y="62"/>
                    </a:cubicBezTo>
                    <a:lnTo>
                      <a:pt x="216" y="62"/>
                    </a:lnTo>
                    <a:cubicBezTo>
                      <a:pt x="216" y="93"/>
                      <a:pt x="216" y="93"/>
                      <a:pt x="216" y="93"/>
                    </a:cubicBezTo>
                    <a:lnTo>
                      <a:pt x="185" y="62"/>
                    </a:lnTo>
                    <a:lnTo>
                      <a:pt x="185" y="62"/>
                    </a:lnTo>
                    <a:cubicBezTo>
                      <a:pt x="185" y="31"/>
                      <a:pt x="185" y="31"/>
                      <a:pt x="185" y="31"/>
                    </a:cubicBezTo>
                    <a:lnTo>
                      <a:pt x="185" y="31"/>
                    </a:lnTo>
                    <a:cubicBezTo>
                      <a:pt x="185" y="31"/>
                      <a:pt x="185" y="31"/>
                      <a:pt x="185" y="0"/>
                    </a:cubicBezTo>
                    <a:lnTo>
                      <a:pt x="154" y="0"/>
                    </a:lnTo>
                    <a:lnTo>
                      <a:pt x="154" y="0"/>
                    </a:lnTo>
                    <a:lnTo>
                      <a:pt x="154" y="0"/>
                    </a:lnTo>
                    <a:cubicBezTo>
                      <a:pt x="154" y="93"/>
                      <a:pt x="154" y="93"/>
                      <a:pt x="154" y="93"/>
                    </a:cubicBezTo>
                    <a:cubicBezTo>
                      <a:pt x="31" y="93"/>
                      <a:pt x="31" y="93"/>
                      <a:pt x="31" y="93"/>
                    </a:cubicBezTo>
                    <a:cubicBezTo>
                      <a:pt x="31" y="124"/>
                      <a:pt x="0" y="155"/>
                      <a:pt x="0" y="155"/>
                    </a:cubicBezTo>
                    <a:lnTo>
                      <a:pt x="0" y="155"/>
                    </a:lnTo>
                    <a:lnTo>
                      <a:pt x="0" y="186"/>
                    </a:lnTo>
                    <a:lnTo>
                      <a:pt x="0" y="186"/>
                    </a:lnTo>
                    <a:cubicBezTo>
                      <a:pt x="0" y="186"/>
                      <a:pt x="0" y="186"/>
                      <a:pt x="0" y="217"/>
                    </a:cubicBezTo>
                    <a:cubicBezTo>
                      <a:pt x="31" y="217"/>
                      <a:pt x="31" y="217"/>
                      <a:pt x="31" y="217"/>
                    </a:cubicBezTo>
                    <a:cubicBezTo>
                      <a:pt x="31" y="248"/>
                      <a:pt x="31" y="248"/>
                      <a:pt x="31" y="248"/>
                    </a:cubicBezTo>
                    <a:cubicBezTo>
                      <a:pt x="31" y="248"/>
                      <a:pt x="62" y="279"/>
                      <a:pt x="94" y="341"/>
                    </a:cubicBezTo>
                    <a:cubicBezTo>
                      <a:pt x="123" y="341"/>
                      <a:pt x="123" y="341"/>
                      <a:pt x="123" y="341"/>
                    </a:cubicBezTo>
                    <a:cubicBezTo>
                      <a:pt x="93" y="310"/>
                      <a:pt x="94" y="310"/>
                      <a:pt x="94" y="310"/>
                    </a:cubicBezTo>
                    <a:lnTo>
                      <a:pt x="94" y="24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58" name="Freeform 55"/>
              <p:cNvSpPr>
                <a:spLocks noChangeArrowheads="1"/>
              </p:cNvSpPr>
              <p:nvPr/>
            </p:nvSpPr>
            <p:spPr bwMode="auto">
              <a:xfrm>
                <a:off x="3444875" y="1836738"/>
                <a:ext cx="179388" cy="168275"/>
              </a:xfrm>
              <a:custGeom>
                <a:avLst/>
                <a:gdLst>
                  <a:gd name="T0" fmla="*/ 155 w 497"/>
                  <a:gd name="T1" fmla="*/ 372 h 466"/>
                  <a:gd name="T2" fmla="*/ 218 w 497"/>
                  <a:gd name="T3" fmla="*/ 341 h 466"/>
                  <a:gd name="T4" fmla="*/ 218 w 497"/>
                  <a:gd name="T5" fmla="*/ 341 h 466"/>
                  <a:gd name="T6" fmla="*/ 218 w 497"/>
                  <a:gd name="T7" fmla="*/ 341 h 466"/>
                  <a:gd name="T8" fmla="*/ 279 w 497"/>
                  <a:gd name="T9" fmla="*/ 309 h 466"/>
                  <a:gd name="T10" fmla="*/ 310 w 497"/>
                  <a:gd name="T11" fmla="*/ 309 h 466"/>
                  <a:gd name="T12" fmla="*/ 310 w 497"/>
                  <a:gd name="T13" fmla="*/ 309 h 466"/>
                  <a:gd name="T14" fmla="*/ 310 w 497"/>
                  <a:gd name="T15" fmla="*/ 309 h 466"/>
                  <a:gd name="T16" fmla="*/ 341 w 497"/>
                  <a:gd name="T17" fmla="*/ 278 h 466"/>
                  <a:gd name="T18" fmla="*/ 372 w 497"/>
                  <a:gd name="T19" fmla="*/ 278 h 466"/>
                  <a:gd name="T20" fmla="*/ 372 w 497"/>
                  <a:gd name="T21" fmla="*/ 248 h 466"/>
                  <a:gd name="T22" fmla="*/ 372 w 497"/>
                  <a:gd name="T23" fmla="*/ 248 h 466"/>
                  <a:gd name="T24" fmla="*/ 372 w 497"/>
                  <a:gd name="T25" fmla="*/ 217 h 466"/>
                  <a:gd name="T26" fmla="*/ 403 w 497"/>
                  <a:gd name="T27" fmla="*/ 185 h 466"/>
                  <a:gd name="T28" fmla="*/ 434 w 497"/>
                  <a:gd name="T29" fmla="*/ 217 h 466"/>
                  <a:gd name="T30" fmla="*/ 434 w 497"/>
                  <a:gd name="T31" fmla="*/ 217 h 466"/>
                  <a:gd name="T32" fmla="*/ 434 w 497"/>
                  <a:gd name="T33" fmla="*/ 185 h 466"/>
                  <a:gd name="T34" fmla="*/ 466 w 497"/>
                  <a:gd name="T35" fmla="*/ 185 h 466"/>
                  <a:gd name="T36" fmla="*/ 496 w 497"/>
                  <a:gd name="T37" fmla="*/ 185 h 466"/>
                  <a:gd name="T38" fmla="*/ 496 w 497"/>
                  <a:gd name="T39" fmla="*/ 93 h 466"/>
                  <a:gd name="T40" fmla="*/ 466 w 497"/>
                  <a:gd name="T41" fmla="*/ 30 h 466"/>
                  <a:gd name="T42" fmla="*/ 466 w 497"/>
                  <a:gd name="T43" fmla="*/ 30 h 466"/>
                  <a:gd name="T44" fmla="*/ 434 w 497"/>
                  <a:gd name="T45" fmla="*/ 30 h 466"/>
                  <a:gd name="T46" fmla="*/ 403 w 497"/>
                  <a:gd name="T47" fmla="*/ 30 h 466"/>
                  <a:gd name="T48" fmla="*/ 310 w 497"/>
                  <a:gd name="T49" fmla="*/ 0 h 466"/>
                  <a:gd name="T50" fmla="*/ 279 w 497"/>
                  <a:gd name="T51" fmla="*/ 0 h 466"/>
                  <a:gd name="T52" fmla="*/ 279 w 497"/>
                  <a:gd name="T53" fmla="*/ 30 h 466"/>
                  <a:gd name="T54" fmla="*/ 155 w 497"/>
                  <a:gd name="T55" fmla="*/ 154 h 466"/>
                  <a:gd name="T56" fmla="*/ 94 w 497"/>
                  <a:gd name="T57" fmla="*/ 248 h 466"/>
                  <a:gd name="T58" fmla="*/ 94 w 497"/>
                  <a:gd name="T59" fmla="*/ 278 h 466"/>
                  <a:gd name="T60" fmla="*/ 94 w 497"/>
                  <a:gd name="T61" fmla="*/ 341 h 466"/>
                  <a:gd name="T62" fmla="*/ 0 w 497"/>
                  <a:gd name="T63" fmla="*/ 465 h 466"/>
                  <a:gd name="T64" fmla="*/ 94 w 497"/>
                  <a:gd name="T65" fmla="*/ 402 h 466"/>
                  <a:gd name="T66" fmla="*/ 155 w 497"/>
                  <a:gd name="T67" fmla="*/ 3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7" h="466">
                    <a:moveTo>
                      <a:pt x="155" y="372"/>
                    </a:moveTo>
                    <a:lnTo>
                      <a:pt x="155" y="372"/>
                    </a:lnTo>
                    <a:lnTo>
                      <a:pt x="186" y="341"/>
                    </a:lnTo>
                    <a:lnTo>
                      <a:pt x="218" y="341"/>
                    </a:lnTo>
                    <a:lnTo>
                      <a:pt x="218" y="341"/>
                    </a:lnTo>
                    <a:lnTo>
                      <a:pt x="218" y="341"/>
                    </a:lnTo>
                    <a:lnTo>
                      <a:pt x="218" y="341"/>
                    </a:lnTo>
                    <a:lnTo>
                      <a:pt x="218" y="341"/>
                    </a:lnTo>
                    <a:cubicBezTo>
                      <a:pt x="218" y="341"/>
                      <a:pt x="218" y="341"/>
                      <a:pt x="248" y="341"/>
                    </a:cubicBezTo>
                    <a:cubicBezTo>
                      <a:pt x="248" y="309"/>
                      <a:pt x="248" y="309"/>
                      <a:pt x="279" y="309"/>
                    </a:cubicBezTo>
                    <a:lnTo>
                      <a:pt x="279" y="309"/>
                    </a:lnTo>
                    <a:cubicBezTo>
                      <a:pt x="279" y="309"/>
                      <a:pt x="279" y="309"/>
                      <a:pt x="310" y="309"/>
                    </a:cubicBezTo>
                    <a:lnTo>
                      <a:pt x="310" y="309"/>
                    </a:lnTo>
                    <a:lnTo>
                      <a:pt x="310" y="309"/>
                    </a:lnTo>
                    <a:lnTo>
                      <a:pt x="310" y="309"/>
                    </a:lnTo>
                    <a:lnTo>
                      <a:pt x="310" y="309"/>
                    </a:lnTo>
                    <a:lnTo>
                      <a:pt x="310" y="309"/>
                    </a:lnTo>
                    <a:cubicBezTo>
                      <a:pt x="310" y="278"/>
                      <a:pt x="341" y="278"/>
                      <a:pt x="341" y="278"/>
                    </a:cubicBezTo>
                    <a:lnTo>
                      <a:pt x="341" y="278"/>
                    </a:lnTo>
                    <a:lnTo>
                      <a:pt x="372" y="278"/>
                    </a:lnTo>
                    <a:lnTo>
                      <a:pt x="372" y="278"/>
                    </a:lnTo>
                    <a:cubicBezTo>
                      <a:pt x="372" y="278"/>
                      <a:pt x="372" y="278"/>
                      <a:pt x="372" y="248"/>
                    </a:cubicBezTo>
                    <a:lnTo>
                      <a:pt x="372" y="248"/>
                    </a:lnTo>
                    <a:lnTo>
                      <a:pt x="372" y="248"/>
                    </a:lnTo>
                    <a:cubicBezTo>
                      <a:pt x="372" y="248"/>
                      <a:pt x="372" y="248"/>
                      <a:pt x="372" y="217"/>
                    </a:cubicBezTo>
                    <a:lnTo>
                      <a:pt x="372" y="217"/>
                    </a:lnTo>
                    <a:cubicBezTo>
                      <a:pt x="372" y="185"/>
                      <a:pt x="403" y="185"/>
                      <a:pt x="403" y="185"/>
                    </a:cubicBezTo>
                    <a:lnTo>
                      <a:pt x="403" y="185"/>
                    </a:lnTo>
                    <a:cubicBezTo>
                      <a:pt x="403" y="185"/>
                      <a:pt x="403" y="217"/>
                      <a:pt x="434" y="217"/>
                    </a:cubicBezTo>
                    <a:lnTo>
                      <a:pt x="434" y="217"/>
                    </a:lnTo>
                    <a:lnTo>
                      <a:pt x="434" y="217"/>
                    </a:lnTo>
                    <a:lnTo>
                      <a:pt x="434" y="217"/>
                    </a:lnTo>
                    <a:cubicBezTo>
                      <a:pt x="434" y="185"/>
                      <a:pt x="434" y="185"/>
                      <a:pt x="434" y="185"/>
                    </a:cubicBezTo>
                    <a:lnTo>
                      <a:pt x="434" y="185"/>
                    </a:lnTo>
                    <a:cubicBezTo>
                      <a:pt x="466" y="185"/>
                      <a:pt x="466" y="185"/>
                      <a:pt x="466" y="185"/>
                    </a:cubicBezTo>
                    <a:lnTo>
                      <a:pt x="466" y="185"/>
                    </a:lnTo>
                    <a:lnTo>
                      <a:pt x="496" y="185"/>
                    </a:lnTo>
                    <a:lnTo>
                      <a:pt x="496" y="185"/>
                    </a:lnTo>
                    <a:lnTo>
                      <a:pt x="496" y="185"/>
                    </a:lnTo>
                    <a:cubicBezTo>
                      <a:pt x="496" y="154"/>
                      <a:pt x="496" y="124"/>
                      <a:pt x="496" y="93"/>
                    </a:cubicBezTo>
                    <a:lnTo>
                      <a:pt x="496" y="93"/>
                    </a:lnTo>
                    <a:cubicBezTo>
                      <a:pt x="496" y="61"/>
                      <a:pt x="496" y="61"/>
                      <a:pt x="466" y="30"/>
                    </a:cubicBezTo>
                    <a:lnTo>
                      <a:pt x="466" y="30"/>
                    </a:lnTo>
                    <a:lnTo>
                      <a:pt x="466" y="30"/>
                    </a:lnTo>
                    <a:lnTo>
                      <a:pt x="434" y="30"/>
                    </a:lnTo>
                    <a:lnTo>
                      <a:pt x="434" y="30"/>
                    </a:lnTo>
                    <a:lnTo>
                      <a:pt x="434" y="30"/>
                    </a:lnTo>
                    <a:cubicBezTo>
                      <a:pt x="403" y="30"/>
                      <a:pt x="403" y="30"/>
                      <a:pt x="403" y="30"/>
                    </a:cubicBezTo>
                    <a:cubicBezTo>
                      <a:pt x="403" y="30"/>
                      <a:pt x="372" y="30"/>
                      <a:pt x="341" y="30"/>
                    </a:cubicBezTo>
                    <a:lnTo>
                      <a:pt x="310" y="0"/>
                    </a:lnTo>
                    <a:lnTo>
                      <a:pt x="310" y="0"/>
                    </a:lnTo>
                    <a:cubicBezTo>
                      <a:pt x="279" y="0"/>
                      <a:pt x="279" y="0"/>
                      <a:pt x="279" y="0"/>
                    </a:cubicBezTo>
                    <a:cubicBezTo>
                      <a:pt x="279" y="0"/>
                      <a:pt x="279" y="0"/>
                      <a:pt x="279" y="30"/>
                    </a:cubicBezTo>
                    <a:lnTo>
                      <a:pt x="279" y="30"/>
                    </a:lnTo>
                    <a:cubicBezTo>
                      <a:pt x="279" y="61"/>
                      <a:pt x="248" y="93"/>
                      <a:pt x="248" y="93"/>
                    </a:cubicBezTo>
                    <a:cubicBezTo>
                      <a:pt x="218" y="124"/>
                      <a:pt x="155" y="154"/>
                      <a:pt x="155" y="154"/>
                    </a:cubicBezTo>
                    <a:cubicBezTo>
                      <a:pt x="155" y="154"/>
                      <a:pt x="124" y="185"/>
                      <a:pt x="94" y="185"/>
                    </a:cubicBezTo>
                    <a:cubicBezTo>
                      <a:pt x="94" y="217"/>
                      <a:pt x="124" y="217"/>
                      <a:pt x="94" y="248"/>
                    </a:cubicBezTo>
                    <a:lnTo>
                      <a:pt x="94" y="248"/>
                    </a:lnTo>
                    <a:lnTo>
                      <a:pt x="94" y="278"/>
                    </a:lnTo>
                    <a:cubicBezTo>
                      <a:pt x="94" y="309"/>
                      <a:pt x="94" y="341"/>
                      <a:pt x="94" y="341"/>
                    </a:cubicBezTo>
                    <a:lnTo>
                      <a:pt x="94" y="341"/>
                    </a:lnTo>
                    <a:cubicBezTo>
                      <a:pt x="94" y="372"/>
                      <a:pt x="94" y="372"/>
                      <a:pt x="62" y="402"/>
                    </a:cubicBezTo>
                    <a:cubicBezTo>
                      <a:pt x="31" y="433"/>
                      <a:pt x="0" y="433"/>
                      <a:pt x="0" y="465"/>
                    </a:cubicBezTo>
                    <a:cubicBezTo>
                      <a:pt x="94" y="465"/>
                      <a:pt x="94" y="465"/>
                      <a:pt x="94" y="465"/>
                    </a:cubicBezTo>
                    <a:cubicBezTo>
                      <a:pt x="94" y="402"/>
                      <a:pt x="94" y="402"/>
                      <a:pt x="94" y="402"/>
                    </a:cubicBezTo>
                    <a:lnTo>
                      <a:pt x="94" y="402"/>
                    </a:lnTo>
                    <a:cubicBezTo>
                      <a:pt x="124" y="402"/>
                      <a:pt x="124" y="372"/>
                      <a:pt x="155" y="37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59" name="Freeform 56"/>
              <p:cNvSpPr>
                <a:spLocks noChangeArrowheads="1"/>
              </p:cNvSpPr>
              <p:nvPr/>
            </p:nvSpPr>
            <p:spPr bwMode="auto">
              <a:xfrm>
                <a:off x="3824288" y="1333500"/>
                <a:ext cx="33337" cy="44450"/>
              </a:xfrm>
              <a:custGeom>
                <a:avLst/>
                <a:gdLst>
                  <a:gd name="T0" fmla="*/ 32 w 94"/>
                  <a:gd name="T1" fmla="*/ 92 h 124"/>
                  <a:gd name="T2" fmla="*/ 32 w 94"/>
                  <a:gd name="T3" fmla="*/ 92 h 124"/>
                  <a:gd name="T4" fmla="*/ 32 w 94"/>
                  <a:gd name="T5" fmla="*/ 92 h 124"/>
                  <a:gd name="T6" fmla="*/ 62 w 94"/>
                  <a:gd name="T7" fmla="*/ 123 h 124"/>
                  <a:gd name="T8" fmla="*/ 62 w 94"/>
                  <a:gd name="T9" fmla="*/ 92 h 124"/>
                  <a:gd name="T10" fmla="*/ 62 w 94"/>
                  <a:gd name="T11" fmla="*/ 92 h 124"/>
                  <a:gd name="T12" fmla="*/ 93 w 94"/>
                  <a:gd name="T13" fmla="*/ 31 h 124"/>
                  <a:gd name="T14" fmla="*/ 93 w 94"/>
                  <a:gd name="T15" fmla="*/ 31 h 124"/>
                  <a:gd name="T16" fmla="*/ 93 w 94"/>
                  <a:gd name="T17" fmla="*/ 0 h 124"/>
                  <a:gd name="T18" fmla="*/ 93 w 94"/>
                  <a:gd name="T19" fmla="*/ 0 h 124"/>
                  <a:gd name="T20" fmla="*/ 62 w 94"/>
                  <a:gd name="T21" fmla="*/ 31 h 124"/>
                  <a:gd name="T22" fmla="*/ 62 w 94"/>
                  <a:gd name="T23" fmla="*/ 0 h 124"/>
                  <a:gd name="T24" fmla="*/ 32 w 94"/>
                  <a:gd name="T25" fmla="*/ 0 h 124"/>
                  <a:gd name="T26" fmla="*/ 32 w 94"/>
                  <a:gd name="T27" fmla="*/ 0 h 124"/>
                  <a:gd name="T28" fmla="*/ 32 w 94"/>
                  <a:gd name="T29" fmla="*/ 31 h 124"/>
                  <a:gd name="T30" fmla="*/ 32 w 94"/>
                  <a:gd name="T31" fmla="*/ 62 h 124"/>
                  <a:gd name="T32" fmla="*/ 0 w 94"/>
                  <a:gd name="T33" fmla="*/ 62 h 124"/>
                  <a:gd name="T34" fmla="*/ 0 w 94"/>
                  <a:gd name="T35" fmla="*/ 62 h 124"/>
                  <a:gd name="T36" fmla="*/ 32 w 94"/>
                  <a:gd name="T37" fmla="*/ 62 h 124"/>
                  <a:gd name="T38" fmla="*/ 32 w 94"/>
                  <a:gd name="T39" fmla="*/ 9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24">
                    <a:moveTo>
                      <a:pt x="32" y="92"/>
                    </a:moveTo>
                    <a:lnTo>
                      <a:pt x="32" y="92"/>
                    </a:lnTo>
                    <a:lnTo>
                      <a:pt x="32" y="92"/>
                    </a:lnTo>
                    <a:cubicBezTo>
                      <a:pt x="62" y="123"/>
                      <a:pt x="62" y="123"/>
                      <a:pt x="62" y="123"/>
                    </a:cubicBezTo>
                    <a:lnTo>
                      <a:pt x="62" y="92"/>
                    </a:lnTo>
                    <a:lnTo>
                      <a:pt x="62" y="92"/>
                    </a:lnTo>
                    <a:cubicBezTo>
                      <a:pt x="62" y="62"/>
                      <a:pt x="93" y="31"/>
                      <a:pt x="93" y="31"/>
                    </a:cubicBezTo>
                    <a:lnTo>
                      <a:pt x="93" y="31"/>
                    </a:lnTo>
                    <a:lnTo>
                      <a:pt x="93" y="0"/>
                    </a:lnTo>
                    <a:lnTo>
                      <a:pt x="93" y="0"/>
                    </a:lnTo>
                    <a:cubicBezTo>
                      <a:pt x="93" y="0"/>
                      <a:pt x="93" y="31"/>
                      <a:pt x="62" y="31"/>
                    </a:cubicBezTo>
                    <a:lnTo>
                      <a:pt x="62" y="0"/>
                    </a:lnTo>
                    <a:lnTo>
                      <a:pt x="32" y="0"/>
                    </a:lnTo>
                    <a:lnTo>
                      <a:pt x="32" y="0"/>
                    </a:lnTo>
                    <a:cubicBezTo>
                      <a:pt x="32" y="31"/>
                      <a:pt x="32" y="31"/>
                      <a:pt x="32" y="31"/>
                    </a:cubicBezTo>
                    <a:cubicBezTo>
                      <a:pt x="32" y="62"/>
                      <a:pt x="32" y="62"/>
                      <a:pt x="32" y="62"/>
                    </a:cubicBezTo>
                    <a:cubicBezTo>
                      <a:pt x="0" y="62"/>
                      <a:pt x="0" y="62"/>
                      <a:pt x="0" y="62"/>
                    </a:cubicBezTo>
                    <a:lnTo>
                      <a:pt x="0" y="62"/>
                    </a:lnTo>
                    <a:lnTo>
                      <a:pt x="32" y="62"/>
                    </a:lnTo>
                    <a:cubicBezTo>
                      <a:pt x="32" y="62"/>
                      <a:pt x="32" y="62"/>
                      <a:pt x="32" y="9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60" name="Freeform 57"/>
              <p:cNvSpPr>
                <a:spLocks noChangeArrowheads="1"/>
              </p:cNvSpPr>
              <p:nvPr/>
            </p:nvSpPr>
            <p:spPr bwMode="auto">
              <a:xfrm>
                <a:off x="3902075" y="1066800"/>
                <a:ext cx="223838" cy="301625"/>
              </a:xfrm>
              <a:custGeom>
                <a:avLst/>
                <a:gdLst>
                  <a:gd name="T0" fmla="*/ 62 w 621"/>
                  <a:gd name="T1" fmla="*/ 806 h 837"/>
                  <a:gd name="T2" fmla="*/ 93 w 621"/>
                  <a:gd name="T3" fmla="*/ 836 h 837"/>
                  <a:gd name="T4" fmla="*/ 124 w 621"/>
                  <a:gd name="T5" fmla="*/ 836 h 837"/>
                  <a:gd name="T6" fmla="*/ 155 w 621"/>
                  <a:gd name="T7" fmla="*/ 775 h 837"/>
                  <a:gd name="T8" fmla="*/ 217 w 621"/>
                  <a:gd name="T9" fmla="*/ 744 h 837"/>
                  <a:gd name="T10" fmla="*/ 248 w 621"/>
                  <a:gd name="T11" fmla="*/ 682 h 837"/>
                  <a:gd name="T12" fmla="*/ 279 w 621"/>
                  <a:gd name="T13" fmla="*/ 620 h 837"/>
                  <a:gd name="T14" fmla="*/ 310 w 621"/>
                  <a:gd name="T15" fmla="*/ 588 h 837"/>
                  <a:gd name="T16" fmla="*/ 341 w 621"/>
                  <a:gd name="T17" fmla="*/ 558 h 837"/>
                  <a:gd name="T18" fmla="*/ 279 w 621"/>
                  <a:gd name="T19" fmla="*/ 527 h 837"/>
                  <a:gd name="T20" fmla="*/ 248 w 621"/>
                  <a:gd name="T21" fmla="*/ 434 h 837"/>
                  <a:gd name="T22" fmla="*/ 279 w 621"/>
                  <a:gd name="T23" fmla="*/ 403 h 837"/>
                  <a:gd name="T24" fmla="*/ 434 w 621"/>
                  <a:gd name="T25" fmla="*/ 310 h 837"/>
                  <a:gd name="T26" fmla="*/ 496 w 621"/>
                  <a:gd name="T27" fmla="*/ 217 h 837"/>
                  <a:gd name="T28" fmla="*/ 527 w 621"/>
                  <a:gd name="T29" fmla="*/ 186 h 837"/>
                  <a:gd name="T30" fmla="*/ 589 w 621"/>
                  <a:gd name="T31" fmla="*/ 155 h 837"/>
                  <a:gd name="T32" fmla="*/ 620 w 621"/>
                  <a:gd name="T33" fmla="*/ 155 h 837"/>
                  <a:gd name="T34" fmla="*/ 620 w 621"/>
                  <a:gd name="T35" fmla="*/ 93 h 837"/>
                  <a:gd name="T36" fmla="*/ 620 w 621"/>
                  <a:gd name="T37" fmla="*/ 62 h 837"/>
                  <a:gd name="T38" fmla="*/ 589 w 621"/>
                  <a:gd name="T39" fmla="*/ 31 h 837"/>
                  <a:gd name="T40" fmla="*/ 558 w 621"/>
                  <a:gd name="T41" fmla="*/ 31 h 837"/>
                  <a:gd name="T42" fmla="*/ 496 w 621"/>
                  <a:gd name="T43" fmla="*/ 0 h 837"/>
                  <a:gd name="T44" fmla="*/ 496 w 621"/>
                  <a:gd name="T45" fmla="*/ 0 h 837"/>
                  <a:gd name="T46" fmla="*/ 434 w 621"/>
                  <a:gd name="T47" fmla="*/ 62 h 837"/>
                  <a:gd name="T48" fmla="*/ 403 w 621"/>
                  <a:gd name="T49" fmla="*/ 31 h 837"/>
                  <a:gd name="T50" fmla="*/ 310 w 621"/>
                  <a:gd name="T51" fmla="*/ 62 h 837"/>
                  <a:gd name="T52" fmla="*/ 279 w 621"/>
                  <a:gd name="T53" fmla="*/ 62 h 837"/>
                  <a:gd name="T54" fmla="*/ 279 w 621"/>
                  <a:gd name="T55" fmla="*/ 93 h 837"/>
                  <a:gd name="T56" fmla="*/ 217 w 621"/>
                  <a:gd name="T57" fmla="*/ 124 h 837"/>
                  <a:gd name="T58" fmla="*/ 186 w 621"/>
                  <a:gd name="T59" fmla="*/ 186 h 837"/>
                  <a:gd name="T60" fmla="*/ 155 w 621"/>
                  <a:gd name="T61" fmla="*/ 217 h 837"/>
                  <a:gd name="T62" fmla="*/ 124 w 621"/>
                  <a:gd name="T63" fmla="*/ 248 h 837"/>
                  <a:gd name="T64" fmla="*/ 93 w 621"/>
                  <a:gd name="T65" fmla="*/ 340 h 837"/>
                  <a:gd name="T66" fmla="*/ 31 w 621"/>
                  <a:gd name="T67" fmla="*/ 340 h 837"/>
                  <a:gd name="T68" fmla="*/ 31 w 621"/>
                  <a:gd name="T69" fmla="*/ 372 h 837"/>
                  <a:gd name="T70" fmla="*/ 31 w 621"/>
                  <a:gd name="T71" fmla="*/ 403 h 837"/>
                  <a:gd name="T72" fmla="*/ 62 w 621"/>
                  <a:gd name="T73" fmla="*/ 434 h 837"/>
                  <a:gd name="T74" fmla="*/ 62 w 621"/>
                  <a:gd name="T75" fmla="*/ 464 h 837"/>
                  <a:gd name="T76" fmla="*/ 62 w 621"/>
                  <a:gd name="T77" fmla="*/ 464 h 837"/>
                  <a:gd name="T78" fmla="*/ 62 w 621"/>
                  <a:gd name="T79" fmla="*/ 496 h 837"/>
                  <a:gd name="T80" fmla="*/ 62 w 621"/>
                  <a:gd name="T81" fmla="*/ 527 h 837"/>
                  <a:gd name="T82" fmla="*/ 62 w 621"/>
                  <a:gd name="T83" fmla="*/ 558 h 837"/>
                  <a:gd name="T84" fmla="*/ 0 w 621"/>
                  <a:gd name="T85" fmla="*/ 620 h 837"/>
                  <a:gd name="T86" fmla="*/ 0 w 621"/>
                  <a:gd name="T87" fmla="*/ 620 h 837"/>
                  <a:gd name="T88" fmla="*/ 0 w 621"/>
                  <a:gd name="T89" fmla="*/ 682 h 837"/>
                  <a:gd name="T90" fmla="*/ 62 w 621"/>
                  <a:gd name="T91" fmla="*/ 80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1" h="837">
                    <a:moveTo>
                      <a:pt x="62" y="806"/>
                    </a:moveTo>
                    <a:lnTo>
                      <a:pt x="62" y="806"/>
                    </a:lnTo>
                    <a:lnTo>
                      <a:pt x="62" y="806"/>
                    </a:lnTo>
                    <a:cubicBezTo>
                      <a:pt x="62" y="806"/>
                      <a:pt x="62" y="806"/>
                      <a:pt x="62" y="836"/>
                    </a:cubicBezTo>
                    <a:lnTo>
                      <a:pt x="62" y="836"/>
                    </a:lnTo>
                    <a:lnTo>
                      <a:pt x="93" y="836"/>
                    </a:lnTo>
                    <a:lnTo>
                      <a:pt x="93" y="836"/>
                    </a:lnTo>
                    <a:lnTo>
                      <a:pt x="93" y="836"/>
                    </a:lnTo>
                    <a:cubicBezTo>
                      <a:pt x="93" y="836"/>
                      <a:pt x="93" y="836"/>
                      <a:pt x="124" y="836"/>
                    </a:cubicBezTo>
                    <a:cubicBezTo>
                      <a:pt x="124" y="806"/>
                      <a:pt x="124" y="775"/>
                      <a:pt x="155" y="775"/>
                    </a:cubicBezTo>
                    <a:lnTo>
                      <a:pt x="155" y="775"/>
                    </a:lnTo>
                    <a:lnTo>
                      <a:pt x="155" y="775"/>
                    </a:lnTo>
                    <a:cubicBezTo>
                      <a:pt x="155" y="775"/>
                      <a:pt x="155" y="775"/>
                      <a:pt x="186" y="775"/>
                    </a:cubicBezTo>
                    <a:lnTo>
                      <a:pt x="186" y="775"/>
                    </a:lnTo>
                    <a:cubicBezTo>
                      <a:pt x="217" y="775"/>
                      <a:pt x="217" y="775"/>
                      <a:pt x="217" y="744"/>
                    </a:cubicBezTo>
                    <a:cubicBezTo>
                      <a:pt x="217" y="712"/>
                      <a:pt x="217" y="712"/>
                      <a:pt x="217" y="712"/>
                    </a:cubicBezTo>
                    <a:cubicBezTo>
                      <a:pt x="217" y="682"/>
                      <a:pt x="248" y="682"/>
                      <a:pt x="248" y="682"/>
                    </a:cubicBezTo>
                    <a:lnTo>
                      <a:pt x="248" y="682"/>
                    </a:lnTo>
                    <a:cubicBezTo>
                      <a:pt x="217" y="620"/>
                      <a:pt x="217" y="620"/>
                      <a:pt x="217" y="620"/>
                    </a:cubicBezTo>
                    <a:cubicBezTo>
                      <a:pt x="279" y="620"/>
                      <a:pt x="279" y="620"/>
                      <a:pt x="279" y="620"/>
                    </a:cubicBezTo>
                    <a:lnTo>
                      <a:pt x="279" y="620"/>
                    </a:lnTo>
                    <a:lnTo>
                      <a:pt x="279" y="588"/>
                    </a:lnTo>
                    <a:cubicBezTo>
                      <a:pt x="310" y="588"/>
                      <a:pt x="310" y="588"/>
                      <a:pt x="310" y="588"/>
                    </a:cubicBezTo>
                    <a:lnTo>
                      <a:pt x="310" y="588"/>
                    </a:lnTo>
                    <a:cubicBezTo>
                      <a:pt x="310" y="558"/>
                      <a:pt x="310" y="558"/>
                      <a:pt x="310" y="558"/>
                    </a:cubicBezTo>
                    <a:cubicBezTo>
                      <a:pt x="341" y="558"/>
                      <a:pt x="341" y="558"/>
                      <a:pt x="341" y="558"/>
                    </a:cubicBezTo>
                    <a:lnTo>
                      <a:pt x="341" y="558"/>
                    </a:lnTo>
                    <a:cubicBezTo>
                      <a:pt x="341" y="558"/>
                      <a:pt x="341" y="558"/>
                      <a:pt x="310" y="527"/>
                    </a:cubicBezTo>
                    <a:lnTo>
                      <a:pt x="310" y="527"/>
                    </a:lnTo>
                    <a:cubicBezTo>
                      <a:pt x="279" y="527"/>
                      <a:pt x="279" y="527"/>
                      <a:pt x="279" y="527"/>
                    </a:cubicBezTo>
                    <a:cubicBezTo>
                      <a:pt x="279" y="527"/>
                      <a:pt x="248" y="496"/>
                      <a:pt x="248" y="464"/>
                    </a:cubicBezTo>
                    <a:lnTo>
                      <a:pt x="248" y="464"/>
                    </a:lnTo>
                    <a:cubicBezTo>
                      <a:pt x="248" y="434"/>
                      <a:pt x="248" y="434"/>
                      <a:pt x="248" y="434"/>
                    </a:cubicBezTo>
                    <a:lnTo>
                      <a:pt x="279" y="434"/>
                    </a:lnTo>
                    <a:lnTo>
                      <a:pt x="279" y="434"/>
                    </a:lnTo>
                    <a:lnTo>
                      <a:pt x="279" y="403"/>
                    </a:lnTo>
                    <a:cubicBezTo>
                      <a:pt x="279" y="372"/>
                      <a:pt x="310" y="372"/>
                      <a:pt x="310" y="372"/>
                    </a:cubicBezTo>
                    <a:cubicBezTo>
                      <a:pt x="310" y="372"/>
                      <a:pt x="310" y="372"/>
                      <a:pt x="341" y="340"/>
                    </a:cubicBezTo>
                    <a:cubicBezTo>
                      <a:pt x="341" y="340"/>
                      <a:pt x="372" y="310"/>
                      <a:pt x="434" y="310"/>
                    </a:cubicBezTo>
                    <a:cubicBezTo>
                      <a:pt x="434" y="310"/>
                      <a:pt x="465" y="279"/>
                      <a:pt x="496" y="248"/>
                    </a:cubicBezTo>
                    <a:lnTo>
                      <a:pt x="496" y="248"/>
                    </a:lnTo>
                    <a:cubicBezTo>
                      <a:pt x="496" y="217"/>
                      <a:pt x="496" y="217"/>
                      <a:pt x="496" y="217"/>
                    </a:cubicBezTo>
                    <a:lnTo>
                      <a:pt x="496" y="217"/>
                    </a:lnTo>
                    <a:cubicBezTo>
                      <a:pt x="465" y="124"/>
                      <a:pt x="465" y="124"/>
                      <a:pt x="465" y="124"/>
                    </a:cubicBezTo>
                    <a:cubicBezTo>
                      <a:pt x="527" y="186"/>
                      <a:pt x="527" y="186"/>
                      <a:pt x="527" y="186"/>
                    </a:cubicBezTo>
                    <a:cubicBezTo>
                      <a:pt x="558" y="155"/>
                      <a:pt x="589" y="155"/>
                      <a:pt x="589" y="155"/>
                    </a:cubicBezTo>
                    <a:lnTo>
                      <a:pt x="589" y="155"/>
                    </a:lnTo>
                    <a:lnTo>
                      <a:pt x="589" y="155"/>
                    </a:lnTo>
                    <a:lnTo>
                      <a:pt x="620" y="155"/>
                    </a:lnTo>
                    <a:lnTo>
                      <a:pt x="620" y="155"/>
                    </a:lnTo>
                    <a:lnTo>
                      <a:pt x="620" y="155"/>
                    </a:lnTo>
                    <a:cubicBezTo>
                      <a:pt x="620" y="155"/>
                      <a:pt x="620" y="155"/>
                      <a:pt x="620" y="124"/>
                    </a:cubicBezTo>
                    <a:lnTo>
                      <a:pt x="620" y="124"/>
                    </a:lnTo>
                    <a:lnTo>
                      <a:pt x="620" y="93"/>
                    </a:lnTo>
                    <a:lnTo>
                      <a:pt x="620" y="93"/>
                    </a:lnTo>
                    <a:lnTo>
                      <a:pt x="620" y="93"/>
                    </a:lnTo>
                    <a:cubicBezTo>
                      <a:pt x="620" y="93"/>
                      <a:pt x="620" y="93"/>
                      <a:pt x="620" y="62"/>
                    </a:cubicBezTo>
                    <a:lnTo>
                      <a:pt x="620" y="62"/>
                    </a:lnTo>
                    <a:lnTo>
                      <a:pt x="620" y="62"/>
                    </a:lnTo>
                    <a:lnTo>
                      <a:pt x="589" y="31"/>
                    </a:lnTo>
                    <a:lnTo>
                      <a:pt x="589" y="31"/>
                    </a:lnTo>
                    <a:lnTo>
                      <a:pt x="589" y="31"/>
                    </a:lnTo>
                    <a:cubicBezTo>
                      <a:pt x="558" y="31"/>
                      <a:pt x="558" y="31"/>
                      <a:pt x="558" y="31"/>
                    </a:cubicBezTo>
                    <a:cubicBezTo>
                      <a:pt x="558" y="31"/>
                      <a:pt x="527" y="31"/>
                      <a:pt x="527" y="0"/>
                    </a:cubicBezTo>
                    <a:lnTo>
                      <a:pt x="527" y="0"/>
                    </a:lnTo>
                    <a:lnTo>
                      <a:pt x="496" y="0"/>
                    </a:lnTo>
                    <a:lnTo>
                      <a:pt x="496" y="0"/>
                    </a:lnTo>
                    <a:lnTo>
                      <a:pt x="496" y="0"/>
                    </a:lnTo>
                    <a:lnTo>
                      <a:pt x="496" y="0"/>
                    </a:lnTo>
                    <a:lnTo>
                      <a:pt x="496" y="31"/>
                    </a:lnTo>
                    <a:cubicBezTo>
                      <a:pt x="496" y="31"/>
                      <a:pt x="496" y="31"/>
                      <a:pt x="465" y="31"/>
                    </a:cubicBezTo>
                    <a:cubicBezTo>
                      <a:pt x="465" y="62"/>
                      <a:pt x="465" y="62"/>
                      <a:pt x="434" y="62"/>
                    </a:cubicBezTo>
                    <a:lnTo>
                      <a:pt x="434" y="62"/>
                    </a:lnTo>
                    <a:cubicBezTo>
                      <a:pt x="434" y="62"/>
                      <a:pt x="434" y="62"/>
                      <a:pt x="403" y="62"/>
                    </a:cubicBezTo>
                    <a:cubicBezTo>
                      <a:pt x="403" y="31"/>
                      <a:pt x="403" y="31"/>
                      <a:pt x="403" y="31"/>
                    </a:cubicBezTo>
                    <a:cubicBezTo>
                      <a:pt x="372" y="31"/>
                      <a:pt x="372" y="31"/>
                      <a:pt x="372" y="31"/>
                    </a:cubicBezTo>
                    <a:cubicBezTo>
                      <a:pt x="372" y="62"/>
                      <a:pt x="372" y="62"/>
                      <a:pt x="341" y="62"/>
                    </a:cubicBezTo>
                    <a:cubicBezTo>
                      <a:pt x="341" y="62"/>
                      <a:pt x="341" y="62"/>
                      <a:pt x="310" y="62"/>
                    </a:cubicBezTo>
                    <a:lnTo>
                      <a:pt x="310" y="62"/>
                    </a:lnTo>
                    <a:cubicBezTo>
                      <a:pt x="310" y="62"/>
                      <a:pt x="310" y="62"/>
                      <a:pt x="279" y="62"/>
                    </a:cubicBezTo>
                    <a:lnTo>
                      <a:pt x="279" y="62"/>
                    </a:lnTo>
                    <a:lnTo>
                      <a:pt x="279" y="62"/>
                    </a:lnTo>
                    <a:cubicBezTo>
                      <a:pt x="279" y="93"/>
                      <a:pt x="279" y="93"/>
                      <a:pt x="279" y="93"/>
                    </a:cubicBezTo>
                    <a:lnTo>
                      <a:pt x="279" y="93"/>
                    </a:lnTo>
                    <a:lnTo>
                      <a:pt x="279" y="93"/>
                    </a:lnTo>
                    <a:cubicBezTo>
                      <a:pt x="279" y="124"/>
                      <a:pt x="248" y="124"/>
                      <a:pt x="248" y="124"/>
                    </a:cubicBezTo>
                    <a:cubicBezTo>
                      <a:pt x="248" y="124"/>
                      <a:pt x="248" y="124"/>
                      <a:pt x="217" y="124"/>
                    </a:cubicBezTo>
                    <a:cubicBezTo>
                      <a:pt x="217" y="155"/>
                      <a:pt x="217" y="155"/>
                      <a:pt x="217" y="155"/>
                    </a:cubicBezTo>
                    <a:lnTo>
                      <a:pt x="217" y="155"/>
                    </a:lnTo>
                    <a:lnTo>
                      <a:pt x="186" y="186"/>
                    </a:lnTo>
                    <a:cubicBezTo>
                      <a:pt x="155" y="186"/>
                      <a:pt x="155" y="186"/>
                      <a:pt x="155" y="186"/>
                    </a:cubicBezTo>
                    <a:lnTo>
                      <a:pt x="155" y="186"/>
                    </a:lnTo>
                    <a:lnTo>
                      <a:pt x="155" y="217"/>
                    </a:lnTo>
                    <a:lnTo>
                      <a:pt x="155" y="217"/>
                    </a:lnTo>
                    <a:lnTo>
                      <a:pt x="155" y="217"/>
                    </a:lnTo>
                    <a:cubicBezTo>
                      <a:pt x="155" y="248"/>
                      <a:pt x="155" y="248"/>
                      <a:pt x="124" y="248"/>
                    </a:cubicBezTo>
                    <a:cubicBezTo>
                      <a:pt x="124" y="279"/>
                      <a:pt x="155" y="279"/>
                      <a:pt x="155" y="279"/>
                    </a:cubicBezTo>
                    <a:cubicBezTo>
                      <a:pt x="155" y="310"/>
                      <a:pt x="124" y="310"/>
                      <a:pt x="124" y="340"/>
                    </a:cubicBezTo>
                    <a:lnTo>
                      <a:pt x="93" y="340"/>
                    </a:lnTo>
                    <a:cubicBezTo>
                      <a:pt x="62" y="340"/>
                      <a:pt x="62" y="340"/>
                      <a:pt x="62" y="340"/>
                    </a:cubicBezTo>
                    <a:lnTo>
                      <a:pt x="62" y="340"/>
                    </a:lnTo>
                    <a:lnTo>
                      <a:pt x="31" y="340"/>
                    </a:lnTo>
                    <a:lnTo>
                      <a:pt x="31" y="340"/>
                    </a:lnTo>
                    <a:lnTo>
                      <a:pt x="31" y="340"/>
                    </a:lnTo>
                    <a:cubicBezTo>
                      <a:pt x="31" y="340"/>
                      <a:pt x="31" y="340"/>
                      <a:pt x="31" y="372"/>
                    </a:cubicBezTo>
                    <a:lnTo>
                      <a:pt x="31" y="372"/>
                    </a:lnTo>
                    <a:lnTo>
                      <a:pt x="31" y="372"/>
                    </a:lnTo>
                    <a:cubicBezTo>
                      <a:pt x="31" y="403"/>
                      <a:pt x="31" y="403"/>
                      <a:pt x="31" y="403"/>
                    </a:cubicBezTo>
                    <a:lnTo>
                      <a:pt x="31" y="403"/>
                    </a:lnTo>
                    <a:lnTo>
                      <a:pt x="31" y="434"/>
                    </a:lnTo>
                    <a:cubicBezTo>
                      <a:pt x="62" y="434"/>
                      <a:pt x="62" y="434"/>
                      <a:pt x="62" y="434"/>
                    </a:cubicBezTo>
                    <a:lnTo>
                      <a:pt x="62" y="434"/>
                    </a:lnTo>
                    <a:lnTo>
                      <a:pt x="62" y="464"/>
                    </a:lnTo>
                    <a:lnTo>
                      <a:pt x="62" y="464"/>
                    </a:lnTo>
                    <a:lnTo>
                      <a:pt x="62" y="464"/>
                    </a:lnTo>
                    <a:lnTo>
                      <a:pt x="62" y="464"/>
                    </a:lnTo>
                    <a:lnTo>
                      <a:pt x="62" y="464"/>
                    </a:lnTo>
                    <a:lnTo>
                      <a:pt x="62" y="496"/>
                    </a:lnTo>
                    <a:lnTo>
                      <a:pt x="62" y="496"/>
                    </a:lnTo>
                    <a:lnTo>
                      <a:pt x="62" y="496"/>
                    </a:lnTo>
                    <a:lnTo>
                      <a:pt x="62" y="496"/>
                    </a:lnTo>
                    <a:cubicBezTo>
                      <a:pt x="62" y="496"/>
                      <a:pt x="62" y="496"/>
                      <a:pt x="62" y="527"/>
                    </a:cubicBezTo>
                    <a:lnTo>
                      <a:pt x="62" y="527"/>
                    </a:lnTo>
                    <a:cubicBezTo>
                      <a:pt x="62" y="527"/>
                      <a:pt x="62" y="527"/>
                      <a:pt x="62" y="558"/>
                    </a:cubicBezTo>
                    <a:lnTo>
                      <a:pt x="62" y="558"/>
                    </a:lnTo>
                    <a:lnTo>
                      <a:pt x="62" y="558"/>
                    </a:lnTo>
                    <a:cubicBezTo>
                      <a:pt x="31" y="558"/>
                      <a:pt x="31" y="588"/>
                      <a:pt x="31" y="588"/>
                    </a:cubicBezTo>
                    <a:lnTo>
                      <a:pt x="0" y="588"/>
                    </a:lnTo>
                    <a:lnTo>
                      <a:pt x="0" y="620"/>
                    </a:lnTo>
                    <a:lnTo>
                      <a:pt x="0" y="620"/>
                    </a:lnTo>
                    <a:lnTo>
                      <a:pt x="0" y="620"/>
                    </a:lnTo>
                    <a:lnTo>
                      <a:pt x="0" y="620"/>
                    </a:lnTo>
                    <a:lnTo>
                      <a:pt x="0" y="620"/>
                    </a:lnTo>
                    <a:cubicBezTo>
                      <a:pt x="0" y="651"/>
                      <a:pt x="0" y="651"/>
                      <a:pt x="0" y="651"/>
                    </a:cubicBezTo>
                    <a:lnTo>
                      <a:pt x="0" y="682"/>
                    </a:lnTo>
                    <a:cubicBezTo>
                      <a:pt x="0" y="712"/>
                      <a:pt x="0" y="712"/>
                      <a:pt x="31" y="744"/>
                    </a:cubicBezTo>
                    <a:lnTo>
                      <a:pt x="31" y="744"/>
                    </a:lnTo>
                    <a:cubicBezTo>
                      <a:pt x="62" y="744"/>
                      <a:pt x="62" y="775"/>
                      <a:pt x="62" y="806"/>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61" name="Freeform 58"/>
              <p:cNvSpPr>
                <a:spLocks noChangeArrowheads="1"/>
              </p:cNvSpPr>
              <p:nvPr/>
            </p:nvSpPr>
            <p:spPr bwMode="auto">
              <a:xfrm>
                <a:off x="3792538" y="1390650"/>
                <a:ext cx="155575" cy="155575"/>
              </a:xfrm>
              <a:custGeom>
                <a:avLst/>
                <a:gdLst>
                  <a:gd name="T0" fmla="*/ 61 w 433"/>
                  <a:gd name="T1" fmla="*/ 155 h 434"/>
                  <a:gd name="T2" fmla="*/ 30 w 433"/>
                  <a:gd name="T3" fmla="*/ 185 h 434"/>
                  <a:gd name="T4" fmla="*/ 0 w 433"/>
                  <a:gd name="T5" fmla="*/ 217 h 434"/>
                  <a:gd name="T6" fmla="*/ 0 w 433"/>
                  <a:gd name="T7" fmla="*/ 248 h 434"/>
                  <a:gd name="T8" fmla="*/ 30 w 433"/>
                  <a:gd name="T9" fmla="*/ 248 h 434"/>
                  <a:gd name="T10" fmla="*/ 30 w 433"/>
                  <a:gd name="T11" fmla="*/ 279 h 434"/>
                  <a:gd name="T12" fmla="*/ 30 w 433"/>
                  <a:gd name="T13" fmla="*/ 309 h 434"/>
                  <a:gd name="T14" fmla="*/ 30 w 433"/>
                  <a:gd name="T15" fmla="*/ 341 h 434"/>
                  <a:gd name="T16" fmla="*/ 92 w 433"/>
                  <a:gd name="T17" fmla="*/ 309 h 434"/>
                  <a:gd name="T18" fmla="*/ 124 w 433"/>
                  <a:gd name="T19" fmla="*/ 372 h 434"/>
                  <a:gd name="T20" fmla="*/ 92 w 433"/>
                  <a:gd name="T21" fmla="*/ 403 h 434"/>
                  <a:gd name="T22" fmla="*/ 92 w 433"/>
                  <a:gd name="T23" fmla="*/ 433 h 434"/>
                  <a:gd name="T24" fmla="*/ 92 w 433"/>
                  <a:gd name="T25" fmla="*/ 433 h 434"/>
                  <a:gd name="T26" fmla="*/ 124 w 433"/>
                  <a:gd name="T27" fmla="*/ 403 h 434"/>
                  <a:gd name="T28" fmla="*/ 124 w 433"/>
                  <a:gd name="T29" fmla="*/ 403 h 434"/>
                  <a:gd name="T30" fmla="*/ 154 w 433"/>
                  <a:gd name="T31" fmla="*/ 433 h 434"/>
                  <a:gd name="T32" fmla="*/ 154 w 433"/>
                  <a:gd name="T33" fmla="*/ 433 h 434"/>
                  <a:gd name="T34" fmla="*/ 154 w 433"/>
                  <a:gd name="T35" fmla="*/ 433 h 434"/>
                  <a:gd name="T36" fmla="*/ 185 w 433"/>
                  <a:gd name="T37" fmla="*/ 433 h 434"/>
                  <a:gd name="T38" fmla="*/ 185 w 433"/>
                  <a:gd name="T39" fmla="*/ 433 h 434"/>
                  <a:gd name="T40" fmla="*/ 185 w 433"/>
                  <a:gd name="T41" fmla="*/ 433 h 434"/>
                  <a:gd name="T42" fmla="*/ 185 w 433"/>
                  <a:gd name="T43" fmla="*/ 433 h 434"/>
                  <a:gd name="T44" fmla="*/ 248 w 433"/>
                  <a:gd name="T45" fmla="*/ 433 h 434"/>
                  <a:gd name="T46" fmla="*/ 277 w 433"/>
                  <a:gd name="T47" fmla="*/ 433 h 434"/>
                  <a:gd name="T48" fmla="*/ 308 w 433"/>
                  <a:gd name="T49" fmla="*/ 433 h 434"/>
                  <a:gd name="T50" fmla="*/ 339 w 433"/>
                  <a:gd name="T51" fmla="*/ 403 h 434"/>
                  <a:gd name="T52" fmla="*/ 370 w 433"/>
                  <a:gd name="T53" fmla="*/ 372 h 434"/>
                  <a:gd name="T54" fmla="*/ 339 w 433"/>
                  <a:gd name="T55" fmla="*/ 372 h 434"/>
                  <a:gd name="T56" fmla="*/ 308 w 433"/>
                  <a:gd name="T57" fmla="*/ 341 h 434"/>
                  <a:gd name="T58" fmla="*/ 308 w 433"/>
                  <a:gd name="T59" fmla="*/ 309 h 434"/>
                  <a:gd name="T60" fmla="*/ 308 w 433"/>
                  <a:gd name="T61" fmla="*/ 279 h 434"/>
                  <a:gd name="T62" fmla="*/ 308 w 433"/>
                  <a:gd name="T63" fmla="*/ 248 h 434"/>
                  <a:gd name="T64" fmla="*/ 339 w 433"/>
                  <a:gd name="T65" fmla="*/ 248 h 434"/>
                  <a:gd name="T66" fmla="*/ 339 w 433"/>
                  <a:gd name="T67" fmla="*/ 248 h 434"/>
                  <a:gd name="T68" fmla="*/ 401 w 433"/>
                  <a:gd name="T69" fmla="*/ 217 h 434"/>
                  <a:gd name="T70" fmla="*/ 432 w 433"/>
                  <a:gd name="T71" fmla="*/ 217 h 434"/>
                  <a:gd name="T72" fmla="*/ 432 w 433"/>
                  <a:gd name="T73" fmla="*/ 185 h 434"/>
                  <a:gd name="T74" fmla="*/ 432 w 433"/>
                  <a:gd name="T75" fmla="*/ 155 h 434"/>
                  <a:gd name="T76" fmla="*/ 401 w 433"/>
                  <a:gd name="T77" fmla="*/ 124 h 434"/>
                  <a:gd name="T78" fmla="*/ 401 w 433"/>
                  <a:gd name="T79" fmla="*/ 93 h 434"/>
                  <a:gd name="T80" fmla="*/ 401 w 433"/>
                  <a:gd name="T81" fmla="*/ 61 h 434"/>
                  <a:gd name="T82" fmla="*/ 370 w 433"/>
                  <a:gd name="T83" fmla="*/ 31 h 434"/>
                  <a:gd name="T84" fmla="*/ 339 w 433"/>
                  <a:gd name="T85" fmla="*/ 31 h 434"/>
                  <a:gd name="T86" fmla="*/ 308 w 433"/>
                  <a:gd name="T87" fmla="*/ 61 h 434"/>
                  <a:gd name="T88" fmla="*/ 248 w 433"/>
                  <a:gd name="T89" fmla="*/ 31 h 434"/>
                  <a:gd name="T90" fmla="*/ 185 w 433"/>
                  <a:gd name="T91" fmla="*/ 0 h 434"/>
                  <a:gd name="T92" fmla="*/ 154 w 433"/>
                  <a:gd name="T93" fmla="*/ 0 h 434"/>
                  <a:gd name="T94" fmla="*/ 154 w 433"/>
                  <a:gd name="T95" fmla="*/ 61 h 434"/>
                  <a:gd name="T96" fmla="*/ 124 w 433"/>
                  <a:gd name="T97" fmla="*/ 61 h 434"/>
                  <a:gd name="T98" fmla="*/ 61 w 433"/>
                  <a:gd name="T99" fmla="*/ 61 h 434"/>
                  <a:gd name="T100" fmla="*/ 61 w 433"/>
                  <a:gd name="T101" fmla="*/ 93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3" h="434">
                    <a:moveTo>
                      <a:pt x="61" y="155"/>
                    </a:moveTo>
                    <a:lnTo>
                      <a:pt x="61" y="155"/>
                    </a:lnTo>
                    <a:lnTo>
                      <a:pt x="30" y="185"/>
                    </a:lnTo>
                    <a:lnTo>
                      <a:pt x="30" y="185"/>
                    </a:lnTo>
                    <a:cubicBezTo>
                      <a:pt x="30" y="185"/>
                      <a:pt x="30" y="185"/>
                      <a:pt x="0" y="185"/>
                    </a:cubicBezTo>
                    <a:cubicBezTo>
                      <a:pt x="0" y="217"/>
                      <a:pt x="0" y="217"/>
                      <a:pt x="0" y="217"/>
                    </a:cubicBezTo>
                    <a:lnTo>
                      <a:pt x="0" y="217"/>
                    </a:lnTo>
                    <a:cubicBezTo>
                      <a:pt x="0" y="217"/>
                      <a:pt x="0" y="217"/>
                      <a:pt x="0" y="248"/>
                    </a:cubicBezTo>
                    <a:lnTo>
                      <a:pt x="30" y="248"/>
                    </a:lnTo>
                    <a:lnTo>
                      <a:pt x="30" y="248"/>
                    </a:lnTo>
                    <a:lnTo>
                      <a:pt x="30" y="279"/>
                    </a:lnTo>
                    <a:lnTo>
                      <a:pt x="30" y="279"/>
                    </a:lnTo>
                    <a:cubicBezTo>
                      <a:pt x="30" y="279"/>
                      <a:pt x="30" y="279"/>
                      <a:pt x="30" y="309"/>
                    </a:cubicBezTo>
                    <a:lnTo>
                      <a:pt x="30" y="309"/>
                    </a:lnTo>
                    <a:lnTo>
                      <a:pt x="30" y="309"/>
                    </a:lnTo>
                    <a:cubicBezTo>
                      <a:pt x="30" y="309"/>
                      <a:pt x="30" y="309"/>
                      <a:pt x="30" y="341"/>
                    </a:cubicBezTo>
                    <a:lnTo>
                      <a:pt x="61" y="309"/>
                    </a:lnTo>
                    <a:cubicBezTo>
                      <a:pt x="61" y="309"/>
                      <a:pt x="61" y="309"/>
                      <a:pt x="92" y="309"/>
                    </a:cubicBezTo>
                    <a:lnTo>
                      <a:pt x="92" y="309"/>
                    </a:lnTo>
                    <a:cubicBezTo>
                      <a:pt x="124" y="341"/>
                      <a:pt x="124" y="341"/>
                      <a:pt x="124" y="372"/>
                    </a:cubicBezTo>
                    <a:cubicBezTo>
                      <a:pt x="124" y="372"/>
                      <a:pt x="124" y="372"/>
                      <a:pt x="92" y="403"/>
                    </a:cubicBezTo>
                    <a:lnTo>
                      <a:pt x="92" y="403"/>
                    </a:lnTo>
                    <a:cubicBezTo>
                      <a:pt x="92" y="403"/>
                      <a:pt x="92" y="403"/>
                      <a:pt x="92" y="433"/>
                    </a:cubicBezTo>
                    <a:lnTo>
                      <a:pt x="92" y="433"/>
                    </a:lnTo>
                    <a:lnTo>
                      <a:pt x="92" y="433"/>
                    </a:lnTo>
                    <a:lnTo>
                      <a:pt x="92" y="433"/>
                    </a:lnTo>
                    <a:lnTo>
                      <a:pt x="92" y="433"/>
                    </a:lnTo>
                    <a:cubicBezTo>
                      <a:pt x="92" y="403"/>
                      <a:pt x="124" y="403"/>
                      <a:pt x="124" y="403"/>
                    </a:cubicBezTo>
                    <a:lnTo>
                      <a:pt x="124" y="403"/>
                    </a:lnTo>
                    <a:lnTo>
                      <a:pt x="124" y="403"/>
                    </a:lnTo>
                    <a:cubicBezTo>
                      <a:pt x="154" y="403"/>
                      <a:pt x="154" y="403"/>
                      <a:pt x="154" y="433"/>
                    </a:cubicBezTo>
                    <a:lnTo>
                      <a:pt x="154" y="433"/>
                    </a:lnTo>
                    <a:lnTo>
                      <a:pt x="154" y="433"/>
                    </a:lnTo>
                    <a:lnTo>
                      <a:pt x="154" y="433"/>
                    </a:lnTo>
                    <a:lnTo>
                      <a:pt x="154" y="433"/>
                    </a:lnTo>
                    <a:lnTo>
                      <a:pt x="154" y="433"/>
                    </a:lnTo>
                    <a:lnTo>
                      <a:pt x="154" y="433"/>
                    </a:lnTo>
                    <a:cubicBezTo>
                      <a:pt x="185" y="433"/>
                      <a:pt x="185" y="433"/>
                      <a:pt x="185" y="433"/>
                    </a:cubicBezTo>
                    <a:lnTo>
                      <a:pt x="185" y="433"/>
                    </a:lnTo>
                    <a:lnTo>
                      <a:pt x="185" y="433"/>
                    </a:lnTo>
                    <a:lnTo>
                      <a:pt x="185" y="433"/>
                    </a:lnTo>
                    <a:lnTo>
                      <a:pt x="185" y="433"/>
                    </a:lnTo>
                    <a:lnTo>
                      <a:pt x="185" y="433"/>
                    </a:lnTo>
                    <a:lnTo>
                      <a:pt x="185" y="433"/>
                    </a:lnTo>
                    <a:cubicBezTo>
                      <a:pt x="185" y="433"/>
                      <a:pt x="185" y="433"/>
                      <a:pt x="216" y="433"/>
                    </a:cubicBezTo>
                    <a:lnTo>
                      <a:pt x="248" y="433"/>
                    </a:lnTo>
                    <a:cubicBezTo>
                      <a:pt x="248" y="433"/>
                      <a:pt x="247" y="433"/>
                      <a:pt x="277" y="433"/>
                    </a:cubicBezTo>
                    <a:lnTo>
                      <a:pt x="277" y="433"/>
                    </a:lnTo>
                    <a:cubicBezTo>
                      <a:pt x="308" y="433"/>
                      <a:pt x="308" y="433"/>
                      <a:pt x="308" y="433"/>
                    </a:cubicBezTo>
                    <a:lnTo>
                      <a:pt x="308" y="433"/>
                    </a:lnTo>
                    <a:lnTo>
                      <a:pt x="339" y="403"/>
                    </a:lnTo>
                    <a:lnTo>
                      <a:pt x="339" y="403"/>
                    </a:lnTo>
                    <a:lnTo>
                      <a:pt x="339" y="403"/>
                    </a:lnTo>
                    <a:cubicBezTo>
                      <a:pt x="339" y="403"/>
                      <a:pt x="339" y="372"/>
                      <a:pt x="370" y="372"/>
                    </a:cubicBezTo>
                    <a:lnTo>
                      <a:pt x="370" y="372"/>
                    </a:lnTo>
                    <a:cubicBezTo>
                      <a:pt x="339" y="372"/>
                      <a:pt x="339" y="372"/>
                      <a:pt x="339" y="372"/>
                    </a:cubicBezTo>
                    <a:lnTo>
                      <a:pt x="339" y="372"/>
                    </a:lnTo>
                    <a:cubicBezTo>
                      <a:pt x="308" y="341"/>
                      <a:pt x="308" y="341"/>
                      <a:pt x="308" y="341"/>
                    </a:cubicBezTo>
                    <a:lnTo>
                      <a:pt x="308" y="309"/>
                    </a:lnTo>
                    <a:lnTo>
                      <a:pt x="308" y="309"/>
                    </a:lnTo>
                    <a:lnTo>
                      <a:pt x="308" y="309"/>
                    </a:lnTo>
                    <a:lnTo>
                      <a:pt x="308" y="279"/>
                    </a:lnTo>
                    <a:lnTo>
                      <a:pt x="308" y="279"/>
                    </a:lnTo>
                    <a:lnTo>
                      <a:pt x="308" y="248"/>
                    </a:lnTo>
                    <a:lnTo>
                      <a:pt x="308" y="248"/>
                    </a:lnTo>
                    <a:lnTo>
                      <a:pt x="339" y="248"/>
                    </a:lnTo>
                    <a:lnTo>
                      <a:pt x="339" y="248"/>
                    </a:lnTo>
                    <a:lnTo>
                      <a:pt x="339" y="248"/>
                    </a:lnTo>
                    <a:cubicBezTo>
                      <a:pt x="370" y="217"/>
                      <a:pt x="370" y="217"/>
                      <a:pt x="401" y="217"/>
                    </a:cubicBezTo>
                    <a:lnTo>
                      <a:pt x="401" y="217"/>
                    </a:lnTo>
                    <a:cubicBezTo>
                      <a:pt x="401" y="217"/>
                      <a:pt x="401" y="217"/>
                      <a:pt x="432" y="217"/>
                    </a:cubicBezTo>
                    <a:lnTo>
                      <a:pt x="432" y="217"/>
                    </a:lnTo>
                    <a:cubicBezTo>
                      <a:pt x="432" y="185"/>
                      <a:pt x="432" y="185"/>
                      <a:pt x="432" y="185"/>
                    </a:cubicBezTo>
                    <a:lnTo>
                      <a:pt x="432" y="185"/>
                    </a:lnTo>
                    <a:lnTo>
                      <a:pt x="432" y="155"/>
                    </a:lnTo>
                    <a:lnTo>
                      <a:pt x="432" y="155"/>
                    </a:lnTo>
                    <a:lnTo>
                      <a:pt x="432" y="155"/>
                    </a:lnTo>
                    <a:cubicBezTo>
                      <a:pt x="401" y="155"/>
                      <a:pt x="401" y="124"/>
                      <a:pt x="401" y="124"/>
                    </a:cubicBezTo>
                    <a:lnTo>
                      <a:pt x="401" y="124"/>
                    </a:lnTo>
                    <a:cubicBezTo>
                      <a:pt x="401" y="93"/>
                      <a:pt x="401" y="93"/>
                      <a:pt x="401" y="93"/>
                    </a:cubicBezTo>
                    <a:lnTo>
                      <a:pt x="401" y="93"/>
                    </a:lnTo>
                    <a:lnTo>
                      <a:pt x="401" y="61"/>
                    </a:lnTo>
                    <a:lnTo>
                      <a:pt x="401" y="61"/>
                    </a:lnTo>
                    <a:cubicBezTo>
                      <a:pt x="401" y="61"/>
                      <a:pt x="370" y="61"/>
                      <a:pt x="370" y="31"/>
                    </a:cubicBezTo>
                    <a:lnTo>
                      <a:pt x="370" y="31"/>
                    </a:lnTo>
                    <a:lnTo>
                      <a:pt x="339" y="31"/>
                    </a:lnTo>
                    <a:lnTo>
                      <a:pt x="339" y="31"/>
                    </a:lnTo>
                    <a:cubicBezTo>
                      <a:pt x="339" y="31"/>
                      <a:pt x="339" y="31"/>
                      <a:pt x="308" y="61"/>
                    </a:cubicBezTo>
                    <a:cubicBezTo>
                      <a:pt x="277" y="61"/>
                      <a:pt x="277" y="61"/>
                      <a:pt x="248" y="61"/>
                    </a:cubicBezTo>
                    <a:cubicBezTo>
                      <a:pt x="248" y="61"/>
                      <a:pt x="248" y="61"/>
                      <a:pt x="248" y="31"/>
                    </a:cubicBezTo>
                    <a:cubicBezTo>
                      <a:pt x="216" y="31"/>
                      <a:pt x="216" y="31"/>
                      <a:pt x="216" y="31"/>
                    </a:cubicBezTo>
                    <a:cubicBezTo>
                      <a:pt x="216" y="31"/>
                      <a:pt x="185" y="31"/>
                      <a:pt x="185" y="0"/>
                    </a:cubicBezTo>
                    <a:cubicBezTo>
                      <a:pt x="185" y="0"/>
                      <a:pt x="185" y="0"/>
                      <a:pt x="154" y="0"/>
                    </a:cubicBezTo>
                    <a:lnTo>
                      <a:pt x="154" y="0"/>
                    </a:lnTo>
                    <a:cubicBezTo>
                      <a:pt x="154" y="31"/>
                      <a:pt x="154" y="31"/>
                      <a:pt x="154" y="61"/>
                    </a:cubicBezTo>
                    <a:lnTo>
                      <a:pt x="154" y="61"/>
                    </a:lnTo>
                    <a:cubicBezTo>
                      <a:pt x="124" y="61"/>
                      <a:pt x="124" y="61"/>
                      <a:pt x="124" y="61"/>
                    </a:cubicBezTo>
                    <a:lnTo>
                      <a:pt x="124" y="61"/>
                    </a:lnTo>
                    <a:cubicBezTo>
                      <a:pt x="124" y="93"/>
                      <a:pt x="124" y="93"/>
                      <a:pt x="92" y="93"/>
                    </a:cubicBezTo>
                    <a:cubicBezTo>
                      <a:pt x="92" y="93"/>
                      <a:pt x="92" y="93"/>
                      <a:pt x="61" y="61"/>
                    </a:cubicBezTo>
                    <a:lnTo>
                      <a:pt x="61" y="61"/>
                    </a:lnTo>
                    <a:cubicBezTo>
                      <a:pt x="61" y="93"/>
                      <a:pt x="61" y="93"/>
                      <a:pt x="61" y="93"/>
                    </a:cubicBezTo>
                    <a:cubicBezTo>
                      <a:pt x="61" y="124"/>
                      <a:pt x="61" y="124"/>
                      <a:pt x="61" y="1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62" name="Freeform 59"/>
              <p:cNvSpPr>
                <a:spLocks noChangeArrowheads="1"/>
              </p:cNvSpPr>
              <p:nvPr/>
            </p:nvSpPr>
            <p:spPr bwMode="auto">
              <a:xfrm>
                <a:off x="3959225" y="1390650"/>
                <a:ext cx="179388" cy="111125"/>
              </a:xfrm>
              <a:custGeom>
                <a:avLst/>
                <a:gdLst>
                  <a:gd name="T0" fmla="*/ 0 w 497"/>
                  <a:gd name="T1" fmla="*/ 124 h 310"/>
                  <a:gd name="T2" fmla="*/ 31 w 497"/>
                  <a:gd name="T3" fmla="*/ 155 h 310"/>
                  <a:gd name="T4" fmla="*/ 31 w 497"/>
                  <a:gd name="T5" fmla="*/ 185 h 310"/>
                  <a:gd name="T6" fmla="*/ 31 w 497"/>
                  <a:gd name="T7" fmla="*/ 185 h 310"/>
                  <a:gd name="T8" fmla="*/ 31 w 497"/>
                  <a:gd name="T9" fmla="*/ 185 h 310"/>
                  <a:gd name="T10" fmla="*/ 31 w 497"/>
                  <a:gd name="T11" fmla="*/ 217 h 310"/>
                  <a:gd name="T12" fmla="*/ 31 w 497"/>
                  <a:gd name="T13" fmla="*/ 217 h 310"/>
                  <a:gd name="T14" fmla="*/ 62 w 497"/>
                  <a:gd name="T15" fmla="*/ 217 h 310"/>
                  <a:gd name="T16" fmla="*/ 93 w 497"/>
                  <a:gd name="T17" fmla="*/ 217 h 310"/>
                  <a:gd name="T18" fmla="*/ 124 w 497"/>
                  <a:gd name="T19" fmla="*/ 248 h 310"/>
                  <a:gd name="T20" fmla="*/ 155 w 497"/>
                  <a:gd name="T21" fmla="*/ 248 h 310"/>
                  <a:gd name="T22" fmla="*/ 155 w 497"/>
                  <a:gd name="T23" fmla="*/ 248 h 310"/>
                  <a:gd name="T24" fmla="*/ 217 w 497"/>
                  <a:gd name="T25" fmla="*/ 279 h 310"/>
                  <a:gd name="T26" fmla="*/ 248 w 497"/>
                  <a:gd name="T27" fmla="*/ 309 h 310"/>
                  <a:gd name="T28" fmla="*/ 248 w 497"/>
                  <a:gd name="T29" fmla="*/ 309 h 310"/>
                  <a:gd name="T30" fmla="*/ 279 w 497"/>
                  <a:gd name="T31" fmla="*/ 309 h 310"/>
                  <a:gd name="T32" fmla="*/ 310 w 497"/>
                  <a:gd name="T33" fmla="*/ 309 h 310"/>
                  <a:gd name="T34" fmla="*/ 372 w 497"/>
                  <a:gd name="T35" fmla="*/ 309 h 310"/>
                  <a:gd name="T36" fmla="*/ 403 w 497"/>
                  <a:gd name="T37" fmla="*/ 309 h 310"/>
                  <a:gd name="T38" fmla="*/ 434 w 497"/>
                  <a:gd name="T39" fmla="*/ 279 h 310"/>
                  <a:gd name="T40" fmla="*/ 465 w 497"/>
                  <a:gd name="T41" fmla="*/ 248 h 310"/>
                  <a:gd name="T42" fmla="*/ 465 w 497"/>
                  <a:gd name="T43" fmla="*/ 248 h 310"/>
                  <a:gd name="T44" fmla="*/ 465 w 497"/>
                  <a:gd name="T45" fmla="*/ 217 h 310"/>
                  <a:gd name="T46" fmla="*/ 465 w 497"/>
                  <a:gd name="T47" fmla="*/ 185 h 310"/>
                  <a:gd name="T48" fmla="*/ 465 w 497"/>
                  <a:gd name="T49" fmla="*/ 185 h 310"/>
                  <a:gd name="T50" fmla="*/ 465 w 497"/>
                  <a:gd name="T51" fmla="*/ 185 h 310"/>
                  <a:gd name="T52" fmla="*/ 465 w 497"/>
                  <a:gd name="T53" fmla="*/ 155 h 310"/>
                  <a:gd name="T54" fmla="*/ 434 w 497"/>
                  <a:gd name="T55" fmla="*/ 155 h 310"/>
                  <a:gd name="T56" fmla="*/ 465 w 497"/>
                  <a:gd name="T57" fmla="*/ 124 h 310"/>
                  <a:gd name="T58" fmla="*/ 465 w 497"/>
                  <a:gd name="T59" fmla="*/ 93 h 310"/>
                  <a:gd name="T60" fmla="*/ 465 w 497"/>
                  <a:gd name="T61" fmla="*/ 93 h 310"/>
                  <a:gd name="T62" fmla="*/ 465 w 497"/>
                  <a:gd name="T63" fmla="*/ 61 h 310"/>
                  <a:gd name="T64" fmla="*/ 434 w 497"/>
                  <a:gd name="T65" fmla="*/ 31 h 310"/>
                  <a:gd name="T66" fmla="*/ 341 w 497"/>
                  <a:gd name="T67" fmla="*/ 31 h 310"/>
                  <a:gd name="T68" fmla="*/ 279 w 497"/>
                  <a:gd name="T69" fmla="*/ 31 h 310"/>
                  <a:gd name="T70" fmla="*/ 279 w 497"/>
                  <a:gd name="T71" fmla="*/ 31 h 310"/>
                  <a:gd name="T72" fmla="*/ 217 w 497"/>
                  <a:gd name="T73" fmla="*/ 0 h 310"/>
                  <a:gd name="T74" fmla="*/ 124 w 497"/>
                  <a:gd name="T75" fmla="*/ 31 h 310"/>
                  <a:gd name="T76" fmla="*/ 124 w 497"/>
                  <a:gd name="T77" fmla="*/ 0 h 310"/>
                  <a:gd name="T78" fmla="*/ 62 w 497"/>
                  <a:gd name="T79" fmla="*/ 61 h 310"/>
                  <a:gd name="T80" fmla="*/ 0 w 497"/>
                  <a:gd name="T81" fmla="*/ 61 h 310"/>
                  <a:gd name="T82" fmla="*/ 0 w 497"/>
                  <a:gd name="T83" fmla="*/ 93 h 310"/>
                  <a:gd name="T84" fmla="*/ 0 w 497"/>
                  <a:gd name="T85" fmla="*/ 12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310">
                    <a:moveTo>
                      <a:pt x="0" y="124"/>
                    </a:moveTo>
                    <a:lnTo>
                      <a:pt x="0" y="124"/>
                    </a:lnTo>
                    <a:lnTo>
                      <a:pt x="0" y="124"/>
                    </a:lnTo>
                    <a:lnTo>
                      <a:pt x="31" y="155"/>
                    </a:lnTo>
                    <a:lnTo>
                      <a:pt x="31" y="185"/>
                    </a:lnTo>
                    <a:lnTo>
                      <a:pt x="31" y="185"/>
                    </a:lnTo>
                    <a:lnTo>
                      <a:pt x="31" y="185"/>
                    </a:lnTo>
                    <a:lnTo>
                      <a:pt x="31" y="185"/>
                    </a:lnTo>
                    <a:lnTo>
                      <a:pt x="31" y="185"/>
                    </a:lnTo>
                    <a:lnTo>
                      <a:pt x="31" y="185"/>
                    </a:lnTo>
                    <a:lnTo>
                      <a:pt x="31" y="185"/>
                    </a:lnTo>
                    <a:cubicBezTo>
                      <a:pt x="31" y="217"/>
                      <a:pt x="31" y="217"/>
                      <a:pt x="31" y="217"/>
                    </a:cubicBezTo>
                    <a:lnTo>
                      <a:pt x="31" y="217"/>
                    </a:lnTo>
                    <a:lnTo>
                      <a:pt x="31" y="217"/>
                    </a:lnTo>
                    <a:lnTo>
                      <a:pt x="31" y="217"/>
                    </a:lnTo>
                    <a:cubicBezTo>
                      <a:pt x="31" y="217"/>
                      <a:pt x="31" y="217"/>
                      <a:pt x="62" y="217"/>
                    </a:cubicBezTo>
                    <a:lnTo>
                      <a:pt x="62" y="217"/>
                    </a:lnTo>
                    <a:lnTo>
                      <a:pt x="93" y="217"/>
                    </a:lnTo>
                    <a:lnTo>
                      <a:pt x="93" y="248"/>
                    </a:lnTo>
                    <a:cubicBezTo>
                      <a:pt x="124" y="248"/>
                      <a:pt x="124" y="248"/>
                      <a:pt x="124" y="248"/>
                    </a:cubicBezTo>
                    <a:lnTo>
                      <a:pt x="124" y="248"/>
                    </a:lnTo>
                    <a:lnTo>
                      <a:pt x="155" y="248"/>
                    </a:lnTo>
                    <a:lnTo>
                      <a:pt x="155" y="248"/>
                    </a:lnTo>
                    <a:lnTo>
                      <a:pt x="155" y="248"/>
                    </a:lnTo>
                    <a:cubicBezTo>
                      <a:pt x="186" y="248"/>
                      <a:pt x="186" y="248"/>
                      <a:pt x="186" y="248"/>
                    </a:cubicBezTo>
                    <a:lnTo>
                      <a:pt x="217" y="279"/>
                    </a:lnTo>
                    <a:cubicBezTo>
                      <a:pt x="217" y="309"/>
                      <a:pt x="217" y="309"/>
                      <a:pt x="217" y="309"/>
                    </a:cubicBezTo>
                    <a:cubicBezTo>
                      <a:pt x="248" y="309"/>
                      <a:pt x="248" y="309"/>
                      <a:pt x="248" y="309"/>
                    </a:cubicBezTo>
                    <a:lnTo>
                      <a:pt x="248" y="309"/>
                    </a:lnTo>
                    <a:lnTo>
                      <a:pt x="248" y="309"/>
                    </a:lnTo>
                    <a:lnTo>
                      <a:pt x="279" y="309"/>
                    </a:lnTo>
                    <a:lnTo>
                      <a:pt x="279" y="309"/>
                    </a:lnTo>
                    <a:cubicBezTo>
                      <a:pt x="279" y="309"/>
                      <a:pt x="279" y="309"/>
                      <a:pt x="310" y="309"/>
                    </a:cubicBezTo>
                    <a:lnTo>
                      <a:pt x="310" y="309"/>
                    </a:lnTo>
                    <a:cubicBezTo>
                      <a:pt x="341" y="309"/>
                      <a:pt x="341" y="309"/>
                      <a:pt x="341" y="309"/>
                    </a:cubicBezTo>
                    <a:lnTo>
                      <a:pt x="372" y="309"/>
                    </a:lnTo>
                    <a:lnTo>
                      <a:pt x="372" y="309"/>
                    </a:lnTo>
                    <a:cubicBezTo>
                      <a:pt x="403" y="309"/>
                      <a:pt x="403" y="309"/>
                      <a:pt x="403" y="309"/>
                    </a:cubicBezTo>
                    <a:lnTo>
                      <a:pt x="403" y="309"/>
                    </a:lnTo>
                    <a:lnTo>
                      <a:pt x="434" y="279"/>
                    </a:lnTo>
                    <a:cubicBezTo>
                      <a:pt x="465" y="248"/>
                      <a:pt x="465" y="248"/>
                      <a:pt x="465" y="248"/>
                    </a:cubicBezTo>
                    <a:lnTo>
                      <a:pt x="465" y="248"/>
                    </a:lnTo>
                    <a:lnTo>
                      <a:pt x="496" y="248"/>
                    </a:lnTo>
                    <a:cubicBezTo>
                      <a:pt x="465" y="248"/>
                      <a:pt x="465" y="248"/>
                      <a:pt x="465" y="248"/>
                    </a:cubicBezTo>
                    <a:cubicBezTo>
                      <a:pt x="465" y="217"/>
                      <a:pt x="465" y="217"/>
                      <a:pt x="465" y="217"/>
                    </a:cubicBezTo>
                    <a:lnTo>
                      <a:pt x="465" y="217"/>
                    </a:lnTo>
                    <a:lnTo>
                      <a:pt x="465" y="217"/>
                    </a:lnTo>
                    <a:lnTo>
                      <a:pt x="465" y="185"/>
                    </a:lnTo>
                    <a:lnTo>
                      <a:pt x="465" y="185"/>
                    </a:lnTo>
                    <a:lnTo>
                      <a:pt x="465" y="185"/>
                    </a:lnTo>
                    <a:lnTo>
                      <a:pt x="465" y="185"/>
                    </a:lnTo>
                    <a:lnTo>
                      <a:pt x="465" y="185"/>
                    </a:lnTo>
                    <a:lnTo>
                      <a:pt x="465" y="185"/>
                    </a:lnTo>
                    <a:cubicBezTo>
                      <a:pt x="465" y="185"/>
                      <a:pt x="465" y="185"/>
                      <a:pt x="465" y="155"/>
                    </a:cubicBezTo>
                    <a:cubicBezTo>
                      <a:pt x="434" y="155"/>
                      <a:pt x="434" y="155"/>
                      <a:pt x="434" y="155"/>
                    </a:cubicBezTo>
                    <a:lnTo>
                      <a:pt x="434" y="155"/>
                    </a:lnTo>
                    <a:cubicBezTo>
                      <a:pt x="434" y="124"/>
                      <a:pt x="434" y="124"/>
                      <a:pt x="465" y="124"/>
                    </a:cubicBezTo>
                    <a:lnTo>
                      <a:pt x="465" y="124"/>
                    </a:lnTo>
                    <a:lnTo>
                      <a:pt x="465" y="124"/>
                    </a:lnTo>
                    <a:cubicBezTo>
                      <a:pt x="465" y="93"/>
                      <a:pt x="465" y="93"/>
                      <a:pt x="465" y="93"/>
                    </a:cubicBezTo>
                    <a:lnTo>
                      <a:pt x="465" y="93"/>
                    </a:lnTo>
                    <a:lnTo>
                      <a:pt x="465" y="93"/>
                    </a:lnTo>
                    <a:lnTo>
                      <a:pt x="465" y="93"/>
                    </a:lnTo>
                    <a:cubicBezTo>
                      <a:pt x="465" y="61"/>
                      <a:pt x="465" y="61"/>
                      <a:pt x="465" y="61"/>
                    </a:cubicBezTo>
                    <a:cubicBezTo>
                      <a:pt x="465" y="61"/>
                      <a:pt x="465" y="61"/>
                      <a:pt x="434" y="61"/>
                    </a:cubicBezTo>
                    <a:lnTo>
                      <a:pt x="434" y="31"/>
                    </a:lnTo>
                    <a:cubicBezTo>
                      <a:pt x="403" y="31"/>
                      <a:pt x="403" y="31"/>
                      <a:pt x="372" y="31"/>
                    </a:cubicBezTo>
                    <a:cubicBezTo>
                      <a:pt x="372" y="31"/>
                      <a:pt x="372" y="31"/>
                      <a:pt x="341" y="31"/>
                    </a:cubicBezTo>
                    <a:lnTo>
                      <a:pt x="310" y="31"/>
                    </a:lnTo>
                    <a:lnTo>
                      <a:pt x="279" y="31"/>
                    </a:lnTo>
                    <a:lnTo>
                      <a:pt x="279" y="31"/>
                    </a:lnTo>
                    <a:lnTo>
                      <a:pt x="279" y="31"/>
                    </a:lnTo>
                    <a:cubicBezTo>
                      <a:pt x="248" y="31"/>
                      <a:pt x="248" y="31"/>
                      <a:pt x="217" y="0"/>
                    </a:cubicBezTo>
                    <a:lnTo>
                      <a:pt x="217" y="0"/>
                    </a:lnTo>
                    <a:cubicBezTo>
                      <a:pt x="217" y="0"/>
                      <a:pt x="217" y="0"/>
                      <a:pt x="186" y="0"/>
                    </a:cubicBezTo>
                    <a:cubicBezTo>
                      <a:pt x="186" y="0"/>
                      <a:pt x="155" y="31"/>
                      <a:pt x="124" y="31"/>
                    </a:cubicBezTo>
                    <a:cubicBezTo>
                      <a:pt x="124" y="31"/>
                      <a:pt x="124" y="31"/>
                      <a:pt x="124" y="0"/>
                    </a:cubicBezTo>
                    <a:lnTo>
                      <a:pt x="124" y="0"/>
                    </a:lnTo>
                    <a:cubicBezTo>
                      <a:pt x="93" y="0"/>
                      <a:pt x="93" y="0"/>
                      <a:pt x="93" y="31"/>
                    </a:cubicBezTo>
                    <a:cubicBezTo>
                      <a:pt x="93" y="61"/>
                      <a:pt x="62" y="61"/>
                      <a:pt x="62" y="61"/>
                    </a:cubicBezTo>
                    <a:cubicBezTo>
                      <a:pt x="31" y="61"/>
                      <a:pt x="31" y="61"/>
                      <a:pt x="31" y="61"/>
                    </a:cubicBezTo>
                    <a:lnTo>
                      <a:pt x="0" y="61"/>
                    </a:lnTo>
                    <a:lnTo>
                      <a:pt x="0" y="61"/>
                    </a:lnTo>
                    <a:cubicBezTo>
                      <a:pt x="0" y="61"/>
                      <a:pt x="0" y="61"/>
                      <a:pt x="0" y="93"/>
                    </a:cubicBezTo>
                    <a:lnTo>
                      <a:pt x="0" y="93"/>
                    </a:lnTo>
                    <a:lnTo>
                      <a:pt x="0" y="12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63" name="Freeform 60"/>
              <p:cNvSpPr>
                <a:spLocks noChangeArrowheads="1"/>
              </p:cNvSpPr>
              <p:nvPr/>
            </p:nvSpPr>
            <p:spPr bwMode="auto">
              <a:xfrm>
                <a:off x="4081463" y="1546225"/>
                <a:ext cx="157162" cy="88900"/>
              </a:xfrm>
              <a:custGeom>
                <a:avLst/>
                <a:gdLst>
                  <a:gd name="T0" fmla="*/ 310 w 435"/>
                  <a:gd name="T1" fmla="*/ 0 h 249"/>
                  <a:gd name="T2" fmla="*/ 248 w 435"/>
                  <a:gd name="T3" fmla="*/ 32 h 249"/>
                  <a:gd name="T4" fmla="*/ 248 w 435"/>
                  <a:gd name="T5" fmla="*/ 32 h 249"/>
                  <a:gd name="T6" fmla="*/ 217 w 435"/>
                  <a:gd name="T7" fmla="*/ 32 h 249"/>
                  <a:gd name="T8" fmla="*/ 185 w 435"/>
                  <a:gd name="T9" fmla="*/ 32 h 249"/>
                  <a:gd name="T10" fmla="*/ 155 w 435"/>
                  <a:gd name="T11" fmla="*/ 32 h 249"/>
                  <a:gd name="T12" fmla="*/ 124 w 435"/>
                  <a:gd name="T13" fmla="*/ 0 h 249"/>
                  <a:gd name="T14" fmla="*/ 93 w 435"/>
                  <a:gd name="T15" fmla="*/ 32 h 249"/>
                  <a:gd name="T16" fmla="*/ 62 w 435"/>
                  <a:gd name="T17" fmla="*/ 63 h 249"/>
                  <a:gd name="T18" fmla="*/ 0 w 435"/>
                  <a:gd name="T19" fmla="*/ 124 h 249"/>
                  <a:gd name="T20" fmla="*/ 62 w 435"/>
                  <a:gd name="T21" fmla="*/ 187 h 249"/>
                  <a:gd name="T22" fmla="*/ 62 w 435"/>
                  <a:gd name="T23" fmla="*/ 187 h 249"/>
                  <a:gd name="T24" fmla="*/ 93 w 435"/>
                  <a:gd name="T25" fmla="*/ 187 h 249"/>
                  <a:gd name="T26" fmla="*/ 93 w 435"/>
                  <a:gd name="T27" fmla="*/ 187 h 249"/>
                  <a:gd name="T28" fmla="*/ 124 w 435"/>
                  <a:gd name="T29" fmla="*/ 187 h 249"/>
                  <a:gd name="T30" fmla="*/ 124 w 435"/>
                  <a:gd name="T31" fmla="*/ 218 h 249"/>
                  <a:gd name="T32" fmla="*/ 124 w 435"/>
                  <a:gd name="T33" fmla="*/ 248 h 249"/>
                  <a:gd name="T34" fmla="*/ 185 w 435"/>
                  <a:gd name="T35" fmla="*/ 248 h 249"/>
                  <a:gd name="T36" fmla="*/ 185 w 435"/>
                  <a:gd name="T37" fmla="*/ 248 h 249"/>
                  <a:gd name="T38" fmla="*/ 217 w 435"/>
                  <a:gd name="T39" fmla="*/ 248 h 249"/>
                  <a:gd name="T40" fmla="*/ 248 w 435"/>
                  <a:gd name="T41" fmla="*/ 248 h 249"/>
                  <a:gd name="T42" fmla="*/ 248 w 435"/>
                  <a:gd name="T43" fmla="*/ 248 h 249"/>
                  <a:gd name="T44" fmla="*/ 279 w 435"/>
                  <a:gd name="T45" fmla="*/ 218 h 249"/>
                  <a:gd name="T46" fmla="*/ 341 w 435"/>
                  <a:gd name="T47" fmla="*/ 218 h 249"/>
                  <a:gd name="T48" fmla="*/ 403 w 435"/>
                  <a:gd name="T49" fmla="*/ 248 h 249"/>
                  <a:gd name="T50" fmla="*/ 434 w 435"/>
                  <a:gd name="T51" fmla="*/ 187 h 249"/>
                  <a:gd name="T52" fmla="*/ 372 w 435"/>
                  <a:gd name="T53" fmla="*/ 156 h 249"/>
                  <a:gd name="T54" fmla="*/ 372 w 435"/>
                  <a:gd name="T55" fmla="*/ 124 h 249"/>
                  <a:gd name="T56" fmla="*/ 372 w 435"/>
                  <a:gd name="T57" fmla="*/ 94 h 249"/>
                  <a:gd name="T58" fmla="*/ 372 w 435"/>
                  <a:gd name="T59" fmla="*/ 63 h 249"/>
                  <a:gd name="T60" fmla="*/ 372 w 435"/>
                  <a:gd name="T61" fmla="*/ 63 h 249"/>
                  <a:gd name="T62" fmla="*/ 310 w 435"/>
                  <a:gd name="T63"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5" h="249">
                    <a:moveTo>
                      <a:pt x="310" y="0"/>
                    </a:moveTo>
                    <a:lnTo>
                      <a:pt x="310" y="0"/>
                    </a:lnTo>
                    <a:cubicBezTo>
                      <a:pt x="310" y="32"/>
                      <a:pt x="279" y="32"/>
                      <a:pt x="279" y="32"/>
                    </a:cubicBezTo>
                    <a:cubicBezTo>
                      <a:pt x="248" y="32"/>
                      <a:pt x="248" y="32"/>
                      <a:pt x="248" y="32"/>
                    </a:cubicBezTo>
                    <a:lnTo>
                      <a:pt x="248" y="32"/>
                    </a:lnTo>
                    <a:lnTo>
                      <a:pt x="248" y="32"/>
                    </a:lnTo>
                    <a:lnTo>
                      <a:pt x="217" y="32"/>
                    </a:lnTo>
                    <a:lnTo>
                      <a:pt x="217" y="32"/>
                    </a:lnTo>
                    <a:cubicBezTo>
                      <a:pt x="217" y="32"/>
                      <a:pt x="217" y="32"/>
                      <a:pt x="185" y="32"/>
                    </a:cubicBezTo>
                    <a:lnTo>
                      <a:pt x="185" y="32"/>
                    </a:lnTo>
                    <a:lnTo>
                      <a:pt x="185" y="32"/>
                    </a:lnTo>
                    <a:cubicBezTo>
                      <a:pt x="155" y="32"/>
                      <a:pt x="155" y="32"/>
                      <a:pt x="155" y="32"/>
                    </a:cubicBezTo>
                    <a:cubicBezTo>
                      <a:pt x="124" y="32"/>
                      <a:pt x="124" y="0"/>
                      <a:pt x="124" y="0"/>
                    </a:cubicBezTo>
                    <a:lnTo>
                      <a:pt x="124" y="0"/>
                    </a:lnTo>
                    <a:cubicBezTo>
                      <a:pt x="93" y="32"/>
                      <a:pt x="93" y="32"/>
                      <a:pt x="93" y="32"/>
                    </a:cubicBezTo>
                    <a:lnTo>
                      <a:pt x="93" y="32"/>
                    </a:lnTo>
                    <a:lnTo>
                      <a:pt x="62" y="63"/>
                    </a:lnTo>
                    <a:lnTo>
                      <a:pt x="62" y="63"/>
                    </a:lnTo>
                    <a:cubicBezTo>
                      <a:pt x="31" y="94"/>
                      <a:pt x="31" y="124"/>
                      <a:pt x="0" y="124"/>
                    </a:cubicBezTo>
                    <a:lnTo>
                      <a:pt x="0" y="124"/>
                    </a:lnTo>
                    <a:cubicBezTo>
                      <a:pt x="31" y="124"/>
                      <a:pt x="31" y="156"/>
                      <a:pt x="31" y="156"/>
                    </a:cubicBezTo>
                    <a:lnTo>
                      <a:pt x="62" y="187"/>
                    </a:lnTo>
                    <a:lnTo>
                      <a:pt x="62" y="187"/>
                    </a:lnTo>
                    <a:lnTo>
                      <a:pt x="62" y="187"/>
                    </a:lnTo>
                    <a:cubicBezTo>
                      <a:pt x="62" y="124"/>
                      <a:pt x="62" y="124"/>
                      <a:pt x="62" y="124"/>
                    </a:cubicBezTo>
                    <a:cubicBezTo>
                      <a:pt x="93" y="187"/>
                      <a:pt x="93" y="187"/>
                      <a:pt x="93" y="187"/>
                    </a:cubicBezTo>
                    <a:lnTo>
                      <a:pt x="93" y="187"/>
                    </a:lnTo>
                    <a:lnTo>
                      <a:pt x="93" y="187"/>
                    </a:lnTo>
                    <a:cubicBezTo>
                      <a:pt x="93" y="187"/>
                      <a:pt x="93" y="187"/>
                      <a:pt x="124" y="187"/>
                    </a:cubicBezTo>
                    <a:lnTo>
                      <a:pt x="124" y="187"/>
                    </a:lnTo>
                    <a:lnTo>
                      <a:pt x="124" y="218"/>
                    </a:lnTo>
                    <a:lnTo>
                      <a:pt x="124" y="218"/>
                    </a:lnTo>
                    <a:cubicBezTo>
                      <a:pt x="124" y="218"/>
                      <a:pt x="124" y="218"/>
                      <a:pt x="124" y="248"/>
                    </a:cubicBezTo>
                    <a:lnTo>
                      <a:pt x="124" y="248"/>
                    </a:lnTo>
                    <a:lnTo>
                      <a:pt x="155" y="248"/>
                    </a:lnTo>
                    <a:lnTo>
                      <a:pt x="185" y="248"/>
                    </a:lnTo>
                    <a:lnTo>
                      <a:pt x="185" y="248"/>
                    </a:lnTo>
                    <a:lnTo>
                      <a:pt x="185" y="248"/>
                    </a:lnTo>
                    <a:lnTo>
                      <a:pt x="185" y="248"/>
                    </a:lnTo>
                    <a:lnTo>
                      <a:pt x="217" y="248"/>
                    </a:lnTo>
                    <a:cubicBezTo>
                      <a:pt x="217" y="248"/>
                      <a:pt x="217" y="248"/>
                      <a:pt x="248" y="248"/>
                    </a:cubicBezTo>
                    <a:lnTo>
                      <a:pt x="248" y="248"/>
                    </a:lnTo>
                    <a:lnTo>
                      <a:pt x="248" y="248"/>
                    </a:lnTo>
                    <a:lnTo>
                      <a:pt x="248" y="248"/>
                    </a:lnTo>
                    <a:cubicBezTo>
                      <a:pt x="248" y="248"/>
                      <a:pt x="248" y="248"/>
                      <a:pt x="248" y="218"/>
                    </a:cubicBezTo>
                    <a:cubicBezTo>
                      <a:pt x="279" y="218"/>
                      <a:pt x="279" y="218"/>
                      <a:pt x="279" y="218"/>
                    </a:cubicBezTo>
                    <a:lnTo>
                      <a:pt x="279" y="218"/>
                    </a:lnTo>
                    <a:cubicBezTo>
                      <a:pt x="279" y="218"/>
                      <a:pt x="310" y="218"/>
                      <a:pt x="341" y="218"/>
                    </a:cubicBezTo>
                    <a:cubicBezTo>
                      <a:pt x="372" y="218"/>
                      <a:pt x="372" y="218"/>
                      <a:pt x="403" y="218"/>
                    </a:cubicBezTo>
                    <a:cubicBezTo>
                      <a:pt x="403" y="248"/>
                      <a:pt x="403" y="248"/>
                      <a:pt x="403" y="248"/>
                    </a:cubicBezTo>
                    <a:cubicBezTo>
                      <a:pt x="403" y="218"/>
                      <a:pt x="403" y="218"/>
                      <a:pt x="434" y="218"/>
                    </a:cubicBezTo>
                    <a:cubicBezTo>
                      <a:pt x="434" y="187"/>
                      <a:pt x="434" y="187"/>
                      <a:pt x="434" y="187"/>
                    </a:cubicBezTo>
                    <a:cubicBezTo>
                      <a:pt x="403" y="187"/>
                      <a:pt x="403" y="187"/>
                      <a:pt x="403" y="187"/>
                    </a:cubicBezTo>
                    <a:cubicBezTo>
                      <a:pt x="372" y="187"/>
                      <a:pt x="372" y="187"/>
                      <a:pt x="372" y="156"/>
                    </a:cubicBezTo>
                    <a:lnTo>
                      <a:pt x="372" y="124"/>
                    </a:lnTo>
                    <a:lnTo>
                      <a:pt x="372" y="124"/>
                    </a:lnTo>
                    <a:lnTo>
                      <a:pt x="372" y="94"/>
                    </a:lnTo>
                    <a:lnTo>
                      <a:pt x="372" y="94"/>
                    </a:lnTo>
                    <a:lnTo>
                      <a:pt x="372" y="63"/>
                    </a:lnTo>
                    <a:lnTo>
                      <a:pt x="372" y="63"/>
                    </a:lnTo>
                    <a:lnTo>
                      <a:pt x="372" y="63"/>
                    </a:lnTo>
                    <a:lnTo>
                      <a:pt x="372" y="63"/>
                    </a:lnTo>
                    <a:cubicBezTo>
                      <a:pt x="341" y="63"/>
                      <a:pt x="341" y="63"/>
                      <a:pt x="341" y="32"/>
                    </a:cubicBezTo>
                    <a:cubicBezTo>
                      <a:pt x="341" y="32"/>
                      <a:pt x="341" y="32"/>
                      <a:pt x="31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64" name="Freeform 61"/>
              <p:cNvSpPr>
                <a:spLocks noChangeArrowheads="1"/>
              </p:cNvSpPr>
              <p:nvPr/>
            </p:nvSpPr>
            <p:spPr bwMode="auto">
              <a:xfrm>
                <a:off x="3490913" y="1646238"/>
                <a:ext cx="223837" cy="155575"/>
              </a:xfrm>
              <a:custGeom>
                <a:avLst/>
                <a:gdLst>
                  <a:gd name="T0" fmla="*/ 217 w 621"/>
                  <a:gd name="T1" fmla="*/ 403 h 434"/>
                  <a:gd name="T2" fmla="*/ 342 w 621"/>
                  <a:gd name="T3" fmla="*/ 403 h 434"/>
                  <a:gd name="T4" fmla="*/ 342 w 621"/>
                  <a:gd name="T5" fmla="*/ 403 h 434"/>
                  <a:gd name="T6" fmla="*/ 403 w 621"/>
                  <a:gd name="T7" fmla="*/ 372 h 434"/>
                  <a:gd name="T8" fmla="*/ 466 w 621"/>
                  <a:gd name="T9" fmla="*/ 309 h 434"/>
                  <a:gd name="T10" fmla="*/ 466 w 621"/>
                  <a:gd name="T11" fmla="*/ 216 h 434"/>
                  <a:gd name="T12" fmla="*/ 558 w 621"/>
                  <a:gd name="T13" fmla="*/ 124 h 434"/>
                  <a:gd name="T14" fmla="*/ 620 w 621"/>
                  <a:gd name="T15" fmla="*/ 92 h 434"/>
                  <a:gd name="T16" fmla="*/ 590 w 621"/>
                  <a:gd name="T17" fmla="*/ 92 h 434"/>
                  <a:gd name="T18" fmla="*/ 590 w 621"/>
                  <a:gd name="T19" fmla="*/ 92 h 434"/>
                  <a:gd name="T20" fmla="*/ 558 w 621"/>
                  <a:gd name="T21" fmla="*/ 61 h 434"/>
                  <a:gd name="T22" fmla="*/ 466 w 621"/>
                  <a:gd name="T23" fmla="*/ 61 h 434"/>
                  <a:gd name="T24" fmla="*/ 434 w 621"/>
                  <a:gd name="T25" fmla="*/ 61 h 434"/>
                  <a:gd name="T26" fmla="*/ 403 w 621"/>
                  <a:gd name="T27" fmla="*/ 61 h 434"/>
                  <a:gd name="T28" fmla="*/ 403 w 621"/>
                  <a:gd name="T29" fmla="*/ 31 h 434"/>
                  <a:gd name="T30" fmla="*/ 342 w 621"/>
                  <a:gd name="T31" fmla="*/ 31 h 434"/>
                  <a:gd name="T32" fmla="*/ 279 w 621"/>
                  <a:gd name="T33" fmla="*/ 31 h 434"/>
                  <a:gd name="T34" fmla="*/ 248 w 621"/>
                  <a:gd name="T35" fmla="*/ 31 h 434"/>
                  <a:gd name="T36" fmla="*/ 186 w 621"/>
                  <a:gd name="T37" fmla="*/ 31 h 434"/>
                  <a:gd name="T38" fmla="*/ 186 w 621"/>
                  <a:gd name="T39" fmla="*/ 0 h 434"/>
                  <a:gd name="T40" fmla="*/ 94 w 621"/>
                  <a:gd name="T41" fmla="*/ 31 h 434"/>
                  <a:gd name="T42" fmla="*/ 31 w 621"/>
                  <a:gd name="T43" fmla="*/ 0 h 434"/>
                  <a:gd name="T44" fmla="*/ 0 w 621"/>
                  <a:gd name="T45" fmla="*/ 31 h 434"/>
                  <a:gd name="T46" fmla="*/ 31 w 621"/>
                  <a:gd name="T47" fmla="*/ 61 h 434"/>
                  <a:gd name="T48" fmla="*/ 31 w 621"/>
                  <a:gd name="T49" fmla="*/ 61 h 434"/>
                  <a:gd name="T50" fmla="*/ 62 w 621"/>
                  <a:gd name="T51" fmla="*/ 61 h 434"/>
                  <a:gd name="T52" fmla="*/ 94 w 621"/>
                  <a:gd name="T53" fmla="*/ 61 h 434"/>
                  <a:gd name="T54" fmla="*/ 124 w 621"/>
                  <a:gd name="T55" fmla="*/ 61 h 434"/>
                  <a:gd name="T56" fmla="*/ 124 w 621"/>
                  <a:gd name="T57" fmla="*/ 61 h 434"/>
                  <a:gd name="T58" fmla="*/ 124 w 621"/>
                  <a:gd name="T59" fmla="*/ 92 h 434"/>
                  <a:gd name="T60" fmla="*/ 155 w 621"/>
                  <a:gd name="T61" fmla="*/ 124 h 434"/>
                  <a:gd name="T62" fmla="*/ 124 w 621"/>
                  <a:gd name="T63" fmla="*/ 155 h 434"/>
                  <a:gd name="T64" fmla="*/ 124 w 621"/>
                  <a:gd name="T65" fmla="*/ 155 h 434"/>
                  <a:gd name="T66" fmla="*/ 124 w 621"/>
                  <a:gd name="T67" fmla="*/ 185 h 434"/>
                  <a:gd name="T68" fmla="*/ 124 w 621"/>
                  <a:gd name="T69" fmla="*/ 248 h 434"/>
                  <a:gd name="T70" fmla="*/ 124 w 621"/>
                  <a:gd name="T71" fmla="*/ 279 h 434"/>
                  <a:gd name="T72" fmla="*/ 94 w 621"/>
                  <a:gd name="T73" fmla="*/ 309 h 434"/>
                  <a:gd name="T74" fmla="*/ 124 w 621"/>
                  <a:gd name="T75" fmla="*/ 340 h 434"/>
                  <a:gd name="T76" fmla="*/ 94 w 621"/>
                  <a:gd name="T77" fmla="*/ 372 h 434"/>
                  <a:gd name="T78" fmla="*/ 186 w 621"/>
                  <a:gd name="T79" fmla="*/ 433 h 434"/>
                  <a:gd name="T80" fmla="*/ 217 w 621"/>
                  <a:gd name="T81" fmla="*/ 403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1" h="434">
                    <a:moveTo>
                      <a:pt x="217" y="403"/>
                    </a:moveTo>
                    <a:lnTo>
                      <a:pt x="217" y="403"/>
                    </a:lnTo>
                    <a:cubicBezTo>
                      <a:pt x="248" y="403"/>
                      <a:pt x="248" y="403"/>
                      <a:pt x="279" y="403"/>
                    </a:cubicBezTo>
                    <a:cubicBezTo>
                      <a:pt x="310" y="403"/>
                      <a:pt x="310" y="403"/>
                      <a:pt x="342" y="403"/>
                    </a:cubicBezTo>
                    <a:lnTo>
                      <a:pt x="342" y="403"/>
                    </a:lnTo>
                    <a:lnTo>
                      <a:pt x="342" y="403"/>
                    </a:lnTo>
                    <a:cubicBezTo>
                      <a:pt x="372" y="372"/>
                      <a:pt x="403" y="372"/>
                      <a:pt x="403" y="372"/>
                    </a:cubicBezTo>
                    <a:lnTo>
                      <a:pt x="403" y="372"/>
                    </a:lnTo>
                    <a:cubicBezTo>
                      <a:pt x="434" y="340"/>
                      <a:pt x="434" y="340"/>
                      <a:pt x="434" y="309"/>
                    </a:cubicBezTo>
                    <a:cubicBezTo>
                      <a:pt x="466" y="309"/>
                      <a:pt x="466" y="309"/>
                      <a:pt x="466" y="309"/>
                    </a:cubicBezTo>
                    <a:lnTo>
                      <a:pt x="466" y="279"/>
                    </a:lnTo>
                    <a:cubicBezTo>
                      <a:pt x="434" y="248"/>
                      <a:pt x="434" y="216"/>
                      <a:pt x="466" y="216"/>
                    </a:cubicBezTo>
                    <a:cubicBezTo>
                      <a:pt x="496" y="185"/>
                      <a:pt x="496" y="155"/>
                      <a:pt x="496" y="155"/>
                    </a:cubicBezTo>
                    <a:cubicBezTo>
                      <a:pt x="527" y="124"/>
                      <a:pt x="558" y="124"/>
                      <a:pt x="558" y="124"/>
                    </a:cubicBezTo>
                    <a:cubicBezTo>
                      <a:pt x="590" y="124"/>
                      <a:pt x="590" y="124"/>
                      <a:pt x="590" y="124"/>
                    </a:cubicBezTo>
                    <a:cubicBezTo>
                      <a:pt x="620" y="92"/>
                      <a:pt x="620" y="92"/>
                      <a:pt x="620" y="92"/>
                    </a:cubicBezTo>
                    <a:lnTo>
                      <a:pt x="620" y="92"/>
                    </a:lnTo>
                    <a:cubicBezTo>
                      <a:pt x="590" y="92"/>
                      <a:pt x="590" y="92"/>
                      <a:pt x="590" y="92"/>
                    </a:cubicBezTo>
                    <a:lnTo>
                      <a:pt x="590" y="92"/>
                    </a:lnTo>
                    <a:lnTo>
                      <a:pt x="590" y="92"/>
                    </a:lnTo>
                    <a:cubicBezTo>
                      <a:pt x="558" y="92"/>
                      <a:pt x="558" y="92"/>
                      <a:pt x="558" y="61"/>
                    </a:cubicBezTo>
                    <a:lnTo>
                      <a:pt x="558" y="61"/>
                    </a:lnTo>
                    <a:cubicBezTo>
                      <a:pt x="527" y="92"/>
                      <a:pt x="527" y="92"/>
                      <a:pt x="496" y="92"/>
                    </a:cubicBezTo>
                    <a:cubicBezTo>
                      <a:pt x="496" y="92"/>
                      <a:pt x="466" y="92"/>
                      <a:pt x="466" y="61"/>
                    </a:cubicBezTo>
                    <a:cubicBezTo>
                      <a:pt x="466" y="61"/>
                      <a:pt x="466" y="61"/>
                      <a:pt x="434" y="61"/>
                    </a:cubicBezTo>
                    <a:lnTo>
                      <a:pt x="434" y="61"/>
                    </a:lnTo>
                    <a:lnTo>
                      <a:pt x="434" y="61"/>
                    </a:lnTo>
                    <a:lnTo>
                      <a:pt x="403" y="61"/>
                    </a:lnTo>
                    <a:lnTo>
                      <a:pt x="403" y="61"/>
                    </a:lnTo>
                    <a:cubicBezTo>
                      <a:pt x="403" y="31"/>
                      <a:pt x="403" y="31"/>
                      <a:pt x="403" y="31"/>
                    </a:cubicBezTo>
                    <a:lnTo>
                      <a:pt x="372" y="31"/>
                    </a:lnTo>
                    <a:cubicBezTo>
                      <a:pt x="372" y="31"/>
                      <a:pt x="372" y="31"/>
                      <a:pt x="342" y="31"/>
                    </a:cubicBezTo>
                    <a:lnTo>
                      <a:pt x="342" y="31"/>
                    </a:lnTo>
                    <a:cubicBezTo>
                      <a:pt x="310" y="31"/>
                      <a:pt x="310" y="31"/>
                      <a:pt x="279" y="31"/>
                    </a:cubicBezTo>
                    <a:lnTo>
                      <a:pt x="279" y="31"/>
                    </a:lnTo>
                    <a:lnTo>
                      <a:pt x="248" y="31"/>
                    </a:lnTo>
                    <a:cubicBezTo>
                      <a:pt x="248" y="31"/>
                      <a:pt x="248" y="31"/>
                      <a:pt x="217" y="31"/>
                    </a:cubicBezTo>
                    <a:lnTo>
                      <a:pt x="186" y="31"/>
                    </a:lnTo>
                    <a:cubicBezTo>
                      <a:pt x="186" y="31"/>
                      <a:pt x="186" y="31"/>
                      <a:pt x="186" y="0"/>
                    </a:cubicBezTo>
                    <a:lnTo>
                      <a:pt x="186" y="0"/>
                    </a:lnTo>
                    <a:cubicBezTo>
                      <a:pt x="155" y="0"/>
                      <a:pt x="155" y="31"/>
                      <a:pt x="124" y="31"/>
                    </a:cubicBezTo>
                    <a:cubicBezTo>
                      <a:pt x="124" y="31"/>
                      <a:pt x="124" y="31"/>
                      <a:pt x="94" y="31"/>
                    </a:cubicBezTo>
                    <a:cubicBezTo>
                      <a:pt x="94" y="31"/>
                      <a:pt x="62" y="0"/>
                      <a:pt x="31" y="0"/>
                    </a:cubicBezTo>
                    <a:lnTo>
                      <a:pt x="31" y="0"/>
                    </a:lnTo>
                    <a:cubicBezTo>
                      <a:pt x="31" y="31"/>
                      <a:pt x="31" y="31"/>
                      <a:pt x="31" y="31"/>
                    </a:cubicBezTo>
                    <a:cubicBezTo>
                      <a:pt x="0" y="31"/>
                      <a:pt x="0" y="31"/>
                      <a:pt x="0" y="31"/>
                    </a:cubicBezTo>
                    <a:lnTo>
                      <a:pt x="0" y="31"/>
                    </a:lnTo>
                    <a:cubicBezTo>
                      <a:pt x="0" y="31"/>
                      <a:pt x="0" y="61"/>
                      <a:pt x="31" y="61"/>
                    </a:cubicBezTo>
                    <a:lnTo>
                      <a:pt x="31" y="61"/>
                    </a:lnTo>
                    <a:lnTo>
                      <a:pt x="31" y="61"/>
                    </a:lnTo>
                    <a:cubicBezTo>
                      <a:pt x="62" y="61"/>
                      <a:pt x="62" y="92"/>
                      <a:pt x="62" y="92"/>
                    </a:cubicBezTo>
                    <a:lnTo>
                      <a:pt x="62" y="61"/>
                    </a:lnTo>
                    <a:cubicBezTo>
                      <a:pt x="94" y="61"/>
                      <a:pt x="94" y="61"/>
                      <a:pt x="94" y="61"/>
                    </a:cubicBezTo>
                    <a:lnTo>
                      <a:pt x="94" y="61"/>
                    </a:lnTo>
                    <a:lnTo>
                      <a:pt x="94" y="61"/>
                    </a:lnTo>
                    <a:cubicBezTo>
                      <a:pt x="124" y="61"/>
                      <a:pt x="124" y="61"/>
                      <a:pt x="124" y="61"/>
                    </a:cubicBezTo>
                    <a:lnTo>
                      <a:pt x="124" y="61"/>
                    </a:lnTo>
                    <a:lnTo>
                      <a:pt x="124" y="61"/>
                    </a:lnTo>
                    <a:cubicBezTo>
                      <a:pt x="124" y="92"/>
                      <a:pt x="124" y="92"/>
                      <a:pt x="124" y="92"/>
                    </a:cubicBezTo>
                    <a:lnTo>
                      <a:pt x="124" y="92"/>
                    </a:lnTo>
                    <a:cubicBezTo>
                      <a:pt x="155" y="92"/>
                      <a:pt x="155" y="124"/>
                      <a:pt x="155" y="124"/>
                    </a:cubicBezTo>
                    <a:lnTo>
                      <a:pt x="155" y="124"/>
                    </a:lnTo>
                    <a:lnTo>
                      <a:pt x="155" y="124"/>
                    </a:lnTo>
                    <a:cubicBezTo>
                      <a:pt x="155" y="155"/>
                      <a:pt x="155" y="155"/>
                      <a:pt x="124" y="155"/>
                    </a:cubicBezTo>
                    <a:lnTo>
                      <a:pt x="124" y="155"/>
                    </a:lnTo>
                    <a:lnTo>
                      <a:pt x="124" y="155"/>
                    </a:lnTo>
                    <a:lnTo>
                      <a:pt x="124" y="155"/>
                    </a:lnTo>
                    <a:lnTo>
                      <a:pt x="124" y="185"/>
                    </a:lnTo>
                    <a:cubicBezTo>
                      <a:pt x="124" y="185"/>
                      <a:pt x="124" y="216"/>
                      <a:pt x="124" y="248"/>
                    </a:cubicBezTo>
                    <a:lnTo>
                      <a:pt x="124" y="248"/>
                    </a:lnTo>
                    <a:cubicBezTo>
                      <a:pt x="124" y="248"/>
                      <a:pt x="124" y="248"/>
                      <a:pt x="94" y="248"/>
                    </a:cubicBezTo>
                    <a:cubicBezTo>
                      <a:pt x="124" y="279"/>
                      <a:pt x="124" y="279"/>
                      <a:pt x="124" y="279"/>
                    </a:cubicBezTo>
                    <a:lnTo>
                      <a:pt x="124" y="309"/>
                    </a:lnTo>
                    <a:cubicBezTo>
                      <a:pt x="94" y="309"/>
                      <a:pt x="94" y="309"/>
                      <a:pt x="94" y="309"/>
                    </a:cubicBezTo>
                    <a:cubicBezTo>
                      <a:pt x="124" y="309"/>
                      <a:pt x="124" y="340"/>
                      <a:pt x="124" y="340"/>
                    </a:cubicBezTo>
                    <a:lnTo>
                      <a:pt x="124" y="340"/>
                    </a:lnTo>
                    <a:cubicBezTo>
                      <a:pt x="124" y="340"/>
                      <a:pt x="124" y="340"/>
                      <a:pt x="94" y="372"/>
                    </a:cubicBezTo>
                    <a:lnTo>
                      <a:pt x="94" y="372"/>
                    </a:lnTo>
                    <a:cubicBezTo>
                      <a:pt x="124" y="403"/>
                      <a:pt x="124" y="403"/>
                      <a:pt x="155" y="433"/>
                    </a:cubicBezTo>
                    <a:lnTo>
                      <a:pt x="186" y="433"/>
                    </a:lnTo>
                    <a:lnTo>
                      <a:pt x="186" y="433"/>
                    </a:lnTo>
                    <a:cubicBezTo>
                      <a:pt x="186" y="433"/>
                      <a:pt x="186" y="433"/>
                      <a:pt x="217" y="4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65" name="Freeform 62"/>
              <p:cNvSpPr>
                <a:spLocks noChangeArrowheads="1"/>
              </p:cNvSpPr>
              <p:nvPr/>
            </p:nvSpPr>
            <p:spPr bwMode="auto">
              <a:xfrm>
                <a:off x="4449763" y="1801813"/>
                <a:ext cx="168275" cy="168275"/>
              </a:xfrm>
              <a:custGeom>
                <a:avLst/>
                <a:gdLst>
                  <a:gd name="T0" fmla="*/ 310 w 466"/>
                  <a:gd name="T1" fmla="*/ 63 h 467"/>
                  <a:gd name="T2" fmla="*/ 310 w 466"/>
                  <a:gd name="T3" fmla="*/ 63 h 467"/>
                  <a:gd name="T4" fmla="*/ 310 w 466"/>
                  <a:gd name="T5" fmla="*/ 63 h 467"/>
                  <a:gd name="T6" fmla="*/ 279 w 466"/>
                  <a:gd name="T7" fmla="*/ 0 h 467"/>
                  <a:gd name="T8" fmla="*/ 279 w 466"/>
                  <a:gd name="T9" fmla="*/ 0 h 467"/>
                  <a:gd name="T10" fmla="*/ 217 w 466"/>
                  <a:gd name="T11" fmla="*/ 0 h 467"/>
                  <a:gd name="T12" fmla="*/ 186 w 466"/>
                  <a:gd name="T13" fmla="*/ 0 h 467"/>
                  <a:gd name="T14" fmla="*/ 155 w 466"/>
                  <a:gd name="T15" fmla="*/ 31 h 467"/>
                  <a:gd name="T16" fmla="*/ 123 w 466"/>
                  <a:gd name="T17" fmla="*/ 63 h 467"/>
                  <a:gd name="T18" fmla="*/ 123 w 466"/>
                  <a:gd name="T19" fmla="*/ 63 h 467"/>
                  <a:gd name="T20" fmla="*/ 123 w 466"/>
                  <a:gd name="T21" fmla="*/ 124 h 467"/>
                  <a:gd name="T22" fmla="*/ 0 w 466"/>
                  <a:gd name="T23" fmla="*/ 218 h 467"/>
                  <a:gd name="T24" fmla="*/ 0 w 466"/>
                  <a:gd name="T25" fmla="*/ 248 h 467"/>
                  <a:gd name="T26" fmla="*/ 0 w 466"/>
                  <a:gd name="T27" fmla="*/ 279 h 467"/>
                  <a:gd name="T28" fmla="*/ 0 w 466"/>
                  <a:gd name="T29" fmla="*/ 279 h 467"/>
                  <a:gd name="T30" fmla="*/ 30 w 466"/>
                  <a:gd name="T31" fmla="*/ 279 h 467"/>
                  <a:gd name="T32" fmla="*/ 62 w 466"/>
                  <a:gd name="T33" fmla="*/ 311 h 467"/>
                  <a:gd name="T34" fmla="*/ 93 w 466"/>
                  <a:gd name="T35" fmla="*/ 311 h 467"/>
                  <a:gd name="T36" fmla="*/ 123 w 466"/>
                  <a:gd name="T37" fmla="*/ 311 h 467"/>
                  <a:gd name="T38" fmla="*/ 186 w 466"/>
                  <a:gd name="T39" fmla="*/ 342 h 467"/>
                  <a:gd name="T40" fmla="*/ 247 w 466"/>
                  <a:gd name="T41" fmla="*/ 403 h 467"/>
                  <a:gd name="T42" fmla="*/ 371 w 466"/>
                  <a:gd name="T43" fmla="*/ 466 h 467"/>
                  <a:gd name="T44" fmla="*/ 403 w 466"/>
                  <a:gd name="T45" fmla="*/ 435 h 467"/>
                  <a:gd name="T46" fmla="*/ 403 w 466"/>
                  <a:gd name="T47" fmla="*/ 435 h 467"/>
                  <a:gd name="T48" fmla="*/ 465 w 466"/>
                  <a:gd name="T49" fmla="*/ 403 h 467"/>
                  <a:gd name="T50" fmla="*/ 434 w 466"/>
                  <a:gd name="T51" fmla="*/ 372 h 467"/>
                  <a:gd name="T52" fmla="*/ 434 w 466"/>
                  <a:gd name="T53" fmla="*/ 372 h 467"/>
                  <a:gd name="T54" fmla="*/ 434 w 466"/>
                  <a:gd name="T55" fmla="*/ 342 h 467"/>
                  <a:gd name="T56" fmla="*/ 434 w 466"/>
                  <a:gd name="T57" fmla="*/ 311 h 467"/>
                  <a:gd name="T58" fmla="*/ 371 w 466"/>
                  <a:gd name="T59" fmla="*/ 279 h 467"/>
                  <a:gd name="T60" fmla="*/ 371 w 466"/>
                  <a:gd name="T61" fmla="*/ 279 h 467"/>
                  <a:gd name="T62" fmla="*/ 341 w 466"/>
                  <a:gd name="T63" fmla="*/ 218 h 467"/>
                  <a:gd name="T64" fmla="*/ 310 w 466"/>
                  <a:gd name="T65" fmla="*/ 218 h 467"/>
                  <a:gd name="T66" fmla="*/ 310 w 466"/>
                  <a:gd name="T67" fmla="*/ 187 h 467"/>
                  <a:gd name="T68" fmla="*/ 310 w 466"/>
                  <a:gd name="T69" fmla="*/ 155 h 467"/>
                  <a:gd name="T70" fmla="*/ 310 w 466"/>
                  <a:gd name="T71" fmla="*/ 155 h 467"/>
                  <a:gd name="T72" fmla="*/ 310 w 466"/>
                  <a:gd name="T73" fmla="*/ 124 h 467"/>
                  <a:gd name="T74" fmla="*/ 341 w 466"/>
                  <a:gd name="T75" fmla="*/ 94 h 467"/>
                  <a:gd name="T76" fmla="*/ 310 w 466"/>
                  <a:gd name="T77" fmla="*/ 6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6" h="467">
                    <a:moveTo>
                      <a:pt x="310" y="63"/>
                    </a:moveTo>
                    <a:lnTo>
                      <a:pt x="310" y="63"/>
                    </a:lnTo>
                    <a:lnTo>
                      <a:pt x="310" y="63"/>
                    </a:lnTo>
                    <a:lnTo>
                      <a:pt x="310" y="63"/>
                    </a:lnTo>
                    <a:lnTo>
                      <a:pt x="310" y="63"/>
                    </a:lnTo>
                    <a:lnTo>
                      <a:pt x="310" y="63"/>
                    </a:lnTo>
                    <a:lnTo>
                      <a:pt x="279" y="31"/>
                    </a:lnTo>
                    <a:lnTo>
                      <a:pt x="279" y="0"/>
                    </a:lnTo>
                    <a:lnTo>
                      <a:pt x="279" y="0"/>
                    </a:lnTo>
                    <a:lnTo>
                      <a:pt x="279" y="0"/>
                    </a:lnTo>
                    <a:cubicBezTo>
                      <a:pt x="247" y="0"/>
                      <a:pt x="247" y="0"/>
                      <a:pt x="247" y="0"/>
                    </a:cubicBezTo>
                    <a:lnTo>
                      <a:pt x="217" y="0"/>
                    </a:lnTo>
                    <a:lnTo>
                      <a:pt x="217" y="0"/>
                    </a:lnTo>
                    <a:cubicBezTo>
                      <a:pt x="186" y="0"/>
                      <a:pt x="186" y="0"/>
                      <a:pt x="186" y="0"/>
                    </a:cubicBezTo>
                    <a:lnTo>
                      <a:pt x="186" y="0"/>
                    </a:lnTo>
                    <a:cubicBezTo>
                      <a:pt x="155" y="0"/>
                      <a:pt x="155" y="31"/>
                      <a:pt x="155" y="31"/>
                    </a:cubicBezTo>
                    <a:lnTo>
                      <a:pt x="123" y="31"/>
                    </a:lnTo>
                    <a:cubicBezTo>
                      <a:pt x="123" y="31"/>
                      <a:pt x="123" y="31"/>
                      <a:pt x="123" y="63"/>
                    </a:cubicBezTo>
                    <a:lnTo>
                      <a:pt x="123" y="63"/>
                    </a:lnTo>
                    <a:lnTo>
                      <a:pt x="123" y="63"/>
                    </a:lnTo>
                    <a:cubicBezTo>
                      <a:pt x="123" y="63"/>
                      <a:pt x="123" y="63"/>
                      <a:pt x="123" y="94"/>
                    </a:cubicBezTo>
                    <a:lnTo>
                      <a:pt x="123" y="124"/>
                    </a:lnTo>
                    <a:cubicBezTo>
                      <a:pt x="93" y="187"/>
                      <a:pt x="62" y="187"/>
                      <a:pt x="62" y="187"/>
                    </a:cubicBezTo>
                    <a:cubicBezTo>
                      <a:pt x="62" y="187"/>
                      <a:pt x="30" y="218"/>
                      <a:pt x="0" y="218"/>
                    </a:cubicBezTo>
                    <a:cubicBezTo>
                      <a:pt x="0" y="248"/>
                      <a:pt x="0" y="248"/>
                      <a:pt x="0" y="248"/>
                    </a:cubicBezTo>
                    <a:lnTo>
                      <a:pt x="0" y="248"/>
                    </a:lnTo>
                    <a:lnTo>
                      <a:pt x="0" y="248"/>
                    </a:lnTo>
                    <a:lnTo>
                      <a:pt x="0" y="279"/>
                    </a:lnTo>
                    <a:lnTo>
                      <a:pt x="0" y="279"/>
                    </a:lnTo>
                    <a:lnTo>
                      <a:pt x="0" y="279"/>
                    </a:lnTo>
                    <a:lnTo>
                      <a:pt x="0" y="279"/>
                    </a:lnTo>
                    <a:cubicBezTo>
                      <a:pt x="30" y="279"/>
                      <a:pt x="30" y="279"/>
                      <a:pt x="30" y="279"/>
                    </a:cubicBezTo>
                    <a:cubicBezTo>
                      <a:pt x="30" y="279"/>
                      <a:pt x="62" y="279"/>
                      <a:pt x="62" y="311"/>
                    </a:cubicBezTo>
                    <a:lnTo>
                      <a:pt x="62" y="311"/>
                    </a:lnTo>
                    <a:cubicBezTo>
                      <a:pt x="93" y="311"/>
                      <a:pt x="93" y="311"/>
                      <a:pt x="93" y="311"/>
                    </a:cubicBezTo>
                    <a:lnTo>
                      <a:pt x="93" y="311"/>
                    </a:lnTo>
                    <a:lnTo>
                      <a:pt x="123" y="311"/>
                    </a:lnTo>
                    <a:lnTo>
                      <a:pt x="123" y="311"/>
                    </a:lnTo>
                    <a:cubicBezTo>
                      <a:pt x="123" y="311"/>
                      <a:pt x="123" y="311"/>
                      <a:pt x="155" y="342"/>
                    </a:cubicBezTo>
                    <a:lnTo>
                      <a:pt x="186" y="342"/>
                    </a:lnTo>
                    <a:cubicBezTo>
                      <a:pt x="186" y="372"/>
                      <a:pt x="217" y="403"/>
                      <a:pt x="247" y="403"/>
                    </a:cubicBezTo>
                    <a:lnTo>
                      <a:pt x="247" y="403"/>
                    </a:lnTo>
                    <a:cubicBezTo>
                      <a:pt x="279" y="435"/>
                      <a:pt x="279" y="466"/>
                      <a:pt x="279" y="466"/>
                    </a:cubicBezTo>
                    <a:cubicBezTo>
                      <a:pt x="310" y="466"/>
                      <a:pt x="341" y="466"/>
                      <a:pt x="371" y="466"/>
                    </a:cubicBezTo>
                    <a:lnTo>
                      <a:pt x="371" y="466"/>
                    </a:lnTo>
                    <a:cubicBezTo>
                      <a:pt x="371" y="466"/>
                      <a:pt x="371" y="466"/>
                      <a:pt x="403" y="435"/>
                    </a:cubicBezTo>
                    <a:cubicBezTo>
                      <a:pt x="403" y="403"/>
                      <a:pt x="403" y="403"/>
                      <a:pt x="403" y="403"/>
                    </a:cubicBezTo>
                    <a:cubicBezTo>
                      <a:pt x="403" y="435"/>
                      <a:pt x="403" y="435"/>
                      <a:pt x="403" y="435"/>
                    </a:cubicBezTo>
                    <a:lnTo>
                      <a:pt x="403" y="403"/>
                    </a:lnTo>
                    <a:cubicBezTo>
                      <a:pt x="434" y="403"/>
                      <a:pt x="434" y="403"/>
                      <a:pt x="465" y="403"/>
                    </a:cubicBezTo>
                    <a:lnTo>
                      <a:pt x="465" y="403"/>
                    </a:lnTo>
                    <a:cubicBezTo>
                      <a:pt x="434" y="403"/>
                      <a:pt x="434" y="403"/>
                      <a:pt x="434" y="372"/>
                    </a:cubicBezTo>
                    <a:lnTo>
                      <a:pt x="434" y="372"/>
                    </a:lnTo>
                    <a:lnTo>
                      <a:pt x="434" y="372"/>
                    </a:lnTo>
                    <a:cubicBezTo>
                      <a:pt x="434" y="342"/>
                      <a:pt x="434" y="342"/>
                      <a:pt x="434" y="342"/>
                    </a:cubicBezTo>
                    <a:lnTo>
                      <a:pt x="434" y="342"/>
                    </a:lnTo>
                    <a:lnTo>
                      <a:pt x="434" y="342"/>
                    </a:lnTo>
                    <a:cubicBezTo>
                      <a:pt x="434" y="311"/>
                      <a:pt x="434" y="311"/>
                      <a:pt x="434" y="311"/>
                    </a:cubicBezTo>
                    <a:lnTo>
                      <a:pt x="434" y="311"/>
                    </a:lnTo>
                    <a:cubicBezTo>
                      <a:pt x="403" y="279"/>
                      <a:pt x="403" y="279"/>
                      <a:pt x="371" y="279"/>
                    </a:cubicBezTo>
                    <a:lnTo>
                      <a:pt x="371" y="279"/>
                    </a:lnTo>
                    <a:lnTo>
                      <a:pt x="371" y="279"/>
                    </a:lnTo>
                    <a:cubicBezTo>
                      <a:pt x="310" y="248"/>
                      <a:pt x="310" y="248"/>
                      <a:pt x="310" y="248"/>
                    </a:cubicBezTo>
                    <a:cubicBezTo>
                      <a:pt x="341" y="218"/>
                      <a:pt x="341" y="218"/>
                      <a:pt x="341" y="218"/>
                    </a:cubicBezTo>
                    <a:cubicBezTo>
                      <a:pt x="341" y="218"/>
                      <a:pt x="341" y="218"/>
                      <a:pt x="310" y="218"/>
                    </a:cubicBezTo>
                    <a:lnTo>
                      <a:pt x="310" y="218"/>
                    </a:lnTo>
                    <a:lnTo>
                      <a:pt x="310" y="187"/>
                    </a:lnTo>
                    <a:lnTo>
                      <a:pt x="310" y="187"/>
                    </a:lnTo>
                    <a:lnTo>
                      <a:pt x="310" y="187"/>
                    </a:lnTo>
                    <a:cubicBezTo>
                      <a:pt x="310" y="187"/>
                      <a:pt x="310" y="187"/>
                      <a:pt x="310" y="155"/>
                    </a:cubicBezTo>
                    <a:lnTo>
                      <a:pt x="310" y="155"/>
                    </a:lnTo>
                    <a:lnTo>
                      <a:pt x="310" y="155"/>
                    </a:lnTo>
                    <a:cubicBezTo>
                      <a:pt x="310" y="155"/>
                      <a:pt x="310" y="155"/>
                      <a:pt x="310" y="124"/>
                    </a:cubicBezTo>
                    <a:lnTo>
                      <a:pt x="310" y="124"/>
                    </a:lnTo>
                    <a:cubicBezTo>
                      <a:pt x="341" y="124"/>
                      <a:pt x="341" y="94"/>
                      <a:pt x="341" y="94"/>
                    </a:cubicBezTo>
                    <a:lnTo>
                      <a:pt x="341" y="94"/>
                    </a:lnTo>
                    <a:lnTo>
                      <a:pt x="341" y="94"/>
                    </a:lnTo>
                    <a:cubicBezTo>
                      <a:pt x="341" y="94"/>
                      <a:pt x="310" y="94"/>
                      <a:pt x="310" y="6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66" name="Freeform 63"/>
              <p:cNvSpPr>
                <a:spLocks noChangeArrowheads="1"/>
              </p:cNvSpPr>
              <p:nvPr/>
            </p:nvSpPr>
            <p:spPr bwMode="auto">
              <a:xfrm>
                <a:off x="3479800" y="1690688"/>
                <a:ext cx="44450" cy="100012"/>
              </a:xfrm>
              <a:custGeom>
                <a:avLst/>
                <a:gdLst>
                  <a:gd name="T0" fmla="*/ 92 w 125"/>
                  <a:gd name="T1" fmla="*/ 155 h 280"/>
                  <a:gd name="T2" fmla="*/ 92 w 125"/>
                  <a:gd name="T3" fmla="*/ 155 h 280"/>
                  <a:gd name="T4" fmla="*/ 61 w 125"/>
                  <a:gd name="T5" fmla="*/ 124 h 280"/>
                  <a:gd name="T6" fmla="*/ 92 w 125"/>
                  <a:gd name="T7" fmla="*/ 124 h 280"/>
                  <a:gd name="T8" fmla="*/ 92 w 125"/>
                  <a:gd name="T9" fmla="*/ 124 h 280"/>
                  <a:gd name="T10" fmla="*/ 92 w 125"/>
                  <a:gd name="T11" fmla="*/ 92 h 280"/>
                  <a:gd name="T12" fmla="*/ 92 w 125"/>
                  <a:gd name="T13" fmla="*/ 61 h 280"/>
                  <a:gd name="T14" fmla="*/ 124 w 125"/>
                  <a:gd name="T15" fmla="*/ 0 h 280"/>
                  <a:gd name="T16" fmla="*/ 124 w 125"/>
                  <a:gd name="T17" fmla="*/ 0 h 280"/>
                  <a:gd name="T18" fmla="*/ 92 w 125"/>
                  <a:gd name="T19" fmla="*/ 0 h 280"/>
                  <a:gd name="T20" fmla="*/ 92 w 125"/>
                  <a:gd name="T21" fmla="*/ 0 h 280"/>
                  <a:gd name="T22" fmla="*/ 61 w 125"/>
                  <a:gd name="T23" fmla="*/ 0 h 280"/>
                  <a:gd name="T24" fmla="*/ 61 w 125"/>
                  <a:gd name="T25" fmla="*/ 0 h 280"/>
                  <a:gd name="T26" fmla="*/ 61 w 125"/>
                  <a:gd name="T27" fmla="*/ 0 h 280"/>
                  <a:gd name="T28" fmla="*/ 61 w 125"/>
                  <a:gd name="T29" fmla="*/ 0 h 280"/>
                  <a:gd name="T30" fmla="*/ 61 w 125"/>
                  <a:gd name="T31" fmla="*/ 31 h 280"/>
                  <a:gd name="T32" fmla="*/ 61 w 125"/>
                  <a:gd name="T33" fmla="*/ 92 h 280"/>
                  <a:gd name="T34" fmla="*/ 30 w 125"/>
                  <a:gd name="T35" fmla="*/ 155 h 280"/>
                  <a:gd name="T36" fmla="*/ 0 w 125"/>
                  <a:gd name="T37" fmla="*/ 155 h 280"/>
                  <a:gd name="T38" fmla="*/ 30 w 125"/>
                  <a:gd name="T39" fmla="*/ 155 h 280"/>
                  <a:gd name="T40" fmla="*/ 30 w 125"/>
                  <a:gd name="T41" fmla="*/ 185 h 280"/>
                  <a:gd name="T42" fmla="*/ 61 w 125"/>
                  <a:gd name="T43" fmla="*/ 216 h 280"/>
                  <a:gd name="T44" fmla="*/ 61 w 125"/>
                  <a:gd name="T45" fmla="*/ 248 h 280"/>
                  <a:gd name="T46" fmla="*/ 61 w 125"/>
                  <a:gd name="T47" fmla="*/ 248 h 280"/>
                  <a:gd name="T48" fmla="*/ 61 w 125"/>
                  <a:gd name="T49" fmla="*/ 279 h 280"/>
                  <a:gd name="T50" fmla="*/ 61 w 125"/>
                  <a:gd name="T51" fmla="*/ 248 h 280"/>
                  <a:gd name="T52" fmla="*/ 61 w 125"/>
                  <a:gd name="T53" fmla="*/ 248 h 280"/>
                  <a:gd name="T54" fmla="*/ 61 w 125"/>
                  <a:gd name="T55" fmla="*/ 248 h 280"/>
                  <a:gd name="T56" fmla="*/ 92 w 125"/>
                  <a:gd name="T57" fmla="*/ 248 h 280"/>
                  <a:gd name="T58" fmla="*/ 92 w 125"/>
                  <a:gd name="T59" fmla="*/ 248 h 280"/>
                  <a:gd name="T60" fmla="*/ 92 w 125"/>
                  <a:gd name="T61" fmla="*/ 216 h 280"/>
                  <a:gd name="T62" fmla="*/ 92 w 125"/>
                  <a:gd name="T63" fmla="*/ 216 h 280"/>
                  <a:gd name="T64" fmla="*/ 92 w 125"/>
                  <a:gd name="T65" fmla="*/ 216 h 280"/>
                  <a:gd name="T66" fmla="*/ 92 w 125"/>
                  <a:gd name="T67" fmla="*/ 185 h 280"/>
                  <a:gd name="T68" fmla="*/ 92 w 125"/>
                  <a:gd name="T69" fmla="*/ 185 h 280"/>
                  <a:gd name="T70" fmla="*/ 92 w 125"/>
                  <a:gd name="T71" fmla="*/ 15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 h="280">
                    <a:moveTo>
                      <a:pt x="92" y="155"/>
                    </a:moveTo>
                    <a:lnTo>
                      <a:pt x="92" y="155"/>
                    </a:lnTo>
                    <a:cubicBezTo>
                      <a:pt x="92" y="155"/>
                      <a:pt x="61" y="155"/>
                      <a:pt x="61" y="124"/>
                    </a:cubicBezTo>
                    <a:lnTo>
                      <a:pt x="92" y="124"/>
                    </a:lnTo>
                    <a:lnTo>
                      <a:pt x="92" y="124"/>
                    </a:lnTo>
                    <a:cubicBezTo>
                      <a:pt x="92" y="92"/>
                      <a:pt x="92" y="92"/>
                      <a:pt x="92" y="92"/>
                    </a:cubicBezTo>
                    <a:cubicBezTo>
                      <a:pt x="92" y="61"/>
                      <a:pt x="92" y="61"/>
                      <a:pt x="92" y="61"/>
                    </a:cubicBezTo>
                    <a:cubicBezTo>
                      <a:pt x="92" y="31"/>
                      <a:pt x="124" y="31"/>
                      <a:pt x="124" y="0"/>
                    </a:cubicBezTo>
                    <a:lnTo>
                      <a:pt x="124" y="0"/>
                    </a:lnTo>
                    <a:cubicBezTo>
                      <a:pt x="92" y="0"/>
                      <a:pt x="92" y="0"/>
                      <a:pt x="92" y="0"/>
                    </a:cubicBezTo>
                    <a:lnTo>
                      <a:pt x="92" y="0"/>
                    </a:lnTo>
                    <a:cubicBezTo>
                      <a:pt x="61" y="0"/>
                      <a:pt x="61" y="0"/>
                      <a:pt x="61" y="0"/>
                    </a:cubicBezTo>
                    <a:lnTo>
                      <a:pt x="61" y="0"/>
                    </a:lnTo>
                    <a:lnTo>
                      <a:pt x="61" y="0"/>
                    </a:lnTo>
                    <a:lnTo>
                      <a:pt x="61" y="0"/>
                    </a:lnTo>
                    <a:cubicBezTo>
                      <a:pt x="61" y="0"/>
                      <a:pt x="61" y="0"/>
                      <a:pt x="61" y="31"/>
                    </a:cubicBezTo>
                    <a:cubicBezTo>
                      <a:pt x="61" y="31"/>
                      <a:pt x="61" y="61"/>
                      <a:pt x="61" y="92"/>
                    </a:cubicBezTo>
                    <a:cubicBezTo>
                      <a:pt x="30" y="124"/>
                      <a:pt x="30" y="124"/>
                      <a:pt x="30" y="155"/>
                    </a:cubicBezTo>
                    <a:lnTo>
                      <a:pt x="0" y="155"/>
                    </a:lnTo>
                    <a:cubicBezTo>
                      <a:pt x="0" y="155"/>
                      <a:pt x="0" y="155"/>
                      <a:pt x="30" y="155"/>
                    </a:cubicBezTo>
                    <a:lnTo>
                      <a:pt x="30" y="185"/>
                    </a:lnTo>
                    <a:cubicBezTo>
                      <a:pt x="30" y="185"/>
                      <a:pt x="61" y="185"/>
                      <a:pt x="61" y="216"/>
                    </a:cubicBezTo>
                    <a:cubicBezTo>
                      <a:pt x="61" y="248"/>
                      <a:pt x="61" y="248"/>
                      <a:pt x="61" y="248"/>
                    </a:cubicBezTo>
                    <a:lnTo>
                      <a:pt x="61" y="248"/>
                    </a:lnTo>
                    <a:cubicBezTo>
                      <a:pt x="61" y="248"/>
                      <a:pt x="61" y="248"/>
                      <a:pt x="61" y="279"/>
                    </a:cubicBezTo>
                    <a:cubicBezTo>
                      <a:pt x="61" y="248"/>
                      <a:pt x="61" y="248"/>
                      <a:pt x="61" y="248"/>
                    </a:cubicBezTo>
                    <a:lnTo>
                      <a:pt x="61" y="248"/>
                    </a:lnTo>
                    <a:lnTo>
                      <a:pt x="61" y="248"/>
                    </a:lnTo>
                    <a:cubicBezTo>
                      <a:pt x="61" y="248"/>
                      <a:pt x="61" y="248"/>
                      <a:pt x="92" y="248"/>
                    </a:cubicBezTo>
                    <a:lnTo>
                      <a:pt x="92" y="248"/>
                    </a:lnTo>
                    <a:cubicBezTo>
                      <a:pt x="92" y="216"/>
                      <a:pt x="92" y="216"/>
                      <a:pt x="92" y="216"/>
                    </a:cubicBezTo>
                    <a:lnTo>
                      <a:pt x="92" y="216"/>
                    </a:lnTo>
                    <a:lnTo>
                      <a:pt x="92" y="216"/>
                    </a:lnTo>
                    <a:cubicBezTo>
                      <a:pt x="92" y="216"/>
                      <a:pt x="92" y="216"/>
                      <a:pt x="92" y="185"/>
                    </a:cubicBezTo>
                    <a:lnTo>
                      <a:pt x="92" y="185"/>
                    </a:lnTo>
                    <a:cubicBezTo>
                      <a:pt x="92" y="185"/>
                      <a:pt x="92" y="185"/>
                      <a:pt x="92" y="1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67" name="Freeform 64"/>
              <p:cNvSpPr>
                <a:spLocks noChangeArrowheads="1"/>
              </p:cNvSpPr>
              <p:nvPr/>
            </p:nvSpPr>
            <p:spPr bwMode="auto">
              <a:xfrm>
                <a:off x="4114800" y="1646238"/>
                <a:ext cx="100013" cy="44450"/>
              </a:xfrm>
              <a:custGeom>
                <a:avLst/>
                <a:gdLst>
                  <a:gd name="T0" fmla="*/ 248 w 280"/>
                  <a:gd name="T1" fmla="*/ 0 h 125"/>
                  <a:gd name="T2" fmla="*/ 248 w 280"/>
                  <a:gd name="T3" fmla="*/ 0 h 125"/>
                  <a:gd name="T4" fmla="*/ 186 w 280"/>
                  <a:gd name="T5" fmla="*/ 0 h 125"/>
                  <a:gd name="T6" fmla="*/ 186 w 280"/>
                  <a:gd name="T7" fmla="*/ 0 h 125"/>
                  <a:gd name="T8" fmla="*/ 186 w 280"/>
                  <a:gd name="T9" fmla="*/ 0 h 125"/>
                  <a:gd name="T10" fmla="*/ 155 w 280"/>
                  <a:gd name="T11" fmla="*/ 31 h 125"/>
                  <a:gd name="T12" fmla="*/ 155 w 280"/>
                  <a:gd name="T13" fmla="*/ 31 h 125"/>
                  <a:gd name="T14" fmla="*/ 155 w 280"/>
                  <a:gd name="T15" fmla="*/ 31 h 125"/>
                  <a:gd name="T16" fmla="*/ 124 w 280"/>
                  <a:gd name="T17" fmla="*/ 31 h 125"/>
                  <a:gd name="T18" fmla="*/ 124 w 280"/>
                  <a:gd name="T19" fmla="*/ 31 h 125"/>
                  <a:gd name="T20" fmla="*/ 124 w 280"/>
                  <a:gd name="T21" fmla="*/ 0 h 125"/>
                  <a:gd name="T22" fmla="*/ 124 w 280"/>
                  <a:gd name="T23" fmla="*/ 0 h 125"/>
                  <a:gd name="T24" fmla="*/ 124 w 280"/>
                  <a:gd name="T25" fmla="*/ 0 h 125"/>
                  <a:gd name="T26" fmla="*/ 124 w 280"/>
                  <a:gd name="T27" fmla="*/ 31 h 125"/>
                  <a:gd name="T28" fmla="*/ 92 w 280"/>
                  <a:gd name="T29" fmla="*/ 31 h 125"/>
                  <a:gd name="T30" fmla="*/ 31 w 280"/>
                  <a:gd name="T31" fmla="*/ 0 h 125"/>
                  <a:gd name="T32" fmla="*/ 31 w 280"/>
                  <a:gd name="T33" fmla="*/ 0 h 125"/>
                  <a:gd name="T34" fmla="*/ 31 w 280"/>
                  <a:gd name="T35" fmla="*/ 31 h 125"/>
                  <a:gd name="T36" fmla="*/ 31 w 280"/>
                  <a:gd name="T37" fmla="*/ 31 h 125"/>
                  <a:gd name="T38" fmla="*/ 31 w 280"/>
                  <a:gd name="T39" fmla="*/ 31 h 125"/>
                  <a:gd name="T40" fmla="*/ 0 w 280"/>
                  <a:gd name="T41" fmla="*/ 61 h 125"/>
                  <a:gd name="T42" fmla="*/ 0 w 280"/>
                  <a:gd name="T43" fmla="*/ 61 h 125"/>
                  <a:gd name="T44" fmla="*/ 0 w 280"/>
                  <a:gd name="T45" fmla="*/ 61 h 125"/>
                  <a:gd name="T46" fmla="*/ 31 w 280"/>
                  <a:gd name="T47" fmla="*/ 92 h 125"/>
                  <a:gd name="T48" fmla="*/ 31 w 280"/>
                  <a:gd name="T49" fmla="*/ 124 h 125"/>
                  <a:gd name="T50" fmla="*/ 31 w 280"/>
                  <a:gd name="T51" fmla="*/ 92 h 125"/>
                  <a:gd name="T52" fmla="*/ 92 w 280"/>
                  <a:gd name="T53" fmla="*/ 92 h 125"/>
                  <a:gd name="T54" fmla="*/ 92 w 280"/>
                  <a:gd name="T55" fmla="*/ 92 h 125"/>
                  <a:gd name="T56" fmla="*/ 124 w 280"/>
                  <a:gd name="T57" fmla="*/ 92 h 125"/>
                  <a:gd name="T58" fmla="*/ 124 w 280"/>
                  <a:gd name="T59" fmla="*/ 92 h 125"/>
                  <a:gd name="T60" fmla="*/ 124 w 280"/>
                  <a:gd name="T61" fmla="*/ 92 h 125"/>
                  <a:gd name="T62" fmla="*/ 124 w 280"/>
                  <a:gd name="T63" fmla="*/ 92 h 125"/>
                  <a:gd name="T64" fmla="*/ 124 w 280"/>
                  <a:gd name="T65" fmla="*/ 92 h 125"/>
                  <a:gd name="T66" fmla="*/ 155 w 280"/>
                  <a:gd name="T67" fmla="*/ 124 h 125"/>
                  <a:gd name="T68" fmla="*/ 155 w 280"/>
                  <a:gd name="T69" fmla="*/ 124 h 125"/>
                  <a:gd name="T70" fmla="*/ 155 w 280"/>
                  <a:gd name="T71" fmla="*/ 124 h 125"/>
                  <a:gd name="T72" fmla="*/ 186 w 280"/>
                  <a:gd name="T73" fmla="*/ 124 h 125"/>
                  <a:gd name="T74" fmla="*/ 186 w 280"/>
                  <a:gd name="T75" fmla="*/ 124 h 125"/>
                  <a:gd name="T76" fmla="*/ 186 w 280"/>
                  <a:gd name="T77" fmla="*/ 124 h 125"/>
                  <a:gd name="T78" fmla="*/ 186 w 280"/>
                  <a:gd name="T79" fmla="*/ 124 h 125"/>
                  <a:gd name="T80" fmla="*/ 186 w 280"/>
                  <a:gd name="T81" fmla="*/ 31 h 125"/>
                  <a:gd name="T82" fmla="*/ 217 w 280"/>
                  <a:gd name="T83" fmla="*/ 61 h 125"/>
                  <a:gd name="T84" fmla="*/ 248 w 280"/>
                  <a:gd name="T85" fmla="*/ 61 h 125"/>
                  <a:gd name="T86" fmla="*/ 248 w 280"/>
                  <a:gd name="T87" fmla="*/ 61 h 125"/>
                  <a:gd name="T88" fmla="*/ 248 w 280"/>
                  <a:gd name="T89" fmla="*/ 61 h 125"/>
                  <a:gd name="T90" fmla="*/ 248 w 280"/>
                  <a:gd name="T91" fmla="*/ 61 h 125"/>
                  <a:gd name="T92" fmla="*/ 279 w 280"/>
                  <a:gd name="T93" fmla="*/ 31 h 125"/>
                  <a:gd name="T94" fmla="*/ 279 w 280"/>
                  <a:gd name="T95" fmla="*/ 0 h 125"/>
                  <a:gd name="T96" fmla="*/ 279 w 280"/>
                  <a:gd name="T97" fmla="*/ 0 h 125"/>
                  <a:gd name="T98" fmla="*/ 279 w 280"/>
                  <a:gd name="T99" fmla="*/ 0 h 125"/>
                  <a:gd name="T100" fmla="*/ 248 w 280"/>
                  <a:gd name="T101"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0" h="125">
                    <a:moveTo>
                      <a:pt x="248" y="0"/>
                    </a:moveTo>
                    <a:lnTo>
                      <a:pt x="248" y="0"/>
                    </a:lnTo>
                    <a:cubicBezTo>
                      <a:pt x="217" y="0"/>
                      <a:pt x="217" y="0"/>
                      <a:pt x="186" y="0"/>
                    </a:cubicBezTo>
                    <a:lnTo>
                      <a:pt x="186" y="0"/>
                    </a:lnTo>
                    <a:lnTo>
                      <a:pt x="186" y="0"/>
                    </a:lnTo>
                    <a:cubicBezTo>
                      <a:pt x="186" y="0"/>
                      <a:pt x="186" y="31"/>
                      <a:pt x="155" y="31"/>
                    </a:cubicBezTo>
                    <a:lnTo>
                      <a:pt x="155" y="31"/>
                    </a:lnTo>
                    <a:lnTo>
                      <a:pt x="155" y="31"/>
                    </a:lnTo>
                    <a:cubicBezTo>
                      <a:pt x="155" y="31"/>
                      <a:pt x="155" y="31"/>
                      <a:pt x="124" y="31"/>
                    </a:cubicBezTo>
                    <a:lnTo>
                      <a:pt x="124" y="31"/>
                    </a:lnTo>
                    <a:cubicBezTo>
                      <a:pt x="124" y="31"/>
                      <a:pt x="124" y="31"/>
                      <a:pt x="124" y="0"/>
                    </a:cubicBezTo>
                    <a:lnTo>
                      <a:pt x="124" y="0"/>
                    </a:lnTo>
                    <a:lnTo>
                      <a:pt x="124" y="0"/>
                    </a:lnTo>
                    <a:cubicBezTo>
                      <a:pt x="124" y="31"/>
                      <a:pt x="124" y="31"/>
                      <a:pt x="124" y="31"/>
                    </a:cubicBezTo>
                    <a:lnTo>
                      <a:pt x="92" y="31"/>
                    </a:lnTo>
                    <a:cubicBezTo>
                      <a:pt x="92" y="31"/>
                      <a:pt x="62" y="31"/>
                      <a:pt x="31" y="0"/>
                    </a:cubicBezTo>
                    <a:lnTo>
                      <a:pt x="31" y="0"/>
                    </a:lnTo>
                    <a:cubicBezTo>
                      <a:pt x="31" y="31"/>
                      <a:pt x="31" y="31"/>
                      <a:pt x="31" y="31"/>
                    </a:cubicBezTo>
                    <a:lnTo>
                      <a:pt x="31" y="31"/>
                    </a:lnTo>
                    <a:lnTo>
                      <a:pt x="31" y="31"/>
                    </a:lnTo>
                    <a:cubicBezTo>
                      <a:pt x="31" y="61"/>
                      <a:pt x="31" y="61"/>
                      <a:pt x="0" y="61"/>
                    </a:cubicBezTo>
                    <a:lnTo>
                      <a:pt x="0" y="61"/>
                    </a:lnTo>
                    <a:lnTo>
                      <a:pt x="0" y="61"/>
                    </a:lnTo>
                    <a:cubicBezTo>
                      <a:pt x="31" y="61"/>
                      <a:pt x="31" y="92"/>
                      <a:pt x="31" y="92"/>
                    </a:cubicBezTo>
                    <a:lnTo>
                      <a:pt x="31" y="124"/>
                    </a:lnTo>
                    <a:cubicBezTo>
                      <a:pt x="31" y="124"/>
                      <a:pt x="31" y="124"/>
                      <a:pt x="31" y="92"/>
                    </a:cubicBezTo>
                    <a:cubicBezTo>
                      <a:pt x="62" y="92"/>
                      <a:pt x="62" y="92"/>
                      <a:pt x="92" y="92"/>
                    </a:cubicBezTo>
                    <a:lnTo>
                      <a:pt x="92" y="92"/>
                    </a:lnTo>
                    <a:lnTo>
                      <a:pt x="124" y="92"/>
                    </a:lnTo>
                    <a:lnTo>
                      <a:pt x="124" y="92"/>
                    </a:lnTo>
                    <a:lnTo>
                      <a:pt x="124" y="92"/>
                    </a:lnTo>
                    <a:lnTo>
                      <a:pt x="124" y="92"/>
                    </a:lnTo>
                    <a:lnTo>
                      <a:pt x="124" y="92"/>
                    </a:lnTo>
                    <a:cubicBezTo>
                      <a:pt x="124" y="92"/>
                      <a:pt x="124" y="92"/>
                      <a:pt x="155" y="124"/>
                    </a:cubicBezTo>
                    <a:lnTo>
                      <a:pt x="155" y="124"/>
                    </a:lnTo>
                    <a:lnTo>
                      <a:pt x="155" y="124"/>
                    </a:lnTo>
                    <a:cubicBezTo>
                      <a:pt x="186" y="124"/>
                      <a:pt x="186" y="124"/>
                      <a:pt x="186" y="124"/>
                    </a:cubicBezTo>
                    <a:lnTo>
                      <a:pt x="186" y="124"/>
                    </a:lnTo>
                    <a:lnTo>
                      <a:pt x="186" y="124"/>
                    </a:lnTo>
                    <a:lnTo>
                      <a:pt x="186" y="124"/>
                    </a:lnTo>
                    <a:cubicBezTo>
                      <a:pt x="186" y="31"/>
                      <a:pt x="186" y="31"/>
                      <a:pt x="186" y="31"/>
                    </a:cubicBezTo>
                    <a:cubicBezTo>
                      <a:pt x="217" y="61"/>
                      <a:pt x="217" y="61"/>
                      <a:pt x="217" y="61"/>
                    </a:cubicBezTo>
                    <a:cubicBezTo>
                      <a:pt x="217" y="61"/>
                      <a:pt x="217" y="61"/>
                      <a:pt x="248" y="61"/>
                    </a:cubicBezTo>
                    <a:lnTo>
                      <a:pt x="248" y="61"/>
                    </a:lnTo>
                    <a:lnTo>
                      <a:pt x="248" y="61"/>
                    </a:lnTo>
                    <a:lnTo>
                      <a:pt x="248" y="61"/>
                    </a:lnTo>
                    <a:cubicBezTo>
                      <a:pt x="248" y="31"/>
                      <a:pt x="279" y="31"/>
                      <a:pt x="279" y="31"/>
                    </a:cubicBezTo>
                    <a:cubicBezTo>
                      <a:pt x="279" y="31"/>
                      <a:pt x="279" y="31"/>
                      <a:pt x="279" y="0"/>
                    </a:cubicBezTo>
                    <a:lnTo>
                      <a:pt x="279" y="0"/>
                    </a:lnTo>
                    <a:lnTo>
                      <a:pt x="279" y="0"/>
                    </a:lnTo>
                    <a:cubicBezTo>
                      <a:pt x="248" y="0"/>
                      <a:pt x="248" y="0"/>
                      <a:pt x="248"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68" name="Freeform 65"/>
              <p:cNvSpPr>
                <a:spLocks noChangeArrowheads="1"/>
              </p:cNvSpPr>
              <p:nvPr/>
            </p:nvSpPr>
            <p:spPr bwMode="auto">
              <a:xfrm>
                <a:off x="4192588" y="1690688"/>
                <a:ext cx="346075" cy="122237"/>
              </a:xfrm>
              <a:custGeom>
                <a:avLst/>
                <a:gdLst>
                  <a:gd name="T0" fmla="*/ 930 w 961"/>
                  <a:gd name="T1" fmla="*/ 155 h 341"/>
                  <a:gd name="T2" fmla="*/ 960 w 961"/>
                  <a:gd name="T3" fmla="*/ 124 h 341"/>
                  <a:gd name="T4" fmla="*/ 930 w 961"/>
                  <a:gd name="T5" fmla="*/ 92 h 341"/>
                  <a:gd name="T6" fmla="*/ 899 w 961"/>
                  <a:gd name="T7" fmla="*/ 61 h 341"/>
                  <a:gd name="T8" fmla="*/ 899 w 961"/>
                  <a:gd name="T9" fmla="*/ 31 h 341"/>
                  <a:gd name="T10" fmla="*/ 836 w 961"/>
                  <a:gd name="T11" fmla="*/ 31 h 341"/>
                  <a:gd name="T12" fmla="*/ 775 w 961"/>
                  <a:gd name="T13" fmla="*/ 61 h 341"/>
                  <a:gd name="T14" fmla="*/ 713 w 961"/>
                  <a:gd name="T15" fmla="*/ 61 h 341"/>
                  <a:gd name="T16" fmla="*/ 651 w 961"/>
                  <a:gd name="T17" fmla="*/ 61 h 341"/>
                  <a:gd name="T18" fmla="*/ 558 w 961"/>
                  <a:gd name="T19" fmla="*/ 31 h 341"/>
                  <a:gd name="T20" fmla="*/ 527 w 961"/>
                  <a:gd name="T21" fmla="*/ 31 h 341"/>
                  <a:gd name="T22" fmla="*/ 465 w 961"/>
                  <a:gd name="T23" fmla="*/ 0 h 341"/>
                  <a:gd name="T24" fmla="*/ 403 w 961"/>
                  <a:gd name="T25" fmla="*/ 0 h 341"/>
                  <a:gd name="T26" fmla="*/ 279 w 961"/>
                  <a:gd name="T27" fmla="*/ 31 h 341"/>
                  <a:gd name="T28" fmla="*/ 217 w 961"/>
                  <a:gd name="T29" fmla="*/ 61 h 341"/>
                  <a:gd name="T30" fmla="*/ 62 w 961"/>
                  <a:gd name="T31" fmla="*/ 0 h 341"/>
                  <a:gd name="T32" fmla="*/ 0 w 961"/>
                  <a:gd name="T33" fmla="*/ 0 h 341"/>
                  <a:gd name="T34" fmla="*/ 0 w 961"/>
                  <a:gd name="T35" fmla="*/ 31 h 341"/>
                  <a:gd name="T36" fmla="*/ 0 w 961"/>
                  <a:gd name="T37" fmla="*/ 92 h 341"/>
                  <a:gd name="T38" fmla="*/ 31 w 961"/>
                  <a:gd name="T39" fmla="*/ 155 h 341"/>
                  <a:gd name="T40" fmla="*/ 31 w 961"/>
                  <a:gd name="T41" fmla="*/ 216 h 341"/>
                  <a:gd name="T42" fmla="*/ 62 w 961"/>
                  <a:gd name="T43" fmla="*/ 309 h 341"/>
                  <a:gd name="T44" fmla="*/ 62 w 961"/>
                  <a:gd name="T45" fmla="*/ 309 h 341"/>
                  <a:gd name="T46" fmla="*/ 155 w 961"/>
                  <a:gd name="T47" fmla="*/ 309 h 341"/>
                  <a:gd name="T48" fmla="*/ 186 w 961"/>
                  <a:gd name="T49" fmla="*/ 309 h 341"/>
                  <a:gd name="T50" fmla="*/ 310 w 961"/>
                  <a:gd name="T51" fmla="*/ 309 h 341"/>
                  <a:gd name="T52" fmla="*/ 372 w 961"/>
                  <a:gd name="T53" fmla="*/ 309 h 341"/>
                  <a:gd name="T54" fmla="*/ 434 w 961"/>
                  <a:gd name="T55" fmla="*/ 279 h 341"/>
                  <a:gd name="T56" fmla="*/ 496 w 961"/>
                  <a:gd name="T57" fmla="*/ 279 h 341"/>
                  <a:gd name="T58" fmla="*/ 496 w 961"/>
                  <a:gd name="T59" fmla="*/ 279 h 341"/>
                  <a:gd name="T60" fmla="*/ 558 w 961"/>
                  <a:gd name="T61" fmla="*/ 279 h 341"/>
                  <a:gd name="T62" fmla="*/ 589 w 961"/>
                  <a:gd name="T63" fmla="*/ 279 h 341"/>
                  <a:gd name="T64" fmla="*/ 589 w 961"/>
                  <a:gd name="T65" fmla="*/ 279 h 341"/>
                  <a:gd name="T66" fmla="*/ 620 w 961"/>
                  <a:gd name="T67" fmla="*/ 279 h 341"/>
                  <a:gd name="T68" fmla="*/ 651 w 961"/>
                  <a:gd name="T69" fmla="*/ 279 h 341"/>
                  <a:gd name="T70" fmla="*/ 713 w 961"/>
                  <a:gd name="T71" fmla="*/ 279 h 341"/>
                  <a:gd name="T72" fmla="*/ 743 w 961"/>
                  <a:gd name="T73" fmla="*/ 279 h 341"/>
                  <a:gd name="T74" fmla="*/ 836 w 961"/>
                  <a:gd name="T75" fmla="*/ 248 h 341"/>
                  <a:gd name="T76" fmla="*/ 868 w 961"/>
                  <a:gd name="T77" fmla="*/ 248 h 341"/>
                  <a:gd name="T78" fmla="*/ 868 w 961"/>
                  <a:gd name="T79" fmla="*/ 248 h 341"/>
                  <a:gd name="T80" fmla="*/ 899 w 961"/>
                  <a:gd name="T81" fmla="*/ 248 h 341"/>
                  <a:gd name="T82" fmla="*/ 930 w 961"/>
                  <a:gd name="T83" fmla="*/ 248 h 341"/>
                  <a:gd name="T84" fmla="*/ 960 w 961"/>
                  <a:gd name="T85" fmla="*/ 216 h 341"/>
                  <a:gd name="T86" fmla="*/ 960 w 961"/>
                  <a:gd name="T87" fmla="*/ 18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1" h="341">
                    <a:moveTo>
                      <a:pt x="960" y="155"/>
                    </a:moveTo>
                    <a:lnTo>
                      <a:pt x="960" y="155"/>
                    </a:lnTo>
                    <a:cubicBezTo>
                      <a:pt x="930" y="155"/>
                      <a:pt x="930" y="155"/>
                      <a:pt x="930" y="155"/>
                    </a:cubicBezTo>
                    <a:lnTo>
                      <a:pt x="930" y="155"/>
                    </a:lnTo>
                    <a:cubicBezTo>
                      <a:pt x="930" y="124"/>
                      <a:pt x="930" y="124"/>
                      <a:pt x="960" y="124"/>
                    </a:cubicBezTo>
                    <a:lnTo>
                      <a:pt x="960" y="124"/>
                    </a:lnTo>
                    <a:lnTo>
                      <a:pt x="960" y="124"/>
                    </a:lnTo>
                    <a:cubicBezTo>
                      <a:pt x="930" y="124"/>
                      <a:pt x="930" y="124"/>
                      <a:pt x="930" y="92"/>
                    </a:cubicBezTo>
                    <a:lnTo>
                      <a:pt x="930" y="92"/>
                    </a:lnTo>
                    <a:lnTo>
                      <a:pt x="930" y="92"/>
                    </a:lnTo>
                    <a:cubicBezTo>
                      <a:pt x="930" y="92"/>
                      <a:pt x="899" y="92"/>
                      <a:pt x="899" y="61"/>
                    </a:cubicBezTo>
                    <a:lnTo>
                      <a:pt x="899" y="61"/>
                    </a:lnTo>
                    <a:lnTo>
                      <a:pt x="899" y="61"/>
                    </a:lnTo>
                    <a:lnTo>
                      <a:pt x="899" y="61"/>
                    </a:lnTo>
                    <a:cubicBezTo>
                      <a:pt x="899" y="31"/>
                      <a:pt x="899" y="31"/>
                      <a:pt x="899" y="31"/>
                    </a:cubicBezTo>
                    <a:lnTo>
                      <a:pt x="868" y="31"/>
                    </a:lnTo>
                    <a:cubicBezTo>
                      <a:pt x="868" y="31"/>
                      <a:pt x="868" y="31"/>
                      <a:pt x="836" y="31"/>
                    </a:cubicBezTo>
                    <a:lnTo>
                      <a:pt x="836" y="31"/>
                    </a:lnTo>
                    <a:lnTo>
                      <a:pt x="836" y="31"/>
                    </a:lnTo>
                    <a:cubicBezTo>
                      <a:pt x="806" y="31"/>
                      <a:pt x="806" y="61"/>
                      <a:pt x="806" y="61"/>
                    </a:cubicBezTo>
                    <a:cubicBezTo>
                      <a:pt x="775" y="61"/>
                      <a:pt x="775" y="61"/>
                      <a:pt x="775" y="61"/>
                    </a:cubicBezTo>
                    <a:lnTo>
                      <a:pt x="743" y="61"/>
                    </a:lnTo>
                    <a:lnTo>
                      <a:pt x="743" y="61"/>
                    </a:lnTo>
                    <a:cubicBezTo>
                      <a:pt x="713" y="61"/>
                      <a:pt x="713" y="61"/>
                      <a:pt x="713" y="61"/>
                    </a:cubicBezTo>
                    <a:cubicBezTo>
                      <a:pt x="682" y="61"/>
                      <a:pt x="682" y="61"/>
                      <a:pt x="682" y="61"/>
                    </a:cubicBezTo>
                    <a:lnTo>
                      <a:pt x="651" y="61"/>
                    </a:lnTo>
                    <a:lnTo>
                      <a:pt x="651" y="61"/>
                    </a:lnTo>
                    <a:lnTo>
                      <a:pt x="651" y="61"/>
                    </a:lnTo>
                    <a:cubicBezTo>
                      <a:pt x="620" y="61"/>
                      <a:pt x="589" y="61"/>
                      <a:pt x="558" y="31"/>
                    </a:cubicBezTo>
                    <a:lnTo>
                      <a:pt x="558" y="31"/>
                    </a:lnTo>
                    <a:lnTo>
                      <a:pt x="558" y="31"/>
                    </a:lnTo>
                    <a:lnTo>
                      <a:pt x="558" y="31"/>
                    </a:lnTo>
                    <a:lnTo>
                      <a:pt x="527" y="31"/>
                    </a:lnTo>
                    <a:cubicBezTo>
                      <a:pt x="527" y="31"/>
                      <a:pt x="527" y="31"/>
                      <a:pt x="496" y="0"/>
                    </a:cubicBezTo>
                    <a:lnTo>
                      <a:pt x="496" y="31"/>
                    </a:lnTo>
                    <a:cubicBezTo>
                      <a:pt x="465" y="31"/>
                      <a:pt x="465" y="31"/>
                      <a:pt x="465" y="0"/>
                    </a:cubicBezTo>
                    <a:lnTo>
                      <a:pt x="465" y="0"/>
                    </a:lnTo>
                    <a:cubicBezTo>
                      <a:pt x="434" y="0"/>
                      <a:pt x="434" y="0"/>
                      <a:pt x="403" y="0"/>
                    </a:cubicBezTo>
                    <a:lnTo>
                      <a:pt x="403" y="0"/>
                    </a:lnTo>
                    <a:lnTo>
                      <a:pt x="403" y="0"/>
                    </a:lnTo>
                    <a:cubicBezTo>
                      <a:pt x="372" y="0"/>
                      <a:pt x="372" y="0"/>
                      <a:pt x="341" y="0"/>
                    </a:cubicBezTo>
                    <a:cubicBezTo>
                      <a:pt x="341" y="0"/>
                      <a:pt x="310" y="31"/>
                      <a:pt x="279" y="31"/>
                    </a:cubicBezTo>
                    <a:cubicBezTo>
                      <a:pt x="279" y="31"/>
                      <a:pt x="279" y="31"/>
                      <a:pt x="248" y="31"/>
                    </a:cubicBezTo>
                    <a:cubicBezTo>
                      <a:pt x="248" y="61"/>
                      <a:pt x="248" y="61"/>
                      <a:pt x="217" y="61"/>
                    </a:cubicBezTo>
                    <a:lnTo>
                      <a:pt x="217" y="61"/>
                    </a:lnTo>
                    <a:cubicBezTo>
                      <a:pt x="217" y="61"/>
                      <a:pt x="186" y="61"/>
                      <a:pt x="155" y="61"/>
                    </a:cubicBezTo>
                    <a:cubicBezTo>
                      <a:pt x="155" y="31"/>
                      <a:pt x="124" y="31"/>
                      <a:pt x="93" y="31"/>
                    </a:cubicBezTo>
                    <a:cubicBezTo>
                      <a:pt x="93" y="31"/>
                      <a:pt x="62" y="31"/>
                      <a:pt x="62" y="0"/>
                    </a:cubicBezTo>
                    <a:lnTo>
                      <a:pt x="62" y="0"/>
                    </a:lnTo>
                    <a:cubicBezTo>
                      <a:pt x="31" y="0"/>
                      <a:pt x="31" y="0"/>
                      <a:pt x="31" y="0"/>
                    </a:cubicBezTo>
                    <a:lnTo>
                      <a:pt x="0" y="0"/>
                    </a:lnTo>
                    <a:cubicBezTo>
                      <a:pt x="31" y="0"/>
                      <a:pt x="31" y="0"/>
                      <a:pt x="31" y="0"/>
                    </a:cubicBezTo>
                    <a:lnTo>
                      <a:pt x="31" y="0"/>
                    </a:lnTo>
                    <a:cubicBezTo>
                      <a:pt x="31" y="31"/>
                      <a:pt x="0" y="31"/>
                      <a:pt x="0" y="31"/>
                    </a:cubicBezTo>
                    <a:lnTo>
                      <a:pt x="0" y="61"/>
                    </a:lnTo>
                    <a:cubicBezTo>
                      <a:pt x="31" y="61"/>
                      <a:pt x="31" y="61"/>
                      <a:pt x="31" y="61"/>
                    </a:cubicBezTo>
                    <a:cubicBezTo>
                      <a:pt x="0" y="92"/>
                      <a:pt x="0" y="92"/>
                      <a:pt x="0" y="92"/>
                    </a:cubicBezTo>
                    <a:cubicBezTo>
                      <a:pt x="31" y="124"/>
                      <a:pt x="31" y="124"/>
                      <a:pt x="31" y="124"/>
                    </a:cubicBezTo>
                    <a:lnTo>
                      <a:pt x="31" y="124"/>
                    </a:lnTo>
                    <a:lnTo>
                      <a:pt x="31" y="155"/>
                    </a:lnTo>
                    <a:cubicBezTo>
                      <a:pt x="31" y="185"/>
                      <a:pt x="31" y="185"/>
                      <a:pt x="31" y="185"/>
                    </a:cubicBezTo>
                    <a:lnTo>
                      <a:pt x="31" y="185"/>
                    </a:lnTo>
                    <a:lnTo>
                      <a:pt x="31" y="216"/>
                    </a:lnTo>
                    <a:cubicBezTo>
                      <a:pt x="31" y="216"/>
                      <a:pt x="62" y="216"/>
                      <a:pt x="62" y="248"/>
                    </a:cubicBezTo>
                    <a:cubicBezTo>
                      <a:pt x="62" y="279"/>
                      <a:pt x="62" y="279"/>
                      <a:pt x="62" y="309"/>
                    </a:cubicBezTo>
                    <a:lnTo>
                      <a:pt x="62" y="309"/>
                    </a:lnTo>
                    <a:lnTo>
                      <a:pt x="62" y="309"/>
                    </a:lnTo>
                    <a:lnTo>
                      <a:pt x="62" y="309"/>
                    </a:lnTo>
                    <a:lnTo>
                      <a:pt x="62" y="309"/>
                    </a:lnTo>
                    <a:cubicBezTo>
                      <a:pt x="62" y="279"/>
                      <a:pt x="93" y="279"/>
                      <a:pt x="93" y="279"/>
                    </a:cubicBezTo>
                    <a:lnTo>
                      <a:pt x="93" y="279"/>
                    </a:lnTo>
                    <a:cubicBezTo>
                      <a:pt x="124" y="279"/>
                      <a:pt x="124" y="279"/>
                      <a:pt x="155" y="309"/>
                    </a:cubicBezTo>
                    <a:cubicBezTo>
                      <a:pt x="155" y="309"/>
                      <a:pt x="155" y="309"/>
                      <a:pt x="186" y="309"/>
                    </a:cubicBezTo>
                    <a:lnTo>
                      <a:pt x="186" y="309"/>
                    </a:lnTo>
                    <a:lnTo>
                      <a:pt x="186" y="309"/>
                    </a:lnTo>
                    <a:lnTo>
                      <a:pt x="186" y="309"/>
                    </a:lnTo>
                    <a:cubicBezTo>
                      <a:pt x="217" y="309"/>
                      <a:pt x="217" y="279"/>
                      <a:pt x="248" y="279"/>
                    </a:cubicBezTo>
                    <a:cubicBezTo>
                      <a:pt x="279" y="279"/>
                      <a:pt x="310" y="309"/>
                      <a:pt x="310" y="309"/>
                    </a:cubicBezTo>
                    <a:cubicBezTo>
                      <a:pt x="310" y="309"/>
                      <a:pt x="341" y="309"/>
                      <a:pt x="341" y="340"/>
                    </a:cubicBezTo>
                    <a:lnTo>
                      <a:pt x="341" y="340"/>
                    </a:lnTo>
                    <a:cubicBezTo>
                      <a:pt x="341" y="340"/>
                      <a:pt x="372" y="340"/>
                      <a:pt x="372" y="309"/>
                    </a:cubicBezTo>
                    <a:lnTo>
                      <a:pt x="403" y="309"/>
                    </a:lnTo>
                    <a:lnTo>
                      <a:pt x="403" y="309"/>
                    </a:lnTo>
                    <a:cubicBezTo>
                      <a:pt x="434" y="279"/>
                      <a:pt x="434" y="279"/>
                      <a:pt x="434" y="279"/>
                    </a:cubicBezTo>
                    <a:cubicBezTo>
                      <a:pt x="434" y="279"/>
                      <a:pt x="434" y="279"/>
                      <a:pt x="465" y="279"/>
                    </a:cubicBezTo>
                    <a:lnTo>
                      <a:pt x="465" y="279"/>
                    </a:lnTo>
                    <a:cubicBezTo>
                      <a:pt x="496" y="279"/>
                      <a:pt x="496" y="279"/>
                      <a:pt x="496" y="279"/>
                    </a:cubicBezTo>
                    <a:lnTo>
                      <a:pt x="496" y="279"/>
                    </a:lnTo>
                    <a:lnTo>
                      <a:pt x="496" y="279"/>
                    </a:lnTo>
                    <a:lnTo>
                      <a:pt x="496" y="279"/>
                    </a:lnTo>
                    <a:lnTo>
                      <a:pt x="496" y="279"/>
                    </a:lnTo>
                    <a:lnTo>
                      <a:pt x="527" y="279"/>
                    </a:lnTo>
                    <a:lnTo>
                      <a:pt x="558" y="279"/>
                    </a:lnTo>
                    <a:lnTo>
                      <a:pt x="558" y="279"/>
                    </a:lnTo>
                    <a:lnTo>
                      <a:pt x="558" y="279"/>
                    </a:lnTo>
                    <a:cubicBezTo>
                      <a:pt x="558" y="279"/>
                      <a:pt x="558" y="279"/>
                      <a:pt x="589" y="279"/>
                    </a:cubicBezTo>
                    <a:lnTo>
                      <a:pt x="589" y="279"/>
                    </a:lnTo>
                    <a:lnTo>
                      <a:pt x="589" y="279"/>
                    </a:lnTo>
                    <a:lnTo>
                      <a:pt x="589" y="279"/>
                    </a:lnTo>
                    <a:lnTo>
                      <a:pt x="620" y="279"/>
                    </a:lnTo>
                    <a:lnTo>
                      <a:pt x="620" y="279"/>
                    </a:lnTo>
                    <a:lnTo>
                      <a:pt x="620" y="279"/>
                    </a:lnTo>
                    <a:lnTo>
                      <a:pt x="620" y="279"/>
                    </a:lnTo>
                    <a:cubicBezTo>
                      <a:pt x="620" y="279"/>
                      <a:pt x="620" y="279"/>
                      <a:pt x="651" y="279"/>
                    </a:cubicBezTo>
                    <a:lnTo>
                      <a:pt x="651" y="279"/>
                    </a:lnTo>
                    <a:cubicBezTo>
                      <a:pt x="682" y="279"/>
                      <a:pt x="682" y="279"/>
                      <a:pt x="682" y="279"/>
                    </a:cubicBezTo>
                    <a:lnTo>
                      <a:pt x="682" y="279"/>
                    </a:lnTo>
                    <a:cubicBezTo>
                      <a:pt x="682" y="279"/>
                      <a:pt x="682" y="279"/>
                      <a:pt x="713" y="279"/>
                    </a:cubicBezTo>
                    <a:lnTo>
                      <a:pt x="713" y="279"/>
                    </a:lnTo>
                    <a:cubicBezTo>
                      <a:pt x="713" y="279"/>
                      <a:pt x="713" y="279"/>
                      <a:pt x="743" y="279"/>
                    </a:cubicBezTo>
                    <a:lnTo>
                      <a:pt x="743" y="279"/>
                    </a:lnTo>
                    <a:cubicBezTo>
                      <a:pt x="775" y="248"/>
                      <a:pt x="775" y="248"/>
                      <a:pt x="775" y="248"/>
                    </a:cubicBezTo>
                    <a:cubicBezTo>
                      <a:pt x="806" y="248"/>
                      <a:pt x="806" y="248"/>
                      <a:pt x="806" y="248"/>
                    </a:cubicBezTo>
                    <a:lnTo>
                      <a:pt x="836" y="248"/>
                    </a:lnTo>
                    <a:lnTo>
                      <a:pt x="836" y="248"/>
                    </a:lnTo>
                    <a:lnTo>
                      <a:pt x="836" y="248"/>
                    </a:lnTo>
                    <a:lnTo>
                      <a:pt x="868" y="248"/>
                    </a:lnTo>
                    <a:lnTo>
                      <a:pt x="868" y="248"/>
                    </a:lnTo>
                    <a:lnTo>
                      <a:pt x="868" y="248"/>
                    </a:lnTo>
                    <a:lnTo>
                      <a:pt x="868" y="248"/>
                    </a:lnTo>
                    <a:lnTo>
                      <a:pt x="868" y="248"/>
                    </a:lnTo>
                    <a:cubicBezTo>
                      <a:pt x="868" y="248"/>
                      <a:pt x="868" y="248"/>
                      <a:pt x="899" y="248"/>
                    </a:cubicBezTo>
                    <a:lnTo>
                      <a:pt x="899" y="248"/>
                    </a:lnTo>
                    <a:lnTo>
                      <a:pt x="899" y="248"/>
                    </a:lnTo>
                    <a:lnTo>
                      <a:pt x="930" y="248"/>
                    </a:lnTo>
                    <a:lnTo>
                      <a:pt x="930" y="248"/>
                    </a:lnTo>
                    <a:lnTo>
                      <a:pt x="960" y="248"/>
                    </a:lnTo>
                    <a:cubicBezTo>
                      <a:pt x="960" y="248"/>
                      <a:pt x="960" y="248"/>
                      <a:pt x="960" y="216"/>
                    </a:cubicBezTo>
                    <a:lnTo>
                      <a:pt x="960" y="216"/>
                    </a:lnTo>
                    <a:lnTo>
                      <a:pt x="960" y="216"/>
                    </a:lnTo>
                    <a:lnTo>
                      <a:pt x="960" y="216"/>
                    </a:lnTo>
                    <a:cubicBezTo>
                      <a:pt x="960" y="185"/>
                      <a:pt x="960" y="185"/>
                      <a:pt x="960" y="185"/>
                    </a:cubicBezTo>
                    <a:lnTo>
                      <a:pt x="960" y="155"/>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69" name="Freeform 66"/>
              <p:cNvSpPr>
                <a:spLocks noChangeArrowheads="1"/>
              </p:cNvSpPr>
              <p:nvPr/>
            </p:nvSpPr>
            <p:spPr bwMode="auto">
              <a:xfrm>
                <a:off x="5275263" y="1958975"/>
                <a:ext cx="134937" cy="77788"/>
              </a:xfrm>
              <a:custGeom>
                <a:avLst/>
                <a:gdLst>
                  <a:gd name="T0" fmla="*/ 124 w 373"/>
                  <a:gd name="T1" fmla="*/ 61 h 217"/>
                  <a:gd name="T2" fmla="*/ 124 w 373"/>
                  <a:gd name="T3" fmla="*/ 61 h 217"/>
                  <a:gd name="T4" fmla="*/ 93 w 373"/>
                  <a:gd name="T5" fmla="*/ 31 h 217"/>
                  <a:gd name="T6" fmla="*/ 61 w 373"/>
                  <a:gd name="T7" fmla="*/ 0 h 217"/>
                  <a:gd name="T8" fmla="*/ 0 w 373"/>
                  <a:gd name="T9" fmla="*/ 0 h 217"/>
                  <a:gd name="T10" fmla="*/ 0 w 373"/>
                  <a:gd name="T11" fmla="*/ 31 h 217"/>
                  <a:gd name="T12" fmla="*/ 0 w 373"/>
                  <a:gd name="T13" fmla="*/ 31 h 217"/>
                  <a:gd name="T14" fmla="*/ 0 w 373"/>
                  <a:gd name="T15" fmla="*/ 61 h 217"/>
                  <a:gd name="T16" fmla="*/ 30 w 373"/>
                  <a:gd name="T17" fmla="*/ 92 h 217"/>
                  <a:gd name="T18" fmla="*/ 61 w 373"/>
                  <a:gd name="T19" fmla="*/ 92 h 217"/>
                  <a:gd name="T20" fmla="*/ 93 w 373"/>
                  <a:gd name="T21" fmla="*/ 92 h 217"/>
                  <a:gd name="T22" fmla="*/ 124 w 373"/>
                  <a:gd name="T23" fmla="*/ 124 h 217"/>
                  <a:gd name="T24" fmla="*/ 124 w 373"/>
                  <a:gd name="T25" fmla="*/ 155 h 217"/>
                  <a:gd name="T26" fmla="*/ 124 w 373"/>
                  <a:gd name="T27" fmla="*/ 124 h 217"/>
                  <a:gd name="T28" fmla="*/ 185 w 373"/>
                  <a:gd name="T29" fmla="*/ 124 h 217"/>
                  <a:gd name="T30" fmla="*/ 217 w 373"/>
                  <a:gd name="T31" fmla="*/ 185 h 217"/>
                  <a:gd name="T32" fmla="*/ 248 w 373"/>
                  <a:gd name="T33" fmla="*/ 185 h 217"/>
                  <a:gd name="T34" fmla="*/ 248 w 373"/>
                  <a:gd name="T35" fmla="*/ 185 h 217"/>
                  <a:gd name="T36" fmla="*/ 278 w 373"/>
                  <a:gd name="T37" fmla="*/ 185 h 217"/>
                  <a:gd name="T38" fmla="*/ 278 w 373"/>
                  <a:gd name="T39" fmla="*/ 185 h 217"/>
                  <a:gd name="T40" fmla="*/ 341 w 373"/>
                  <a:gd name="T41" fmla="*/ 185 h 217"/>
                  <a:gd name="T42" fmla="*/ 341 w 373"/>
                  <a:gd name="T43" fmla="*/ 216 h 217"/>
                  <a:gd name="T44" fmla="*/ 372 w 373"/>
                  <a:gd name="T45" fmla="*/ 185 h 217"/>
                  <a:gd name="T46" fmla="*/ 372 w 373"/>
                  <a:gd name="T47" fmla="*/ 155 h 217"/>
                  <a:gd name="T48" fmla="*/ 309 w 373"/>
                  <a:gd name="T49" fmla="*/ 155 h 217"/>
                  <a:gd name="T50" fmla="*/ 309 w 373"/>
                  <a:gd name="T51" fmla="*/ 155 h 217"/>
                  <a:gd name="T52" fmla="*/ 278 w 373"/>
                  <a:gd name="T53" fmla="*/ 155 h 217"/>
                  <a:gd name="T54" fmla="*/ 278 w 373"/>
                  <a:gd name="T55" fmla="*/ 155 h 217"/>
                  <a:gd name="T56" fmla="*/ 248 w 373"/>
                  <a:gd name="T57" fmla="*/ 124 h 217"/>
                  <a:gd name="T58" fmla="*/ 217 w 373"/>
                  <a:gd name="T59" fmla="*/ 124 h 217"/>
                  <a:gd name="T60" fmla="*/ 185 w 373"/>
                  <a:gd name="T61" fmla="*/ 92 h 217"/>
                  <a:gd name="T62" fmla="*/ 154 w 373"/>
                  <a:gd name="T63" fmla="*/ 92 h 217"/>
                  <a:gd name="T64" fmla="*/ 154 w 373"/>
                  <a:gd name="T65" fmla="*/ 92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217">
                    <a:moveTo>
                      <a:pt x="124" y="61"/>
                    </a:moveTo>
                    <a:lnTo>
                      <a:pt x="124" y="61"/>
                    </a:lnTo>
                    <a:lnTo>
                      <a:pt x="124" y="61"/>
                    </a:lnTo>
                    <a:lnTo>
                      <a:pt x="124" y="61"/>
                    </a:lnTo>
                    <a:lnTo>
                      <a:pt x="124" y="61"/>
                    </a:lnTo>
                    <a:cubicBezTo>
                      <a:pt x="93" y="61"/>
                      <a:pt x="93" y="61"/>
                      <a:pt x="93" y="31"/>
                    </a:cubicBezTo>
                    <a:cubicBezTo>
                      <a:pt x="61" y="31"/>
                      <a:pt x="61" y="31"/>
                      <a:pt x="61" y="0"/>
                    </a:cubicBezTo>
                    <a:lnTo>
                      <a:pt x="61" y="0"/>
                    </a:lnTo>
                    <a:cubicBezTo>
                      <a:pt x="30" y="0"/>
                      <a:pt x="30" y="0"/>
                      <a:pt x="30" y="0"/>
                    </a:cubicBezTo>
                    <a:cubicBezTo>
                      <a:pt x="30" y="0"/>
                      <a:pt x="30" y="0"/>
                      <a:pt x="0" y="0"/>
                    </a:cubicBezTo>
                    <a:cubicBezTo>
                      <a:pt x="0" y="0"/>
                      <a:pt x="0" y="0"/>
                      <a:pt x="0" y="31"/>
                    </a:cubicBezTo>
                    <a:lnTo>
                      <a:pt x="0" y="31"/>
                    </a:lnTo>
                    <a:lnTo>
                      <a:pt x="0" y="31"/>
                    </a:lnTo>
                    <a:lnTo>
                      <a:pt x="0" y="31"/>
                    </a:lnTo>
                    <a:cubicBezTo>
                      <a:pt x="0" y="61"/>
                      <a:pt x="0" y="61"/>
                      <a:pt x="0" y="61"/>
                    </a:cubicBezTo>
                    <a:lnTo>
                      <a:pt x="0" y="61"/>
                    </a:lnTo>
                    <a:lnTo>
                      <a:pt x="0" y="61"/>
                    </a:lnTo>
                    <a:cubicBezTo>
                      <a:pt x="30" y="61"/>
                      <a:pt x="30" y="92"/>
                      <a:pt x="30" y="92"/>
                    </a:cubicBezTo>
                    <a:lnTo>
                      <a:pt x="30" y="92"/>
                    </a:lnTo>
                    <a:lnTo>
                      <a:pt x="61" y="92"/>
                    </a:lnTo>
                    <a:cubicBezTo>
                      <a:pt x="61" y="92"/>
                      <a:pt x="61" y="92"/>
                      <a:pt x="93" y="92"/>
                    </a:cubicBezTo>
                    <a:lnTo>
                      <a:pt x="93" y="92"/>
                    </a:lnTo>
                    <a:cubicBezTo>
                      <a:pt x="93" y="124"/>
                      <a:pt x="93" y="124"/>
                      <a:pt x="93" y="124"/>
                    </a:cubicBezTo>
                    <a:lnTo>
                      <a:pt x="124" y="124"/>
                    </a:lnTo>
                    <a:lnTo>
                      <a:pt x="124" y="124"/>
                    </a:lnTo>
                    <a:lnTo>
                      <a:pt x="124" y="155"/>
                    </a:lnTo>
                    <a:cubicBezTo>
                      <a:pt x="124" y="155"/>
                      <a:pt x="124" y="155"/>
                      <a:pt x="124" y="124"/>
                    </a:cubicBezTo>
                    <a:lnTo>
                      <a:pt x="124" y="124"/>
                    </a:lnTo>
                    <a:cubicBezTo>
                      <a:pt x="154" y="124"/>
                      <a:pt x="154" y="124"/>
                      <a:pt x="154" y="124"/>
                    </a:cubicBezTo>
                    <a:lnTo>
                      <a:pt x="185" y="124"/>
                    </a:lnTo>
                    <a:cubicBezTo>
                      <a:pt x="185" y="124"/>
                      <a:pt x="217" y="124"/>
                      <a:pt x="217" y="155"/>
                    </a:cubicBezTo>
                    <a:cubicBezTo>
                      <a:pt x="217" y="155"/>
                      <a:pt x="217" y="155"/>
                      <a:pt x="217" y="185"/>
                    </a:cubicBezTo>
                    <a:cubicBezTo>
                      <a:pt x="217" y="185"/>
                      <a:pt x="217" y="185"/>
                      <a:pt x="248" y="185"/>
                    </a:cubicBezTo>
                    <a:lnTo>
                      <a:pt x="248" y="185"/>
                    </a:lnTo>
                    <a:lnTo>
                      <a:pt x="248" y="185"/>
                    </a:lnTo>
                    <a:lnTo>
                      <a:pt x="248" y="185"/>
                    </a:lnTo>
                    <a:cubicBezTo>
                      <a:pt x="278" y="185"/>
                      <a:pt x="278" y="185"/>
                      <a:pt x="278" y="185"/>
                    </a:cubicBezTo>
                    <a:lnTo>
                      <a:pt x="278" y="185"/>
                    </a:lnTo>
                    <a:lnTo>
                      <a:pt x="278" y="185"/>
                    </a:lnTo>
                    <a:lnTo>
                      <a:pt x="278" y="185"/>
                    </a:lnTo>
                    <a:cubicBezTo>
                      <a:pt x="309" y="185"/>
                      <a:pt x="309" y="185"/>
                      <a:pt x="309" y="185"/>
                    </a:cubicBezTo>
                    <a:lnTo>
                      <a:pt x="341" y="185"/>
                    </a:lnTo>
                    <a:cubicBezTo>
                      <a:pt x="341" y="216"/>
                      <a:pt x="341" y="216"/>
                      <a:pt x="341" y="216"/>
                    </a:cubicBezTo>
                    <a:lnTo>
                      <a:pt x="341" y="216"/>
                    </a:lnTo>
                    <a:lnTo>
                      <a:pt x="372" y="185"/>
                    </a:lnTo>
                    <a:lnTo>
                      <a:pt x="372" y="185"/>
                    </a:lnTo>
                    <a:lnTo>
                      <a:pt x="372" y="185"/>
                    </a:lnTo>
                    <a:lnTo>
                      <a:pt x="372" y="155"/>
                    </a:lnTo>
                    <a:cubicBezTo>
                      <a:pt x="341" y="155"/>
                      <a:pt x="341" y="155"/>
                      <a:pt x="341" y="155"/>
                    </a:cubicBezTo>
                    <a:lnTo>
                      <a:pt x="309" y="155"/>
                    </a:lnTo>
                    <a:lnTo>
                      <a:pt x="309" y="155"/>
                    </a:lnTo>
                    <a:lnTo>
                      <a:pt x="309" y="155"/>
                    </a:lnTo>
                    <a:lnTo>
                      <a:pt x="309" y="155"/>
                    </a:lnTo>
                    <a:cubicBezTo>
                      <a:pt x="309" y="155"/>
                      <a:pt x="309" y="155"/>
                      <a:pt x="278" y="155"/>
                    </a:cubicBezTo>
                    <a:lnTo>
                      <a:pt x="278" y="155"/>
                    </a:lnTo>
                    <a:lnTo>
                      <a:pt x="278" y="155"/>
                    </a:lnTo>
                    <a:lnTo>
                      <a:pt x="278" y="155"/>
                    </a:lnTo>
                    <a:cubicBezTo>
                      <a:pt x="248" y="155"/>
                      <a:pt x="248" y="155"/>
                      <a:pt x="248" y="124"/>
                    </a:cubicBezTo>
                    <a:lnTo>
                      <a:pt x="217" y="124"/>
                    </a:lnTo>
                    <a:lnTo>
                      <a:pt x="217" y="124"/>
                    </a:lnTo>
                    <a:lnTo>
                      <a:pt x="217" y="124"/>
                    </a:lnTo>
                    <a:lnTo>
                      <a:pt x="185" y="92"/>
                    </a:lnTo>
                    <a:cubicBezTo>
                      <a:pt x="154" y="92"/>
                      <a:pt x="154" y="92"/>
                      <a:pt x="154" y="61"/>
                    </a:cubicBezTo>
                    <a:cubicBezTo>
                      <a:pt x="154" y="92"/>
                      <a:pt x="154" y="92"/>
                      <a:pt x="154" y="92"/>
                    </a:cubicBezTo>
                    <a:lnTo>
                      <a:pt x="154" y="92"/>
                    </a:lnTo>
                    <a:lnTo>
                      <a:pt x="154" y="92"/>
                    </a:lnTo>
                    <a:cubicBezTo>
                      <a:pt x="124" y="92"/>
                      <a:pt x="124" y="92"/>
                      <a:pt x="124" y="6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70" name="Freeform 67"/>
              <p:cNvSpPr>
                <a:spLocks noChangeArrowheads="1"/>
              </p:cNvSpPr>
              <p:nvPr/>
            </p:nvSpPr>
            <p:spPr bwMode="auto">
              <a:xfrm>
                <a:off x="4729163" y="1679575"/>
                <a:ext cx="234950" cy="146050"/>
              </a:xfrm>
              <a:custGeom>
                <a:avLst/>
                <a:gdLst>
                  <a:gd name="T0" fmla="*/ 62 w 652"/>
                  <a:gd name="T1" fmla="*/ 217 h 405"/>
                  <a:gd name="T2" fmla="*/ 62 w 652"/>
                  <a:gd name="T3" fmla="*/ 248 h 405"/>
                  <a:gd name="T4" fmla="*/ 92 w 652"/>
                  <a:gd name="T5" fmla="*/ 217 h 405"/>
                  <a:gd name="T6" fmla="*/ 124 w 652"/>
                  <a:gd name="T7" fmla="*/ 217 h 405"/>
                  <a:gd name="T8" fmla="*/ 155 w 652"/>
                  <a:gd name="T9" fmla="*/ 217 h 405"/>
                  <a:gd name="T10" fmla="*/ 155 w 652"/>
                  <a:gd name="T11" fmla="*/ 217 h 405"/>
                  <a:gd name="T12" fmla="*/ 155 w 652"/>
                  <a:gd name="T13" fmla="*/ 217 h 405"/>
                  <a:gd name="T14" fmla="*/ 216 w 652"/>
                  <a:gd name="T15" fmla="*/ 217 h 405"/>
                  <a:gd name="T16" fmla="*/ 279 w 652"/>
                  <a:gd name="T17" fmla="*/ 248 h 405"/>
                  <a:gd name="T18" fmla="*/ 310 w 652"/>
                  <a:gd name="T19" fmla="*/ 248 h 405"/>
                  <a:gd name="T20" fmla="*/ 340 w 652"/>
                  <a:gd name="T21" fmla="*/ 280 h 405"/>
                  <a:gd name="T22" fmla="*/ 372 w 652"/>
                  <a:gd name="T23" fmla="*/ 311 h 405"/>
                  <a:gd name="T24" fmla="*/ 372 w 652"/>
                  <a:gd name="T25" fmla="*/ 311 h 405"/>
                  <a:gd name="T26" fmla="*/ 403 w 652"/>
                  <a:gd name="T27" fmla="*/ 311 h 405"/>
                  <a:gd name="T28" fmla="*/ 403 w 652"/>
                  <a:gd name="T29" fmla="*/ 311 h 405"/>
                  <a:gd name="T30" fmla="*/ 403 w 652"/>
                  <a:gd name="T31" fmla="*/ 311 h 405"/>
                  <a:gd name="T32" fmla="*/ 434 w 652"/>
                  <a:gd name="T33" fmla="*/ 341 h 405"/>
                  <a:gd name="T34" fmla="*/ 434 w 652"/>
                  <a:gd name="T35" fmla="*/ 372 h 405"/>
                  <a:gd name="T36" fmla="*/ 464 w 652"/>
                  <a:gd name="T37" fmla="*/ 404 h 405"/>
                  <a:gd name="T38" fmla="*/ 496 w 652"/>
                  <a:gd name="T39" fmla="*/ 404 h 405"/>
                  <a:gd name="T40" fmla="*/ 496 w 652"/>
                  <a:gd name="T41" fmla="*/ 404 h 405"/>
                  <a:gd name="T42" fmla="*/ 527 w 652"/>
                  <a:gd name="T43" fmla="*/ 372 h 405"/>
                  <a:gd name="T44" fmla="*/ 527 w 652"/>
                  <a:gd name="T45" fmla="*/ 372 h 405"/>
                  <a:gd name="T46" fmla="*/ 527 w 652"/>
                  <a:gd name="T47" fmla="*/ 372 h 405"/>
                  <a:gd name="T48" fmla="*/ 558 w 652"/>
                  <a:gd name="T49" fmla="*/ 372 h 405"/>
                  <a:gd name="T50" fmla="*/ 558 w 652"/>
                  <a:gd name="T51" fmla="*/ 372 h 405"/>
                  <a:gd name="T52" fmla="*/ 588 w 652"/>
                  <a:gd name="T53" fmla="*/ 372 h 405"/>
                  <a:gd name="T54" fmla="*/ 588 w 652"/>
                  <a:gd name="T55" fmla="*/ 311 h 405"/>
                  <a:gd name="T56" fmla="*/ 651 w 652"/>
                  <a:gd name="T57" fmla="*/ 280 h 405"/>
                  <a:gd name="T58" fmla="*/ 651 w 652"/>
                  <a:gd name="T59" fmla="*/ 280 h 405"/>
                  <a:gd name="T60" fmla="*/ 651 w 652"/>
                  <a:gd name="T61" fmla="*/ 280 h 405"/>
                  <a:gd name="T62" fmla="*/ 651 w 652"/>
                  <a:gd name="T63" fmla="*/ 280 h 405"/>
                  <a:gd name="T64" fmla="*/ 588 w 652"/>
                  <a:gd name="T65" fmla="*/ 248 h 405"/>
                  <a:gd name="T66" fmla="*/ 558 w 652"/>
                  <a:gd name="T67" fmla="*/ 217 h 405"/>
                  <a:gd name="T68" fmla="*/ 527 w 652"/>
                  <a:gd name="T69" fmla="*/ 187 h 405"/>
                  <a:gd name="T70" fmla="*/ 496 w 652"/>
                  <a:gd name="T71" fmla="*/ 187 h 405"/>
                  <a:gd name="T72" fmla="*/ 496 w 652"/>
                  <a:gd name="T73" fmla="*/ 156 h 405"/>
                  <a:gd name="T74" fmla="*/ 464 w 652"/>
                  <a:gd name="T75" fmla="*/ 124 h 405"/>
                  <a:gd name="T76" fmla="*/ 434 w 652"/>
                  <a:gd name="T77" fmla="*/ 93 h 405"/>
                  <a:gd name="T78" fmla="*/ 434 w 652"/>
                  <a:gd name="T79" fmla="*/ 93 h 405"/>
                  <a:gd name="T80" fmla="*/ 372 w 652"/>
                  <a:gd name="T81" fmla="*/ 93 h 405"/>
                  <a:gd name="T82" fmla="*/ 372 w 652"/>
                  <a:gd name="T83" fmla="*/ 93 h 405"/>
                  <a:gd name="T84" fmla="*/ 340 w 652"/>
                  <a:gd name="T85" fmla="*/ 63 h 405"/>
                  <a:gd name="T86" fmla="*/ 340 w 652"/>
                  <a:gd name="T87" fmla="*/ 32 h 405"/>
                  <a:gd name="T88" fmla="*/ 340 w 652"/>
                  <a:gd name="T89" fmla="*/ 0 h 405"/>
                  <a:gd name="T90" fmla="*/ 340 w 652"/>
                  <a:gd name="T91" fmla="*/ 0 h 405"/>
                  <a:gd name="T92" fmla="*/ 310 w 652"/>
                  <a:gd name="T93" fmla="*/ 0 h 405"/>
                  <a:gd name="T94" fmla="*/ 279 w 652"/>
                  <a:gd name="T95" fmla="*/ 0 h 405"/>
                  <a:gd name="T96" fmla="*/ 248 w 652"/>
                  <a:gd name="T97" fmla="*/ 0 h 405"/>
                  <a:gd name="T98" fmla="*/ 248 w 652"/>
                  <a:gd name="T99" fmla="*/ 32 h 405"/>
                  <a:gd name="T100" fmla="*/ 216 w 652"/>
                  <a:gd name="T101" fmla="*/ 32 h 405"/>
                  <a:gd name="T102" fmla="*/ 216 w 652"/>
                  <a:gd name="T103" fmla="*/ 93 h 405"/>
                  <a:gd name="T104" fmla="*/ 186 w 652"/>
                  <a:gd name="T105" fmla="*/ 93 h 405"/>
                  <a:gd name="T106" fmla="*/ 155 w 652"/>
                  <a:gd name="T107" fmla="*/ 93 h 405"/>
                  <a:gd name="T108" fmla="*/ 124 w 652"/>
                  <a:gd name="T109" fmla="*/ 93 h 405"/>
                  <a:gd name="T110" fmla="*/ 124 w 652"/>
                  <a:gd name="T111" fmla="*/ 93 h 405"/>
                  <a:gd name="T112" fmla="*/ 62 w 652"/>
                  <a:gd name="T113" fmla="*/ 93 h 405"/>
                  <a:gd name="T114" fmla="*/ 31 w 652"/>
                  <a:gd name="T115" fmla="*/ 124 h 405"/>
                  <a:gd name="T116" fmla="*/ 0 w 652"/>
                  <a:gd name="T117" fmla="*/ 124 h 405"/>
                  <a:gd name="T118" fmla="*/ 0 w 652"/>
                  <a:gd name="T119" fmla="*/ 124 h 405"/>
                  <a:gd name="T120" fmla="*/ 31 w 652"/>
                  <a:gd name="T121" fmla="*/ 156 h 405"/>
                  <a:gd name="T122" fmla="*/ 62 w 652"/>
                  <a:gd name="T123" fmla="*/ 217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405">
                    <a:moveTo>
                      <a:pt x="62" y="217"/>
                    </a:moveTo>
                    <a:lnTo>
                      <a:pt x="62" y="217"/>
                    </a:lnTo>
                    <a:cubicBezTo>
                      <a:pt x="62" y="217"/>
                      <a:pt x="62" y="248"/>
                      <a:pt x="62" y="280"/>
                    </a:cubicBezTo>
                    <a:lnTo>
                      <a:pt x="62" y="248"/>
                    </a:lnTo>
                    <a:lnTo>
                      <a:pt x="92" y="217"/>
                    </a:lnTo>
                    <a:lnTo>
                      <a:pt x="92" y="217"/>
                    </a:lnTo>
                    <a:lnTo>
                      <a:pt x="92" y="217"/>
                    </a:lnTo>
                    <a:lnTo>
                      <a:pt x="124" y="217"/>
                    </a:lnTo>
                    <a:lnTo>
                      <a:pt x="124" y="248"/>
                    </a:lnTo>
                    <a:cubicBezTo>
                      <a:pt x="124" y="248"/>
                      <a:pt x="124" y="217"/>
                      <a:pt x="155" y="217"/>
                    </a:cubicBezTo>
                    <a:lnTo>
                      <a:pt x="155" y="217"/>
                    </a:lnTo>
                    <a:lnTo>
                      <a:pt x="155" y="217"/>
                    </a:lnTo>
                    <a:lnTo>
                      <a:pt x="155" y="217"/>
                    </a:lnTo>
                    <a:lnTo>
                      <a:pt x="155" y="217"/>
                    </a:lnTo>
                    <a:cubicBezTo>
                      <a:pt x="186" y="217"/>
                      <a:pt x="186" y="217"/>
                      <a:pt x="186" y="217"/>
                    </a:cubicBezTo>
                    <a:cubicBezTo>
                      <a:pt x="186" y="217"/>
                      <a:pt x="186" y="217"/>
                      <a:pt x="216" y="217"/>
                    </a:cubicBezTo>
                    <a:lnTo>
                      <a:pt x="248" y="248"/>
                    </a:lnTo>
                    <a:cubicBezTo>
                      <a:pt x="279" y="248"/>
                      <a:pt x="279" y="248"/>
                      <a:pt x="279" y="248"/>
                    </a:cubicBezTo>
                    <a:lnTo>
                      <a:pt x="279" y="248"/>
                    </a:lnTo>
                    <a:cubicBezTo>
                      <a:pt x="279" y="248"/>
                      <a:pt x="279" y="248"/>
                      <a:pt x="310" y="248"/>
                    </a:cubicBezTo>
                    <a:cubicBezTo>
                      <a:pt x="310" y="248"/>
                      <a:pt x="310" y="248"/>
                      <a:pt x="310" y="280"/>
                    </a:cubicBezTo>
                    <a:cubicBezTo>
                      <a:pt x="340" y="280"/>
                      <a:pt x="340" y="280"/>
                      <a:pt x="340" y="280"/>
                    </a:cubicBezTo>
                    <a:lnTo>
                      <a:pt x="340" y="280"/>
                    </a:lnTo>
                    <a:cubicBezTo>
                      <a:pt x="340" y="280"/>
                      <a:pt x="340" y="311"/>
                      <a:pt x="372" y="311"/>
                    </a:cubicBezTo>
                    <a:lnTo>
                      <a:pt x="372" y="311"/>
                    </a:lnTo>
                    <a:lnTo>
                      <a:pt x="372" y="311"/>
                    </a:lnTo>
                    <a:lnTo>
                      <a:pt x="403" y="311"/>
                    </a:lnTo>
                    <a:lnTo>
                      <a:pt x="403" y="311"/>
                    </a:lnTo>
                    <a:lnTo>
                      <a:pt x="403" y="311"/>
                    </a:lnTo>
                    <a:lnTo>
                      <a:pt x="403" y="311"/>
                    </a:lnTo>
                    <a:lnTo>
                      <a:pt x="403" y="311"/>
                    </a:lnTo>
                    <a:lnTo>
                      <a:pt x="403" y="311"/>
                    </a:lnTo>
                    <a:lnTo>
                      <a:pt x="403" y="311"/>
                    </a:lnTo>
                    <a:cubicBezTo>
                      <a:pt x="434" y="311"/>
                      <a:pt x="434" y="311"/>
                      <a:pt x="434" y="341"/>
                    </a:cubicBezTo>
                    <a:lnTo>
                      <a:pt x="434" y="341"/>
                    </a:lnTo>
                    <a:cubicBezTo>
                      <a:pt x="434" y="341"/>
                      <a:pt x="434" y="341"/>
                      <a:pt x="434" y="372"/>
                    </a:cubicBezTo>
                    <a:cubicBezTo>
                      <a:pt x="464" y="372"/>
                      <a:pt x="464" y="372"/>
                      <a:pt x="464" y="372"/>
                    </a:cubicBezTo>
                    <a:cubicBezTo>
                      <a:pt x="464" y="404"/>
                      <a:pt x="464" y="404"/>
                      <a:pt x="464" y="404"/>
                    </a:cubicBezTo>
                    <a:cubicBezTo>
                      <a:pt x="464" y="404"/>
                      <a:pt x="464" y="404"/>
                      <a:pt x="496" y="404"/>
                    </a:cubicBezTo>
                    <a:lnTo>
                      <a:pt x="496" y="404"/>
                    </a:lnTo>
                    <a:lnTo>
                      <a:pt x="496" y="404"/>
                    </a:lnTo>
                    <a:lnTo>
                      <a:pt x="496" y="404"/>
                    </a:lnTo>
                    <a:cubicBezTo>
                      <a:pt x="496" y="404"/>
                      <a:pt x="496" y="404"/>
                      <a:pt x="527" y="372"/>
                    </a:cubicBezTo>
                    <a:lnTo>
                      <a:pt x="527" y="372"/>
                    </a:lnTo>
                    <a:lnTo>
                      <a:pt x="527" y="372"/>
                    </a:lnTo>
                    <a:lnTo>
                      <a:pt x="527" y="372"/>
                    </a:lnTo>
                    <a:lnTo>
                      <a:pt x="527" y="372"/>
                    </a:lnTo>
                    <a:lnTo>
                      <a:pt x="527" y="372"/>
                    </a:lnTo>
                    <a:lnTo>
                      <a:pt x="527" y="372"/>
                    </a:lnTo>
                    <a:lnTo>
                      <a:pt x="558" y="372"/>
                    </a:lnTo>
                    <a:lnTo>
                      <a:pt x="558" y="372"/>
                    </a:lnTo>
                    <a:lnTo>
                      <a:pt x="558" y="372"/>
                    </a:lnTo>
                    <a:lnTo>
                      <a:pt x="558" y="372"/>
                    </a:lnTo>
                    <a:lnTo>
                      <a:pt x="588" y="372"/>
                    </a:lnTo>
                    <a:lnTo>
                      <a:pt x="588" y="341"/>
                    </a:lnTo>
                    <a:cubicBezTo>
                      <a:pt x="588" y="341"/>
                      <a:pt x="588" y="341"/>
                      <a:pt x="588" y="311"/>
                    </a:cubicBezTo>
                    <a:cubicBezTo>
                      <a:pt x="620" y="311"/>
                      <a:pt x="620" y="280"/>
                      <a:pt x="651" y="280"/>
                    </a:cubicBezTo>
                    <a:lnTo>
                      <a:pt x="651" y="280"/>
                    </a:lnTo>
                    <a:lnTo>
                      <a:pt x="651" y="280"/>
                    </a:lnTo>
                    <a:lnTo>
                      <a:pt x="651" y="280"/>
                    </a:lnTo>
                    <a:lnTo>
                      <a:pt x="651" y="280"/>
                    </a:lnTo>
                    <a:lnTo>
                      <a:pt x="651" y="280"/>
                    </a:lnTo>
                    <a:lnTo>
                      <a:pt x="651" y="280"/>
                    </a:lnTo>
                    <a:lnTo>
                      <a:pt x="651" y="280"/>
                    </a:lnTo>
                    <a:cubicBezTo>
                      <a:pt x="651" y="280"/>
                      <a:pt x="651" y="248"/>
                      <a:pt x="620" y="248"/>
                    </a:cubicBezTo>
                    <a:cubicBezTo>
                      <a:pt x="620" y="248"/>
                      <a:pt x="620" y="248"/>
                      <a:pt x="588" y="248"/>
                    </a:cubicBezTo>
                    <a:lnTo>
                      <a:pt x="588" y="248"/>
                    </a:lnTo>
                    <a:cubicBezTo>
                      <a:pt x="588" y="217"/>
                      <a:pt x="558" y="217"/>
                      <a:pt x="558" y="217"/>
                    </a:cubicBezTo>
                    <a:cubicBezTo>
                      <a:pt x="558" y="187"/>
                      <a:pt x="558" y="187"/>
                      <a:pt x="527" y="187"/>
                    </a:cubicBezTo>
                    <a:lnTo>
                      <a:pt x="527" y="187"/>
                    </a:lnTo>
                    <a:lnTo>
                      <a:pt x="527" y="187"/>
                    </a:lnTo>
                    <a:cubicBezTo>
                      <a:pt x="527" y="187"/>
                      <a:pt x="527" y="187"/>
                      <a:pt x="496" y="187"/>
                    </a:cubicBezTo>
                    <a:cubicBezTo>
                      <a:pt x="496" y="187"/>
                      <a:pt x="496" y="187"/>
                      <a:pt x="496" y="156"/>
                    </a:cubicBezTo>
                    <a:lnTo>
                      <a:pt x="496" y="156"/>
                    </a:lnTo>
                    <a:cubicBezTo>
                      <a:pt x="464" y="156"/>
                      <a:pt x="464" y="156"/>
                      <a:pt x="464" y="124"/>
                    </a:cubicBezTo>
                    <a:lnTo>
                      <a:pt x="464" y="124"/>
                    </a:lnTo>
                    <a:lnTo>
                      <a:pt x="464" y="124"/>
                    </a:lnTo>
                    <a:cubicBezTo>
                      <a:pt x="434" y="93"/>
                      <a:pt x="434" y="93"/>
                      <a:pt x="434" y="93"/>
                    </a:cubicBezTo>
                    <a:lnTo>
                      <a:pt x="434" y="93"/>
                    </a:lnTo>
                    <a:lnTo>
                      <a:pt x="434" y="93"/>
                    </a:lnTo>
                    <a:lnTo>
                      <a:pt x="403" y="93"/>
                    </a:lnTo>
                    <a:cubicBezTo>
                      <a:pt x="403" y="93"/>
                      <a:pt x="403" y="93"/>
                      <a:pt x="372" y="93"/>
                    </a:cubicBezTo>
                    <a:lnTo>
                      <a:pt x="372" y="93"/>
                    </a:lnTo>
                    <a:lnTo>
                      <a:pt x="372" y="93"/>
                    </a:lnTo>
                    <a:lnTo>
                      <a:pt x="340" y="63"/>
                    </a:lnTo>
                    <a:lnTo>
                      <a:pt x="340" y="63"/>
                    </a:lnTo>
                    <a:lnTo>
                      <a:pt x="340" y="32"/>
                    </a:lnTo>
                    <a:lnTo>
                      <a:pt x="340" y="32"/>
                    </a:lnTo>
                    <a:cubicBezTo>
                      <a:pt x="340" y="32"/>
                      <a:pt x="340" y="32"/>
                      <a:pt x="340" y="0"/>
                    </a:cubicBezTo>
                    <a:lnTo>
                      <a:pt x="340" y="0"/>
                    </a:lnTo>
                    <a:lnTo>
                      <a:pt x="340" y="0"/>
                    </a:lnTo>
                    <a:lnTo>
                      <a:pt x="340" y="0"/>
                    </a:lnTo>
                    <a:lnTo>
                      <a:pt x="340" y="0"/>
                    </a:lnTo>
                    <a:cubicBezTo>
                      <a:pt x="340" y="0"/>
                      <a:pt x="340" y="0"/>
                      <a:pt x="310" y="0"/>
                    </a:cubicBezTo>
                    <a:cubicBezTo>
                      <a:pt x="310" y="0"/>
                      <a:pt x="310" y="0"/>
                      <a:pt x="279" y="0"/>
                    </a:cubicBezTo>
                    <a:lnTo>
                      <a:pt x="279" y="0"/>
                    </a:lnTo>
                    <a:lnTo>
                      <a:pt x="279" y="0"/>
                    </a:lnTo>
                    <a:cubicBezTo>
                      <a:pt x="279" y="0"/>
                      <a:pt x="279" y="0"/>
                      <a:pt x="248" y="0"/>
                    </a:cubicBezTo>
                    <a:lnTo>
                      <a:pt x="248" y="0"/>
                    </a:lnTo>
                    <a:cubicBezTo>
                      <a:pt x="248" y="32"/>
                      <a:pt x="248" y="32"/>
                      <a:pt x="248" y="32"/>
                    </a:cubicBezTo>
                    <a:lnTo>
                      <a:pt x="216" y="32"/>
                    </a:lnTo>
                    <a:lnTo>
                      <a:pt x="216" y="32"/>
                    </a:lnTo>
                    <a:cubicBezTo>
                      <a:pt x="216" y="32"/>
                      <a:pt x="216" y="63"/>
                      <a:pt x="216" y="93"/>
                    </a:cubicBezTo>
                    <a:lnTo>
                      <a:pt x="216" y="93"/>
                    </a:lnTo>
                    <a:cubicBezTo>
                      <a:pt x="186" y="93"/>
                      <a:pt x="186" y="93"/>
                      <a:pt x="186" y="93"/>
                    </a:cubicBezTo>
                    <a:lnTo>
                      <a:pt x="186" y="93"/>
                    </a:lnTo>
                    <a:lnTo>
                      <a:pt x="186" y="93"/>
                    </a:lnTo>
                    <a:cubicBezTo>
                      <a:pt x="186" y="93"/>
                      <a:pt x="186" y="93"/>
                      <a:pt x="155" y="93"/>
                    </a:cubicBezTo>
                    <a:cubicBezTo>
                      <a:pt x="155" y="93"/>
                      <a:pt x="155" y="93"/>
                      <a:pt x="124" y="93"/>
                    </a:cubicBezTo>
                    <a:lnTo>
                      <a:pt x="124" y="93"/>
                    </a:lnTo>
                    <a:lnTo>
                      <a:pt x="124" y="93"/>
                    </a:lnTo>
                    <a:lnTo>
                      <a:pt x="124" y="93"/>
                    </a:lnTo>
                    <a:cubicBezTo>
                      <a:pt x="124" y="93"/>
                      <a:pt x="92" y="93"/>
                      <a:pt x="92" y="63"/>
                    </a:cubicBezTo>
                    <a:cubicBezTo>
                      <a:pt x="92" y="93"/>
                      <a:pt x="62" y="93"/>
                      <a:pt x="62" y="93"/>
                    </a:cubicBezTo>
                    <a:lnTo>
                      <a:pt x="62" y="93"/>
                    </a:lnTo>
                    <a:cubicBezTo>
                      <a:pt x="62" y="93"/>
                      <a:pt x="62" y="124"/>
                      <a:pt x="31" y="124"/>
                    </a:cubicBezTo>
                    <a:cubicBezTo>
                      <a:pt x="31" y="124"/>
                      <a:pt x="31" y="124"/>
                      <a:pt x="0" y="124"/>
                    </a:cubicBezTo>
                    <a:lnTo>
                      <a:pt x="0" y="124"/>
                    </a:lnTo>
                    <a:lnTo>
                      <a:pt x="0" y="124"/>
                    </a:lnTo>
                    <a:lnTo>
                      <a:pt x="0" y="124"/>
                    </a:lnTo>
                    <a:lnTo>
                      <a:pt x="0" y="124"/>
                    </a:lnTo>
                    <a:cubicBezTo>
                      <a:pt x="31" y="124"/>
                      <a:pt x="31" y="156"/>
                      <a:pt x="31" y="156"/>
                    </a:cubicBezTo>
                    <a:lnTo>
                      <a:pt x="31" y="156"/>
                    </a:lnTo>
                    <a:cubicBezTo>
                      <a:pt x="31" y="187"/>
                      <a:pt x="31" y="187"/>
                      <a:pt x="62" y="21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71" name="Freeform 68"/>
              <p:cNvSpPr>
                <a:spLocks noChangeArrowheads="1"/>
              </p:cNvSpPr>
              <p:nvPr/>
            </p:nvSpPr>
            <p:spPr bwMode="auto">
              <a:xfrm>
                <a:off x="4873625" y="1768475"/>
                <a:ext cx="212725" cy="190500"/>
              </a:xfrm>
              <a:custGeom>
                <a:avLst/>
                <a:gdLst>
                  <a:gd name="T0" fmla="*/ 589 w 590"/>
                  <a:gd name="T1" fmla="*/ 187 h 529"/>
                  <a:gd name="T2" fmla="*/ 589 w 590"/>
                  <a:gd name="T3" fmla="*/ 187 h 529"/>
                  <a:gd name="T4" fmla="*/ 557 w 590"/>
                  <a:gd name="T5" fmla="*/ 156 h 529"/>
                  <a:gd name="T6" fmla="*/ 557 w 590"/>
                  <a:gd name="T7" fmla="*/ 93 h 529"/>
                  <a:gd name="T8" fmla="*/ 557 w 590"/>
                  <a:gd name="T9" fmla="*/ 63 h 529"/>
                  <a:gd name="T10" fmla="*/ 557 w 590"/>
                  <a:gd name="T11" fmla="*/ 32 h 529"/>
                  <a:gd name="T12" fmla="*/ 557 w 590"/>
                  <a:gd name="T13" fmla="*/ 32 h 529"/>
                  <a:gd name="T14" fmla="*/ 527 w 590"/>
                  <a:gd name="T15" fmla="*/ 63 h 529"/>
                  <a:gd name="T16" fmla="*/ 496 w 590"/>
                  <a:gd name="T17" fmla="*/ 93 h 529"/>
                  <a:gd name="T18" fmla="*/ 433 w 590"/>
                  <a:gd name="T19" fmla="*/ 93 h 529"/>
                  <a:gd name="T20" fmla="*/ 403 w 590"/>
                  <a:gd name="T21" fmla="*/ 124 h 529"/>
                  <a:gd name="T22" fmla="*/ 372 w 590"/>
                  <a:gd name="T23" fmla="*/ 93 h 529"/>
                  <a:gd name="T24" fmla="*/ 309 w 590"/>
                  <a:gd name="T25" fmla="*/ 93 h 529"/>
                  <a:gd name="T26" fmla="*/ 279 w 590"/>
                  <a:gd name="T27" fmla="*/ 93 h 529"/>
                  <a:gd name="T28" fmla="*/ 248 w 590"/>
                  <a:gd name="T29" fmla="*/ 93 h 529"/>
                  <a:gd name="T30" fmla="*/ 248 w 590"/>
                  <a:gd name="T31" fmla="*/ 124 h 529"/>
                  <a:gd name="T32" fmla="*/ 248 w 590"/>
                  <a:gd name="T33" fmla="*/ 124 h 529"/>
                  <a:gd name="T34" fmla="*/ 217 w 590"/>
                  <a:gd name="T35" fmla="*/ 156 h 529"/>
                  <a:gd name="T36" fmla="*/ 155 w 590"/>
                  <a:gd name="T37" fmla="*/ 187 h 529"/>
                  <a:gd name="T38" fmla="*/ 124 w 590"/>
                  <a:gd name="T39" fmla="*/ 217 h 529"/>
                  <a:gd name="T40" fmla="*/ 93 w 590"/>
                  <a:gd name="T41" fmla="*/ 217 h 529"/>
                  <a:gd name="T42" fmla="*/ 61 w 590"/>
                  <a:gd name="T43" fmla="*/ 187 h 529"/>
                  <a:gd name="T44" fmla="*/ 31 w 590"/>
                  <a:gd name="T45" fmla="*/ 187 h 529"/>
                  <a:gd name="T46" fmla="*/ 31 w 590"/>
                  <a:gd name="T47" fmla="*/ 217 h 529"/>
                  <a:gd name="T48" fmla="*/ 31 w 590"/>
                  <a:gd name="T49" fmla="*/ 280 h 529"/>
                  <a:gd name="T50" fmla="*/ 31 w 590"/>
                  <a:gd name="T51" fmla="*/ 280 h 529"/>
                  <a:gd name="T52" fmla="*/ 31 w 590"/>
                  <a:gd name="T53" fmla="*/ 311 h 529"/>
                  <a:gd name="T54" fmla="*/ 31 w 590"/>
                  <a:gd name="T55" fmla="*/ 311 h 529"/>
                  <a:gd name="T56" fmla="*/ 31 w 590"/>
                  <a:gd name="T57" fmla="*/ 372 h 529"/>
                  <a:gd name="T58" fmla="*/ 31 w 590"/>
                  <a:gd name="T59" fmla="*/ 404 h 529"/>
                  <a:gd name="T60" fmla="*/ 61 w 590"/>
                  <a:gd name="T61" fmla="*/ 435 h 529"/>
                  <a:gd name="T62" fmla="*/ 31 w 590"/>
                  <a:gd name="T63" fmla="*/ 528 h 529"/>
                  <a:gd name="T64" fmla="*/ 93 w 590"/>
                  <a:gd name="T65" fmla="*/ 528 h 529"/>
                  <a:gd name="T66" fmla="*/ 93 w 590"/>
                  <a:gd name="T67" fmla="*/ 528 h 529"/>
                  <a:gd name="T68" fmla="*/ 185 w 590"/>
                  <a:gd name="T69" fmla="*/ 528 h 529"/>
                  <a:gd name="T70" fmla="*/ 217 w 590"/>
                  <a:gd name="T71" fmla="*/ 528 h 529"/>
                  <a:gd name="T72" fmla="*/ 248 w 590"/>
                  <a:gd name="T73" fmla="*/ 528 h 529"/>
                  <a:gd name="T74" fmla="*/ 279 w 590"/>
                  <a:gd name="T75" fmla="*/ 528 h 529"/>
                  <a:gd name="T76" fmla="*/ 341 w 590"/>
                  <a:gd name="T77" fmla="*/ 435 h 529"/>
                  <a:gd name="T78" fmla="*/ 372 w 590"/>
                  <a:gd name="T79" fmla="*/ 435 h 529"/>
                  <a:gd name="T80" fmla="*/ 372 w 590"/>
                  <a:gd name="T81" fmla="*/ 404 h 529"/>
                  <a:gd name="T82" fmla="*/ 433 w 590"/>
                  <a:gd name="T83" fmla="*/ 404 h 529"/>
                  <a:gd name="T84" fmla="*/ 433 w 590"/>
                  <a:gd name="T85" fmla="*/ 404 h 529"/>
                  <a:gd name="T86" fmla="*/ 464 w 590"/>
                  <a:gd name="T87" fmla="*/ 372 h 529"/>
                  <a:gd name="T88" fmla="*/ 496 w 590"/>
                  <a:gd name="T89" fmla="*/ 311 h 529"/>
                  <a:gd name="T90" fmla="*/ 496 w 590"/>
                  <a:gd name="T91" fmla="*/ 311 h 529"/>
                  <a:gd name="T92" fmla="*/ 527 w 590"/>
                  <a:gd name="T93" fmla="*/ 248 h 529"/>
                  <a:gd name="T94" fmla="*/ 527 w 590"/>
                  <a:gd name="T95" fmla="*/ 21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0" h="529">
                    <a:moveTo>
                      <a:pt x="589" y="187"/>
                    </a:moveTo>
                    <a:lnTo>
                      <a:pt x="589" y="187"/>
                    </a:lnTo>
                    <a:lnTo>
                      <a:pt x="589" y="187"/>
                    </a:lnTo>
                    <a:lnTo>
                      <a:pt x="589" y="187"/>
                    </a:lnTo>
                    <a:lnTo>
                      <a:pt x="589" y="187"/>
                    </a:lnTo>
                    <a:lnTo>
                      <a:pt x="589" y="187"/>
                    </a:lnTo>
                    <a:lnTo>
                      <a:pt x="557" y="187"/>
                    </a:lnTo>
                    <a:lnTo>
                      <a:pt x="557" y="156"/>
                    </a:lnTo>
                    <a:lnTo>
                      <a:pt x="557" y="156"/>
                    </a:lnTo>
                    <a:lnTo>
                      <a:pt x="557" y="156"/>
                    </a:lnTo>
                    <a:cubicBezTo>
                      <a:pt x="557" y="124"/>
                      <a:pt x="557" y="124"/>
                      <a:pt x="557" y="124"/>
                    </a:cubicBezTo>
                    <a:cubicBezTo>
                      <a:pt x="557" y="124"/>
                      <a:pt x="557" y="124"/>
                      <a:pt x="557" y="93"/>
                    </a:cubicBezTo>
                    <a:lnTo>
                      <a:pt x="557" y="93"/>
                    </a:lnTo>
                    <a:lnTo>
                      <a:pt x="557" y="93"/>
                    </a:lnTo>
                    <a:lnTo>
                      <a:pt x="557" y="63"/>
                    </a:lnTo>
                    <a:lnTo>
                      <a:pt x="557" y="63"/>
                    </a:lnTo>
                    <a:cubicBezTo>
                      <a:pt x="557" y="63"/>
                      <a:pt x="557" y="63"/>
                      <a:pt x="557" y="32"/>
                    </a:cubicBezTo>
                    <a:lnTo>
                      <a:pt x="557" y="32"/>
                    </a:lnTo>
                    <a:lnTo>
                      <a:pt x="557" y="32"/>
                    </a:lnTo>
                    <a:cubicBezTo>
                      <a:pt x="557" y="0"/>
                      <a:pt x="557" y="0"/>
                      <a:pt x="557" y="0"/>
                    </a:cubicBezTo>
                    <a:cubicBezTo>
                      <a:pt x="557" y="32"/>
                      <a:pt x="557" y="32"/>
                      <a:pt x="557" y="32"/>
                    </a:cubicBezTo>
                    <a:lnTo>
                      <a:pt x="557" y="32"/>
                    </a:lnTo>
                    <a:lnTo>
                      <a:pt x="527" y="63"/>
                    </a:lnTo>
                    <a:lnTo>
                      <a:pt x="527" y="63"/>
                    </a:lnTo>
                    <a:lnTo>
                      <a:pt x="496" y="63"/>
                    </a:lnTo>
                    <a:lnTo>
                      <a:pt x="496" y="63"/>
                    </a:lnTo>
                    <a:lnTo>
                      <a:pt x="496" y="93"/>
                    </a:lnTo>
                    <a:cubicBezTo>
                      <a:pt x="496" y="93"/>
                      <a:pt x="496" y="93"/>
                      <a:pt x="464" y="93"/>
                    </a:cubicBezTo>
                    <a:lnTo>
                      <a:pt x="464" y="93"/>
                    </a:lnTo>
                    <a:cubicBezTo>
                      <a:pt x="464" y="93"/>
                      <a:pt x="464" y="93"/>
                      <a:pt x="433" y="93"/>
                    </a:cubicBezTo>
                    <a:lnTo>
                      <a:pt x="433" y="93"/>
                    </a:lnTo>
                    <a:lnTo>
                      <a:pt x="433" y="93"/>
                    </a:lnTo>
                    <a:cubicBezTo>
                      <a:pt x="403" y="93"/>
                      <a:pt x="403" y="124"/>
                      <a:pt x="403" y="124"/>
                    </a:cubicBezTo>
                    <a:lnTo>
                      <a:pt x="403" y="124"/>
                    </a:lnTo>
                    <a:lnTo>
                      <a:pt x="403" y="124"/>
                    </a:lnTo>
                    <a:lnTo>
                      <a:pt x="372" y="93"/>
                    </a:lnTo>
                    <a:lnTo>
                      <a:pt x="372" y="93"/>
                    </a:lnTo>
                    <a:lnTo>
                      <a:pt x="341" y="93"/>
                    </a:lnTo>
                    <a:cubicBezTo>
                      <a:pt x="309" y="93"/>
                      <a:pt x="309" y="93"/>
                      <a:pt x="309" y="93"/>
                    </a:cubicBezTo>
                    <a:lnTo>
                      <a:pt x="309" y="93"/>
                    </a:lnTo>
                    <a:cubicBezTo>
                      <a:pt x="309" y="93"/>
                      <a:pt x="279" y="93"/>
                      <a:pt x="279" y="63"/>
                    </a:cubicBezTo>
                    <a:cubicBezTo>
                      <a:pt x="279" y="93"/>
                      <a:pt x="279" y="93"/>
                      <a:pt x="279" y="93"/>
                    </a:cubicBezTo>
                    <a:lnTo>
                      <a:pt x="279" y="93"/>
                    </a:lnTo>
                    <a:lnTo>
                      <a:pt x="248" y="93"/>
                    </a:lnTo>
                    <a:lnTo>
                      <a:pt x="248" y="93"/>
                    </a:lnTo>
                    <a:lnTo>
                      <a:pt x="248" y="93"/>
                    </a:lnTo>
                    <a:lnTo>
                      <a:pt x="248" y="93"/>
                    </a:lnTo>
                    <a:lnTo>
                      <a:pt x="248" y="124"/>
                    </a:lnTo>
                    <a:lnTo>
                      <a:pt x="248" y="124"/>
                    </a:lnTo>
                    <a:lnTo>
                      <a:pt x="248" y="124"/>
                    </a:lnTo>
                    <a:lnTo>
                      <a:pt x="248" y="124"/>
                    </a:lnTo>
                    <a:lnTo>
                      <a:pt x="217" y="156"/>
                    </a:lnTo>
                    <a:lnTo>
                      <a:pt x="217" y="156"/>
                    </a:lnTo>
                    <a:lnTo>
                      <a:pt x="217" y="156"/>
                    </a:lnTo>
                    <a:lnTo>
                      <a:pt x="185" y="156"/>
                    </a:lnTo>
                    <a:lnTo>
                      <a:pt x="185" y="156"/>
                    </a:lnTo>
                    <a:cubicBezTo>
                      <a:pt x="185" y="187"/>
                      <a:pt x="155" y="187"/>
                      <a:pt x="155" y="187"/>
                    </a:cubicBezTo>
                    <a:lnTo>
                      <a:pt x="155" y="187"/>
                    </a:lnTo>
                    <a:lnTo>
                      <a:pt x="155" y="187"/>
                    </a:lnTo>
                    <a:cubicBezTo>
                      <a:pt x="155" y="217"/>
                      <a:pt x="124" y="217"/>
                      <a:pt x="124" y="217"/>
                    </a:cubicBezTo>
                    <a:lnTo>
                      <a:pt x="124" y="217"/>
                    </a:lnTo>
                    <a:lnTo>
                      <a:pt x="124" y="217"/>
                    </a:lnTo>
                    <a:cubicBezTo>
                      <a:pt x="93" y="217"/>
                      <a:pt x="93" y="217"/>
                      <a:pt x="93" y="217"/>
                    </a:cubicBezTo>
                    <a:lnTo>
                      <a:pt x="93" y="217"/>
                    </a:lnTo>
                    <a:lnTo>
                      <a:pt x="93" y="217"/>
                    </a:lnTo>
                    <a:cubicBezTo>
                      <a:pt x="61" y="217"/>
                      <a:pt x="61" y="217"/>
                      <a:pt x="61" y="187"/>
                    </a:cubicBezTo>
                    <a:cubicBezTo>
                      <a:pt x="61" y="187"/>
                      <a:pt x="61" y="187"/>
                      <a:pt x="31" y="187"/>
                    </a:cubicBezTo>
                    <a:lnTo>
                      <a:pt x="31" y="187"/>
                    </a:lnTo>
                    <a:lnTo>
                      <a:pt x="31" y="187"/>
                    </a:lnTo>
                    <a:lnTo>
                      <a:pt x="31" y="187"/>
                    </a:lnTo>
                    <a:cubicBezTo>
                      <a:pt x="31" y="217"/>
                      <a:pt x="31" y="217"/>
                      <a:pt x="31" y="217"/>
                    </a:cubicBezTo>
                    <a:lnTo>
                      <a:pt x="31" y="217"/>
                    </a:lnTo>
                    <a:lnTo>
                      <a:pt x="31" y="217"/>
                    </a:lnTo>
                    <a:lnTo>
                      <a:pt x="31" y="217"/>
                    </a:lnTo>
                    <a:cubicBezTo>
                      <a:pt x="31" y="248"/>
                      <a:pt x="31" y="248"/>
                      <a:pt x="31" y="280"/>
                    </a:cubicBezTo>
                    <a:lnTo>
                      <a:pt x="31" y="280"/>
                    </a:lnTo>
                    <a:lnTo>
                      <a:pt x="31" y="280"/>
                    </a:lnTo>
                    <a:lnTo>
                      <a:pt x="31" y="280"/>
                    </a:lnTo>
                    <a:lnTo>
                      <a:pt x="31" y="280"/>
                    </a:lnTo>
                    <a:lnTo>
                      <a:pt x="31" y="280"/>
                    </a:lnTo>
                    <a:cubicBezTo>
                      <a:pt x="31" y="311"/>
                      <a:pt x="31" y="311"/>
                      <a:pt x="31" y="311"/>
                    </a:cubicBezTo>
                    <a:lnTo>
                      <a:pt x="31" y="311"/>
                    </a:lnTo>
                    <a:lnTo>
                      <a:pt x="31" y="311"/>
                    </a:lnTo>
                    <a:lnTo>
                      <a:pt x="31" y="311"/>
                    </a:lnTo>
                    <a:lnTo>
                      <a:pt x="31" y="311"/>
                    </a:lnTo>
                    <a:cubicBezTo>
                      <a:pt x="0" y="341"/>
                      <a:pt x="0" y="341"/>
                      <a:pt x="0" y="341"/>
                    </a:cubicBezTo>
                    <a:cubicBezTo>
                      <a:pt x="31" y="341"/>
                      <a:pt x="31" y="372"/>
                      <a:pt x="31" y="372"/>
                    </a:cubicBezTo>
                    <a:lnTo>
                      <a:pt x="31" y="372"/>
                    </a:lnTo>
                    <a:lnTo>
                      <a:pt x="31" y="404"/>
                    </a:lnTo>
                    <a:lnTo>
                      <a:pt x="31" y="404"/>
                    </a:lnTo>
                    <a:lnTo>
                      <a:pt x="31" y="404"/>
                    </a:lnTo>
                    <a:cubicBezTo>
                      <a:pt x="61" y="404"/>
                      <a:pt x="61" y="404"/>
                      <a:pt x="61" y="435"/>
                    </a:cubicBezTo>
                    <a:lnTo>
                      <a:pt x="61" y="435"/>
                    </a:lnTo>
                    <a:lnTo>
                      <a:pt x="93" y="465"/>
                    </a:lnTo>
                    <a:cubicBezTo>
                      <a:pt x="93" y="496"/>
                      <a:pt x="93" y="496"/>
                      <a:pt x="61" y="496"/>
                    </a:cubicBezTo>
                    <a:cubicBezTo>
                      <a:pt x="61" y="496"/>
                      <a:pt x="61" y="528"/>
                      <a:pt x="31" y="528"/>
                    </a:cubicBezTo>
                    <a:cubicBezTo>
                      <a:pt x="61" y="528"/>
                      <a:pt x="61" y="528"/>
                      <a:pt x="61" y="528"/>
                    </a:cubicBezTo>
                    <a:lnTo>
                      <a:pt x="93" y="528"/>
                    </a:lnTo>
                    <a:lnTo>
                      <a:pt x="93" y="528"/>
                    </a:lnTo>
                    <a:lnTo>
                      <a:pt x="93" y="528"/>
                    </a:lnTo>
                    <a:lnTo>
                      <a:pt x="93" y="528"/>
                    </a:lnTo>
                    <a:lnTo>
                      <a:pt x="93" y="528"/>
                    </a:lnTo>
                    <a:cubicBezTo>
                      <a:pt x="124" y="528"/>
                      <a:pt x="155" y="528"/>
                      <a:pt x="155" y="528"/>
                    </a:cubicBezTo>
                    <a:lnTo>
                      <a:pt x="155" y="528"/>
                    </a:lnTo>
                    <a:cubicBezTo>
                      <a:pt x="185" y="528"/>
                      <a:pt x="185" y="528"/>
                      <a:pt x="185" y="528"/>
                    </a:cubicBezTo>
                    <a:lnTo>
                      <a:pt x="185" y="528"/>
                    </a:lnTo>
                    <a:cubicBezTo>
                      <a:pt x="185" y="528"/>
                      <a:pt x="185" y="528"/>
                      <a:pt x="217" y="528"/>
                    </a:cubicBezTo>
                    <a:lnTo>
                      <a:pt x="217" y="528"/>
                    </a:lnTo>
                    <a:lnTo>
                      <a:pt x="217" y="528"/>
                    </a:lnTo>
                    <a:lnTo>
                      <a:pt x="217" y="528"/>
                    </a:lnTo>
                    <a:lnTo>
                      <a:pt x="248" y="528"/>
                    </a:lnTo>
                    <a:lnTo>
                      <a:pt x="279" y="528"/>
                    </a:lnTo>
                    <a:lnTo>
                      <a:pt x="279" y="528"/>
                    </a:lnTo>
                    <a:lnTo>
                      <a:pt x="279" y="528"/>
                    </a:lnTo>
                    <a:cubicBezTo>
                      <a:pt x="279" y="496"/>
                      <a:pt x="279" y="496"/>
                      <a:pt x="279" y="496"/>
                    </a:cubicBezTo>
                    <a:cubicBezTo>
                      <a:pt x="279" y="496"/>
                      <a:pt x="279" y="465"/>
                      <a:pt x="309" y="435"/>
                    </a:cubicBezTo>
                    <a:lnTo>
                      <a:pt x="341" y="435"/>
                    </a:lnTo>
                    <a:lnTo>
                      <a:pt x="341" y="435"/>
                    </a:lnTo>
                    <a:lnTo>
                      <a:pt x="341" y="435"/>
                    </a:lnTo>
                    <a:cubicBezTo>
                      <a:pt x="341" y="435"/>
                      <a:pt x="341" y="435"/>
                      <a:pt x="372" y="435"/>
                    </a:cubicBezTo>
                    <a:lnTo>
                      <a:pt x="372" y="435"/>
                    </a:lnTo>
                    <a:cubicBezTo>
                      <a:pt x="372" y="435"/>
                      <a:pt x="372" y="435"/>
                      <a:pt x="372" y="404"/>
                    </a:cubicBezTo>
                    <a:lnTo>
                      <a:pt x="372" y="404"/>
                    </a:lnTo>
                    <a:cubicBezTo>
                      <a:pt x="403" y="404"/>
                      <a:pt x="403" y="372"/>
                      <a:pt x="403" y="372"/>
                    </a:cubicBezTo>
                    <a:cubicBezTo>
                      <a:pt x="433" y="372"/>
                      <a:pt x="433" y="372"/>
                      <a:pt x="433" y="404"/>
                    </a:cubicBezTo>
                    <a:lnTo>
                      <a:pt x="433" y="404"/>
                    </a:lnTo>
                    <a:lnTo>
                      <a:pt x="433" y="404"/>
                    </a:lnTo>
                    <a:lnTo>
                      <a:pt x="433" y="404"/>
                    </a:lnTo>
                    <a:lnTo>
                      <a:pt x="433" y="404"/>
                    </a:lnTo>
                    <a:lnTo>
                      <a:pt x="464" y="404"/>
                    </a:lnTo>
                    <a:lnTo>
                      <a:pt x="464" y="372"/>
                    </a:lnTo>
                    <a:lnTo>
                      <a:pt x="464" y="372"/>
                    </a:lnTo>
                    <a:cubicBezTo>
                      <a:pt x="433" y="372"/>
                      <a:pt x="433" y="372"/>
                      <a:pt x="433" y="372"/>
                    </a:cubicBezTo>
                    <a:cubicBezTo>
                      <a:pt x="433" y="341"/>
                      <a:pt x="464" y="341"/>
                      <a:pt x="464" y="341"/>
                    </a:cubicBezTo>
                    <a:cubicBezTo>
                      <a:pt x="464" y="311"/>
                      <a:pt x="496" y="311"/>
                      <a:pt x="496" y="311"/>
                    </a:cubicBezTo>
                    <a:lnTo>
                      <a:pt x="496" y="311"/>
                    </a:lnTo>
                    <a:lnTo>
                      <a:pt x="496" y="311"/>
                    </a:lnTo>
                    <a:lnTo>
                      <a:pt x="496" y="311"/>
                    </a:lnTo>
                    <a:cubicBezTo>
                      <a:pt x="496" y="280"/>
                      <a:pt x="496" y="280"/>
                      <a:pt x="496" y="280"/>
                    </a:cubicBezTo>
                    <a:lnTo>
                      <a:pt x="496" y="248"/>
                    </a:lnTo>
                    <a:lnTo>
                      <a:pt x="527" y="248"/>
                    </a:lnTo>
                    <a:lnTo>
                      <a:pt x="527" y="248"/>
                    </a:lnTo>
                    <a:lnTo>
                      <a:pt x="527" y="248"/>
                    </a:lnTo>
                    <a:cubicBezTo>
                      <a:pt x="527" y="217"/>
                      <a:pt x="527" y="217"/>
                      <a:pt x="527" y="217"/>
                    </a:cubicBezTo>
                    <a:cubicBezTo>
                      <a:pt x="557" y="217"/>
                      <a:pt x="557" y="187"/>
                      <a:pt x="557" y="187"/>
                    </a:cubicBezTo>
                    <a:cubicBezTo>
                      <a:pt x="557" y="187"/>
                      <a:pt x="557" y="187"/>
                      <a:pt x="589" y="18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72" name="Freeform 69"/>
              <p:cNvSpPr>
                <a:spLocks noChangeArrowheads="1"/>
              </p:cNvSpPr>
              <p:nvPr/>
            </p:nvSpPr>
            <p:spPr bwMode="auto">
              <a:xfrm>
                <a:off x="4784725" y="1612900"/>
                <a:ext cx="234950" cy="155575"/>
              </a:xfrm>
              <a:custGeom>
                <a:avLst/>
                <a:gdLst>
                  <a:gd name="T0" fmla="*/ 124 w 652"/>
                  <a:gd name="T1" fmla="*/ 0 h 434"/>
                  <a:gd name="T2" fmla="*/ 124 w 652"/>
                  <a:gd name="T3" fmla="*/ 0 h 434"/>
                  <a:gd name="T4" fmla="*/ 0 w 652"/>
                  <a:gd name="T5" fmla="*/ 217 h 434"/>
                  <a:gd name="T6" fmla="*/ 31 w 652"/>
                  <a:gd name="T7" fmla="*/ 217 h 434"/>
                  <a:gd name="T8" fmla="*/ 31 w 652"/>
                  <a:gd name="T9" fmla="*/ 185 h 434"/>
                  <a:gd name="T10" fmla="*/ 61 w 652"/>
                  <a:gd name="T11" fmla="*/ 154 h 434"/>
                  <a:gd name="T12" fmla="*/ 61 w 652"/>
                  <a:gd name="T13" fmla="*/ 154 h 434"/>
                  <a:gd name="T14" fmla="*/ 124 w 652"/>
                  <a:gd name="T15" fmla="*/ 124 h 434"/>
                  <a:gd name="T16" fmla="*/ 155 w 652"/>
                  <a:gd name="T17" fmla="*/ 124 h 434"/>
                  <a:gd name="T18" fmla="*/ 185 w 652"/>
                  <a:gd name="T19" fmla="*/ 124 h 434"/>
                  <a:gd name="T20" fmla="*/ 185 w 652"/>
                  <a:gd name="T21" fmla="*/ 154 h 434"/>
                  <a:gd name="T22" fmla="*/ 217 w 652"/>
                  <a:gd name="T23" fmla="*/ 154 h 434"/>
                  <a:gd name="T24" fmla="*/ 248 w 652"/>
                  <a:gd name="T25" fmla="*/ 185 h 434"/>
                  <a:gd name="T26" fmla="*/ 248 w 652"/>
                  <a:gd name="T27" fmla="*/ 217 h 434"/>
                  <a:gd name="T28" fmla="*/ 248 w 652"/>
                  <a:gd name="T29" fmla="*/ 217 h 434"/>
                  <a:gd name="T30" fmla="*/ 279 w 652"/>
                  <a:gd name="T31" fmla="*/ 217 h 434"/>
                  <a:gd name="T32" fmla="*/ 309 w 652"/>
                  <a:gd name="T33" fmla="*/ 217 h 434"/>
                  <a:gd name="T34" fmla="*/ 341 w 652"/>
                  <a:gd name="T35" fmla="*/ 248 h 434"/>
                  <a:gd name="T36" fmla="*/ 341 w 652"/>
                  <a:gd name="T37" fmla="*/ 278 h 434"/>
                  <a:gd name="T38" fmla="*/ 372 w 652"/>
                  <a:gd name="T39" fmla="*/ 309 h 434"/>
                  <a:gd name="T40" fmla="*/ 372 w 652"/>
                  <a:gd name="T41" fmla="*/ 309 h 434"/>
                  <a:gd name="T42" fmla="*/ 403 w 652"/>
                  <a:gd name="T43" fmla="*/ 309 h 434"/>
                  <a:gd name="T44" fmla="*/ 433 w 652"/>
                  <a:gd name="T45" fmla="*/ 372 h 434"/>
                  <a:gd name="T46" fmla="*/ 465 w 652"/>
                  <a:gd name="T47" fmla="*/ 372 h 434"/>
                  <a:gd name="T48" fmla="*/ 527 w 652"/>
                  <a:gd name="T49" fmla="*/ 402 h 434"/>
                  <a:gd name="T50" fmla="*/ 589 w 652"/>
                  <a:gd name="T51" fmla="*/ 402 h 434"/>
                  <a:gd name="T52" fmla="*/ 589 w 652"/>
                  <a:gd name="T53" fmla="*/ 402 h 434"/>
                  <a:gd name="T54" fmla="*/ 589 w 652"/>
                  <a:gd name="T55" fmla="*/ 402 h 434"/>
                  <a:gd name="T56" fmla="*/ 589 w 652"/>
                  <a:gd name="T57" fmla="*/ 372 h 434"/>
                  <a:gd name="T58" fmla="*/ 589 w 652"/>
                  <a:gd name="T59" fmla="*/ 341 h 434"/>
                  <a:gd name="T60" fmla="*/ 620 w 652"/>
                  <a:gd name="T61" fmla="*/ 309 h 434"/>
                  <a:gd name="T62" fmla="*/ 620 w 652"/>
                  <a:gd name="T63" fmla="*/ 309 h 434"/>
                  <a:gd name="T64" fmla="*/ 651 w 652"/>
                  <a:gd name="T65" fmla="*/ 309 h 434"/>
                  <a:gd name="T66" fmla="*/ 651 w 652"/>
                  <a:gd name="T67" fmla="*/ 309 h 434"/>
                  <a:gd name="T68" fmla="*/ 620 w 652"/>
                  <a:gd name="T69" fmla="*/ 278 h 434"/>
                  <a:gd name="T70" fmla="*/ 620 w 652"/>
                  <a:gd name="T71" fmla="*/ 278 h 434"/>
                  <a:gd name="T72" fmla="*/ 620 w 652"/>
                  <a:gd name="T73" fmla="*/ 278 h 434"/>
                  <a:gd name="T74" fmla="*/ 589 w 652"/>
                  <a:gd name="T75" fmla="*/ 278 h 434"/>
                  <a:gd name="T76" fmla="*/ 557 w 652"/>
                  <a:gd name="T77" fmla="*/ 248 h 434"/>
                  <a:gd name="T78" fmla="*/ 557 w 652"/>
                  <a:gd name="T79" fmla="*/ 248 h 434"/>
                  <a:gd name="T80" fmla="*/ 496 w 652"/>
                  <a:gd name="T81" fmla="*/ 154 h 434"/>
                  <a:gd name="T82" fmla="*/ 496 w 652"/>
                  <a:gd name="T83" fmla="*/ 124 h 434"/>
                  <a:gd name="T84" fmla="*/ 496 w 652"/>
                  <a:gd name="T85" fmla="*/ 124 h 434"/>
                  <a:gd name="T86" fmla="*/ 465 w 652"/>
                  <a:gd name="T87" fmla="*/ 124 h 434"/>
                  <a:gd name="T88" fmla="*/ 433 w 652"/>
                  <a:gd name="T89" fmla="*/ 124 h 434"/>
                  <a:gd name="T90" fmla="*/ 372 w 652"/>
                  <a:gd name="T91" fmla="*/ 124 h 434"/>
                  <a:gd name="T92" fmla="*/ 341 w 652"/>
                  <a:gd name="T93" fmla="*/ 124 h 434"/>
                  <a:gd name="T94" fmla="*/ 309 w 652"/>
                  <a:gd name="T95" fmla="*/ 124 h 434"/>
                  <a:gd name="T96" fmla="*/ 248 w 652"/>
                  <a:gd name="T97" fmla="*/ 61 h 434"/>
                  <a:gd name="T98" fmla="*/ 248 w 652"/>
                  <a:gd name="T99" fmla="*/ 61 h 434"/>
                  <a:gd name="T100" fmla="*/ 185 w 652"/>
                  <a:gd name="T101" fmla="*/ 93 h 434"/>
                  <a:gd name="T102" fmla="*/ 155 w 652"/>
                  <a:gd name="T103" fmla="*/ 61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2" h="434">
                    <a:moveTo>
                      <a:pt x="124" y="0"/>
                    </a:moveTo>
                    <a:lnTo>
                      <a:pt x="124" y="0"/>
                    </a:lnTo>
                    <a:lnTo>
                      <a:pt x="124" y="0"/>
                    </a:lnTo>
                    <a:lnTo>
                      <a:pt x="124" y="0"/>
                    </a:lnTo>
                    <a:cubicBezTo>
                      <a:pt x="0" y="31"/>
                      <a:pt x="0" y="31"/>
                      <a:pt x="0" y="31"/>
                    </a:cubicBezTo>
                    <a:cubicBezTo>
                      <a:pt x="0" y="217"/>
                      <a:pt x="0" y="217"/>
                      <a:pt x="0" y="217"/>
                    </a:cubicBezTo>
                    <a:lnTo>
                      <a:pt x="0" y="217"/>
                    </a:lnTo>
                    <a:cubicBezTo>
                      <a:pt x="31" y="217"/>
                      <a:pt x="31" y="217"/>
                      <a:pt x="31" y="217"/>
                    </a:cubicBezTo>
                    <a:lnTo>
                      <a:pt x="31" y="217"/>
                    </a:lnTo>
                    <a:cubicBezTo>
                      <a:pt x="31" y="185"/>
                      <a:pt x="31" y="185"/>
                      <a:pt x="31" y="185"/>
                    </a:cubicBezTo>
                    <a:cubicBezTo>
                      <a:pt x="31" y="154"/>
                      <a:pt x="61" y="154"/>
                      <a:pt x="61" y="154"/>
                    </a:cubicBezTo>
                    <a:lnTo>
                      <a:pt x="61" y="154"/>
                    </a:lnTo>
                    <a:lnTo>
                      <a:pt x="61" y="154"/>
                    </a:lnTo>
                    <a:lnTo>
                      <a:pt x="61" y="154"/>
                    </a:lnTo>
                    <a:lnTo>
                      <a:pt x="61" y="154"/>
                    </a:lnTo>
                    <a:cubicBezTo>
                      <a:pt x="93" y="124"/>
                      <a:pt x="93" y="124"/>
                      <a:pt x="124" y="124"/>
                    </a:cubicBezTo>
                    <a:lnTo>
                      <a:pt x="124" y="124"/>
                    </a:lnTo>
                    <a:lnTo>
                      <a:pt x="155" y="124"/>
                    </a:lnTo>
                    <a:lnTo>
                      <a:pt x="185" y="124"/>
                    </a:lnTo>
                    <a:lnTo>
                      <a:pt x="185" y="124"/>
                    </a:lnTo>
                    <a:cubicBezTo>
                      <a:pt x="185" y="124"/>
                      <a:pt x="185" y="124"/>
                      <a:pt x="185" y="154"/>
                    </a:cubicBezTo>
                    <a:lnTo>
                      <a:pt x="185" y="154"/>
                    </a:lnTo>
                    <a:lnTo>
                      <a:pt x="185" y="154"/>
                    </a:lnTo>
                    <a:cubicBezTo>
                      <a:pt x="217" y="154"/>
                      <a:pt x="217" y="154"/>
                      <a:pt x="217" y="154"/>
                    </a:cubicBezTo>
                    <a:lnTo>
                      <a:pt x="217" y="154"/>
                    </a:lnTo>
                    <a:cubicBezTo>
                      <a:pt x="248" y="185"/>
                      <a:pt x="248" y="185"/>
                      <a:pt x="248" y="185"/>
                    </a:cubicBezTo>
                    <a:lnTo>
                      <a:pt x="248" y="185"/>
                    </a:lnTo>
                    <a:cubicBezTo>
                      <a:pt x="248" y="217"/>
                      <a:pt x="248" y="217"/>
                      <a:pt x="248" y="217"/>
                    </a:cubicBezTo>
                    <a:lnTo>
                      <a:pt x="248" y="217"/>
                    </a:lnTo>
                    <a:lnTo>
                      <a:pt x="248" y="217"/>
                    </a:lnTo>
                    <a:cubicBezTo>
                      <a:pt x="248" y="217"/>
                      <a:pt x="248" y="217"/>
                      <a:pt x="279" y="217"/>
                    </a:cubicBezTo>
                    <a:lnTo>
                      <a:pt x="279" y="217"/>
                    </a:lnTo>
                    <a:lnTo>
                      <a:pt x="279" y="217"/>
                    </a:lnTo>
                    <a:lnTo>
                      <a:pt x="309" y="217"/>
                    </a:lnTo>
                    <a:lnTo>
                      <a:pt x="341" y="248"/>
                    </a:lnTo>
                    <a:lnTo>
                      <a:pt x="341" y="248"/>
                    </a:lnTo>
                    <a:lnTo>
                      <a:pt x="341" y="248"/>
                    </a:lnTo>
                    <a:lnTo>
                      <a:pt x="341" y="278"/>
                    </a:lnTo>
                    <a:cubicBezTo>
                      <a:pt x="372" y="278"/>
                      <a:pt x="372" y="309"/>
                      <a:pt x="372" y="309"/>
                    </a:cubicBezTo>
                    <a:lnTo>
                      <a:pt x="372" y="309"/>
                    </a:lnTo>
                    <a:lnTo>
                      <a:pt x="372" y="309"/>
                    </a:lnTo>
                    <a:lnTo>
                      <a:pt x="372" y="309"/>
                    </a:lnTo>
                    <a:lnTo>
                      <a:pt x="372" y="309"/>
                    </a:lnTo>
                    <a:lnTo>
                      <a:pt x="403" y="309"/>
                    </a:lnTo>
                    <a:cubicBezTo>
                      <a:pt x="403" y="341"/>
                      <a:pt x="433" y="341"/>
                      <a:pt x="433" y="341"/>
                    </a:cubicBezTo>
                    <a:cubicBezTo>
                      <a:pt x="433" y="372"/>
                      <a:pt x="433" y="372"/>
                      <a:pt x="433" y="372"/>
                    </a:cubicBezTo>
                    <a:cubicBezTo>
                      <a:pt x="433" y="372"/>
                      <a:pt x="433" y="372"/>
                      <a:pt x="465" y="372"/>
                    </a:cubicBezTo>
                    <a:lnTo>
                      <a:pt x="465" y="372"/>
                    </a:lnTo>
                    <a:lnTo>
                      <a:pt x="496" y="372"/>
                    </a:lnTo>
                    <a:cubicBezTo>
                      <a:pt x="527" y="402"/>
                      <a:pt x="527" y="402"/>
                      <a:pt x="527" y="402"/>
                    </a:cubicBezTo>
                    <a:lnTo>
                      <a:pt x="589" y="402"/>
                    </a:lnTo>
                    <a:lnTo>
                      <a:pt x="589" y="402"/>
                    </a:lnTo>
                    <a:cubicBezTo>
                      <a:pt x="620" y="433"/>
                      <a:pt x="620" y="433"/>
                      <a:pt x="620" y="433"/>
                    </a:cubicBezTo>
                    <a:cubicBezTo>
                      <a:pt x="589" y="402"/>
                      <a:pt x="589" y="402"/>
                      <a:pt x="589" y="402"/>
                    </a:cubicBezTo>
                    <a:lnTo>
                      <a:pt x="589" y="402"/>
                    </a:lnTo>
                    <a:lnTo>
                      <a:pt x="589" y="402"/>
                    </a:lnTo>
                    <a:lnTo>
                      <a:pt x="589" y="402"/>
                    </a:lnTo>
                    <a:lnTo>
                      <a:pt x="589" y="372"/>
                    </a:lnTo>
                    <a:cubicBezTo>
                      <a:pt x="589" y="372"/>
                      <a:pt x="589" y="372"/>
                      <a:pt x="589" y="341"/>
                    </a:cubicBezTo>
                    <a:lnTo>
                      <a:pt x="589" y="341"/>
                    </a:lnTo>
                    <a:lnTo>
                      <a:pt x="589" y="341"/>
                    </a:lnTo>
                    <a:cubicBezTo>
                      <a:pt x="620" y="309"/>
                      <a:pt x="620" y="309"/>
                      <a:pt x="620" y="309"/>
                    </a:cubicBezTo>
                    <a:lnTo>
                      <a:pt x="620" y="309"/>
                    </a:lnTo>
                    <a:lnTo>
                      <a:pt x="620" y="309"/>
                    </a:lnTo>
                    <a:cubicBezTo>
                      <a:pt x="620" y="309"/>
                      <a:pt x="620" y="309"/>
                      <a:pt x="651" y="309"/>
                    </a:cubicBezTo>
                    <a:lnTo>
                      <a:pt x="651" y="309"/>
                    </a:lnTo>
                    <a:lnTo>
                      <a:pt x="651" y="309"/>
                    </a:lnTo>
                    <a:lnTo>
                      <a:pt x="651" y="309"/>
                    </a:lnTo>
                    <a:cubicBezTo>
                      <a:pt x="651" y="309"/>
                      <a:pt x="651" y="278"/>
                      <a:pt x="620" y="278"/>
                    </a:cubicBezTo>
                    <a:lnTo>
                      <a:pt x="620" y="278"/>
                    </a:lnTo>
                    <a:lnTo>
                      <a:pt x="620" y="278"/>
                    </a:lnTo>
                    <a:lnTo>
                      <a:pt x="620" y="278"/>
                    </a:lnTo>
                    <a:lnTo>
                      <a:pt x="620" y="278"/>
                    </a:lnTo>
                    <a:lnTo>
                      <a:pt x="620" y="278"/>
                    </a:lnTo>
                    <a:lnTo>
                      <a:pt x="620" y="278"/>
                    </a:lnTo>
                    <a:lnTo>
                      <a:pt x="589" y="278"/>
                    </a:lnTo>
                    <a:lnTo>
                      <a:pt x="589" y="278"/>
                    </a:lnTo>
                    <a:cubicBezTo>
                      <a:pt x="589" y="278"/>
                      <a:pt x="557" y="278"/>
                      <a:pt x="557" y="248"/>
                    </a:cubicBezTo>
                    <a:lnTo>
                      <a:pt x="557" y="248"/>
                    </a:lnTo>
                    <a:lnTo>
                      <a:pt x="557" y="248"/>
                    </a:lnTo>
                    <a:lnTo>
                      <a:pt x="557" y="217"/>
                    </a:lnTo>
                    <a:cubicBezTo>
                      <a:pt x="527" y="217"/>
                      <a:pt x="496" y="185"/>
                      <a:pt x="496" y="154"/>
                    </a:cubicBezTo>
                    <a:lnTo>
                      <a:pt x="496" y="154"/>
                    </a:lnTo>
                    <a:lnTo>
                      <a:pt x="496" y="124"/>
                    </a:lnTo>
                    <a:lnTo>
                      <a:pt x="496" y="124"/>
                    </a:lnTo>
                    <a:lnTo>
                      <a:pt x="496" y="124"/>
                    </a:lnTo>
                    <a:lnTo>
                      <a:pt x="465" y="124"/>
                    </a:lnTo>
                    <a:lnTo>
                      <a:pt x="465" y="124"/>
                    </a:lnTo>
                    <a:lnTo>
                      <a:pt x="465" y="124"/>
                    </a:lnTo>
                    <a:cubicBezTo>
                      <a:pt x="433" y="124"/>
                      <a:pt x="433" y="124"/>
                      <a:pt x="433" y="124"/>
                    </a:cubicBezTo>
                    <a:lnTo>
                      <a:pt x="433" y="124"/>
                    </a:lnTo>
                    <a:cubicBezTo>
                      <a:pt x="403" y="124"/>
                      <a:pt x="403" y="124"/>
                      <a:pt x="372" y="124"/>
                    </a:cubicBezTo>
                    <a:lnTo>
                      <a:pt x="372" y="124"/>
                    </a:lnTo>
                    <a:lnTo>
                      <a:pt x="341" y="124"/>
                    </a:lnTo>
                    <a:cubicBezTo>
                      <a:pt x="341" y="124"/>
                      <a:pt x="341" y="124"/>
                      <a:pt x="309" y="124"/>
                    </a:cubicBezTo>
                    <a:lnTo>
                      <a:pt x="309" y="124"/>
                    </a:lnTo>
                    <a:cubicBezTo>
                      <a:pt x="279" y="93"/>
                      <a:pt x="279" y="93"/>
                      <a:pt x="248" y="93"/>
                    </a:cubicBezTo>
                    <a:cubicBezTo>
                      <a:pt x="248" y="61"/>
                      <a:pt x="248" y="61"/>
                      <a:pt x="248" y="61"/>
                    </a:cubicBezTo>
                    <a:lnTo>
                      <a:pt x="248" y="61"/>
                    </a:lnTo>
                    <a:lnTo>
                      <a:pt x="248" y="61"/>
                    </a:lnTo>
                    <a:cubicBezTo>
                      <a:pt x="248" y="93"/>
                      <a:pt x="217" y="93"/>
                      <a:pt x="217" y="93"/>
                    </a:cubicBezTo>
                    <a:cubicBezTo>
                      <a:pt x="185" y="93"/>
                      <a:pt x="185" y="93"/>
                      <a:pt x="185" y="93"/>
                    </a:cubicBezTo>
                    <a:lnTo>
                      <a:pt x="185" y="93"/>
                    </a:lnTo>
                    <a:cubicBezTo>
                      <a:pt x="155" y="61"/>
                      <a:pt x="155" y="61"/>
                      <a:pt x="155" y="61"/>
                    </a:cubicBezTo>
                    <a:cubicBezTo>
                      <a:pt x="155" y="61"/>
                      <a:pt x="124" y="61"/>
                      <a:pt x="124"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73" name="Freeform 70"/>
              <p:cNvSpPr>
                <a:spLocks noChangeArrowheads="1"/>
              </p:cNvSpPr>
              <p:nvPr/>
            </p:nvSpPr>
            <p:spPr bwMode="auto">
              <a:xfrm>
                <a:off x="5064125" y="1701800"/>
                <a:ext cx="33338" cy="11113"/>
              </a:xfrm>
              <a:custGeom>
                <a:avLst/>
                <a:gdLst>
                  <a:gd name="T0" fmla="*/ 30 w 94"/>
                  <a:gd name="T1" fmla="*/ 30 h 31"/>
                  <a:gd name="T2" fmla="*/ 30 w 94"/>
                  <a:gd name="T3" fmla="*/ 30 h 31"/>
                  <a:gd name="T4" fmla="*/ 30 w 94"/>
                  <a:gd name="T5" fmla="*/ 30 h 31"/>
                  <a:gd name="T6" fmla="*/ 62 w 94"/>
                  <a:gd name="T7" fmla="*/ 30 h 31"/>
                  <a:gd name="T8" fmla="*/ 62 w 94"/>
                  <a:gd name="T9" fmla="*/ 30 h 31"/>
                  <a:gd name="T10" fmla="*/ 62 w 94"/>
                  <a:gd name="T11" fmla="*/ 30 h 31"/>
                  <a:gd name="T12" fmla="*/ 62 w 94"/>
                  <a:gd name="T13" fmla="*/ 30 h 31"/>
                  <a:gd name="T14" fmla="*/ 93 w 94"/>
                  <a:gd name="T15" fmla="*/ 30 h 31"/>
                  <a:gd name="T16" fmla="*/ 62 w 94"/>
                  <a:gd name="T17" fmla="*/ 0 h 31"/>
                  <a:gd name="T18" fmla="*/ 62 w 94"/>
                  <a:gd name="T19" fmla="*/ 30 h 31"/>
                  <a:gd name="T20" fmla="*/ 30 w 94"/>
                  <a:gd name="T21" fmla="*/ 30 h 31"/>
                  <a:gd name="T22" fmla="*/ 30 w 94"/>
                  <a:gd name="T23" fmla="*/ 30 h 31"/>
                  <a:gd name="T24" fmla="*/ 30 w 94"/>
                  <a:gd name="T25" fmla="*/ 30 h 31"/>
                  <a:gd name="T26" fmla="*/ 30 w 94"/>
                  <a:gd name="T27" fmla="*/ 30 h 31"/>
                  <a:gd name="T28" fmla="*/ 30 w 94"/>
                  <a:gd name="T29" fmla="*/ 30 h 31"/>
                  <a:gd name="T30" fmla="*/ 0 w 94"/>
                  <a:gd name="T31" fmla="*/ 30 h 31"/>
                  <a:gd name="T32" fmla="*/ 30 w 94"/>
                  <a:gd name="T33" fmla="*/ 30 h 31"/>
                  <a:gd name="T34" fmla="*/ 0 w 94"/>
                  <a:gd name="T35" fmla="*/ 30 h 31"/>
                  <a:gd name="T36" fmla="*/ 0 w 94"/>
                  <a:gd name="T37" fmla="*/ 30 h 31"/>
                  <a:gd name="T38" fmla="*/ 30 w 94"/>
                  <a:gd name="T39"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31">
                    <a:moveTo>
                      <a:pt x="30" y="30"/>
                    </a:moveTo>
                    <a:lnTo>
                      <a:pt x="30" y="30"/>
                    </a:lnTo>
                    <a:lnTo>
                      <a:pt x="30" y="30"/>
                    </a:lnTo>
                    <a:lnTo>
                      <a:pt x="62" y="30"/>
                    </a:lnTo>
                    <a:lnTo>
                      <a:pt x="62" y="30"/>
                    </a:lnTo>
                    <a:lnTo>
                      <a:pt x="62" y="30"/>
                    </a:lnTo>
                    <a:lnTo>
                      <a:pt x="62" y="30"/>
                    </a:lnTo>
                    <a:cubicBezTo>
                      <a:pt x="93" y="30"/>
                      <a:pt x="93" y="30"/>
                      <a:pt x="93" y="30"/>
                    </a:cubicBezTo>
                    <a:cubicBezTo>
                      <a:pt x="93" y="0"/>
                      <a:pt x="93" y="0"/>
                      <a:pt x="62" y="0"/>
                    </a:cubicBezTo>
                    <a:cubicBezTo>
                      <a:pt x="62" y="0"/>
                      <a:pt x="62" y="0"/>
                      <a:pt x="62" y="30"/>
                    </a:cubicBezTo>
                    <a:cubicBezTo>
                      <a:pt x="62" y="30"/>
                      <a:pt x="62" y="30"/>
                      <a:pt x="30" y="30"/>
                    </a:cubicBezTo>
                    <a:lnTo>
                      <a:pt x="30" y="30"/>
                    </a:lnTo>
                    <a:lnTo>
                      <a:pt x="30" y="30"/>
                    </a:lnTo>
                    <a:lnTo>
                      <a:pt x="30" y="30"/>
                    </a:lnTo>
                    <a:lnTo>
                      <a:pt x="30" y="30"/>
                    </a:lnTo>
                    <a:cubicBezTo>
                      <a:pt x="0" y="30"/>
                      <a:pt x="0" y="30"/>
                      <a:pt x="0" y="30"/>
                    </a:cubicBezTo>
                    <a:cubicBezTo>
                      <a:pt x="30" y="30"/>
                      <a:pt x="30" y="30"/>
                      <a:pt x="30" y="30"/>
                    </a:cubicBezTo>
                    <a:cubicBezTo>
                      <a:pt x="0" y="30"/>
                      <a:pt x="0" y="30"/>
                      <a:pt x="0" y="30"/>
                    </a:cubicBezTo>
                    <a:lnTo>
                      <a:pt x="0" y="30"/>
                    </a:lnTo>
                    <a:lnTo>
                      <a:pt x="30" y="3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74" name="Freeform 71"/>
              <p:cNvSpPr>
                <a:spLocks noChangeArrowheads="1"/>
              </p:cNvSpPr>
              <p:nvPr/>
            </p:nvSpPr>
            <p:spPr bwMode="auto">
              <a:xfrm>
                <a:off x="5040313" y="1701800"/>
                <a:ext cx="23812" cy="11113"/>
              </a:xfrm>
              <a:custGeom>
                <a:avLst/>
                <a:gdLst>
                  <a:gd name="T0" fmla="*/ 0 w 64"/>
                  <a:gd name="T1" fmla="*/ 30 h 31"/>
                  <a:gd name="T2" fmla="*/ 0 w 64"/>
                  <a:gd name="T3" fmla="*/ 30 h 31"/>
                  <a:gd name="T4" fmla="*/ 32 w 64"/>
                  <a:gd name="T5" fmla="*/ 30 h 31"/>
                  <a:gd name="T6" fmla="*/ 32 w 64"/>
                  <a:gd name="T7" fmla="*/ 30 h 31"/>
                  <a:gd name="T8" fmla="*/ 32 w 64"/>
                  <a:gd name="T9" fmla="*/ 30 h 31"/>
                  <a:gd name="T10" fmla="*/ 32 w 64"/>
                  <a:gd name="T11" fmla="*/ 30 h 31"/>
                  <a:gd name="T12" fmla="*/ 32 w 64"/>
                  <a:gd name="T13" fmla="*/ 30 h 31"/>
                  <a:gd name="T14" fmla="*/ 32 w 64"/>
                  <a:gd name="T15" fmla="*/ 30 h 31"/>
                  <a:gd name="T16" fmla="*/ 32 w 64"/>
                  <a:gd name="T17" fmla="*/ 30 h 31"/>
                  <a:gd name="T18" fmla="*/ 63 w 64"/>
                  <a:gd name="T19" fmla="*/ 30 h 31"/>
                  <a:gd name="T20" fmla="*/ 63 w 64"/>
                  <a:gd name="T21" fmla="*/ 0 h 31"/>
                  <a:gd name="T22" fmla="*/ 63 w 64"/>
                  <a:gd name="T23" fmla="*/ 0 h 31"/>
                  <a:gd name="T24" fmla="*/ 0 w 64"/>
                  <a:gd name="T25" fmla="*/ 0 h 31"/>
                  <a:gd name="T26" fmla="*/ 0 w 64"/>
                  <a:gd name="T27" fmla="*/ 0 h 31"/>
                  <a:gd name="T28" fmla="*/ 0 w 64"/>
                  <a:gd name="T29" fmla="*/ 0 h 31"/>
                  <a:gd name="T30" fmla="*/ 0 w 64"/>
                  <a:gd name="T31"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31">
                    <a:moveTo>
                      <a:pt x="0" y="30"/>
                    </a:moveTo>
                    <a:lnTo>
                      <a:pt x="0" y="30"/>
                    </a:lnTo>
                    <a:cubicBezTo>
                      <a:pt x="0" y="30"/>
                      <a:pt x="0" y="30"/>
                      <a:pt x="32" y="30"/>
                    </a:cubicBezTo>
                    <a:lnTo>
                      <a:pt x="32" y="30"/>
                    </a:lnTo>
                    <a:lnTo>
                      <a:pt x="32" y="30"/>
                    </a:lnTo>
                    <a:lnTo>
                      <a:pt x="32" y="30"/>
                    </a:lnTo>
                    <a:lnTo>
                      <a:pt x="32" y="30"/>
                    </a:lnTo>
                    <a:lnTo>
                      <a:pt x="32" y="30"/>
                    </a:lnTo>
                    <a:lnTo>
                      <a:pt x="32" y="30"/>
                    </a:lnTo>
                    <a:cubicBezTo>
                      <a:pt x="63" y="30"/>
                      <a:pt x="63" y="30"/>
                      <a:pt x="63" y="30"/>
                    </a:cubicBezTo>
                    <a:cubicBezTo>
                      <a:pt x="63" y="0"/>
                      <a:pt x="63" y="0"/>
                      <a:pt x="63" y="0"/>
                    </a:cubicBezTo>
                    <a:lnTo>
                      <a:pt x="63" y="0"/>
                    </a:lnTo>
                    <a:cubicBezTo>
                      <a:pt x="32" y="0"/>
                      <a:pt x="32" y="0"/>
                      <a:pt x="0" y="0"/>
                    </a:cubicBezTo>
                    <a:lnTo>
                      <a:pt x="0" y="0"/>
                    </a:lnTo>
                    <a:lnTo>
                      <a:pt x="0" y="0"/>
                    </a:lnTo>
                    <a:cubicBezTo>
                      <a:pt x="0" y="30"/>
                      <a:pt x="0" y="30"/>
                      <a:pt x="0" y="3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75" name="Freeform 72"/>
              <p:cNvSpPr>
                <a:spLocks noChangeArrowheads="1"/>
              </p:cNvSpPr>
              <p:nvPr/>
            </p:nvSpPr>
            <p:spPr bwMode="auto">
              <a:xfrm>
                <a:off x="5097463" y="1747838"/>
                <a:ext cx="55562" cy="44450"/>
              </a:xfrm>
              <a:custGeom>
                <a:avLst/>
                <a:gdLst>
                  <a:gd name="T0" fmla="*/ 0 w 155"/>
                  <a:gd name="T1" fmla="*/ 93 h 125"/>
                  <a:gd name="T2" fmla="*/ 0 w 155"/>
                  <a:gd name="T3" fmla="*/ 93 h 125"/>
                  <a:gd name="T4" fmla="*/ 0 w 155"/>
                  <a:gd name="T5" fmla="*/ 124 h 125"/>
                  <a:gd name="T6" fmla="*/ 0 w 155"/>
                  <a:gd name="T7" fmla="*/ 124 h 125"/>
                  <a:gd name="T8" fmla="*/ 0 w 155"/>
                  <a:gd name="T9" fmla="*/ 124 h 125"/>
                  <a:gd name="T10" fmla="*/ 0 w 155"/>
                  <a:gd name="T11" fmla="*/ 124 h 125"/>
                  <a:gd name="T12" fmla="*/ 0 w 155"/>
                  <a:gd name="T13" fmla="*/ 124 h 125"/>
                  <a:gd name="T14" fmla="*/ 30 w 155"/>
                  <a:gd name="T15" fmla="*/ 124 h 125"/>
                  <a:gd name="T16" fmla="*/ 30 w 155"/>
                  <a:gd name="T17" fmla="*/ 124 h 125"/>
                  <a:gd name="T18" fmla="*/ 30 w 155"/>
                  <a:gd name="T19" fmla="*/ 124 h 125"/>
                  <a:gd name="T20" fmla="*/ 30 w 155"/>
                  <a:gd name="T21" fmla="*/ 124 h 125"/>
                  <a:gd name="T22" fmla="*/ 61 w 155"/>
                  <a:gd name="T23" fmla="*/ 124 h 125"/>
                  <a:gd name="T24" fmla="*/ 61 w 155"/>
                  <a:gd name="T25" fmla="*/ 124 h 125"/>
                  <a:gd name="T26" fmla="*/ 61 w 155"/>
                  <a:gd name="T27" fmla="*/ 124 h 125"/>
                  <a:gd name="T28" fmla="*/ 61 w 155"/>
                  <a:gd name="T29" fmla="*/ 124 h 125"/>
                  <a:gd name="T30" fmla="*/ 61 w 155"/>
                  <a:gd name="T31" fmla="*/ 124 h 125"/>
                  <a:gd name="T32" fmla="*/ 93 w 155"/>
                  <a:gd name="T33" fmla="*/ 124 h 125"/>
                  <a:gd name="T34" fmla="*/ 93 w 155"/>
                  <a:gd name="T35" fmla="*/ 124 h 125"/>
                  <a:gd name="T36" fmla="*/ 124 w 155"/>
                  <a:gd name="T37" fmla="*/ 124 h 125"/>
                  <a:gd name="T38" fmla="*/ 124 w 155"/>
                  <a:gd name="T39" fmla="*/ 124 h 125"/>
                  <a:gd name="T40" fmla="*/ 124 w 155"/>
                  <a:gd name="T41" fmla="*/ 93 h 125"/>
                  <a:gd name="T42" fmla="*/ 124 w 155"/>
                  <a:gd name="T43" fmla="*/ 93 h 125"/>
                  <a:gd name="T44" fmla="*/ 154 w 155"/>
                  <a:gd name="T45" fmla="*/ 93 h 125"/>
                  <a:gd name="T46" fmla="*/ 154 w 155"/>
                  <a:gd name="T47" fmla="*/ 93 h 125"/>
                  <a:gd name="T48" fmla="*/ 154 w 155"/>
                  <a:gd name="T49" fmla="*/ 61 h 125"/>
                  <a:gd name="T50" fmla="*/ 154 w 155"/>
                  <a:gd name="T51" fmla="*/ 61 h 125"/>
                  <a:gd name="T52" fmla="*/ 154 w 155"/>
                  <a:gd name="T53" fmla="*/ 61 h 125"/>
                  <a:gd name="T54" fmla="*/ 154 w 155"/>
                  <a:gd name="T55" fmla="*/ 61 h 125"/>
                  <a:gd name="T56" fmla="*/ 124 w 155"/>
                  <a:gd name="T57" fmla="*/ 61 h 125"/>
                  <a:gd name="T58" fmla="*/ 124 w 155"/>
                  <a:gd name="T59" fmla="*/ 61 h 125"/>
                  <a:gd name="T60" fmla="*/ 124 w 155"/>
                  <a:gd name="T61" fmla="*/ 61 h 125"/>
                  <a:gd name="T62" fmla="*/ 124 w 155"/>
                  <a:gd name="T63" fmla="*/ 61 h 125"/>
                  <a:gd name="T64" fmla="*/ 93 w 155"/>
                  <a:gd name="T65" fmla="*/ 30 h 125"/>
                  <a:gd name="T66" fmla="*/ 93 w 155"/>
                  <a:gd name="T67" fmla="*/ 30 h 125"/>
                  <a:gd name="T68" fmla="*/ 61 w 155"/>
                  <a:gd name="T69" fmla="*/ 30 h 125"/>
                  <a:gd name="T70" fmla="*/ 61 w 155"/>
                  <a:gd name="T71" fmla="*/ 30 h 125"/>
                  <a:gd name="T72" fmla="*/ 61 w 155"/>
                  <a:gd name="T73" fmla="*/ 30 h 125"/>
                  <a:gd name="T74" fmla="*/ 30 w 155"/>
                  <a:gd name="T75" fmla="*/ 0 h 125"/>
                  <a:gd name="T76" fmla="*/ 30 w 155"/>
                  <a:gd name="T77" fmla="*/ 0 h 125"/>
                  <a:gd name="T78" fmla="*/ 30 w 155"/>
                  <a:gd name="T79" fmla="*/ 0 h 125"/>
                  <a:gd name="T80" fmla="*/ 30 w 155"/>
                  <a:gd name="T81" fmla="*/ 0 h 125"/>
                  <a:gd name="T82" fmla="*/ 30 w 155"/>
                  <a:gd name="T83" fmla="*/ 0 h 125"/>
                  <a:gd name="T84" fmla="*/ 0 w 155"/>
                  <a:gd name="T85" fmla="*/ 30 h 125"/>
                  <a:gd name="T86" fmla="*/ 0 w 155"/>
                  <a:gd name="T87" fmla="*/ 61 h 125"/>
                  <a:gd name="T88" fmla="*/ 0 w 155"/>
                  <a:gd name="T89" fmla="*/ 61 h 125"/>
                  <a:gd name="T90" fmla="*/ 0 w 155"/>
                  <a:gd name="T91" fmla="*/ 61 h 125"/>
                  <a:gd name="T92" fmla="*/ 0 w 155"/>
                  <a:gd name="T93" fmla="*/ 61 h 125"/>
                  <a:gd name="T94" fmla="*/ 0 w 155"/>
                  <a:gd name="T9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5" h="125">
                    <a:moveTo>
                      <a:pt x="0" y="93"/>
                    </a:moveTo>
                    <a:lnTo>
                      <a:pt x="0" y="93"/>
                    </a:lnTo>
                    <a:cubicBezTo>
                      <a:pt x="0" y="124"/>
                      <a:pt x="0" y="124"/>
                      <a:pt x="0" y="124"/>
                    </a:cubicBezTo>
                    <a:lnTo>
                      <a:pt x="0" y="124"/>
                    </a:lnTo>
                    <a:lnTo>
                      <a:pt x="0" y="124"/>
                    </a:lnTo>
                    <a:lnTo>
                      <a:pt x="0" y="124"/>
                    </a:lnTo>
                    <a:lnTo>
                      <a:pt x="0" y="124"/>
                    </a:lnTo>
                    <a:cubicBezTo>
                      <a:pt x="0" y="124"/>
                      <a:pt x="0" y="124"/>
                      <a:pt x="30" y="124"/>
                    </a:cubicBezTo>
                    <a:lnTo>
                      <a:pt x="30" y="124"/>
                    </a:lnTo>
                    <a:lnTo>
                      <a:pt x="30" y="124"/>
                    </a:lnTo>
                    <a:lnTo>
                      <a:pt x="30" y="124"/>
                    </a:lnTo>
                    <a:lnTo>
                      <a:pt x="61" y="124"/>
                    </a:lnTo>
                    <a:lnTo>
                      <a:pt x="61" y="124"/>
                    </a:lnTo>
                    <a:lnTo>
                      <a:pt x="61" y="124"/>
                    </a:lnTo>
                    <a:lnTo>
                      <a:pt x="61" y="124"/>
                    </a:lnTo>
                    <a:lnTo>
                      <a:pt x="61" y="124"/>
                    </a:lnTo>
                    <a:cubicBezTo>
                      <a:pt x="93" y="124"/>
                      <a:pt x="93" y="124"/>
                      <a:pt x="93" y="124"/>
                    </a:cubicBezTo>
                    <a:lnTo>
                      <a:pt x="93" y="124"/>
                    </a:lnTo>
                    <a:lnTo>
                      <a:pt x="124" y="124"/>
                    </a:lnTo>
                    <a:lnTo>
                      <a:pt x="124" y="124"/>
                    </a:lnTo>
                    <a:cubicBezTo>
                      <a:pt x="124" y="93"/>
                      <a:pt x="124" y="93"/>
                      <a:pt x="124" y="93"/>
                    </a:cubicBezTo>
                    <a:lnTo>
                      <a:pt x="124" y="93"/>
                    </a:lnTo>
                    <a:lnTo>
                      <a:pt x="154" y="93"/>
                    </a:lnTo>
                    <a:lnTo>
                      <a:pt x="154" y="93"/>
                    </a:lnTo>
                    <a:lnTo>
                      <a:pt x="154" y="61"/>
                    </a:lnTo>
                    <a:lnTo>
                      <a:pt x="154" y="61"/>
                    </a:lnTo>
                    <a:lnTo>
                      <a:pt x="154" y="61"/>
                    </a:lnTo>
                    <a:lnTo>
                      <a:pt x="154" y="61"/>
                    </a:lnTo>
                    <a:lnTo>
                      <a:pt x="124" y="61"/>
                    </a:lnTo>
                    <a:lnTo>
                      <a:pt x="124" y="61"/>
                    </a:lnTo>
                    <a:lnTo>
                      <a:pt x="124" y="61"/>
                    </a:lnTo>
                    <a:lnTo>
                      <a:pt x="124" y="61"/>
                    </a:lnTo>
                    <a:cubicBezTo>
                      <a:pt x="93" y="61"/>
                      <a:pt x="93" y="61"/>
                      <a:pt x="93" y="30"/>
                    </a:cubicBezTo>
                    <a:lnTo>
                      <a:pt x="93" y="30"/>
                    </a:lnTo>
                    <a:lnTo>
                      <a:pt x="61" y="30"/>
                    </a:lnTo>
                    <a:lnTo>
                      <a:pt x="61" y="30"/>
                    </a:lnTo>
                    <a:lnTo>
                      <a:pt x="61" y="30"/>
                    </a:lnTo>
                    <a:cubicBezTo>
                      <a:pt x="61" y="30"/>
                      <a:pt x="61" y="0"/>
                      <a:pt x="30" y="0"/>
                    </a:cubicBezTo>
                    <a:lnTo>
                      <a:pt x="30" y="0"/>
                    </a:lnTo>
                    <a:lnTo>
                      <a:pt x="30" y="0"/>
                    </a:lnTo>
                    <a:lnTo>
                      <a:pt x="30" y="0"/>
                    </a:lnTo>
                    <a:lnTo>
                      <a:pt x="30" y="0"/>
                    </a:lnTo>
                    <a:cubicBezTo>
                      <a:pt x="30" y="30"/>
                      <a:pt x="0" y="30"/>
                      <a:pt x="0" y="30"/>
                    </a:cubicBezTo>
                    <a:cubicBezTo>
                      <a:pt x="0" y="30"/>
                      <a:pt x="0" y="30"/>
                      <a:pt x="0" y="61"/>
                    </a:cubicBezTo>
                    <a:lnTo>
                      <a:pt x="0" y="61"/>
                    </a:lnTo>
                    <a:lnTo>
                      <a:pt x="0" y="61"/>
                    </a:lnTo>
                    <a:lnTo>
                      <a:pt x="0" y="61"/>
                    </a:lnTo>
                    <a:cubicBezTo>
                      <a:pt x="0" y="61"/>
                      <a:pt x="0" y="61"/>
                      <a:pt x="0" y="9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76" name="Freeform 73"/>
              <p:cNvSpPr>
                <a:spLocks noChangeArrowheads="1"/>
              </p:cNvSpPr>
              <p:nvPr/>
            </p:nvSpPr>
            <p:spPr bwMode="auto">
              <a:xfrm>
                <a:off x="5029200" y="1735138"/>
                <a:ext cx="44450" cy="44450"/>
              </a:xfrm>
              <a:custGeom>
                <a:avLst/>
                <a:gdLst>
                  <a:gd name="T0" fmla="*/ 94 w 125"/>
                  <a:gd name="T1" fmla="*/ 31 h 125"/>
                  <a:gd name="T2" fmla="*/ 94 w 125"/>
                  <a:gd name="T3" fmla="*/ 31 h 125"/>
                  <a:gd name="T4" fmla="*/ 94 w 125"/>
                  <a:gd name="T5" fmla="*/ 31 h 125"/>
                  <a:gd name="T6" fmla="*/ 63 w 125"/>
                  <a:gd name="T7" fmla="*/ 31 h 125"/>
                  <a:gd name="T8" fmla="*/ 31 w 125"/>
                  <a:gd name="T9" fmla="*/ 31 h 125"/>
                  <a:gd name="T10" fmla="*/ 31 w 125"/>
                  <a:gd name="T11" fmla="*/ 31 h 125"/>
                  <a:gd name="T12" fmla="*/ 31 w 125"/>
                  <a:gd name="T13" fmla="*/ 31 h 125"/>
                  <a:gd name="T14" fmla="*/ 0 w 125"/>
                  <a:gd name="T15" fmla="*/ 0 h 125"/>
                  <a:gd name="T16" fmla="*/ 0 w 125"/>
                  <a:gd name="T17" fmla="*/ 31 h 125"/>
                  <a:gd name="T18" fmla="*/ 0 w 125"/>
                  <a:gd name="T19" fmla="*/ 31 h 125"/>
                  <a:gd name="T20" fmla="*/ 0 w 125"/>
                  <a:gd name="T21" fmla="*/ 31 h 125"/>
                  <a:gd name="T22" fmla="*/ 0 w 125"/>
                  <a:gd name="T23" fmla="*/ 31 h 125"/>
                  <a:gd name="T24" fmla="*/ 0 w 125"/>
                  <a:gd name="T25" fmla="*/ 31 h 125"/>
                  <a:gd name="T26" fmla="*/ 0 w 125"/>
                  <a:gd name="T27" fmla="*/ 31 h 125"/>
                  <a:gd name="T28" fmla="*/ 0 w 125"/>
                  <a:gd name="T29" fmla="*/ 61 h 125"/>
                  <a:gd name="T30" fmla="*/ 0 w 125"/>
                  <a:gd name="T31" fmla="*/ 61 h 125"/>
                  <a:gd name="T32" fmla="*/ 0 w 125"/>
                  <a:gd name="T33" fmla="*/ 61 h 125"/>
                  <a:gd name="T34" fmla="*/ 0 w 125"/>
                  <a:gd name="T35" fmla="*/ 92 h 125"/>
                  <a:gd name="T36" fmla="*/ 0 w 125"/>
                  <a:gd name="T37" fmla="*/ 92 h 125"/>
                  <a:gd name="T38" fmla="*/ 0 w 125"/>
                  <a:gd name="T39" fmla="*/ 92 h 125"/>
                  <a:gd name="T40" fmla="*/ 0 w 125"/>
                  <a:gd name="T41" fmla="*/ 92 h 125"/>
                  <a:gd name="T42" fmla="*/ 0 w 125"/>
                  <a:gd name="T43" fmla="*/ 124 h 125"/>
                  <a:gd name="T44" fmla="*/ 0 w 125"/>
                  <a:gd name="T45" fmla="*/ 124 h 125"/>
                  <a:gd name="T46" fmla="*/ 0 w 125"/>
                  <a:gd name="T47" fmla="*/ 124 h 125"/>
                  <a:gd name="T48" fmla="*/ 31 w 125"/>
                  <a:gd name="T49" fmla="*/ 124 h 125"/>
                  <a:gd name="T50" fmla="*/ 31 w 125"/>
                  <a:gd name="T51" fmla="*/ 124 h 125"/>
                  <a:gd name="T52" fmla="*/ 31 w 125"/>
                  <a:gd name="T53" fmla="*/ 124 h 125"/>
                  <a:gd name="T54" fmla="*/ 31 w 125"/>
                  <a:gd name="T55" fmla="*/ 92 h 125"/>
                  <a:gd name="T56" fmla="*/ 31 w 125"/>
                  <a:gd name="T57" fmla="*/ 92 h 125"/>
                  <a:gd name="T58" fmla="*/ 63 w 125"/>
                  <a:gd name="T59" fmla="*/ 92 h 125"/>
                  <a:gd name="T60" fmla="*/ 63 w 125"/>
                  <a:gd name="T61" fmla="*/ 92 h 125"/>
                  <a:gd name="T62" fmla="*/ 63 w 125"/>
                  <a:gd name="T63" fmla="*/ 92 h 125"/>
                  <a:gd name="T64" fmla="*/ 63 w 125"/>
                  <a:gd name="T65" fmla="*/ 92 h 125"/>
                  <a:gd name="T66" fmla="*/ 94 w 125"/>
                  <a:gd name="T67" fmla="*/ 61 h 125"/>
                  <a:gd name="T68" fmla="*/ 94 w 125"/>
                  <a:gd name="T69" fmla="*/ 61 h 125"/>
                  <a:gd name="T70" fmla="*/ 124 w 125"/>
                  <a:gd name="T71" fmla="*/ 61 h 125"/>
                  <a:gd name="T72" fmla="*/ 94 w 125"/>
                  <a:gd name="T73" fmla="*/ 3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125">
                    <a:moveTo>
                      <a:pt x="94" y="31"/>
                    </a:moveTo>
                    <a:lnTo>
                      <a:pt x="94" y="31"/>
                    </a:lnTo>
                    <a:lnTo>
                      <a:pt x="94" y="31"/>
                    </a:lnTo>
                    <a:lnTo>
                      <a:pt x="63" y="31"/>
                    </a:lnTo>
                    <a:lnTo>
                      <a:pt x="31" y="31"/>
                    </a:lnTo>
                    <a:lnTo>
                      <a:pt x="31" y="31"/>
                    </a:lnTo>
                    <a:lnTo>
                      <a:pt x="31" y="31"/>
                    </a:lnTo>
                    <a:cubicBezTo>
                      <a:pt x="31" y="31"/>
                      <a:pt x="31" y="31"/>
                      <a:pt x="0" y="0"/>
                    </a:cubicBezTo>
                    <a:cubicBezTo>
                      <a:pt x="0" y="31"/>
                      <a:pt x="0" y="31"/>
                      <a:pt x="0" y="31"/>
                    </a:cubicBezTo>
                    <a:lnTo>
                      <a:pt x="0" y="31"/>
                    </a:lnTo>
                    <a:lnTo>
                      <a:pt x="0" y="31"/>
                    </a:lnTo>
                    <a:lnTo>
                      <a:pt x="0" y="31"/>
                    </a:lnTo>
                    <a:lnTo>
                      <a:pt x="0" y="31"/>
                    </a:lnTo>
                    <a:lnTo>
                      <a:pt x="0" y="31"/>
                    </a:lnTo>
                    <a:lnTo>
                      <a:pt x="0" y="61"/>
                    </a:lnTo>
                    <a:lnTo>
                      <a:pt x="0" y="61"/>
                    </a:lnTo>
                    <a:lnTo>
                      <a:pt x="0" y="61"/>
                    </a:lnTo>
                    <a:cubicBezTo>
                      <a:pt x="0" y="92"/>
                      <a:pt x="0" y="92"/>
                      <a:pt x="0" y="92"/>
                    </a:cubicBezTo>
                    <a:lnTo>
                      <a:pt x="0" y="92"/>
                    </a:lnTo>
                    <a:lnTo>
                      <a:pt x="0" y="92"/>
                    </a:lnTo>
                    <a:lnTo>
                      <a:pt x="0" y="92"/>
                    </a:lnTo>
                    <a:lnTo>
                      <a:pt x="0" y="124"/>
                    </a:lnTo>
                    <a:lnTo>
                      <a:pt x="0" y="124"/>
                    </a:lnTo>
                    <a:lnTo>
                      <a:pt x="0" y="124"/>
                    </a:lnTo>
                    <a:cubicBezTo>
                      <a:pt x="31" y="124"/>
                      <a:pt x="31" y="124"/>
                      <a:pt x="31" y="124"/>
                    </a:cubicBezTo>
                    <a:lnTo>
                      <a:pt x="31" y="124"/>
                    </a:lnTo>
                    <a:lnTo>
                      <a:pt x="31" y="124"/>
                    </a:lnTo>
                    <a:lnTo>
                      <a:pt x="31" y="92"/>
                    </a:lnTo>
                    <a:lnTo>
                      <a:pt x="31" y="92"/>
                    </a:lnTo>
                    <a:cubicBezTo>
                      <a:pt x="63" y="92"/>
                      <a:pt x="63" y="92"/>
                      <a:pt x="63" y="92"/>
                    </a:cubicBezTo>
                    <a:lnTo>
                      <a:pt x="63" y="92"/>
                    </a:lnTo>
                    <a:lnTo>
                      <a:pt x="63" y="92"/>
                    </a:lnTo>
                    <a:lnTo>
                      <a:pt x="63" y="92"/>
                    </a:lnTo>
                    <a:lnTo>
                      <a:pt x="94" y="61"/>
                    </a:lnTo>
                    <a:lnTo>
                      <a:pt x="94" y="61"/>
                    </a:lnTo>
                    <a:cubicBezTo>
                      <a:pt x="94" y="61"/>
                      <a:pt x="94" y="61"/>
                      <a:pt x="124" y="61"/>
                    </a:cubicBezTo>
                    <a:cubicBezTo>
                      <a:pt x="94" y="31"/>
                      <a:pt x="94" y="31"/>
                      <a:pt x="94"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77" name="Freeform 74"/>
              <p:cNvSpPr>
                <a:spLocks noChangeArrowheads="1"/>
              </p:cNvSpPr>
              <p:nvPr/>
            </p:nvSpPr>
            <p:spPr bwMode="auto">
              <a:xfrm>
                <a:off x="5073650" y="1668463"/>
                <a:ext cx="168275" cy="68262"/>
              </a:xfrm>
              <a:custGeom>
                <a:avLst/>
                <a:gdLst>
                  <a:gd name="T0" fmla="*/ 187 w 466"/>
                  <a:gd name="T1" fmla="*/ 124 h 188"/>
                  <a:gd name="T2" fmla="*/ 187 w 466"/>
                  <a:gd name="T3" fmla="*/ 94 h 188"/>
                  <a:gd name="T4" fmla="*/ 217 w 466"/>
                  <a:gd name="T5" fmla="*/ 94 h 188"/>
                  <a:gd name="T6" fmla="*/ 217 w 466"/>
                  <a:gd name="T7" fmla="*/ 94 h 188"/>
                  <a:gd name="T8" fmla="*/ 248 w 466"/>
                  <a:gd name="T9" fmla="*/ 94 h 188"/>
                  <a:gd name="T10" fmla="*/ 248 w 466"/>
                  <a:gd name="T11" fmla="*/ 94 h 188"/>
                  <a:gd name="T12" fmla="*/ 280 w 466"/>
                  <a:gd name="T13" fmla="*/ 124 h 188"/>
                  <a:gd name="T14" fmla="*/ 311 w 466"/>
                  <a:gd name="T15" fmla="*/ 94 h 188"/>
                  <a:gd name="T16" fmla="*/ 311 w 466"/>
                  <a:gd name="T17" fmla="*/ 63 h 188"/>
                  <a:gd name="T18" fmla="*/ 341 w 466"/>
                  <a:gd name="T19" fmla="*/ 63 h 188"/>
                  <a:gd name="T20" fmla="*/ 341 w 466"/>
                  <a:gd name="T21" fmla="*/ 63 h 188"/>
                  <a:gd name="T22" fmla="*/ 404 w 466"/>
                  <a:gd name="T23" fmla="*/ 63 h 188"/>
                  <a:gd name="T24" fmla="*/ 465 w 466"/>
                  <a:gd name="T25" fmla="*/ 31 h 188"/>
                  <a:gd name="T26" fmla="*/ 465 w 466"/>
                  <a:gd name="T27" fmla="*/ 31 h 188"/>
                  <a:gd name="T28" fmla="*/ 435 w 466"/>
                  <a:gd name="T29" fmla="*/ 0 h 188"/>
                  <a:gd name="T30" fmla="*/ 435 w 466"/>
                  <a:gd name="T31" fmla="*/ 0 h 188"/>
                  <a:gd name="T32" fmla="*/ 372 w 466"/>
                  <a:gd name="T33" fmla="*/ 0 h 188"/>
                  <a:gd name="T34" fmla="*/ 372 w 466"/>
                  <a:gd name="T35" fmla="*/ 0 h 188"/>
                  <a:gd name="T36" fmla="*/ 341 w 466"/>
                  <a:gd name="T37" fmla="*/ 0 h 188"/>
                  <a:gd name="T38" fmla="*/ 311 w 466"/>
                  <a:gd name="T39" fmla="*/ 0 h 188"/>
                  <a:gd name="T40" fmla="*/ 311 w 466"/>
                  <a:gd name="T41" fmla="*/ 0 h 188"/>
                  <a:gd name="T42" fmla="*/ 248 w 466"/>
                  <a:gd name="T43" fmla="*/ 0 h 188"/>
                  <a:gd name="T44" fmla="*/ 217 w 466"/>
                  <a:gd name="T45" fmla="*/ 0 h 188"/>
                  <a:gd name="T46" fmla="*/ 187 w 466"/>
                  <a:gd name="T47" fmla="*/ 0 h 188"/>
                  <a:gd name="T48" fmla="*/ 187 w 466"/>
                  <a:gd name="T49" fmla="*/ 0 h 188"/>
                  <a:gd name="T50" fmla="*/ 187 w 466"/>
                  <a:gd name="T51" fmla="*/ 0 h 188"/>
                  <a:gd name="T52" fmla="*/ 156 w 466"/>
                  <a:gd name="T53" fmla="*/ 31 h 188"/>
                  <a:gd name="T54" fmla="*/ 93 w 466"/>
                  <a:gd name="T55" fmla="*/ 31 h 188"/>
                  <a:gd name="T56" fmla="*/ 63 w 466"/>
                  <a:gd name="T57" fmla="*/ 0 h 188"/>
                  <a:gd name="T58" fmla="*/ 32 w 466"/>
                  <a:gd name="T59" fmla="*/ 31 h 188"/>
                  <a:gd name="T60" fmla="*/ 0 w 466"/>
                  <a:gd name="T61" fmla="*/ 63 h 188"/>
                  <a:gd name="T62" fmla="*/ 0 w 466"/>
                  <a:gd name="T63" fmla="*/ 63 h 188"/>
                  <a:gd name="T64" fmla="*/ 32 w 466"/>
                  <a:gd name="T65" fmla="*/ 63 h 188"/>
                  <a:gd name="T66" fmla="*/ 93 w 466"/>
                  <a:gd name="T67" fmla="*/ 63 h 188"/>
                  <a:gd name="T68" fmla="*/ 124 w 466"/>
                  <a:gd name="T69" fmla="*/ 124 h 188"/>
                  <a:gd name="T70" fmla="*/ 124 w 466"/>
                  <a:gd name="T71" fmla="*/ 124 h 188"/>
                  <a:gd name="T72" fmla="*/ 93 w 466"/>
                  <a:gd name="T73" fmla="*/ 155 h 188"/>
                  <a:gd name="T74" fmla="*/ 63 w 466"/>
                  <a:gd name="T75" fmla="*/ 187 h 188"/>
                  <a:gd name="T76" fmla="*/ 63 w 466"/>
                  <a:gd name="T77" fmla="*/ 187 h 188"/>
                  <a:gd name="T78" fmla="*/ 63 w 466"/>
                  <a:gd name="T79" fmla="*/ 187 h 188"/>
                  <a:gd name="T80" fmla="*/ 93 w 466"/>
                  <a:gd name="T81" fmla="*/ 187 h 188"/>
                  <a:gd name="T82" fmla="*/ 93 w 466"/>
                  <a:gd name="T83" fmla="*/ 187 h 188"/>
                  <a:gd name="T84" fmla="*/ 93 w 466"/>
                  <a:gd name="T85" fmla="*/ 155 h 188"/>
                  <a:gd name="T86" fmla="*/ 124 w 466"/>
                  <a:gd name="T87" fmla="*/ 187 h 188"/>
                  <a:gd name="T88" fmla="*/ 156 w 466"/>
                  <a:gd name="T89" fmla="*/ 155 h 188"/>
                  <a:gd name="T90" fmla="*/ 187 w 466"/>
                  <a:gd name="T91" fmla="*/ 12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6" h="188">
                    <a:moveTo>
                      <a:pt x="187" y="124"/>
                    </a:moveTo>
                    <a:lnTo>
                      <a:pt x="187" y="124"/>
                    </a:lnTo>
                    <a:lnTo>
                      <a:pt x="187" y="124"/>
                    </a:lnTo>
                    <a:cubicBezTo>
                      <a:pt x="187" y="124"/>
                      <a:pt x="187" y="124"/>
                      <a:pt x="187" y="94"/>
                    </a:cubicBezTo>
                    <a:lnTo>
                      <a:pt x="187" y="94"/>
                    </a:lnTo>
                    <a:cubicBezTo>
                      <a:pt x="217" y="94"/>
                      <a:pt x="217" y="94"/>
                      <a:pt x="217" y="94"/>
                    </a:cubicBezTo>
                    <a:lnTo>
                      <a:pt x="217" y="94"/>
                    </a:lnTo>
                    <a:lnTo>
                      <a:pt x="217" y="94"/>
                    </a:lnTo>
                    <a:lnTo>
                      <a:pt x="217" y="94"/>
                    </a:lnTo>
                    <a:cubicBezTo>
                      <a:pt x="248" y="94"/>
                      <a:pt x="248" y="94"/>
                      <a:pt x="248" y="94"/>
                    </a:cubicBezTo>
                    <a:lnTo>
                      <a:pt x="248" y="94"/>
                    </a:lnTo>
                    <a:lnTo>
                      <a:pt x="248" y="94"/>
                    </a:lnTo>
                    <a:lnTo>
                      <a:pt x="248" y="94"/>
                    </a:lnTo>
                    <a:cubicBezTo>
                      <a:pt x="280" y="94"/>
                      <a:pt x="280" y="94"/>
                      <a:pt x="280" y="124"/>
                    </a:cubicBezTo>
                    <a:cubicBezTo>
                      <a:pt x="280" y="124"/>
                      <a:pt x="280" y="94"/>
                      <a:pt x="311" y="94"/>
                    </a:cubicBezTo>
                    <a:lnTo>
                      <a:pt x="311" y="94"/>
                    </a:lnTo>
                    <a:cubicBezTo>
                      <a:pt x="311" y="94"/>
                      <a:pt x="311" y="94"/>
                      <a:pt x="311" y="63"/>
                    </a:cubicBezTo>
                    <a:lnTo>
                      <a:pt x="311" y="63"/>
                    </a:lnTo>
                    <a:cubicBezTo>
                      <a:pt x="341" y="63"/>
                      <a:pt x="341" y="63"/>
                      <a:pt x="341" y="63"/>
                    </a:cubicBezTo>
                    <a:lnTo>
                      <a:pt x="341" y="63"/>
                    </a:lnTo>
                    <a:lnTo>
                      <a:pt x="341" y="63"/>
                    </a:lnTo>
                    <a:lnTo>
                      <a:pt x="341" y="63"/>
                    </a:lnTo>
                    <a:cubicBezTo>
                      <a:pt x="341" y="63"/>
                      <a:pt x="372" y="63"/>
                      <a:pt x="404" y="63"/>
                    </a:cubicBezTo>
                    <a:lnTo>
                      <a:pt x="404" y="63"/>
                    </a:lnTo>
                    <a:cubicBezTo>
                      <a:pt x="404" y="31"/>
                      <a:pt x="435" y="31"/>
                      <a:pt x="435" y="31"/>
                    </a:cubicBezTo>
                    <a:cubicBezTo>
                      <a:pt x="435" y="31"/>
                      <a:pt x="435" y="31"/>
                      <a:pt x="465" y="31"/>
                    </a:cubicBezTo>
                    <a:lnTo>
                      <a:pt x="465" y="31"/>
                    </a:lnTo>
                    <a:lnTo>
                      <a:pt x="465" y="31"/>
                    </a:lnTo>
                    <a:cubicBezTo>
                      <a:pt x="435" y="31"/>
                      <a:pt x="435" y="0"/>
                      <a:pt x="435" y="0"/>
                    </a:cubicBezTo>
                    <a:lnTo>
                      <a:pt x="435" y="0"/>
                    </a:lnTo>
                    <a:lnTo>
                      <a:pt x="435" y="0"/>
                    </a:lnTo>
                    <a:lnTo>
                      <a:pt x="435" y="0"/>
                    </a:lnTo>
                    <a:cubicBezTo>
                      <a:pt x="404" y="0"/>
                      <a:pt x="404" y="0"/>
                      <a:pt x="404" y="0"/>
                    </a:cubicBezTo>
                    <a:cubicBezTo>
                      <a:pt x="404" y="0"/>
                      <a:pt x="404" y="0"/>
                      <a:pt x="372" y="0"/>
                    </a:cubicBezTo>
                    <a:lnTo>
                      <a:pt x="372" y="0"/>
                    </a:lnTo>
                    <a:lnTo>
                      <a:pt x="372" y="0"/>
                    </a:lnTo>
                    <a:cubicBezTo>
                      <a:pt x="341" y="0"/>
                      <a:pt x="341" y="0"/>
                      <a:pt x="341" y="0"/>
                    </a:cubicBezTo>
                    <a:lnTo>
                      <a:pt x="341" y="0"/>
                    </a:lnTo>
                    <a:cubicBezTo>
                      <a:pt x="311" y="0"/>
                      <a:pt x="311" y="0"/>
                      <a:pt x="311" y="0"/>
                    </a:cubicBezTo>
                    <a:lnTo>
                      <a:pt x="311" y="0"/>
                    </a:lnTo>
                    <a:lnTo>
                      <a:pt x="311" y="0"/>
                    </a:lnTo>
                    <a:lnTo>
                      <a:pt x="311" y="0"/>
                    </a:lnTo>
                    <a:cubicBezTo>
                      <a:pt x="280" y="0"/>
                      <a:pt x="280" y="0"/>
                      <a:pt x="280" y="0"/>
                    </a:cubicBezTo>
                    <a:cubicBezTo>
                      <a:pt x="280" y="0"/>
                      <a:pt x="280" y="0"/>
                      <a:pt x="248" y="0"/>
                    </a:cubicBezTo>
                    <a:lnTo>
                      <a:pt x="248" y="0"/>
                    </a:lnTo>
                    <a:cubicBezTo>
                      <a:pt x="217" y="0"/>
                      <a:pt x="217" y="0"/>
                      <a:pt x="217" y="0"/>
                    </a:cubicBezTo>
                    <a:cubicBezTo>
                      <a:pt x="217" y="0"/>
                      <a:pt x="217" y="0"/>
                      <a:pt x="187" y="0"/>
                    </a:cubicBezTo>
                    <a:lnTo>
                      <a:pt x="187" y="0"/>
                    </a:lnTo>
                    <a:lnTo>
                      <a:pt x="187" y="0"/>
                    </a:lnTo>
                    <a:lnTo>
                      <a:pt x="187" y="0"/>
                    </a:lnTo>
                    <a:lnTo>
                      <a:pt x="187" y="0"/>
                    </a:lnTo>
                    <a:lnTo>
                      <a:pt x="187" y="0"/>
                    </a:lnTo>
                    <a:cubicBezTo>
                      <a:pt x="187" y="31"/>
                      <a:pt x="187" y="31"/>
                      <a:pt x="156" y="31"/>
                    </a:cubicBezTo>
                    <a:lnTo>
                      <a:pt x="156" y="31"/>
                    </a:lnTo>
                    <a:cubicBezTo>
                      <a:pt x="124" y="31"/>
                      <a:pt x="124" y="31"/>
                      <a:pt x="124" y="31"/>
                    </a:cubicBezTo>
                    <a:cubicBezTo>
                      <a:pt x="93" y="31"/>
                      <a:pt x="93" y="31"/>
                      <a:pt x="93" y="31"/>
                    </a:cubicBezTo>
                    <a:cubicBezTo>
                      <a:pt x="63" y="0"/>
                      <a:pt x="63" y="0"/>
                      <a:pt x="63" y="0"/>
                    </a:cubicBezTo>
                    <a:lnTo>
                      <a:pt x="63" y="0"/>
                    </a:lnTo>
                    <a:cubicBezTo>
                      <a:pt x="32" y="0"/>
                      <a:pt x="32" y="31"/>
                      <a:pt x="32" y="31"/>
                    </a:cubicBezTo>
                    <a:lnTo>
                      <a:pt x="32" y="31"/>
                    </a:lnTo>
                    <a:cubicBezTo>
                      <a:pt x="0" y="31"/>
                      <a:pt x="0" y="63"/>
                      <a:pt x="0" y="63"/>
                    </a:cubicBezTo>
                    <a:lnTo>
                      <a:pt x="0" y="63"/>
                    </a:lnTo>
                    <a:lnTo>
                      <a:pt x="0" y="63"/>
                    </a:lnTo>
                    <a:lnTo>
                      <a:pt x="0" y="63"/>
                    </a:lnTo>
                    <a:lnTo>
                      <a:pt x="0" y="63"/>
                    </a:lnTo>
                    <a:cubicBezTo>
                      <a:pt x="32" y="63"/>
                      <a:pt x="32" y="63"/>
                      <a:pt x="32" y="63"/>
                    </a:cubicBezTo>
                    <a:lnTo>
                      <a:pt x="32" y="63"/>
                    </a:lnTo>
                    <a:cubicBezTo>
                      <a:pt x="63" y="63"/>
                      <a:pt x="93" y="63"/>
                      <a:pt x="93" y="63"/>
                    </a:cubicBezTo>
                    <a:lnTo>
                      <a:pt x="93" y="63"/>
                    </a:lnTo>
                    <a:cubicBezTo>
                      <a:pt x="124" y="94"/>
                      <a:pt x="124" y="94"/>
                      <a:pt x="124" y="124"/>
                    </a:cubicBezTo>
                    <a:lnTo>
                      <a:pt x="124" y="124"/>
                    </a:lnTo>
                    <a:lnTo>
                      <a:pt x="124" y="124"/>
                    </a:lnTo>
                    <a:cubicBezTo>
                      <a:pt x="124" y="155"/>
                      <a:pt x="93" y="155"/>
                      <a:pt x="93" y="155"/>
                    </a:cubicBezTo>
                    <a:lnTo>
                      <a:pt x="93" y="155"/>
                    </a:lnTo>
                    <a:lnTo>
                      <a:pt x="93" y="155"/>
                    </a:lnTo>
                    <a:cubicBezTo>
                      <a:pt x="93" y="155"/>
                      <a:pt x="63" y="155"/>
                      <a:pt x="63" y="187"/>
                    </a:cubicBezTo>
                    <a:lnTo>
                      <a:pt x="63" y="187"/>
                    </a:lnTo>
                    <a:lnTo>
                      <a:pt x="63" y="187"/>
                    </a:lnTo>
                    <a:lnTo>
                      <a:pt x="63" y="187"/>
                    </a:lnTo>
                    <a:lnTo>
                      <a:pt x="63" y="187"/>
                    </a:lnTo>
                    <a:cubicBezTo>
                      <a:pt x="63" y="187"/>
                      <a:pt x="63" y="187"/>
                      <a:pt x="93" y="187"/>
                    </a:cubicBezTo>
                    <a:lnTo>
                      <a:pt x="93" y="187"/>
                    </a:lnTo>
                    <a:lnTo>
                      <a:pt x="93" y="187"/>
                    </a:lnTo>
                    <a:lnTo>
                      <a:pt x="93" y="187"/>
                    </a:lnTo>
                    <a:lnTo>
                      <a:pt x="93" y="155"/>
                    </a:lnTo>
                    <a:lnTo>
                      <a:pt x="93" y="155"/>
                    </a:lnTo>
                    <a:cubicBezTo>
                      <a:pt x="124" y="155"/>
                      <a:pt x="124" y="155"/>
                      <a:pt x="124" y="187"/>
                    </a:cubicBezTo>
                    <a:lnTo>
                      <a:pt x="124" y="187"/>
                    </a:lnTo>
                    <a:lnTo>
                      <a:pt x="124" y="187"/>
                    </a:lnTo>
                    <a:cubicBezTo>
                      <a:pt x="156" y="155"/>
                      <a:pt x="156" y="155"/>
                      <a:pt x="156" y="155"/>
                    </a:cubicBezTo>
                    <a:lnTo>
                      <a:pt x="156" y="124"/>
                    </a:lnTo>
                    <a:cubicBezTo>
                      <a:pt x="156" y="124"/>
                      <a:pt x="156" y="124"/>
                      <a:pt x="187" y="12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78" name="Freeform 75"/>
              <p:cNvSpPr>
                <a:spLocks noChangeArrowheads="1"/>
              </p:cNvSpPr>
              <p:nvPr/>
            </p:nvSpPr>
            <p:spPr bwMode="auto">
              <a:xfrm>
                <a:off x="5443538" y="2003425"/>
                <a:ext cx="33337" cy="22225"/>
              </a:xfrm>
              <a:custGeom>
                <a:avLst/>
                <a:gdLst>
                  <a:gd name="T0" fmla="*/ 31 w 93"/>
                  <a:gd name="T1" fmla="*/ 31 h 62"/>
                  <a:gd name="T2" fmla="*/ 31 w 93"/>
                  <a:gd name="T3" fmla="*/ 31 h 62"/>
                  <a:gd name="T4" fmla="*/ 31 w 93"/>
                  <a:gd name="T5" fmla="*/ 31 h 62"/>
                  <a:gd name="T6" fmla="*/ 31 w 93"/>
                  <a:gd name="T7" fmla="*/ 31 h 62"/>
                  <a:gd name="T8" fmla="*/ 61 w 93"/>
                  <a:gd name="T9" fmla="*/ 31 h 62"/>
                  <a:gd name="T10" fmla="*/ 61 w 93"/>
                  <a:gd name="T11" fmla="*/ 31 h 62"/>
                  <a:gd name="T12" fmla="*/ 61 w 93"/>
                  <a:gd name="T13" fmla="*/ 61 h 62"/>
                  <a:gd name="T14" fmla="*/ 92 w 93"/>
                  <a:gd name="T15" fmla="*/ 61 h 62"/>
                  <a:gd name="T16" fmla="*/ 92 w 93"/>
                  <a:gd name="T17" fmla="*/ 61 h 62"/>
                  <a:gd name="T18" fmla="*/ 92 w 93"/>
                  <a:gd name="T19" fmla="*/ 61 h 62"/>
                  <a:gd name="T20" fmla="*/ 92 w 93"/>
                  <a:gd name="T21" fmla="*/ 61 h 62"/>
                  <a:gd name="T22" fmla="*/ 92 w 93"/>
                  <a:gd name="T23" fmla="*/ 61 h 62"/>
                  <a:gd name="T24" fmla="*/ 92 w 93"/>
                  <a:gd name="T25" fmla="*/ 61 h 62"/>
                  <a:gd name="T26" fmla="*/ 92 w 93"/>
                  <a:gd name="T27" fmla="*/ 31 h 62"/>
                  <a:gd name="T28" fmla="*/ 61 w 93"/>
                  <a:gd name="T29" fmla="*/ 31 h 62"/>
                  <a:gd name="T30" fmla="*/ 61 w 93"/>
                  <a:gd name="T31" fmla="*/ 31 h 62"/>
                  <a:gd name="T32" fmla="*/ 61 w 93"/>
                  <a:gd name="T33" fmla="*/ 31 h 62"/>
                  <a:gd name="T34" fmla="*/ 31 w 93"/>
                  <a:gd name="T35" fmla="*/ 0 h 62"/>
                  <a:gd name="T36" fmla="*/ 0 w 93"/>
                  <a:gd name="T37" fmla="*/ 31 h 62"/>
                  <a:gd name="T38" fmla="*/ 0 w 93"/>
                  <a:gd name="T39" fmla="*/ 31 h 62"/>
                  <a:gd name="T40" fmla="*/ 0 w 93"/>
                  <a:gd name="T41" fmla="*/ 31 h 62"/>
                  <a:gd name="T42" fmla="*/ 0 w 93"/>
                  <a:gd name="T43" fmla="*/ 31 h 62"/>
                  <a:gd name="T44" fmla="*/ 31 w 93"/>
                  <a:gd name="T4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 h="62">
                    <a:moveTo>
                      <a:pt x="31" y="31"/>
                    </a:moveTo>
                    <a:lnTo>
                      <a:pt x="31" y="31"/>
                    </a:lnTo>
                    <a:lnTo>
                      <a:pt x="31" y="31"/>
                    </a:lnTo>
                    <a:lnTo>
                      <a:pt x="31" y="31"/>
                    </a:lnTo>
                    <a:cubicBezTo>
                      <a:pt x="31" y="31"/>
                      <a:pt x="31" y="31"/>
                      <a:pt x="61" y="31"/>
                    </a:cubicBezTo>
                    <a:lnTo>
                      <a:pt x="61" y="31"/>
                    </a:lnTo>
                    <a:lnTo>
                      <a:pt x="61" y="61"/>
                    </a:lnTo>
                    <a:cubicBezTo>
                      <a:pt x="92" y="61"/>
                      <a:pt x="92" y="61"/>
                      <a:pt x="92" y="61"/>
                    </a:cubicBezTo>
                    <a:lnTo>
                      <a:pt x="92" y="61"/>
                    </a:lnTo>
                    <a:lnTo>
                      <a:pt x="92" y="61"/>
                    </a:lnTo>
                    <a:lnTo>
                      <a:pt x="92" y="61"/>
                    </a:lnTo>
                    <a:lnTo>
                      <a:pt x="92" y="61"/>
                    </a:lnTo>
                    <a:lnTo>
                      <a:pt x="92" y="61"/>
                    </a:lnTo>
                    <a:cubicBezTo>
                      <a:pt x="92" y="31"/>
                      <a:pt x="92" y="31"/>
                      <a:pt x="92" y="31"/>
                    </a:cubicBezTo>
                    <a:cubicBezTo>
                      <a:pt x="92" y="31"/>
                      <a:pt x="92" y="31"/>
                      <a:pt x="61" y="31"/>
                    </a:cubicBezTo>
                    <a:lnTo>
                      <a:pt x="61" y="31"/>
                    </a:lnTo>
                    <a:lnTo>
                      <a:pt x="61" y="31"/>
                    </a:lnTo>
                    <a:cubicBezTo>
                      <a:pt x="31" y="31"/>
                      <a:pt x="31" y="31"/>
                      <a:pt x="31" y="0"/>
                    </a:cubicBezTo>
                    <a:cubicBezTo>
                      <a:pt x="31" y="31"/>
                      <a:pt x="31" y="31"/>
                      <a:pt x="0" y="31"/>
                    </a:cubicBezTo>
                    <a:lnTo>
                      <a:pt x="0" y="31"/>
                    </a:lnTo>
                    <a:lnTo>
                      <a:pt x="0" y="31"/>
                    </a:lnTo>
                    <a:lnTo>
                      <a:pt x="0" y="31"/>
                    </a:lnTo>
                    <a:lnTo>
                      <a:pt x="31" y="3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79" name="Freeform 76"/>
              <p:cNvSpPr>
                <a:spLocks noChangeArrowheads="1"/>
              </p:cNvSpPr>
              <p:nvPr/>
            </p:nvSpPr>
            <p:spPr bwMode="auto">
              <a:xfrm>
                <a:off x="6156325" y="1690688"/>
                <a:ext cx="77788" cy="77787"/>
              </a:xfrm>
              <a:custGeom>
                <a:avLst/>
                <a:gdLst>
                  <a:gd name="T0" fmla="*/ 185 w 217"/>
                  <a:gd name="T1" fmla="*/ 0 h 217"/>
                  <a:gd name="T2" fmla="*/ 185 w 217"/>
                  <a:gd name="T3" fmla="*/ 0 h 217"/>
                  <a:gd name="T4" fmla="*/ 185 w 217"/>
                  <a:gd name="T5" fmla="*/ 0 h 217"/>
                  <a:gd name="T6" fmla="*/ 185 w 217"/>
                  <a:gd name="T7" fmla="*/ 0 h 217"/>
                  <a:gd name="T8" fmla="*/ 185 w 217"/>
                  <a:gd name="T9" fmla="*/ 31 h 217"/>
                  <a:gd name="T10" fmla="*/ 154 w 217"/>
                  <a:gd name="T11" fmla="*/ 61 h 217"/>
                  <a:gd name="T12" fmla="*/ 154 w 217"/>
                  <a:gd name="T13" fmla="*/ 61 h 217"/>
                  <a:gd name="T14" fmla="*/ 92 w 217"/>
                  <a:gd name="T15" fmla="*/ 31 h 217"/>
                  <a:gd name="T16" fmla="*/ 92 w 217"/>
                  <a:gd name="T17" fmla="*/ 31 h 217"/>
                  <a:gd name="T18" fmla="*/ 92 w 217"/>
                  <a:gd name="T19" fmla="*/ 31 h 217"/>
                  <a:gd name="T20" fmla="*/ 61 w 217"/>
                  <a:gd name="T21" fmla="*/ 61 h 217"/>
                  <a:gd name="T22" fmla="*/ 61 w 217"/>
                  <a:gd name="T23" fmla="*/ 61 h 217"/>
                  <a:gd name="T24" fmla="*/ 30 w 217"/>
                  <a:gd name="T25" fmla="*/ 92 h 217"/>
                  <a:gd name="T26" fmla="*/ 0 w 217"/>
                  <a:gd name="T27" fmla="*/ 92 h 217"/>
                  <a:gd name="T28" fmla="*/ 0 w 217"/>
                  <a:gd name="T29" fmla="*/ 92 h 217"/>
                  <a:gd name="T30" fmla="*/ 0 w 217"/>
                  <a:gd name="T31" fmla="*/ 92 h 217"/>
                  <a:gd name="T32" fmla="*/ 30 w 217"/>
                  <a:gd name="T33" fmla="*/ 155 h 217"/>
                  <a:gd name="T34" fmla="*/ 30 w 217"/>
                  <a:gd name="T35" fmla="*/ 155 h 217"/>
                  <a:gd name="T36" fmla="*/ 30 w 217"/>
                  <a:gd name="T37" fmla="*/ 185 h 217"/>
                  <a:gd name="T38" fmla="*/ 30 w 217"/>
                  <a:gd name="T39" fmla="*/ 216 h 217"/>
                  <a:gd name="T40" fmla="*/ 30 w 217"/>
                  <a:gd name="T41" fmla="*/ 216 h 217"/>
                  <a:gd name="T42" fmla="*/ 30 w 217"/>
                  <a:gd name="T43" fmla="*/ 216 h 217"/>
                  <a:gd name="T44" fmla="*/ 61 w 217"/>
                  <a:gd name="T45" fmla="*/ 216 h 217"/>
                  <a:gd name="T46" fmla="*/ 61 w 217"/>
                  <a:gd name="T47" fmla="*/ 216 h 217"/>
                  <a:gd name="T48" fmla="*/ 61 w 217"/>
                  <a:gd name="T49" fmla="*/ 216 h 217"/>
                  <a:gd name="T50" fmla="*/ 92 w 217"/>
                  <a:gd name="T51" fmla="*/ 185 h 217"/>
                  <a:gd name="T52" fmla="*/ 92 w 217"/>
                  <a:gd name="T53" fmla="*/ 185 h 217"/>
                  <a:gd name="T54" fmla="*/ 123 w 217"/>
                  <a:gd name="T55" fmla="*/ 185 h 217"/>
                  <a:gd name="T56" fmla="*/ 154 w 217"/>
                  <a:gd name="T57" fmla="*/ 185 h 217"/>
                  <a:gd name="T58" fmla="*/ 154 w 217"/>
                  <a:gd name="T59" fmla="*/ 185 h 217"/>
                  <a:gd name="T60" fmla="*/ 123 w 217"/>
                  <a:gd name="T61" fmla="*/ 155 h 217"/>
                  <a:gd name="T62" fmla="*/ 123 w 217"/>
                  <a:gd name="T63" fmla="*/ 124 h 217"/>
                  <a:gd name="T64" fmla="*/ 154 w 217"/>
                  <a:gd name="T65" fmla="*/ 92 h 217"/>
                  <a:gd name="T66" fmla="*/ 185 w 217"/>
                  <a:gd name="T67" fmla="*/ 61 h 217"/>
                  <a:gd name="T68" fmla="*/ 185 w 217"/>
                  <a:gd name="T69" fmla="*/ 61 h 217"/>
                  <a:gd name="T70" fmla="*/ 216 w 217"/>
                  <a:gd name="T71" fmla="*/ 31 h 217"/>
                  <a:gd name="T72" fmla="*/ 216 w 217"/>
                  <a:gd name="T73" fmla="*/ 31 h 217"/>
                  <a:gd name="T74" fmla="*/ 216 w 217"/>
                  <a:gd name="T75" fmla="*/ 0 h 217"/>
                  <a:gd name="T76" fmla="*/ 216 w 217"/>
                  <a:gd name="T77" fmla="*/ 0 h 217"/>
                  <a:gd name="T78" fmla="*/ 216 w 217"/>
                  <a:gd name="T79" fmla="*/ 0 h 217"/>
                  <a:gd name="T80" fmla="*/ 216 w 217"/>
                  <a:gd name="T81" fmla="*/ 0 h 217"/>
                  <a:gd name="T82" fmla="*/ 185 w 217"/>
                  <a:gd name="T83"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7" h="217">
                    <a:moveTo>
                      <a:pt x="185" y="0"/>
                    </a:moveTo>
                    <a:lnTo>
                      <a:pt x="185" y="0"/>
                    </a:lnTo>
                    <a:lnTo>
                      <a:pt x="185" y="0"/>
                    </a:lnTo>
                    <a:lnTo>
                      <a:pt x="185" y="0"/>
                    </a:lnTo>
                    <a:lnTo>
                      <a:pt x="185" y="31"/>
                    </a:lnTo>
                    <a:cubicBezTo>
                      <a:pt x="185" y="31"/>
                      <a:pt x="154" y="31"/>
                      <a:pt x="154" y="61"/>
                    </a:cubicBezTo>
                    <a:lnTo>
                      <a:pt x="154" y="61"/>
                    </a:lnTo>
                    <a:cubicBezTo>
                      <a:pt x="123" y="61"/>
                      <a:pt x="123" y="31"/>
                      <a:pt x="92" y="31"/>
                    </a:cubicBezTo>
                    <a:lnTo>
                      <a:pt x="92" y="31"/>
                    </a:lnTo>
                    <a:lnTo>
                      <a:pt x="92" y="31"/>
                    </a:lnTo>
                    <a:cubicBezTo>
                      <a:pt x="92" y="61"/>
                      <a:pt x="61" y="61"/>
                      <a:pt x="61" y="61"/>
                    </a:cubicBezTo>
                    <a:lnTo>
                      <a:pt x="61" y="61"/>
                    </a:lnTo>
                    <a:cubicBezTo>
                      <a:pt x="30" y="61"/>
                      <a:pt x="30" y="92"/>
                      <a:pt x="30" y="92"/>
                    </a:cubicBezTo>
                    <a:cubicBezTo>
                      <a:pt x="30" y="92"/>
                      <a:pt x="30" y="92"/>
                      <a:pt x="0" y="92"/>
                    </a:cubicBezTo>
                    <a:lnTo>
                      <a:pt x="0" y="92"/>
                    </a:lnTo>
                    <a:lnTo>
                      <a:pt x="0" y="92"/>
                    </a:lnTo>
                    <a:cubicBezTo>
                      <a:pt x="30" y="92"/>
                      <a:pt x="30" y="124"/>
                      <a:pt x="30" y="155"/>
                    </a:cubicBezTo>
                    <a:lnTo>
                      <a:pt x="30" y="155"/>
                    </a:lnTo>
                    <a:lnTo>
                      <a:pt x="30" y="185"/>
                    </a:lnTo>
                    <a:lnTo>
                      <a:pt x="30" y="216"/>
                    </a:lnTo>
                    <a:lnTo>
                      <a:pt x="30" y="216"/>
                    </a:lnTo>
                    <a:lnTo>
                      <a:pt x="30" y="216"/>
                    </a:lnTo>
                    <a:cubicBezTo>
                      <a:pt x="61" y="216"/>
                      <a:pt x="61" y="216"/>
                      <a:pt x="61" y="216"/>
                    </a:cubicBezTo>
                    <a:lnTo>
                      <a:pt x="61" y="216"/>
                    </a:lnTo>
                    <a:lnTo>
                      <a:pt x="61" y="216"/>
                    </a:lnTo>
                    <a:lnTo>
                      <a:pt x="92" y="185"/>
                    </a:lnTo>
                    <a:lnTo>
                      <a:pt x="92" y="185"/>
                    </a:lnTo>
                    <a:cubicBezTo>
                      <a:pt x="123" y="185"/>
                      <a:pt x="123" y="185"/>
                      <a:pt x="123" y="185"/>
                    </a:cubicBezTo>
                    <a:lnTo>
                      <a:pt x="154" y="185"/>
                    </a:lnTo>
                    <a:lnTo>
                      <a:pt x="154" y="185"/>
                    </a:lnTo>
                    <a:lnTo>
                      <a:pt x="123" y="155"/>
                    </a:lnTo>
                    <a:cubicBezTo>
                      <a:pt x="123" y="155"/>
                      <a:pt x="92" y="124"/>
                      <a:pt x="123" y="124"/>
                    </a:cubicBezTo>
                    <a:cubicBezTo>
                      <a:pt x="123" y="92"/>
                      <a:pt x="123" y="92"/>
                      <a:pt x="154" y="92"/>
                    </a:cubicBezTo>
                    <a:cubicBezTo>
                      <a:pt x="154" y="61"/>
                      <a:pt x="154" y="61"/>
                      <a:pt x="185" y="61"/>
                    </a:cubicBezTo>
                    <a:lnTo>
                      <a:pt x="185" y="61"/>
                    </a:lnTo>
                    <a:cubicBezTo>
                      <a:pt x="185" y="61"/>
                      <a:pt x="185" y="31"/>
                      <a:pt x="216" y="31"/>
                    </a:cubicBezTo>
                    <a:lnTo>
                      <a:pt x="216" y="31"/>
                    </a:lnTo>
                    <a:cubicBezTo>
                      <a:pt x="216" y="31"/>
                      <a:pt x="216" y="31"/>
                      <a:pt x="216" y="0"/>
                    </a:cubicBezTo>
                    <a:lnTo>
                      <a:pt x="216" y="0"/>
                    </a:lnTo>
                    <a:lnTo>
                      <a:pt x="216" y="0"/>
                    </a:lnTo>
                    <a:lnTo>
                      <a:pt x="216" y="0"/>
                    </a:lnTo>
                    <a:lnTo>
                      <a:pt x="18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80" name="Freeform 77"/>
              <p:cNvSpPr>
                <a:spLocks noChangeArrowheads="1"/>
              </p:cNvSpPr>
              <p:nvPr/>
            </p:nvSpPr>
            <p:spPr bwMode="auto">
              <a:xfrm>
                <a:off x="4014788" y="1512888"/>
                <a:ext cx="55562" cy="22225"/>
              </a:xfrm>
              <a:custGeom>
                <a:avLst/>
                <a:gdLst>
                  <a:gd name="T0" fmla="*/ 124 w 156"/>
                  <a:gd name="T1" fmla="*/ 31 h 63"/>
                  <a:gd name="T2" fmla="*/ 124 w 156"/>
                  <a:gd name="T3" fmla="*/ 31 h 63"/>
                  <a:gd name="T4" fmla="*/ 93 w 156"/>
                  <a:gd name="T5" fmla="*/ 31 h 63"/>
                  <a:gd name="T6" fmla="*/ 93 w 156"/>
                  <a:gd name="T7" fmla="*/ 31 h 63"/>
                  <a:gd name="T8" fmla="*/ 93 w 156"/>
                  <a:gd name="T9" fmla="*/ 0 h 63"/>
                  <a:gd name="T10" fmla="*/ 62 w 156"/>
                  <a:gd name="T11" fmla="*/ 0 h 63"/>
                  <a:gd name="T12" fmla="*/ 62 w 156"/>
                  <a:gd name="T13" fmla="*/ 0 h 63"/>
                  <a:gd name="T14" fmla="*/ 62 w 156"/>
                  <a:gd name="T15" fmla="*/ 0 h 63"/>
                  <a:gd name="T16" fmla="*/ 62 w 156"/>
                  <a:gd name="T17" fmla="*/ 31 h 63"/>
                  <a:gd name="T18" fmla="*/ 31 w 156"/>
                  <a:gd name="T19" fmla="*/ 31 h 63"/>
                  <a:gd name="T20" fmla="*/ 0 w 156"/>
                  <a:gd name="T21" fmla="*/ 62 h 63"/>
                  <a:gd name="T22" fmla="*/ 0 w 156"/>
                  <a:gd name="T23" fmla="*/ 62 h 63"/>
                  <a:gd name="T24" fmla="*/ 0 w 156"/>
                  <a:gd name="T25" fmla="*/ 62 h 63"/>
                  <a:gd name="T26" fmla="*/ 0 w 156"/>
                  <a:gd name="T27" fmla="*/ 62 h 63"/>
                  <a:gd name="T28" fmla="*/ 0 w 156"/>
                  <a:gd name="T29" fmla="*/ 62 h 63"/>
                  <a:gd name="T30" fmla="*/ 0 w 156"/>
                  <a:gd name="T31" fmla="*/ 62 h 63"/>
                  <a:gd name="T32" fmla="*/ 0 w 156"/>
                  <a:gd name="T33" fmla="*/ 62 h 63"/>
                  <a:gd name="T34" fmla="*/ 31 w 156"/>
                  <a:gd name="T35" fmla="*/ 62 h 63"/>
                  <a:gd name="T36" fmla="*/ 31 w 156"/>
                  <a:gd name="T37" fmla="*/ 62 h 63"/>
                  <a:gd name="T38" fmla="*/ 31 w 156"/>
                  <a:gd name="T39" fmla="*/ 62 h 63"/>
                  <a:gd name="T40" fmla="*/ 31 w 156"/>
                  <a:gd name="T41" fmla="*/ 62 h 63"/>
                  <a:gd name="T42" fmla="*/ 93 w 156"/>
                  <a:gd name="T43" fmla="*/ 31 h 63"/>
                  <a:gd name="T44" fmla="*/ 93 w 156"/>
                  <a:gd name="T45" fmla="*/ 31 h 63"/>
                  <a:gd name="T46" fmla="*/ 93 w 156"/>
                  <a:gd name="T47" fmla="*/ 31 h 63"/>
                  <a:gd name="T48" fmla="*/ 93 w 156"/>
                  <a:gd name="T49" fmla="*/ 62 h 63"/>
                  <a:gd name="T50" fmla="*/ 93 w 156"/>
                  <a:gd name="T51" fmla="*/ 62 h 63"/>
                  <a:gd name="T52" fmla="*/ 124 w 156"/>
                  <a:gd name="T53" fmla="*/ 31 h 63"/>
                  <a:gd name="T54" fmla="*/ 124 w 156"/>
                  <a:gd name="T55" fmla="*/ 31 h 63"/>
                  <a:gd name="T56" fmla="*/ 155 w 156"/>
                  <a:gd name="T57" fmla="*/ 31 h 63"/>
                  <a:gd name="T58" fmla="*/ 155 w 156"/>
                  <a:gd name="T59" fmla="*/ 31 h 63"/>
                  <a:gd name="T60" fmla="*/ 155 w 156"/>
                  <a:gd name="T61" fmla="*/ 31 h 63"/>
                  <a:gd name="T62" fmla="*/ 124 w 156"/>
                  <a:gd name="T63"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63">
                    <a:moveTo>
                      <a:pt x="124" y="31"/>
                    </a:moveTo>
                    <a:lnTo>
                      <a:pt x="124" y="31"/>
                    </a:lnTo>
                    <a:cubicBezTo>
                      <a:pt x="124" y="31"/>
                      <a:pt x="124" y="31"/>
                      <a:pt x="93" y="31"/>
                    </a:cubicBezTo>
                    <a:lnTo>
                      <a:pt x="93" y="31"/>
                    </a:lnTo>
                    <a:cubicBezTo>
                      <a:pt x="93" y="0"/>
                      <a:pt x="93" y="0"/>
                      <a:pt x="93" y="0"/>
                    </a:cubicBezTo>
                    <a:lnTo>
                      <a:pt x="62" y="0"/>
                    </a:lnTo>
                    <a:lnTo>
                      <a:pt x="62" y="0"/>
                    </a:lnTo>
                    <a:lnTo>
                      <a:pt x="62" y="0"/>
                    </a:lnTo>
                    <a:cubicBezTo>
                      <a:pt x="62" y="31"/>
                      <a:pt x="62" y="31"/>
                      <a:pt x="62" y="31"/>
                    </a:cubicBezTo>
                    <a:lnTo>
                      <a:pt x="31" y="31"/>
                    </a:lnTo>
                    <a:cubicBezTo>
                      <a:pt x="31" y="62"/>
                      <a:pt x="31" y="62"/>
                      <a:pt x="0" y="62"/>
                    </a:cubicBezTo>
                    <a:lnTo>
                      <a:pt x="0" y="62"/>
                    </a:lnTo>
                    <a:lnTo>
                      <a:pt x="0" y="62"/>
                    </a:lnTo>
                    <a:lnTo>
                      <a:pt x="0" y="62"/>
                    </a:lnTo>
                    <a:lnTo>
                      <a:pt x="0" y="62"/>
                    </a:lnTo>
                    <a:lnTo>
                      <a:pt x="0" y="62"/>
                    </a:lnTo>
                    <a:lnTo>
                      <a:pt x="0" y="62"/>
                    </a:lnTo>
                    <a:lnTo>
                      <a:pt x="31" y="62"/>
                    </a:lnTo>
                    <a:lnTo>
                      <a:pt x="31" y="62"/>
                    </a:lnTo>
                    <a:lnTo>
                      <a:pt x="31" y="62"/>
                    </a:lnTo>
                    <a:lnTo>
                      <a:pt x="31" y="62"/>
                    </a:lnTo>
                    <a:cubicBezTo>
                      <a:pt x="62" y="62"/>
                      <a:pt x="62" y="31"/>
                      <a:pt x="93" y="31"/>
                    </a:cubicBezTo>
                    <a:lnTo>
                      <a:pt x="93" y="31"/>
                    </a:lnTo>
                    <a:lnTo>
                      <a:pt x="93" y="31"/>
                    </a:lnTo>
                    <a:cubicBezTo>
                      <a:pt x="93" y="62"/>
                      <a:pt x="93" y="62"/>
                      <a:pt x="93" y="62"/>
                    </a:cubicBezTo>
                    <a:lnTo>
                      <a:pt x="93" y="62"/>
                    </a:lnTo>
                    <a:cubicBezTo>
                      <a:pt x="124" y="31"/>
                      <a:pt x="124" y="31"/>
                      <a:pt x="124" y="31"/>
                    </a:cubicBezTo>
                    <a:lnTo>
                      <a:pt x="124" y="31"/>
                    </a:lnTo>
                    <a:lnTo>
                      <a:pt x="155" y="31"/>
                    </a:lnTo>
                    <a:lnTo>
                      <a:pt x="155" y="31"/>
                    </a:lnTo>
                    <a:lnTo>
                      <a:pt x="155" y="31"/>
                    </a:lnTo>
                    <a:cubicBezTo>
                      <a:pt x="124" y="31"/>
                      <a:pt x="124" y="31"/>
                      <a:pt x="124"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81" name="Freeform 78"/>
              <p:cNvSpPr>
                <a:spLocks noChangeArrowheads="1"/>
              </p:cNvSpPr>
              <p:nvPr/>
            </p:nvSpPr>
            <p:spPr bwMode="auto">
              <a:xfrm>
                <a:off x="4092575" y="1355725"/>
                <a:ext cx="88900" cy="44450"/>
              </a:xfrm>
              <a:custGeom>
                <a:avLst/>
                <a:gdLst>
                  <a:gd name="T0" fmla="*/ 0 w 249"/>
                  <a:gd name="T1" fmla="*/ 30 h 125"/>
                  <a:gd name="T2" fmla="*/ 0 w 249"/>
                  <a:gd name="T3" fmla="*/ 30 h 125"/>
                  <a:gd name="T4" fmla="*/ 31 w 249"/>
                  <a:gd name="T5" fmla="*/ 30 h 125"/>
                  <a:gd name="T6" fmla="*/ 31 w 249"/>
                  <a:gd name="T7" fmla="*/ 30 h 125"/>
                  <a:gd name="T8" fmla="*/ 62 w 249"/>
                  <a:gd name="T9" fmla="*/ 30 h 125"/>
                  <a:gd name="T10" fmla="*/ 62 w 249"/>
                  <a:gd name="T11" fmla="*/ 30 h 125"/>
                  <a:gd name="T12" fmla="*/ 93 w 249"/>
                  <a:gd name="T13" fmla="*/ 61 h 125"/>
                  <a:gd name="T14" fmla="*/ 93 w 249"/>
                  <a:gd name="T15" fmla="*/ 93 h 125"/>
                  <a:gd name="T16" fmla="*/ 93 w 249"/>
                  <a:gd name="T17" fmla="*/ 93 h 125"/>
                  <a:gd name="T18" fmla="*/ 124 w 249"/>
                  <a:gd name="T19" fmla="*/ 93 h 125"/>
                  <a:gd name="T20" fmla="*/ 124 w 249"/>
                  <a:gd name="T21" fmla="*/ 93 h 125"/>
                  <a:gd name="T22" fmla="*/ 124 w 249"/>
                  <a:gd name="T23" fmla="*/ 93 h 125"/>
                  <a:gd name="T24" fmla="*/ 154 w 249"/>
                  <a:gd name="T25" fmla="*/ 124 h 125"/>
                  <a:gd name="T26" fmla="*/ 154 w 249"/>
                  <a:gd name="T27" fmla="*/ 124 h 125"/>
                  <a:gd name="T28" fmla="*/ 154 w 249"/>
                  <a:gd name="T29" fmla="*/ 93 h 125"/>
                  <a:gd name="T30" fmla="*/ 186 w 249"/>
                  <a:gd name="T31" fmla="*/ 93 h 125"/>
                  <a:gd name="T32" fmla="*/ 186 w 249"/>
                  <a:gd name="T33" fmla="*/ 93 h 125"/>
                  <a:gd name="T34" fmla="*/ 186 w 249"/>
                  <a:gd name="T35" fmla="*/ 93 h 125"/>
                  <a:gd name="T36" fmla="*/ 186 w 249"/>
                  <a:gd name="T37" fmla="*/ 93 h 125"/>
                  <a:gd name="T38" fmla="*/ 217 w 249"/>
                  <a:gd name="T39" fmla="*/ 93 h 125"/>
                  <a:gd name="T40" fmla="*/ 248 w 249"/>
                  <a:gd name="T41" fmla="*/ 30 h 125"/>
                  <a:gd name="T42" fmla="*/ 248 w 249"/>
                  <a:gd name="T43" fmla="*/ 30 h 125"/>
                  <a:gd name="T44" fmla="*/ 248 w 249"/>
                  <a:gd name="T45" fmla="*/ 30 h 125"/>
                  <a:gd name="T46" fmla="*/ 248 w 249"/>
                  <a:gd name="T47" fmla="*/ 30 h 125"/>
                  <a:gd name="T48" fmla="*/ 217 w 249"/>
                  <a:gd name="T49" fmla="*/ 30 h 125"/>
                  <a:gd name="T50" fmla="*/ 217 w 249"/>
                  <a:gd name="T51" fmla="*/ 30 h 125"/>
                  <a:gd name="T52" fmla="*/ 217 w 249"/>
                  <a:gd name="T53" fmla="*/ 30 h 125"/>
                  <a:gd name="T54" fmla="*/ 186 w 249"/>
                  <a:gd name="T55" fmla="*/ 0 h 125"/>
                  <a:gd name="T56" fmla="*/ 186 w 249"/>
                  <a:gd name="T57" fmla="*/ 0 h 125"/>
                  <a:gd name="T58" fmla="*/ 186 w 249"/>
                  <a:gd name="T59" fmla="*/ 0 h 125"/>
                  <a:gd name="T60" fmla="*/ 186 w 249"/>
                  <a:gd name="T61" fmla="*/ 0 h 125"/>
                  <a:gd name="T62" fmla="*/ 186 w 249"/>
                  <a:gd name="T63" fmla="*/ 0 h 125"/>
                  <a:gd name="T64" fmla="*/ 154 w 249"/>
                  <a:gd name="T65" fmla="*/ 0 h 125"/>
                  <a:gd name="T66" fmla="*/ 124 w 249"/>
                  <a:gd name="T67" fmla="*/ 0 h 125"/>
                  <a:gd name="T68" fmla="*/ 124 w 249"/>
                  <a:gd name="T69" fmla="*/ 0 h 125"/>
                  <a:gd name="T70" fmla="*/ 124 w 249"/>
                  <a:gd name="T71" fmla="*/ 0 h 125"/>
                  <a:gd name="T72" fmla="*/ 124 w 249"/>
                  <a:gd name="T73" fmla="*/ 0 h 125"/>
                  <a:gd name="T74" fmla="*/ 93 w 249"/>
                  <a:gd name="T75" fmla="*/ 0 h 125"/>
                  <a:gd name="T76" fmla="*/ 62 w 249"/>
                  <a:gd name="T77" fmla="*/ 0 h 125"/>
                  <a:gd name="T78" fmla="*/ 31 w 249"/>
                  <a:gd name="T79" fmla="*/ 0 h 125"/>
                  <a:gd name="T80" fmla="*/ 0 w 249"/>
                  <a:gd name="T81" fmla="*/ 0 h 125"/>
                  <a:gd name="T82" fmla="*/ 0 w 249"/>
                  <a:gd name="T83" fmla="*/ 3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 h="125">
                    <a:moveTo>
                      <a:pt x="0" y="30"/>
                    </a:moveTo>
                    <a:lnTo>
                      <a:pt x="0" y="30"/>
                    </a:lnTo>
                    <a:lnTo>
                      <a:pt x="31" y="30"/>
                    </a:lnTo>
                    <a:lnTo>
                      <a:pt x="31" y="30"/>
                    </a:lnTo>
                    <a:lnTo>
                      <a:pt x="62" y="30"/>
                    </a:lnTo>
                    <a:lnTo>
                      <a:pt x="62" y="30"/>
                    </a:lnTo>
                    <a:cubicBezTo>
                      <a:pt x="93" y="61"/>
                      <a:pt x="93" y="61"/>
                      <a:pt x="93" y="61"/>
                    </a:cubicBezTo>
                    <a:cubicBezTo>
                      <a:pt x="93" y="93"/>
                      <a:pt x="93" y="93"/>
                      <a:pt x="93" y="93"/>
                    </a:cubicBezTo>
                    <a:lnTo>
                      <a:pt x="93" y="93"/>
                    </a:lnTo>
                    <a:lnTo>
                      <a:pt x="124" y="93"/>
                    </a:lnTo>
                    <a:lnTo>
                      <a:pt x="124" y="93"/>
                    </a:lnTo>
                    <a:lnTo>
                      <a:pt x="124" y="93"/>
                    </a:lnTo>
                    <a:cubicBezTo>
                      <a:pt x="154" y="93"/>
                      <a:pt x="154" y="124"/>
                      <a:pt x="154" y="124"/>
                    </a:cubicBezTo>
                    <a:lnTo>
                      <a:pt x="154" y="124"/>
                    </a:lnTo>
                    <a:cubicBezTo>
                      <a:pt x="154" y="93"/>
                      <a:pt x="154" y="93"/>
                      <a:pt x="154" y="93"/>
                    </a:cubicBezTo>
                    <a:cubicBezTo>
                      <a:pt x="186" y="93"/>
                      <a:pt x="186" y="93"/>
                      <a:pt x="186" y="93"/>
                    </a:cubicBezTo>
                    <a:lnTo>
                      <a:pt x="186" y="93"/>
                    </a:lnTo>
                    <a:lnTo>
                      <a:pt x="186" y="93"/>
                    </a:lnTo>
                    <a:lnTo>
                      <a:pt x="186" y="93"/>
                    </a:lnTo>
                    <a:lnTo>
                      <a:pt x="217" y="93"/>
                    </a:lnTo>
                    <a:cubicBezTo>
                      <a:pt x="217" y="61"/>
                      <a:pt x="217" y="30"/>
                      <a:pt x="248" y="30"/>
                    </a:cubicBezTo>
                    <a:lnTo>
                      <a:pt x="248" y="30"/>
                    </a:lnTo>
                    <a:lnTo>
                      <a:pt x="248" y="30"/>
                    </a:lnTo>
                    <a:lnTo>
                      <a:pt x="248" y="30"/>
                    </a:lnTo>
                    <a:lnTo>
                      <a:pt x="217" y="30"/>
                    </a:lnTo>
                    <a:lnTo>
                      <a:pt x="217" y="30"/>
                    </a:lnTo>
                    <a:lnTo>
                      <a:pt x="217" y="30"/>
                    </a:lnTo>
                    <a:cubicBezTo>
                      <a:pt x="217" y="30"/>
                      <a:pt x="186" y="30"/>
                      <a:pt x="186" y="0"/>
                    </a:cubicBezTo>
                    <a:lnTo>
                      <a:pt x="186" y="0"/>
                    </a:lnTo>
                    <a:lnTo>
                      <a:pt x="186" y="0"/>
                    </a:lnTo>
                    <a:lnTo>
                      <a:pt x="186" y="0"/>
                    </a:lnTo>
                    <a:lnTo>
                      <a:pt x="186" y="0"/>
                    </a:lnTo>
                    <a:cubicBezTo>
                      <a:pt x="154" y="0"/>
                      <a:pt x="154" y="0"/>
                      <a:pt x="154" y="0"/>
                    </a:cubicBezTo>
                    <a:lnTo>
                      <a:pt x="124" y="0"/>
                    </a:lnTo>
                    <a:lnTo>
                      <a:pt x="124" y="0"/>
                    </a:lnTo>
                    <a:lnTo>
                      <a:pt x="124" y="0"/>
                    </a:lnTo>
                    <a:lnTo>
                      <a:pt x="124" y="0"/>
                    </a:lnTo>
                    <a:cubicBezTo>
                      <a:pt x="93" y="0"/>
                      <a:pt x="93" y="0"/>
                      <a:pt x="93" y="0"/>
                    </a:cubicBezTo>
                    <a:cubicBezTo>
                      <a:pt x="62" y="0"/>
                      <a:pt x="62" y="0"/>
                      <a:pt x="62" y="0"/>
                    </a:cubicBezTo>
                    <a:lnTo>
                      <a:pt x="31" y="0"/>
                    </a:lnTo>
                    <a:cubicBezTo>
                      <a:pt x="31" y="0"/>
                      <a:pt x="31" y="0"/>
                      <a:pt x="0" y="0"/>
                    </a:cubicBezTo>
                    <a:cubicBezTo>
                      <a:pt x="0" y="0"/>
                      <a:pt x="0" y="0"/>
                      <a:pt x="0" y="3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82" name="Freeform 79"/>
              <p:cNvSpPr>
                <a:spLocks noChangeArrowheads="1"/>
              </p:cNvSpPr>
              <p:nvPr/>
            </p:nvSpPr>
            <p:spPr bwMode="auto">
              <a:xfrm>
                <a:off x="4003675" y="1535113"/>
                <a:ext cx="100013" cy="44450"/>
              </a:xfrm>
              <a:custGeom>
                <a:avLst/>
                <a:gdLst>
                  <a:gd name="T0" fmla="*/ 248 w 280"/>
                  <a:gd name="T1" fmla="*/ 0 h 125"/>
                  <a:gd name="T2" fmla="*/ 248 w 280"/>
                  <a:gd name="T3" fmla="*/ 0 h 125"/>
                  <a:gd name="T4" fmla="*/ 217 w 280"/>
                  <a:gd name="T5" fmla="*/ 0 h 125"/>
                  <a:gd name="T6" fmla="*/ 217 w 280"/>
                  <a:gd name="T7" fmla="*/ 30 h 125"/>
                  <a:gd name="T8" fmla="*/ 186 w 280"/>
                  <a:gd name="T9" fmla="*/ 30 h 125"/>
                  <a:gd name="T10" fmla="*/ 186 w 280"/>
                  <a:gd name="T11" fmla="*/ 30 h 125"/>
                  <a:gd name="T12" fmla="*/ 186 w 280"/>
                  <a:gd name="T13" fmla="*/ 30 h 125"/>
                  <a:gd name="T14" fmla="*/ 155 w 280"/>
                  <a:gd name="T15" fmla="*/ 30 h 125"/>
                  <a:gd name="T16" fmla="*/ 124 w 280"/>
                  <a:gd name="T17" fmla="*/ 62 h 125"/>
                  <a:gd name="T18" fmla="*/ 124 w 280"/>
                  <a:gd name="T19" fmla="*/ 30 h 125"/>
                  <a:gd name="T20" fmla="*/ 124 w 280"/>
                  <a:gd name="T21" fmla="*/ 30 h 125"/>
                  <a:gd name="T22" fmla="*/ 124 w 280"/>
                  <a:gd name="T23" fmla="*/ 30 h 125"/>
                  <a:gd name="T24" fmla="*/ 93 w 280"/>
                  <a:gd name="T25" fmla="*/ 62 h 125"/>
                  <a:gd name="T26" fmla="*/ 62 w 280"/>
                  <a:gd name="T27" fmla="*/ 62 h 125"/>
                  <a:gd name="T28" fmla="*/ 62 w 280"/>
                  <a:gd name="T29" fmla="*/ 62 h 125"/>
                  <a:gd name="T30" fmla="*/ 62 w 280"/>
                  <a:gd name="T31" fmla="*/ 62 h 125"/>
                  <a:gd name="T32" fmla="*/ 62 w 280"/>
                  <a:gd name="T33" fmla="*/ 62 h 125"/>
                  <a:gd name="T34" fmla="*/ 62 w 280"/>
                  <a:gd name="T35" fmla="*/ 62 h 125"/>
                  <a:gd name="T36" fmla="*/ 62 w 280"/>
                  <a:gd name="T37" fmla="*/ 62 h 125"/>
                  <a:gd name="T38" fmla="*/ 31 w 280"/>
                  <a:gd name="T39" fmla="*/ 62 h 125"/>
                  <a:gd name="T40" fmla="*/ 0 w 280"/>
                  <a:gd name="T41" fmla="*/ 62 h 125"/>
                  <a:gd name="T42" fmla="*/ 0 w 280"/>
                  <a:gd name="T43" fmla="*/ 62 h 125"/>
                  <a:gd name="T44" fmla="*/ 0 w 280"/>
                  <a:gd name="T45" fmla="*/ 62 h 125"/>
                  <a:gd name="T46" fmla="*/ 0 w 280"/>
                  <a:gd name="T47" fmla="*/ 62 h 125"/>
                  <a:gd name="T48" fmla="*/ 0 w 280"/>
                  <a:gd name="T49" fmla="*/ 93 h 125"/>
                  <a:gd name="T50" fmla="*/ 0 w 280"/>
                  <a:gd name="T51" fmla="*/ 93 h 125"/>
                  <a:gd name="T52" fmla="*/ 0 w 280"/>
                  <a:gd name="T53" fmla="*/ 93 h 125"/>
                  <a:gd name="T54" fmla="*/ 0 w 280"/>
                  <a:gd name="T55" fmla="*/ 93 h 125"/>
                  <a:gd name="T56" fmla="*/ 0 w 280"/>
                  <a:gd name="T57" fmla="*/ 124 h 125"/>
                  <a:gd name="T58" fmla="*/ 0 w 280"/>
                  <a:gd name="T59" fmla="*/ 124 h 125"/>
                  <a:gd name="T60" fmla="*/ 31 w 280"/>
                  <a:gd name="T61" fmla="*/ 124 h 125"/>
                  <a:gd name="T62" fmla="*/ 31 w 280"/>
                  <a:gd name="T63" fmla="*/ 124 h 125"/>
                  <a:gd name="T64" fmla="*/ 31 w 280"/>
                  <a:gd name="T65" fmla="*/ 124 h 125"/>
                  <a:gd name="T66" fmla="*/ 31 w 280"/>
                  <a:gd name="T67" fmla="*/ 124 h 125"/>
                  <a:gd name="T68" fmla="*/ 31 w 280"/>
                  <a:gd name="T69" fmla="*/ 124 h 125"/>
                  <a:gd name="T70" fmla="*/ 31 w 280"/>
                  <a:gd name="T71" fmla="*/ 124 h 125"/>
                  <a:gd name="T72" fmla="*/ 62 w 280"/>
                  <a:gd name="T73" fmla="*/ 124 h 125"/>
                  <a:gd name="T74" fmla="*/ 93 w 280"/>
                  <a:gd name="T75" fmla="*/ 124 h 125"/>
                  <a:gd name="T76" fmla="*/ 93 w 280"/>
                  <a:gd name="T77" fmla="*/ 124 h 125"/>
                  <a:gd name="T78" fmla="*/ 124 w 280"/>
                  <a:gd name="T79" fmla="*/ 124 h 125"/>
                  <a:gd name="T80" fmla="*/ 124 w 280"/>
                  <a:gd name="T81" fmla="*/ 124 h 125"/>
                  <a:gd name="T82" fmla="*/ 124 w 280"/>
                  <a:gd name="T83" fmla="*/ 124 h 125"/>
                  <a:gd name="T84" fmla="*/ 124 w 280"/>
                  <a:gd name="T85" fmla="*/ 124 h 125"/>
                  <a:gd name="T86" fmla="*/ 124 w 280"/>
                  <a:gd name="T87" fmla="*/ 124 h 125"/>
                  <a:gd name="T88" fmla="*/ 124 w 280"/>
                  <a:gd name="T89" fmla="*/ 124 h 125"/>
                  <a:gd name="T90" fmla="*/ 155 w 280"/>
                  <a:gd name="T91" fmla="*/ 124 h 125"/>
                  <a:gd name="T92" fmla="*/ 155 w 280"/>
                  <a:gd name="T93" fmla="*/ 124 h 125"/>
                  <a:gd name="T94" fmla="*/ 155 w 280"/>
                  <a:gd name="T95" fmla="*/ 124 h 125"/>
                  <a:gd name="T96" fmla="*/ 155 w 280"/>
                  <a:gd name="T97" fmla="*/ 124 h 125"/>
                  <a:gd name="T98" fmla="*/ 186 w 280"/>
                  <a:gd name="T99" fmla="*/ 124 h 125"/>
                  <a:gd name="T100" fmla="*/ 186 w 280"/>
                  <a:gd name="T101" fmla="*/ 124 h 125"/>
                  <a:gd name="T102" fmla="*/ 186 w 280"/>
                  <a:gd name="T103" fmla="*/ 93 h 125"/>
                  <a:gd name="T104" fmla="*/ 217 w 280"/>
                  <a:gd name="T105" fmla="*/ 93 h 125"/>
                  <a:gd name="T106" fmla="*/ 248 w 280"/>
                  <a:gd name="T107" fmla="*/ 30 h 125"/>
                  <a:gd name="T108" fmla="*/ 279 w 280"/>
                  <a:gd name="T109" fmla="*/ 30 h 125"/>
                  <a:gd name="T110" fmla="*/ 279 w 280"/>
                  <a:gd name="T111" fmla="*/ 30 h 125"/>
                  <a:gd name="T112" fmla="*/ 248 w 280"/>
                  <a:gd name="T11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0" h="125">
                    <a:moveTo>
                      <a:pt x="248" y="0"/>
                    </a:moveTo>
                    <a:lnTo>
                      <a:pt x="248" y="0"/>
                    </a:lnTo>
                    <a:cubicBezTo>
                      <a:pt x="217" y="0"/>
                      <a:pt x="217" y="0"/>
                      <a:pt x="217" y="0"/>
                    </a:cubicBezTo>
                    <a:cubicBezTo>
                      <a:pt x="217" y="0"/>
                      <a:pt x="217" y="0"/>
                      <a:pt x="217" y="30"/>
                    </a:cubicBezTo>
                    <a:cubicBezTo>
                      <a:pt x="186" y="30"/>
                      <a:pt x="186" y="30"/>
                      <a:pt x="186" y="30"/>
                    </a:cubicBezTo>
                    <a:lnTo>
                      <a:pt x="186" y="30"/>
                    </a:lnTo>
                    <a:lnTo>
                      <a:pt x="186" y="30"/>
                    </a:lnTo>
                    <a:cubicBezTo>
                      <a:pt x="155" y="30"/>
                      <a:pt x="155" y="30"/>
                      <a:pt x="155" y="30"/>
                    </a:cubicBezTo>
                    <a:cubicBezTo>
                      <a:pt x="155" y="30"/>
                      <a:pt x="155" y="62"/>
                      <a:pt x="124" y="62"/>
                    </a:cubicBezTo>
                    <a:lnTo>
                      <a:pt x="124" y="30"/>
                    </a:lnTo>
                    <a:lnTo>
                      <a:pt x="124" y="30"/>
                    </a:lnTo>
                    <a:lnTo>
                      <a:pt x="124" y="30"/>
                    </a:lnTo>
                    <a:cubicBezTo>
                      <a:pt x="93" y="62"/>
                      <a:pt x="93" y="62"/>
                      <a:pt x="93" y="62"/>
                    </a:cubicBezTo>
                    <a:cubicBezTo>
                      <a:pt x="93" y="62"/>
                      <a:pt x="93" y="62"/>
                      <a:pt x="62" y="62"/>
                    </a:cubicBezTo>
                    <a:lnTo>
                      <a:pt x="62" y="62"/>
                    </a:lnTo>
                    <a:lnTo>
                      <a:pt x="62" y="62"/>
                    </a:lnTo>
                    <a:lnTo>
                      <a:pt x="62" y="62"/>
                    </a:lnTo>
                    <a:lnTo>
                      <a:pt x="62" y="62"/>
                    </a:lnTo>
                    <a:lnTo>
                      <a:pt x="62" y="62"/>
                    </a:lnTo>
                    <a:cubicBezTo>
                      <a:pt x="31" y="62"/>
                      <a:pt x="31" y="62"/>
                      <a:pt x="31" y="62"/>
                    </a:cubicBezTo>
                    <a:cubicBezTo>
                      <a:pt x="31" y="62"/>
                      <a:pt x="31" y="62"/>
                      <a:pt x="0" y="62"/>
                    </a:cubicBezTo>
                    <a:lnTo>
                      <a:pt x="0" y="62"/>
                    </a:lnTo>
                    <a:lnTo>
                      <a:pt x="0" y="62"/>
                    </a:lnTo>
                    <a:lnTo>
                      <a:pt x="0" y="62"/>
                    </a:lnTo>
                    <a:cubicBezTo>
                      <a:pt x="0" y="93"/>
                      <a:pt x="0" y="93"/>
                      <a:pt x="0" y="93"/>
                    </a:cubicBezTo>
                    <a:lnTo>
                      <a:pt x="0" y="93"/>
                    </a:lnTo>
                    <a:lnTo>
                      <a:pt x="0" y="93"/>
                    </a:lnTo>
                    <a:lnTo>
                      <a:pt x="0" y="93"/>
                    </a:lnTo>
                    <a:cubicBezTo>
                      <a:pt x="0" y="93"/>
                      <a:pt x="0" y="93"/>
                      <a:pt x="0" y="124"/>
                    </a:cubicBezTo>
                    <a:lnTo>
                      <a:pt x="0" y="124"/>
                    </a:lnTo>
                    <a:cubicBezTo>
                      <a:pt x="31" y="124"/>
                      <a:pt x="31" y="124"/>
                      <a:pt x="31" y="124"/>
                    </a:cubicBezTo>
                    <a:lnTo>
                      <a:pt x="31" y="124"/>
                    </a:lnTo>
                    <a:lnTo>
                      <a:pt x="31" y="124"/>
                    </a:lnTo>
                    <a:lnTo>
                      <a:pt x="31" y="124"/>
                    </a:lnTo>
                    <a:lnTo>
                      <a:pt x="31" y="124"/>
                    </a:lnTo>
                    <a:lnTo>
                      <a:pt x="31" y="124"/>
                    </a:lnTo>
                    <a:cubicBezTo>
                      <a:pt x="62" y="124"/>
                      <a:pt x="62" y="124"/>
                      <a:pt x="62" y="124"/>
                    </a:cubicBezTo>
                    <a:cubicBezTo>
                      <a:pt x="62" y="124"/>
                      <a:pt x="62" y="124"/>
                      <a:pt x="93" y="124"/>
                    </a:cubicBezTo>
                    <a:lnTo>
                      <a:pt x="93" y="124"/>
                    </a:lnTo>
                    <a:lnTo>
                      <a:pt x="124" y="124"/>
                    </a:lnTo>
                    <a:lnTo>
                      <a:pt x="124" y="124"/>
                    </a:lnTo>
                    <a:lnTo>
                      <a:pt x="124" y="124"/>
                    </a:lnTo>
                    <a:lnTo>
                      <a:pt x="124" y="124"/>
                    </a:lnTo>
                    <a:lnTo>
                      <a:pt x="124" y="124"/>
                    </a:lnTo>
                    <a:lnTo>
                      <a:pt x="124" y="124"/>
                    </a:lnTo>
                    <a:cubicBezTo>
                      <a:pt x="155" y="124"/>
                      <a:pt x="155" y="124"/>
                      <a:pt x="155" y="124"/>
                    </a:cubicBezTo>
                    <a:lnTo>
                      <a:pt x="155" y="124"/>
                    </a:lnTo>
                    <a:lnTo>
                      <a:pt x="155" y="124"/>
                    </a:lnTo>
                    <a:lnTo>
                      <a:pt x="155" y="124"/>
                    </a:lnTo>
                    <a:cubicBezTo>
                      <a:pt x="155" y="124"/>
                      <a:pt x="155" y="124"/>
                      <a:pt x="186" y="124"/>
                    </a:cubicBezTo>
                    <a:lnTo>
                      <a:pt x="186" y="124"/>
                    </a:lnTo>
                    <a:lnTo>
                      <a:pt x="186" y="93"/>
                    </a:lnTo>
                    <a:lnTo>
                      <a:pt x="217" y="93"/>
                    </a:lnTo>
                    <a:cubicBezTo>
                      <a:pt x="217" y="62"/>
                      <a:pt x="248" y="62"/>
                      <a:pt x="248" y="30"/>
                    </a:cubicBezTo>
                    <a:lnTo>
                      <a:pt x="279" y="30"/>
                    </a:lnTo>
                    <a:lnTo>
                      <a:pt x="279" y="30"/>
                    </a:lnTo>
                    <a:cubicBezTo>
                      <a:pt x="248" y="30"/>
                      <a:pt x="248" y="0"/>
                      <a:pt x="248"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83" name="Freeform 80"/>
              <p:cNvSpPr>
                <a:spLocks noChangeArrowheads="1"/>
              </p:cNvSpPr>
              <p:nvPr/>
            </p:nvSpPr>
            <p:spPr bwMode="auto">
              <a:xfrm>
                <a:off x="3757613" y="1423988"/>
                <a:ext cx="44450" cy="33337"/>
              </a:xfrm>
              <a:custGeom>
                <a:avLst/>
                <a:gdLst>
                  <a:gd name="T0" fmla="*/ 31 w 125"/>
                  <a:gd name="T1" fmla="*/ 92 h 93"/>
                  <a:gd name="T2" fmla="*/ 31 w 125"/>
                  <a:gd name="T3" fmla="*/ 92 h 93"/>
                  <a:gd name="T4" fmla="*/ 62 w 125"/>
                  <a:gd name="T5" fmla="*/ 62 h 93"/>
                  <a:gd name="T6" fmla="*/ 94 w 125"/>
                  <a:gd name="T7" fmla="*/ 62 h 93"/>
                  <a:gd name="T8" fmla="*/ 94 w 125"/>
                  <a:gd name="T9" fmla="*/ 62 h 93"/>
                  <a:gd name="T10" fmla="*/ 94 w 125"/>
                  <a:gd name="T11" fmla="*/ 62 h 93"/>
                  <a:gd name="T12" fmla="*/ 94 w 125"/>
                  <a:gd name="T13" fmla="*/ 31 h 93"/>
                  <a:gd name="T14" fmla="*/ 94 w 125"/>
                  <a:gd name="T15" fmla="*/ 31 h 93"/>
                  <a:gd name="T16" fmla="*/ 94 w 125"/>
                  <a:gd name="T17" fmla="*/ 31 h 93"/>
                  <a:gd name="T18" fmla="*/ 94 w 125"/>
                  <a:gd name="T19" fmla="*/ 0 h 93"/>
                  <a:gd name="T20" fmla="*/ 94 w 125"/>
                  <a:gd name="T21" fmla="*/ 0 h 93"/>
                  <a:gd name="T22" fmla="*/ 94 w 125"/>
                  <a:gd name="T23" fmla="*/ 0 h 93"/>
                  <a:gd name="T24" fmla="*/ 124 w 125"/>
                  <a:gd name="T25" fmla="*/ 0 h 93"/>
                  <a:gd name="T26" fmla="*/ 124 w 125"/>
                  <a:gd name="T27" fmla="*/ 0 h 93"/>
                  <a:gd name="T28" fmla="*/ 124 w 125"/>
                  <a:gd name="T29" fmla="*/ 0 h 93"/>
                  <a:gd name="T30" fmla="*/ 94 w 125"/>
                  <a:gd name="T31" fmla="*/ 0 h 93"/>
                  <a:gd name="T32" fmla="*/ 62 w 125"/>
                  <a:gd name="T33" fmla="*/ 0 h 93"/>
                  <a:gd name="T34" fmla="*/ 31 w 125"/>
                  <a:gd name="T35" fmla="*/ 0 h 93"/>
                  <a:gd name="T36" fmla="*/ 31 w 125"/>
                  <a:gd name="T37" fmla="*/ 0 h 93"/>
                  <a:gd name="T38" fmla="*/ 31 w 125"/>
                  <a:gd name="T39" fmla="*/ 0 h 93"/>
                  <a:gd name="T40" fmla="*/ 31 w 125"/>
                  <a:gd name="T41" fmla="*/ 31 h 93"/>
                  <a:gd name="T42" fmla="*/ 0 w 125"/>
                  <a:gd name="T43" fmla="*/ 31 h 93"/>
                  <a:gd name="T44" fmla="*/ 31 w 125"/>
                  <a:gd name="T45" fmla="*/ 62 h 93"/>
                  <a:gd name="T46" fmla="*/ 31 w 125"/>
                  <a:gd name="T47"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5" h="93">
                    <a:moveTo>
                      <a:pt x="31" y="92"/>
                    </a:moveTo>
                    <a:lnTo>
                      <a:pt x="31" y="92"/>
                    </a:lnTo>
                    <a:lnTo>
                      <a:pt x="62" y="62"/>
                    </a:lnTo>
                    <a:cubicBezTo>
                      <a:pt x="62" y="62"/>
                      <a:pt x="62" y="62"/>
                      <a:pt x="94" y="62"/>
                    </a:cubicBezTo>
                    <a:lnTo>
                      <a:pt x="94" y="62"/>
                    </a:lnTo>
                    <a:lnTo>
                      <a:pt x="94" y="62"/>
                    </a:lnTo>
                    <a:lnTo>
                      <a:pt x="94" y="31"/>
                    </a:lnTo>
                    <a:lnTo>
                      <a:pt x="94" y="31"/>
                    </a:lnTo>
                    <a:lnTo>
                      <a:pt x="94" y="31"/>
                    </a:lnTo>
                    <a:cubicBezTo>
                      <a:pt x="94" y="31"/>
                      <a:pt x="94" y="31"/>
                      <a:pt x="94" y="0"/>
                    </a:cubicBezTo>
                    <a:lnTo>
                      <a:pt x="94" y="0"/>
                    </a:lnTo>
                    <a:lnTo>
                      <a:pt x="94" y="0"/>
                    </a:lnTo>
                    <a:cubicBezTo>
                      <a:pt x="124" y="0"/>
                      <a:pt x="124" y="0"/>
                      <a:pt x="124" y="0"/>
                    </a:cubicBezTo>
                    <a:lnTo>
                      <a:pt x="124" y="0"/>
                    </a:lnTo>
                    <a:lnTo>
                      <a:pt x="124" y="0"/>
                    </a:lnTo>
                    <a:lnTo>
                      <a:pt x="94" y="0"/>
                    </a:lnTo>
                    <a:cubicBezTo>
                      <a:pt x="94" y="0"/>
                      <a:pt x="94" y="0"/>
                      <a:pt x="62" y="0"/>
                    </a:cubicBezTo>
                    <a:cubicBezTo>
                      <a:pt x="62" y="0"/>
                      <a:pt x="62" y="0"/>
                      <a:pt x="31" y="0"/>
                    </a:cubicBezTo>
                    <a:lnTo>
                      <a:pt x="31" y="0"/>
                    </a:lnTo>
                    <a:lnTo>
                      <a:pt x="31" y="0"/>
                    </a:lnTo>
                    <a:cubicBezTo>
                      <a:pt x="31" y="0"/>
                      <a:pt x="31" y="0"/>
                      <a:pt x="31" y="31"/>
                    </a:cubicBezTo>
                    <a:cubicBezTo>
                      <a:pt x="31" y="31"/>
                      <a:pt x="31" y="31"/>
                      <a:pt x="0" y="31"/>
                    </a:cubicBezTo>
                    <a:cubicBezTo>
                      <a:pt x="31" y="62"/>
                      <a:pt x="31" y="62"/>
                      <a:pt x="31" y="62"/>
                    </a:cubicBezTo>
                    <a:lnTo>
                      <a:pt x="31" y="9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84" name="Freeform 81"/>
              <p:cNvSpPr>
                <a:spLocks noChangeArrowheads="1"/>
              </p:cNvSpPr>
              <p:nvPr/>
            </p:nvSpPr>
            <p:spPr bwMode="auto">
              <a:xfrm>
                <a:off x="3579813" y="1479550"/>
                <a:ext cx="234950" cy="179388"/>
              </a:xfrm>
              <a:custGeom>
                <a:avLst/>
                <a:gdLst>
                  <a:gd name="T0" fmla="*/ 186 w 652"/>
                  <a:gd name="T1" fmla="*/ 465 h 497"/>
                  <a:gd name="T2" fmla="*/ 186 w 652"/>
                  <a:gd name="T3" fmla="*/ 465 h 497"/>
                  <a:gd name="T4" fmla="*/ 218 w 652"/>
                  <a:gd name="T5" fmla="*/ 465 h 497"/>
                  <a:gd name="T6" fmla="*/ 248 w 652"/>
                  <a:gd name="T7" fmla="*/ 496 h 497"/>
                  <a:gd name="T8" fmla="*/ 310 w 652"/>
                  <a:gd name="T9" fmla="*/ 496 h 497"/>
                  <a:gd name="T10" fmla="*/ 342 w 652"/>
                  <a:gd name="T11" fmla="*/ 496 h 497"/>
                  <a:gd name="T12" fmla="*/ 372 w 652"/>
                  <a:gd name="T13" fmla="*/ 496 h 497"/>
                  <a:gd name="T14" fmla="*/ 403 w 652"/>
                  <a:gd name="T15" fmla="*/ 465 h 497"/>
                  <a:gd name="T16" fmla="*/ 466 w 652"/>
                  <a:gd name="T17" fmla="*/ 433 h 497"/>
                  <a:gd name="T18" fmla="*/ 527 w 652"/>
                  <a:gd name="T19" fmla="*/ 465 h 497"/>
                  <a:gd name="T20" fmla="*/ 590 w 652"/>
                  <a:gd name="T21" fmla="*/ 465 h 497"/>
                  <a:gd name="T22" fmla="*/ 620 w 652"/>
                  <a:gd name="T23" fmla="*/ 433 h 497"/>
                  <a:gd name="T24" fmla="*/ 590 w 652"/>
                  <a:gd name="T25" fmla="*/ 403 h 497"/>
                  <a:gd name="T26" fmla="*/ 590 w 652"/>
                  <a:gd name="T27" fmla="*/ 372 h 497"/>
                  <a:gd name="T28" fmla="*/ 590 w 652"/>
                  <a:gd name="T29" fmla="*/ 341 h 497"/>
                  <a:gd name="T30" fmla="*/ 558 w 652"/>
                  <a:gd name="T31" fmla="*/ 309 h 497"/>
                  <a:gd name="T32" fmla="*/ 558 w 652"/>
                  <a:gd name="T33" fmla="*/ 248 h 497"/>
                  <a:gd name="T34" fmla="*/ 558 w 652"/>
                  <a:gd name="T35" fmla="*/ 248 h 497"/>
                  <a:gd name="T36" fmla="*/ 558 w 652"/>
                  <a:gd name="T37" fmla="*/ 248 h 497"/>
                  <a:gd name="T38" fmla="*/ 590 w 652"/>
                  <a:gd name="T39" fmla="*/ 217 h 497"/>
                  <a:gd name="T40" fmla="*/ 620 w 652"/>
                  <a:gd name="T41" fmla="*/ 185 h 497"/>
                  <a:gd name="T42" fmla="*/ 620 w 652"/>
                  <a:gd name="T43" fmla="*/ 185 h 497"/>
                  <a:gd name="T44" fmla="*/ 651 w 652"/>
                  <a:gd name="T45" fmla="*/ 124 h 497"/>
                  <a:gd name="T46" fmla="*/ 620 w 652"/>
                  <a:gd name="T47" fmla="*/ 124 h 497"/>
                  <a:gd name="T48" fmla="*/ 590 w 652"/>
                  <a:gd name="T49" fmla="*/ 124 h 497"/>
                  <a:gd name="T50" fmla="*/ 590 w 652"/>
                  <a:gd name="T51" fmla="*/ 124 h 497"/>
                  <a:gd name="T52" fmla="*/ 558 w 652"/>
                  <a:gd name="T53" fmla="*/ 124 h 497"/>
                  <a:gd name="T54" fmla="*/ 558 w 652"/>
                  <a:gd name="T55" fmla="*/ 124 h 497"/>
                  <a:gd name="T56" fmla="*/ 527 w 652"/>
                  <a:gd name="T57" fmla="*/ 93 h 497"/>
                  <a:gd name="T58" fmla="*/ 496 w 652"/>
                  <a:gd name="T59" fmla="*/ 93 h 497"/>
                  <a:gd name="T60" fmla="*/ 466 w 652"/>
                  <a:gd name="T61" fmla="*/ 93 h 497"/>
                  <a:gd name="T62" fmla="*/ 434 w 652"/>
                  <a:gd name="T63" fmla="*/ 61 h 497"/>
                  <a:gd name="T64" fmla="*/ 403 w 652"/>
                  <a:gd name="T65" fmla="*/ 31 h 497"/>
                  <a:gd name="T66" fmla="*/ 372 w 652"/>
                  <a:gd name="T67" fmla="*/ 0 h 497"/>
                  <a:gd name="T68" fmla="*/ 342 w 652"/>
                  <a:gd name="T69" fmla="*/ 0 h 497"/>
                  <a:gd name="T70" fmla="*/ 403 w 652"/>
                  <a:gd name="T71" fmla="*/ 61 h 497"/>
                  <a:gd name="T72" fmla="*/ 342 w 652"/>
                  <a:gd name="T73" fmla="*/ 61 h 497"/>
                  <a:gd name="T74" fmla="*/ 218 w 652"/>
                  <a:gd name="T75" fmla="*/ 124 h 497"/>
                  <a:gd name="T76" fmla="*/ 155 w 652"/>
                  <a:gd name="T77" fmla="*/ 93 h 497"/>
                  <a:gd name="T78" fmla="*/ 124 w 652"/>
                  <a:gd name="T79" fmla="*/ 155 h 497"/>
                  <a:gd name="T80" fmla="*/ 124 w 652"/>
                  <a:gd name="T81" fmla="*/ 155 h 497"/>
                  <a:gd name="T82" fmla="*/ 124 w 652"/>
                  <a:gd name="T83" fmla="*/ 155 h 497"/>
                  <a:gd name="T84" fmla="*/ 62 w 652"/>
                  <a:gd name="T85" fmla="*/ 124 h 497"/>
                  <a:gd name="T86" fmla="*/ 0 w 652"/>
                  <a:gd name="T87" fmla="*/ 155 h 497"/>
                  <a:gd name="T88" fmla="*/ 0 w 652"/>
                  <a:gd name="T89" fmla="*/ 155 h 497"/>
                  <a:gd name="T90" fmla="*/ 0 w 652"/>
                  <a:gd name="T91" fmla="*/ 155 h 497"/>
                  <a:gd name="T92" fmla="*/ 31 w 652"/>
                  <a:gd name="T93" fmla="*/ 155 h 497"/>
                  <a:gd name="T94" fmla="*/ 62 w 652"/>
                  <a:gd name="T95" fmla="*/ 185 h 497"/>
                  <a:gd name="T96" fmla="*/ 94 w 652"/>
                  <a:gd name="T97" fmla="*/ 185 h 497"/>
                  <a:gd name="T98" fmla="*/ 124 w 652"/>
                  <a:gd name="T99" fmla="*/ 217 h 497"/>
                  <a:gd name="T100" fmla="*/ 155 w 652"/>
                  <a:gd name="T101" fmla="*/ 248 h 497"/>
                  <a:gd name="T102" fmla="*/ 186 w 652"/>
                  <a:gd name="T103" fmla="*/ 403 h 497"/>
                  <a:gd name="T104" fmla="*/ 186 w 652"/>
                  <a:gd name="T105" fmla="*/ 46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2" h="497">
                    <a:moveTo>
                      <a:pt x="186" y="465"/>
                    </a:moveTo>
                    <a:lnTo>
                      <a:pt x="186" y="465"/>
                    </a:lnTo>
                    <a:lnTo>
                      <a:pt x="186" y="465"/>
                    </a:lnTo>
                    <a:lnTo>
                      <a:pt x="186" y="465"/>
                    </a:lnTo>
                    <a:lnTo>
                      <a:pt x="186" y="465"/>
                    </a:lnTo>
                    <a:lnTo>
                      <a:pt x="218" y="465"/>
                    </a:lnTo>
                    <a:cubicBezTo>
                      <a:pt x="218" y="496"/>
                      <a:pt x="218" y="496"/>
                      <a:pt x="248" y="496"/>
                    </a:cubicBezTo>
                    <a:lnTo>
                      <a:pt x="248" y="496"/>
                    </a:lnTo>
                    <a:lnTo>
                      <a:pt x="279" y="496"/>
                    </a:lnTo>
                    <a:lnTo>
                      <a:pt x="310" y="496"/>
                    </a:lnTo>
                    <a:lnTo>
                      <a:pt x="310" y="496"/>
                    </a:lnTo>
                    <a:lnTo>
                      <a:pt x="342" y="496"/>
                    </a:lnTo>
                    <a:cubicBezTo>
                      <a:pt x="342" y="496"/>
                      <a:pt x="342" y="496"/>
                      <a:pt x="372" y="496"/>
                    </a:cubicBezTo>
                    <a:lnTo>
                      <a:pt x="372" y="496"/>
                    </a:lnTo>
                    <a:lnTo>
                      <a:pt x="372" y="496"/>
                    </a:lnTo>
                    <a:cubicBezTo>
                      <a:pt x="403" y="465"/>
                      <a:pt x="403" y="465"/>
                      <a:pt x="403" y="465"/>
                    </a:cubicBezTo>
                    <a:cubicBezTo>
                      <a:pt x="434" y="433"/>
                      <a:pt x="434" y="433"/>
                      <a:pt x="434" y="433"/>
                    </a:cubicBezTo>
                    <a:cubicBezTo>
                      <a:pt x="466" y="433"/>
                      <a:pt x="466" y="433"/>
                      <a:pt x="466" y="433"/>
                    </a:cubicBezTo>
                    <a:cubicBezTo>
                      <a:pt x="466" y="433"/>
                      <a:pt x="496" y="433"/>
                      <a:pt x="527" y="465"/>
                    </a:cubicBezTo>
                    <a:lnTo>
                      <a:pt x="527" y="465"/>
                    </a:lnTo>
                    <a:cubicBezTo>
                      <a:pt x="558" y="465"/>
                      <a:pt x="558" y="465"/>
                      <a:pt x="558" y="465"/>
                    </a:cubicBezTo>
                    <a:cubicBezTo>
                      <a:pt x="558" y="465"/>
                      <a:pt x="558" y="465"/>
                      <a:pt x="590" y="465"/>
                    </a:cubicBezTo>
                    <a:lnTo>
                      <a:pt x="590" y="465"/>
                    </a:lnTo>
                    <a:lnTo>
                      <a:pt x="620" y="433"/>
                    </a:lnTo>
                    <a:cubicBezTo>
                      <a:pt x="590" y="433"/>
                      <a:pt x="590" y="433"/>
                      <a:pt x="590" y="403"/>
                    </a:cubicBezTo>
                    <a:lnTo>
                      <a:pt x="590" y="403"/>
                    </a:lnTo>
                    <a:lnTo>
                      <a:pt x="590" y="403"/>
                    </a:lnTo>
                    <a:lnTo>
                      <a:pt x="590" y="372"/>
                    </a:lnTo>
                    <a:lnTo>
                      <a:pt x="590" y="372"/>
                    </a:lnTo>
                    <a:cubicBezTo>
                      <a:pt x="590" y="341"/>
                      <a:pt x="590" y="341"/>
                      <a:pt x="590" y="341"/>
                    </a:cubicBezTo>
                    <a:lnTo>
                      <a:pt x="558" y="309"/>
                    </a:lnTo>
                    <a:lnTo>
                      <a:pt x="558" y="309"/>
                    </a:lnTo>
                    <a:lnTo>
                      <a:pt x="527" y="279"/>
                    </a:lnTo>
                    <a:cubicBezTo>
                      <a:pt x="527" y="279"/>
                      <a:pt x="527" y="279"/>
                      <a:pt x="558" y="248"/>
                    </a:cubicBezTo>
                    <a:lnTo>
                      <a:pt x="558" y="248"/>
                    </a:lnTo>
                    <a:lnTo>
                      <a:pt x="558" y="248"/>
                    </a:lnTo>
                    <a:lnTo>
                      <a:pt x="558" y="248"/>
                    </a:lnTo>
                    <a:lnTo>
                      <a:pt x="558" y="248"/>
                    </a:lnTo>
                    <a:cubicBezTo>
                      <a:pt x="590" y="217"/>
                      <a:pt x="590" y="217"/>
                      <a:pt x="590" y="217"/>
                    </a:cubicBezTo>
                    <a:lnTo>
                      <a:pt x="590" y="217"/>
                    </a:lnTo>
                    <a:cubicBezTo>
                      <a:pt x="590" y="217"/>
                      <a:pt x="590" y="217"/>
                      <a:pt x="590" y="185"/>
                    </a:cubicBezTo>
                    <a:cubicBezTo>
                      <a:pt x="620" y="185"/>
                      <a:pt x="620" y="185"/>
                      <a:pt x="620" y="185"/>
                    </a:cubicBezTo>
                    <a:lnTo>
                      <a:pt x="620" y="185"/>
                    </a:lnTo>
                    <a:lnTo>
                      <a:pt x="620" y="185"/>
                    </a:lnTo>
                    <a:lnTo>
                      <a:pt x="620" y="185"/>
                    </a:lnTo>
                    <a:cubicBezTo>
                      <a:pt x="620" y="155"/>
                      <a:pt x="620" y="155"/>
                      <a:pt x="651" y="124"/>
                    </a:cubicBezTo>
                    <a:cubicBezTo>
                      <a:pt x="620" y="124"/>
                      <a:pt x="620" y="124"/>
                      <a:pt x="620" y="124"/>
                    </a:cubicBezTo>
                    <a:lnTo>
                      <a:pt x="620" y="124"/>
                    </a:lnTo>
                    <a:lnTo>
                      <a:pt x="620" y="124"/>
                    </a:lnTo>
                    <a:cubicBezTo>
                      <a:pt x="590" y="124"/>
                      <a:pt x="590" y="124"/>
                      <a:pt x="590" y="124"/>
                    </a:cubicBezTo>
                    <a:lnTo>
                      <a:pt x="590" y="124"/>
                    </a:lnTo>
                    <a:lnTo>
                      <a:pt x="590" y="124"/>
                    </a:lnTo>
                    <a:lnTo>
                      <a:pt x="590" y="124"/>
                    </a:lnTo>
                    <a:lnTo>
                      <a:pt x="558" y="124"/>
                    </a:lnTo>
                    <a:lnTo>
                      <a:pt x="558" y="124"/>
                    </a:lnTo>
                    <a:lnTo>
                      <a:pt x="558" y="124"/>
                    </a:lnTo>
                    <a:lnTo>
                      <a:pt x="558" y="124"/>
                    </a:lnTo>
                    <a:cubicBezTo>
                      <a:pt x="527" y="124"/>
                      <a:pt x="527" y="93"/>
                      <a:pt x="527" y="93"/>
                    </a:cubicBezTo>
                    <a:lnTo>
                      <a:pt x="527" y="93"/>
                    </a:lnTo>
                    <a:cubicBezTo>
                      <a:pt x="496" y="93"/>
                      <a:pt x="496" y="93"/>
                      <a:pt x="496" y="93"/>
                    </a:cubicBezTo>
                    <a:lnTo>
                      <a:pt x="496" y="93"/>
                    </a:lnTo>
                    <a:lnTo>
                      <a:pt x="466" y="93"/>
                    </a:lnTo>
                    <a:lnTo>
                      <a:pt x="466" y="93"/>
                    </a:lnTo>
                    <a:lnTo>
                      <a:pt x="434" y="61"/>
                    </a:lnTo>
                    <a:cubicBezTo>
                      <a:pt x="434" y="61"/>
                      <a:pt x="403" y="61"/>
                      <a:pt x="403" y="31"/>
                    </a:cubicBezTo>
                    <a:lnTo>
                      <a:pt x="403" y="31"/>
                    </a:lnTo>
                    <a:lnTo>
                      <a:pt x="403" y="31"/>
                    </a:lnTo>
                    <a:cubicBezTo>
                      <a:pt x="372" y="31"/>
                      <a:pt x="372" y="31"/>
                      <a:pt x="372" y="0"/>
                    </a:cubicBezTo>
                    <a:lnTo>
                      <a:pt x="372" y="0"/>
                    </a:lnTo>
                    <a:cubicBezTo>
                      <a:pt x="342" y="0"/>
                      <a:pt x="342" y="0"/>
                      <a:pt x="342" y="0"/>
                    </a:cubicBezTo>
                    <a:lnTo>
                      <a:pt x="342" y="0"/>
                    </a:lnTo>
                    <a:cubicBezTo>
                      <a:pt x="403" y="61"/>
                      <a:pt x="403" y="61"/>
                      <a:pt x="403" y="61"/>
                    </a:cubicBezTo>
                    <a:cubicBezTo>
                      <a:pt x="342" y="61"/>
                      <a:pt x="342" y="61"/>
                      <a:pt x="342" y="61"/>
                    </a:cubicBezTo>
                    <a:lnTo>
                      <a:pt x="342" y="61"/>
                    </a:lnTo>
                    <a:cubicBezTo>
                      <a:pt x="310" y="61"/>
                      <a:pt x="310" y="61"/>
                      <a:pt x="310" y="61"/>
                    </a:cubicBezTo>
                    <a:cubicBezTo>
                      <a:pt x="279" y="93"/>
                      <a:pt x="218" y="124"/>
                      <a:pt x="218" y="124"/>
                    </a:cubicBezTo>
                    <a:cubicBezTo>
                      <a:pt x="186" y="124"/>
                      <a:pt x="186" y="93"/>
                      <a:pt x="155" y="93"/>
                    </a:cubicBezTo>
                    <a:lnTo>
                      <a:pt x="155" y="93"/>
                    </a:lnTo>
                    <a:cubicBezTo>
                      <a:pt x="186" y="124"/>
                      <a:pt x="186" y="124"/>
                      <a:pt x="155" y="155"/>
                    </a:cubicBezTo>
                    <a:cubicBezTo>
                      <a:pt x="155" y="155"/>
                      <a:pt x="155" y="155"/>
                      <a:pt x="124" y="155"/>
                    </a:cubicBezTo>
                    <a:lnTo>
                      <a:pt x="124" y="155"/>
                    </a:lnTo>
                    <a:lnTo>
                      <a:pt x="124" y="155"/>
                    </a:lnTo>
                    <a:lnTo>
                      <a:pt x="124" y="155"/>
                    </a:lnTo>
                    <a:lnTo>
                      <a:pt x="124" y="155"/>
                    </a:lnTo>
                    <a:lnTo>
                      <a:pt x="94" y="155"/>
                    </a:lnTo>
                    <a:cubicBezTo>
                      <a:pt x="94" y="155"/>
                      <a:pt x="62" y="155"/>
                      <a:pt x="62" y="124"/>
                    </a:cubicBezTo>
                    <a:lnTo>
                      <a:pt x="62" y="124"/>
                    </a:lnTo>
                    <a:cubicBezTo>
                      <a:pt x="31" y="155"/>
                      <a:pt x="31" y="155"/>
                      <a:pt x="0" y="155"/>
                    </a:cubicBezTo>
                    <a:lnTo>
                      <a:pt x="0" y="155"/>
                    </a:lnTo>
                    <a:lnTo>
                      <a:pt x="0" y="155"/>
                    </a:lnTo>
                    <a:lnTo>
                      <a:pt x="0" y="155"/>
                    </a:lnTo>
                    <a:lnTo>
                      <a:pt x="0" y="155"/>
                    </a:lnTo>
                    <a:lnTo>
                      <a:pt x="0" y="155"/>
                    </a:lnTo>
                    <a:cubicBezTo>
                      <a:pt x="31" y="155"/>
                      <a:pt x="31" y="155"/>
                      <a:pt x="31" y="155"/>
                    </a:cubicBezTo>
                    <a:cubicBezTo>
                      <a:pt x="31" y="155"/>
                      <a:pt x="31" y="155"/>
                      <a:pt x="62" y="155"/>
                    </a:cubicBezTo>
                    <a:cubicBezTo>
                      <a:pt x="62" y="155"/>
                      <a:pt x="62" y="155"/>
                      <a:pt x="62" y="185"/>
                    </a:cubicBezTo>
                    <a:lnTo>
                      <a:pt x="62" y="185"/>
                    </a:lnTo>
                    <a:lnTo>
                      <a:pt x="94" y="185"/>
                    </a:lnTo>
                    <a:cubicBezTo>
                      <a:pt x="94" y="185"/>
                      <a:pt x="124" y="185"/>
                      <a:pt x="124" y="217"/>
                    </a:cubicBezTo>
                    <a:lnTo>
                      <a:pt x="124" y="217"/>
                    </a:lnTo>
                    <a:lnTo>
                      <a:pt x="124" y="248"/>
                    </a:lnTo>
                    <a:lnTo>
                      <a:pt x="155" y="248"/>
                    </a:lnTo>
                    <a:lnTo>
                      <a:pt x="186" y="279"/>
                    </a:lnTo>
                    <a:cubicBezTo>
                      <a:pt x="218" y="309"/>
                      <a:pt x="218" y="309"/>
                      <a:pt x="186" y="403"/>
                    </a:cubicBezTo>
                    <a:lnTo>
                      <a:pt x="186" y="433"/>
                    </a:lnTo>
                    <a:cubicBezTo>
                      <a:pt x="186" y="433"/>
                      <a:pt x="186" y="433"/>
                      <a:pt x="186" y="46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85" name="Freeform 82"/>
              <p:cNvSpPr>
                <a:spLocks noChangeArrowheads="1"/>
              </p:cNvSpPr>
              <p:nvPr/>
            </p:nvSpPr>
            <p:spPr bwMode="auto">
              <a:xfrm>
                <a:off x="3802063" y="1557338"/>
                <a:ext cx="44450" cy="22225"/>
              </a:xfrm>
              <a:custGeom>
                <a:avLst/>
                <a:gdLst>
                  <a:gd name="T0" fmla="*/ 124 w 125"/>
                  <a:gd name="T1" fmla="*/ 0 h 63"/>
                  <a:gd name="T2" fmla="*/ 124 w 125"/>
                  <a:gd name="T3" fmla="*/ 0 h 63"/>
                  <a:gd name="T4" fmla="*/ 94 w 125"/>
                  <a:gd name="T5" fmla="*/ 0 h 63"/>
                  <a:gd name="T6" fmla="*/ 94 w 125"/>
                  <a:gd name="T7" fmla="*/ 0 h 63"/>
                  <a:gd name="T8" fmla="*/ 62 w 125"/>
                  <a:gd name="T9" fmla="*/ 31 h 63"/>
                  <a:gd name="T10" fmla="*/ 62 w 125"/>
                  <a:gd name="T11" fmla="*/ 31 h 63"/>
                  <a:gd name="T12" fmla="*/ 62 w 125"/>
                  <a:gd name="T13" fmla="*/ 31 h 63"/>
                  <a:gd name="T14" fmla="*/ 62 w 125"/>
                  <a:gd name="T15" fmla="*/ 31 h 63"/>
                  <a:gd name="T16" fmla="*/ 31 w 125"/>
                  <a:gd name="T17" fmla="*/ 31 h 63"/>
                  <a:gd name="T18" fmla="*/ 31 w 125"/>
                  <a:gd name="T19" fmla="*/ 31 h 63"/>
                  <a:gd name="T20" fmla="*/ 31 w 125"/>
                  <a:gd name="T21" fmla="*/ 31 h 63"/>
                  <a:gd name="T22" fmla="*/ 0 w 125"/>
                  <a:gd name="T23" fmla="*/ 31 h 63"/>
                  <a:gd name="T24" fmla="*/ 0 w 125"/>
                  <a:gd name="T25" fmla="*/ 62 h 63"/>
                  <a:gd name="T26" fmla="*/ 0 w 125"/>
                  <a:gd name="T27" fmla="*/ 62 h 63"/>
                  <a:gd name="T28" fmla="*/ 0 w 125"/>
                  <a:gd name="T29" fmla="*/ 62 h 63"/>
                  <a:gd name="T30" fmla="*/ 31 w 125"/>
                  <a:gd name="T31" fmla="*/ 62 h 63"/>
                  <a:gd name="T32" fmla="*/ 31 w 125"/>
                  <a:gd name="T33" fmla="*/ 62 h 63"/>
                  <a:gd name="T34" fmla="*/ 31 w 125"/>
                  <a:gd name="T35" fmla="*/ 62 h 63"/>
                  <a:gd name="T36" fmla="*/ 31 w 125"/>
                  <a:gd name="T37" fmla="*/ 62 h 63"/>
                  <a:gd name="T38" fmla="*/ 31 w 125"/>
                  <a:gd name="T39" fmla="*/ 62 h 63"/>
                  <a:gd name="T40" fmla="*/ 62 w 125"/>
                  <a:gd name="T41" fmla="*/ 62 h 63"/>
                  <a:gd name="T42" fmla="*/ 62 w 125"/>
                  <a:gd name="T43" fmla="*/ 62 h 63"/>
                  <a:gd name="T44" fmla="*/ 62 w 125"/>
                  <a:gd name="T45" fmla="*/ 31 h 63"/>
                  <a:gd name="T46" fmla="*/ 62 w 125"/>
                  <a:gd name="T47" fmla="*/ 31 h 63"/>
                  <a:gd name="T48" fmla="*/ 94 w 125"/>
                  <a:gd name="T49" fmla="*/ 31 h 63"/>
                  <a:gd name="T50" fmla="*/ 94 w 125"/>
                  <a:gd name="T51" fmla="*/ 62 h 63"/>
                  <a:gd name="T52" fmla="*/ 124 w 125"/>
                  <a:gd name="T53" fmla="*/ 31 h 63"/>
                  <a:gd name="T54" fmla="*/ 124 w 125"/>
                  <a:gd name="T55" fmla="*/ 31 h 63"/>
                  <a:gd name="T56" fmla="*/ 124 w 125"/>
                  <a:gd name="T57" fmla="*/ 31 h 63"/>
                  <a:gd name="T58" fmla="*/ 124 w 125"/>
                  <a:gd name="T59" fmla="*/ 31 h 63"/>
                  <a:gd name="T60" fmla="*/ 124 w 125"/>
                  <a:gd name="T6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 h="63">
                    <a:moveTo>
                      <a:pt x="124" y="0"/>
                    </a:moveTo>
                    <a:lnTo>
                      <a:pt x="124" y="0"/>
                    </a:lnTo>
                    <a:cubicBezTo>
                      <a:pt x="94" y="0"/>
                      <a:pt x="94" y="0"/>
                      <a:pt x="94" y="0"/>
                    </a:cubicBezTo>
                    <a:lnTo>
                      <a:pt x="94" y="0"/>
                    </a:lnTo>
                    <a:lnTo>
                      <a:pt x="62" y="31"/>
                    </a:lnTo>
                    <a:lnTo>
                      <a:pt x="62" y="31"/>
                    </a:lnTo>
                    <a:lnTo>
                      <a:pt x="62" y="31"/>
                    </a:lnTo>
                    <a:lnTo>
                      <a:pt x="62" y="31"/>
                    </a:lnTo>
                    <a:cubicBezTo>
                      <a:pt x="31" y="31"/>
                      <a:pt x="31" y="31"/>
                      <a:pt x="31" y="31"/>
                    </a:cubicBezTo>
                    <a:lnTo>
                      <a:pt x="31" y="31"/>
                    </a:lnTo>
                    <a:lnTo>
                      <a:pt x="31" y="31"/>
                    </a:lnTo>
                    <a:lnTo>
                      <a:pt x="0" y="31"/>
                    </a:lnTo>
                    <a:lnTo>
                      <a:pt x="0" y="62"/>
                    </a:lnTo>
                    <a:lnTo>
                      <a:pt x="0" y="62"/>
                    </a:lnTo>
                    <a:lnTo>
                      <a:pt x="0" y="62"/>
                    </a:lnTo>
                    <a:lnTo>
                      <a:pt x="31" y="62"/>
                    </a:lnTo>
                    <a:lnTo>
                      <a:pt x="31" y="62"/>
                    </a:lnTo>
                    <a:lnTo>
                      <a:pt x="31" y="62"/>
                    </a:lnTo>
                    <a:lnTo>
                      <a:pt x="31" y="62"/>
                    </a:lnTo>
                    <a:lnTo>
                      <a:pt x="31" y="62"/>
                    </a:lnTo>
                    <a:cubicBezTo>
                      <a:pt x="31" y="62"/>
                      <a:pt x="31" y="62"/>
                      <a:pt x="62" y="62"/>
                    </a:cubicBezTo>
                    <a:lnTo>
                      <a:pt x="62" y="62"/>
                    </a:lnTo>
                    <a:cubicBezTo>
                      <a:pt x="62" y="31"/>
                      <a:pt x="62" y="31"/>
                      <a:pt x="62" y="31"/>
                    </a:cubicBezTo>
                    <a:lnTo>
                      <a:pt x="62" y="31"/>
                    </a:lnTo>
                    <a:cubicBezTo>
                      <a:pt x="94" y="31"/>
                      <a:pt x="94" y="31"/>
                      <a:pt x="94" y="31"/>
                    </a:cubicBezTo>
                    <a:cubicBezTo>
                      <a:pt x="94" y="31"/>
                      <a:pt x="94" y="31"/>
                      <a:pt x="94" y="62"/>
                    </a:cubicBezTo>
                    <a:cubicBezTo>
                      <a:pt x="124" y="31"/>
                      <a:pt x="124" y="31"/>
                      <a:pt x="124" y="31"/>
                    </a:cubicBezTo>
                    <a:lnTo>
                      <a:pt x="124" y="31"/>
                    </a:lnTo>
                    <a:lnTo>
                      <a:pt x="124" y="31"/>
                    </a:lnTo>
                    <a:lnTo>
                      <a:pt x="124" y="31"/>
                    </a:lnTo>
                    <a:lnTo>
                      <a:pt x="124"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86" name="Freeform 83"/>
              <p:cNvSpPr>
                <a:spLocks noChangeArrowheads="1"/>
              </p:cNvSpPr>
              <p:nvPr/>
            </p:nvSpPr>
            <p:spPr bwMode="auto">
              <a:xfrm>
                <a:off x="3802063" y="1579563"/>
                <a:ext cx="190500" cy="144462"/>
              </a:xfrm>
              <a:custGeom>
                <a:avLst/>
                <a:gdLst>
                  <a:gd name="T0" fmla="*/ 31 w 527"/>
                  <a:gd name="T1" fmla="*/ 124 h 403"/>
                  <a:gd name="T2" fmla="*/ 62 w 527"/>
                  <a:gd name="T3" fmla="*/ 124 h 403"/>
                  <a:gd name="T4" fmla="*/ 94 w 527"/>
                  <a:gd name="T5" fmla="*/ 93 h 403"/>
                  <a:gd name="T6" fmla="*/ 155 w 527"/>
                  <a:gd name="T7" fmla="*/ 124 h 403"/>
                  <a:gd name="T8" fmla="*/ 218 w 527"/>
                  <a:gd name="T9" fmla="*/ 186 h 403"/>
                  <a:gd name="T10" fmla="*/ 218 w 527"/>
                  <a:gd name="T11" fmla="*/ 217 h 403"/>
                  <a:gd name="T12" fmla="*/ 247 w 527"/>
                  <a:gd name="T13" fmla="*/ 217 h 403"/>
                  <a:gd name="T14" fmla="*/ 247 w 527"/>
                  <a:gd name="T15" fmla="*/ 217 h 403"/>
                  <a:gd name="T16" fmla="*/ 309 w 527"/>
                  <a:gd name="T17" fmla="*/ 278 h 403"/>
                  <a:gd name="T18" fmla="*/ 340 w 527"/>
                  <a:gd name="T19" fmla="*/ 310 h 403"/>
                  <a:gd name="T20" fmla="*/ 340 w 527"/>
                  <a:gd name="T21" fmla="*/ 310 h 403"/>
                  <a:gd name="T22" fmla="*/ 402 w 527"/>
                  <a:gd name="T23" fmla="*/ 341 h 403"/>
                  <a:gd name="T24" fmla="*/ 433 w 527"/>
                  <a:gd name="T25" fmla="*/ 341 h 403"/>
                  <a:gd name="T26" fmla="*/ 464 w 527"/>
                  <a:gd name="T27" fmla="*/ 371 h 403"/>
                  <a:gd name="T28" fmla="*/ 464 w 527"/>
                  <a:gd name="T29" fmla="*/ 371 h 403"/>
                  <a:gd name="T30" fmla="*/ 495 w 527"/>
                  <a:gd name="T31" fmla="*/ 402 h 403"/>
                  <a:gd name="T32" fmla="*/ 526 w 527"/>
                  <a:gd name="T33" fmla="*/ 371 h 403"/>
                  <a:gd name="T34" fmla="*/ 495 w 527"/>
                  <a:gd name="T35" fmla="*/ 341 h 403"/>
                  <a:gd name="T36" fmla="*/ 433 w 527"/>
                  <a:gd name="T37" fmla="*/ 310 h 403"/>
                  <a:gd name="T38" fmla="*/ 402 w 527"/>
                  <a:gd name="T39" fmla="*/ 278 h 403"/>
                  <a:gd name="T40" fmla="*/ 371 w 527"/>
                  <a:gd name="T41" fmla="*/ 217 h 403"/>
                  <a:gd name="T42" fmla="*/ 340 w 527"/>
                  <a:gd name="T43" fmla="*/ 217 h 403"/>
                  <a:gd name="T44" fmla="*/ 278 w 527"/>
                  <a:gd name="T45" fmla="*/ 154 h 403"/>
                  <a:gd name="T46" fmla="*/ 278 w 527"/>
                  <a:gd name="T47" fmla="*/ 124 h 403"/>
                  <a:gd name="T48" fmla="*/ 278 w 527"/>
                  <a:gd name="T49" fmla="*/ 62 h 403"/>
                  <a:gd name="T50" fmla="*/ 309 w 527"/>
                  <a:gd name="T51" fmla="*/ 30 h 403"/>
                  <a:gd name="T52" fmla="*/ 340 w 527"/>
                  <a:gd name="T53" fmla="*/ 0 h 403"/>
                  <a:gd name="T54" fmla="*/ 309 w 527"/>
                  <a:gd name="T55" fmla="*/ 0 h 403"/>
                  <a:gd name="T56" fmla="*/ 278 w 527"/>
                  <a:gd name="T57" fmla="*/ 0 h 403"/>
                  <a:gd name="T58" fmla="*/ 247 w 527"/>
                  <a:gd name="T59" fmla="*/ 0 h 403"/>
                  <a:gd name="T60" fmla="*/ 247 w 527"/>
                  <a:gd name="T61" fmla="*/ 0 h 403"/>
                  <a:gd name="T62" fmla="*/ 218 w 527"/>
                  <a:gd name="T63" fmla="*/ 0 h 403"/>
                  <a:gd name="T64" fmla="*/ 218 w 527"/>
                  <a:gd name="T65" fmla="*/ 0 h 403"/>
                  <a:gd name="T66" fmla="*/ 186 w 527"/>
                  <a:gd name="T67" fmla="*/ 30 h 403"/>
                  <a:gd name="T68" fmla="*/ 186 w 527"/>
                  <a:gd name="T69" fmla="*/ 30 h 403"/>
                  <a:gd name="T70" fmla="*/ 155 w 527"/>
                  <a:gd name="T71" fmla="*/ 30 h 403"/>
                  <a:gd name="T72" fmla="*/ 155 w 527"/>
                  <a:gd name="T73" fmla="*/ 30 h 403"/>
                  <a:gd name="T74" fmla="*/ 155 w 527"/>
                  <a:gd name="T75" fmla="*/ 30 h 403"/>
                  <a:gd name="T76" fmla="*/ 124 w 527"/>
                  <a:gd name="T77" fmla="*/ 62 h 403"/>
                  <a:gd name="T78" fmla="*/ 94 w 527"/>
                  <a:gd name="T79" fmla="*/ 62 h 403"/>
                  <a:gd name="T80" fmla="*/ 62 w 527"/>
                  <a:gd name="T81" fmla="*/ 30 h 403"/>
                  <a:gd name="T82" fmla="*/ 31 w 527"/>
                  <a:gd name="T83" fmla="*/ 62 h 403"/>
                  <a:gd name="T84" fmla="*/ 31 w 527"/>
                  <a:gd name="T85" fmla="*/ 62 h 403"/>
                  <a:gd name="T86" fmla="*/ 31 w 527"/>
                  <a:gd name="T87" fmla="*/ 62 h 403"/>
                  <a:gd name="T88" fmla="*/ 0 w 527"/>
                  <a:gd name="T89" fmla="*/ 9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7" h="403">
                    <a:moveTo>
                      <a:pt x="31" y="124"/>
                    </a:moveTo>
                    <a:lnTo>
                      <a:pt x="31" y="124"/>
                    </a:lnTo>
                    <a:lnTo>
                      <a:pt x="31" y="124"/>
                    </a:lnTo>
                    <a:lnTo>
                      <a:pt x="62" y="124"/>
                    </a:lnTo>
                    <a:lnTo>
                      <a:pt x="62" y="124"/>
                    </a:lnTo>
                    <a:lnTo>
                      <a:pt x="94" y="93"/>
                    </a:lnTo>
                    <a:cubicBezTo>
                      <a:pt x="124" y="93"/>
                      <a:pt x="124" y="93"/>
                      <a:pt x="124" y="93"/>
                    </a:cubicBezTo>
                    <a:lnTo>
                      <a:pt x="155" y="124"/>
                    </a:lnTo>
                    <a:lnTo>
                      <a:pt x="155" y="124"/>
                    </a:lnTo>
                    <a:cubicBezTo>
                      <a:pt x="217" y="124"/>
                      <a:pt x="218" y="186"/>
                      <a:pt x="218" y="186"/>
                    </a:cubicBezTo>
                    <a:lnTo>
                      <a:pt x="218" y="186"/>
                    </a:lnTo>
                    <a:cubicBezTo>
                      <a:pt x="218" y="217"/>
                      <a:pt x="218" y="217"/>
                      <a:pt x="218" y="217"/>
                    </a:cubicBezTo>
                    <a:lnTo>
                      <a:pt x="247" y="217"/>
                    </a:lnTo>
                    <a:lnTo>
                      <a:pt x="247" y="217"/>
                    </a:lnTo>
                    <a:lnTo>
                      <a:pt x="247" y="217"/>
                    </a:lnTo>
                    <a:lnTo>
                      <a:pt x="247" y="217"/>
                    </a:lnTo>
                    <a:cubicBezTo>
                      <a:pt x="278" y="217"/>
                      <a:pt x="278" y="247"/>
                      <a:pt x="278" y="247"/>
                    </a:cubicBezTo>
                    <a:cubicBezTo>
                      <a:pt x="278" y="247"/>
                      <a:pt x="278" y="278"/>
                      <a:pt x="309" y="278"/>
                    </a:cubicBezTo>
                    <a:lnTo>
                      <a:pt x="309" y="278"/>
                    </a:lnTo>
                    <a:lnTo>
                      <a:pt x="340" y="310"/>
                    </a:lnTo>
                    <a:lnTo>
                      <a:pt x="340" y="310"/>
                    </a:lnTo>
                    <a:lnTo>
                      <a:pt x="340" y="310"/>
                    </a:lnTo>
                    <a:cubicBezTo>
                      <a:pt x="371" y="310"/>
                      <a:pt x="371" y="310"/>
                      <a:pt x="402" y="310"/>
                    </a:cubicBezTo>
                    <a:cubicBezTo>
                      <a:pt x="402" y="341"/>
                      <a:pt x="402" y="341"/>
                      <a:pt x="402" y="341"/>
                    </a:cubicBezTo>
                    <a:lnTo>
                      <a:pt x="402" y="341"/>
                    </a:lnTo>
                    <a:cubicBezTo>
                      <a:pt x="433" y="341"/>
                      <a:pt x="433" y="341"/>
                      <a:pt x="433" y="341"/>
                    </a:cubicBezTo>
                    <a:cubicBezTo>
                      <a:pt x="464" y="341"/>
                      <a:pt x="464" y="371"/>
                      <a:pt x="464" y="371"/>
                    </a:cubicBezTo>
                    <a:lnTo>
                      <a:pt x="464" y="371"/>
                    </a:lnTo>
                    <a:lnTo>
                      <a:pt x="464" y="371"/>
                    </a:lnTo>
                    <a:lnTo>
                      <a:pt x="464" y="371"/>
                    </a:lnTo>
                    <a:lnTo>
                      <a:pt x="464" y="371"/>
                    </a:lnTo>
                    <a:cubicBezTo>
                      <a:pt x="495" y="371"/>
                      <a:pt x="495" y="371"/>
                      <a:pt x="495" y="402"/>
                    </a:cubicBezTo>
                    <a:cubicBezTo>
                      <a:pt x="526" y="371"/>
                      <a:pt x="526" y="371"/>
                      <a:pt x="526" y="371"/>
                    </a:cubicBezTo>
                    <a:lnTo>
                      <a:pt x="526" y="371"/>
                    </a:lnTo>
                    <a:cubicBezTo>
                      <a:pt x="526" y="371"/>
                      <a:pt x="526" y="341"/>
                      <a:pt x="495" y="341"/>
                    </a:cubicBezTo>
                    <a:lnTo>
                      <a:pt x="495" y="341"/>
                    </a:lnTo>
                    <a:cubicBezTo>
                      <a:pt x="464" y="310"/>
                      <a:pt x="464" y="310"/>
                      <a:pt x="464" y="310"/>
                    </a:cubicBezTo>
                    <a:lnTo>
                      <a:pt x="433" y="310"/>
                    </a:lnTo>
                    <a:cubicBezTo>
                      <a:pt x="402" y="278"/>
                      <a:pt x="402" y="278"/>
                      <a:pt x="402" y="278"/>
                    </a:cubicBezTo>
                    <a:lnTo>
                      <a:pt x="402" y="278"/>
                    </a:lnTo>
                    <a:cubicBezTo>
                      <a:pt x="371" y="278"/>
                      <a:pt x="371" y="247"/>
                      <a:pt x="371" y="247"/>
                    </a:cubicBezTo>
                    <a:cubicBezTo>
                      <a:pt x="371" y="217"/>
                      <a:pt x="371" y="217"/>
                      <a:pt x="371" y="217"/>
                    </a:cubicBezTo>
                    <a:lnTo>
                      <a:pt x="340" y="217"/>
                    </a:lnTo>
                    <a:lnTo>
                      <a:pt x="340" y="217"/>
                    </a:lnTo>
                    <a:cubicBezTo>
                      <a:pt x="340" y="186"/>
                      <a:pt x="340" y="186"/>
                      <a:pt x="309" y="186"/>
                    </a:cubicBezTo>
                    <a:cubicBezTo>
                      <a:pt x="309" y="186"/>
                      <a:pt x="278" y="186"/>
                      <a:pt x="278" y="154"/>
                    </a:cubicBezTo>
                    <a:lnTo>
                      <a:pt x="278" y="124"/>
                    </a:lnTo>
                    <a:lnTo>
                      <a:pt x="278" y="124"/>
                    </a:lnTo>
                    <a:lnTo>
                      <a:pt x="278" y="93"/>
                    </a:lnTo>
                    <a:cubicBezTo>
                      <a:pt x="278" y="93"/>
                      <a:pt x="278" y="93"/>
                      <a:pt x="278" y="62"/>
                    </a:cubicBezTo>
                    <a:cubicBezTo>
                      <a:pt x="278" y="62"/>
                      <a:pt x="278" y="30"/>
                      <a:pt x="309" y="30"/>
                    </a:cubicBezTo>
                    <a:lnTo>
                      <a:pt x="309" y="30"/>
                    </a:lnTo>
                    <a:lnTo>
                      <a:pt x="340" y="30"/>
                    </a:lnTo>
                    <a:lnTo>
                      <a:pt x="340" y="0"/>
                    </a:lnTo>
                    <a:cubicBezTo>
                      <a:pt x="309" y="0"/>
                      <a:pt x="309" y="0"/>
                      <a:pt x="309" y="0"/>
                    </a:cubicBezTo>
                    <a:lnTo>
                      <a:pt x="309" y="0"/>
                    </a:lnTo>
                    <a:lnTo>
                      <a:pt x="309" y="0"/>
                    </a:lnTo>
                    <a:cubicBezTo>
                      <a:pt x="278" y="0"/>
                      <a:pt x="278" y="0"/>
                      <a:pt x="278" y="0"/>
                    </a:cubicBezTo>
                    <a:lnTo>
                      <a:pt x="278" y="0"/>
                    </a:lnTo>
                    <a:cubicBezTo>
                      <a:pt x="278" y="0"/>
                      <a:pt x="278" y="0"/>
                      <a:pt x="247" y="0"/>
                    </a:cubicBezTo>
                    <a:lnTo>
                      <a:pt x="247" y="0"/>
                    </a:lnTo>
                    <a:lnTo>
                      <a:pt x="247" y="0"/>
                    </a:lnTo>
                    <a:cubicBezTo>
                      <a:pt x="247" y="0"/>
                      <a:pt x="247" y="0"/>
                      <a:pt x="218" y="0"/>
                    </a:cubicBezTo>
                    <a:lnTo>
                      <a:pt x="218" y="0"/>
                    </a:lnTo>
                    <a:lnTo>
                      <a:pt x="218" y="0"/>
                    </a:lnTo>
                    <a:lnTo>
                      <a:pt x="218" y="0"/>
                    </a:lnTo>
                    <a:lnTo>
                      <a:pt x="186" y="0"/>
                    </a:lnTo>
                    <a:cubicBezTo>
                      <a:pt x="186" y="30"/>
                      <a:pt x="186" y="30"/>
                      <a:pt x="186" y="30"/>
                    </a:cubicBezTo>
                    <a:lnTo>
                      <a:pt x="186" y="30"/>
                    </a:lnTo>
                    <a:lnTo>
                      <a:pt x="186" y="30"/>
                    </a:lnTo>
                    <a:cubicBezTo>
                      <a:pt x="186" y="30"/>
                      <a:pt x="186" y="30"/>
                      <a:pt x="155" y="30"/>
                    </a:cubicBezTo>
                    <a:lnTo>
                      <a:pt x="155" y="30"/>
                    </a:lnTo>
                    <a:lnTo>
                      <a:pt x="155" y="30"/>
                    </a:lnTo>
                    <a:lnTo>
                      <a:pt x="155" y="30"/>
                    </a:lnTo>
                    <a:lnTo>
                      <a:pt x="155" y="30"/>
                    </a:lnTo>
                    <a:lnTo>
                      <a:pt x="155" y="30"/>
                    </a:lnTo>
                    <a:cubicBezTo>
                      <a:pt x="155" y="62"/>
                      <a:pt x="124" y="62"/>
                      <a:pt x="124" y="62"/>
                    </a:cubicBezTo>
                    <a:lnTo>
                      <a:pt x="124" y="62"/>
                    </a:lnTo>
                    <a:cubicBezTo>
                      <a:pt x="94" y="62"/>
                      <a:pt x="94" y="62"/>
                      <a:pt x="94" y="62"/>
                    </a:cubicBezTo>
                    <a:lnTo>
                      <a:pt x="94" y="62"/>
                    </a:lnTo>
                    <a:lnTo>
                      <a:pt x="94" y="62"/>
                    </a:lnTo>
                    <a:cubicBezTo>
                      <a:pt x="94" y="30"/>
                      <a:pt x="94" y="30"/>
                      <a:pt x="62" y="30"/>
                    </a:cubicBezTo>
                    <a:lnTo>
                      <a:pt x="62" y="30"/>
                    </a:lnTo>
                    <a:cubicBezTo>
                      <a:pt x="62" y="62"/>
                      <a:pt x="31" y="62"/>
                      <a:pt x="31" y="62"/>
                    </a:cubicBezTo>
                    <a:lnTo>
                      <a:pt x="31" y="62"/>
                    </a:lnTo>
                    <a:lnTo>
                      <a:pt x="31" y="62"/>
                    </a:lnTo>
                    <a:lnTo>
                      <a:pt x="31" y="62"/>
                    </a:lnTo>
                    <a:lnTo>
                      <a:pt x="31" y="62"/>
                    </a:lnTo>
                    <a:cubicBezTo>
                      <a:pt x="31" y="62"/>
                      <a:pt x="31" y="93"/>
                      <a:pt x="0" y="93"/>
                    </a:cubicBezTo>
                    <a:lnTo>
                      <a:pt x="0" y="93"/>
                    </a:lnTo>
                    <a:cubicBezTo>
                      <a:pt x="31" y="93"/>
                      <a:pt x="31" y="93"/>
                      <a:pt x="31" y="12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87" name="Freeform 84"/>
              <p:cNvSpPr>
                <a:spLocks noChangeArrowheads="1"/>
              </p:cNvSpPr>
              <p:nvPr/>
            </p:nvSpPr>
            <p:spPr bwMode="auto">
              <a:xfrm>
                <a:off x="3970338" y="1612900"/>
                <a:ext cx="11112" cy="22225"/>
              </a:xfrm>
              <a:custGeom>
                <a:avLst/>
                <a:gdLst>
                  <a:gd name="T0" fmla="*/ 0 w 32"/>
                  <a:gd name="T1" fmla="*/ 0 h 62"/>
                  <a:gd name="T2" fmla="*/ 0 w 32"/>
                  <a:gd name="T3" fmla="*/ 0 h 62"/>
                  <a:gd name="T4" fmla="*/ 0 w 32"/>
                  <a:gd name="T5" fmla="*/ 0 h 62"/>
                  <a:gd name="T6" fmla="*/ 0 w 32"/>
                  <a:gd name="T7" fmla="*/ 31 h 62"/>
                  <a:gd name="T8" fmla="*/ 0 w 32"/>
                  <a:gd name="T9" fmla="*/ 31 h 62"/>
                  <a:gd name="T10" fmla="*/ 0 w 32"/>
                  <a:gd name="T11" fmla="*/ 31 h 62"/>
                  <a:gd name="T12" fmla="*/ 31 w 32"/>
                  <a:gd name="T13" fmla="*/ 61 h 62"/>
                  <a:gd name="T14" fmla="*/ 31 w 32"/>
                  <a:gd name="T15" fmla="*/ 31 h 62"/>
                  <a:gd name="T16" fmla="*/ 31 w 32"/>
                  <a:gd name="T17" fmla="*/ 31 h 62"/>
                  <a:gd name="T18" fmla="*/ 0 w 32"/>
                  <a:gd name="T1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62">
                    <a:moveTo>
                      <a:pt x="0" y="0"/>
                    </a:moveTo>
                    <a:lnTo>
                      <a:pt x="0" y="0"/>
                    </a:lnTo>
                    <a:lnTo>
                      <a:pt x="0" y="0"/>
                    </a:lnTo>
                    <a:lnTo>
                      <a:pt x="0" y="31"/>
                    </a:lnTo>
                    <a:lnTo>
                      <a:pt x="0" y="31"/>
                    </a:lnTo>
                    <a:lnTo>
                      <a:pt x="0" y="31"/>
                    </a:lnTo>
                    <a:cubicBezTo>
                      <a:pt x="0" y="61"/>
                      <a:pt x="31" y="61"/>
                      <a:pt x="31" y="61"/>
                    </a:cubicBezTo>
                    <a:cubicBezTo>
                      <a:pt x="31" y="61"/>
                      <a:pt x="31" y="61"/>
                      <a:pt x="31" y="31"/>
                    </a:cubicBezTo>
                    <a:lnTo>
                      <a:pt x="31" y="31"/>
                    </a:lnTo>
                    <a:cubicBezTo>
                      <a:pt x="0" y="31"/>
                      <a:pt x="0" y="31"/>
                      <a:pt x="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88" name="Freeform 85"/>
              <p:cNvSpPr>
                <a:spLocks noChangeArrowheads="1"/>
              </p:cNvSpPr>
              <p:nvPr/>
            </p:nvSpPr>
            <p:spPr bwMode="auto">
              <a:xfrm>
                <a:off x="3981450" y="1590675"/>
                <a:ext cx="22225" cy="11113"/>
              </a:xfrm>
              <a:custGeom>
                <a:avLst/>
                <a:gdLst>
                  <a:gd name="T0" fmla="*/ 62 w 63"/>
                  <a:gd name="T1" fmla="*/ 0 h 33"/>
                  <a:gd name="T2" fmla="*/ 62 w 63"/>
                  <a:gd name="T3" fmla="*/ 0 h 33"/>
                  <a:gd name="T4" fmla="*/ 31 w 63"/>
                  <a:gd name="T5" fmla="*/ 0 h 33"/>
                  <a:gd name="T6" fmla="*/ 31 w 63"/>
                  <a:gd name="T7" fmla="*/ 0 h 33"/>
                  <a:gd name="T8" fmla="*/ 0 w 63"/>
                  <a:gd name="T9" fmla="*/ 0 h 33"/>
                  <a:gd name="T10" fmla="*/ 0 w 63"/>
                  <a:gd name="T11" fmla="*/ 32 h 33"/>
                  <a:gd name="T12" fmla="*/ 0 w 63"/>
                  <a:gd name="T13" fmla="*/ 32 h 33"/>
                  <a:gd name="T14" fmla="*/ 0 w 63"/>
                  <a:gd name="T15" fmla="*/ 32 h 33"/>
                  <a:gd name="T16" fmla="*/ 31 w 63"/>
                  <a:gd name="T17" fmla="*/ 32 h 33"/>
                  <a:gd name="T18" fmla="*/ 31 w 63"/>
                  <a:gd name="T19" fmla="*/ 32 h 33"/>
                  <a:gd name="T20" fmla="*/ 31 w 63"/>
                  <a:gd name="T21" fmla="*/ 32 h 33"/>
                  <a:gd name="T22" fmla="*/ 31 w 63"/>
                  <a:gd name="T23" fmla="*/ 32 h 33"/>
                  <a:gd name="T24" fmla="*/ 31 w 63"/>
                  <a:gd name="T25" fmla="*/ 32 h 33"/>
                  <a:gd name="T26" fmla="*/ 62 w 63"/>
                  <a:gd name="T27" fmla="*/ 32 h 33"/>
                  <a:gd name="T28" fmla="*/ 62 w 63"/>
                  <a:gd name="T29" fmla="*/ 32 h 33"/>
                  <a:gd name="T30" fmla="*/ 62 w 63"/>
                  <a:gd name="T3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33">
                    <a:moveTo>
                      <a:pt x="62" y="0"/>
                    </a:moveTo>
                    <a:lnTo>
                      <a:pt x="62" y="0"/>
                    </a:lnTo>
                    <a:lnTo>
                      <a:pt x="31" y="0"/>
                    </a:lnTo>
                    <a:lnTo>
                      <a:pt x="31" y="0"/>
                    </a:lnTo>
                    <a:cubicBezTo>
                      <a:pt x="31" y="0"/>
                      <a:pt x="31" y="0"/>
                      <a:pt x="0" y="0"/>
                    </a:cubicBezTo>
                    <a:cubicBezTo>
                      <a:pt x="0" y="0"/>
                      <a:pt x="0" y="0"/>
                      <a:pt x="0" y="32"/>
                    </a:cubicBezTo>
                    <a:lnTo>
                      <a:pt x="0" y="32"/>
                    </a:lnTo>
                    <a:lnTo>
                      <a:pt x="0" y="32"/>
                    </a:lnTo>
                    <a:cubicBezTo>
                      <a:pt x="31" y="32"/>
                      <a:pt x="31" y="32"/>
                      <a:pt x="31" y="32"/>
                    </a:cubicBezTo>
                    <a:lnTo>
                      <a:pt x="31" y="32"/>
                    </a:lnTo>
                    <a:lnTo>
                      <a:pt x="31" y="32"/>
                    </a:lnTo>
                    <a:lnTo>
                      <a:pt x="31" y="32"/>
                    </a:lnTo>
                    <a:lnTo>
                      <a:pt x="31" y="32"/>
                    </a:lnTo>
                    <a:cubicBezTo>
                      <a:pt x="62" y="32"/>
                      <a:pt x="62" y="32"/>
                      <a:pt x="62" y="32"/>
                    </a:cubicBezTo>
                    <a:lnTo>
                      <a:pt x="62" y="32"/>
                    </a:lnTo>
                    <a:cubicBezTo>
                      <a:pt x="62" y="0"/>
                      <a:pt x="62" y="0"/>
                      <a:pt x="62"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89" name="Freeform 86"/>
              <p:cNvSpPr>
                <a:spLocks noChangeArrowheads="1"/>
              </p:cNvSpPr>
              <p:nvPr/>
            </p:nvSpPr>
            <p:spPr bwMode="auto">
              <a:xfrm>
                <a:off x="4371975" y="1914525"/>
                <a:ext cx="33338" cy="55563"/>
              </a:xfrm>
              <a:custGeom>
                <a:avLst/>
                <a:gdLst>
                  <a:gd name="T0" fmla="*/ 93 w 94"/>
                  <a:gd name="T1" fmla="*/ 61 h 156"/>
                  <a:gd name="T2" fmla="*/ 93 w 94"/>
                  <a:gd name="T3" fmla="*/ 61 h 156"/>
                  <a:gd name="T4" fmla="*/ 62 w 94"/>
                  <a:gd name="T5" fmla="*/ 31 h 156"/>
                  <a:gd name="T6" fmla="*/ 62 w 94"/>
                  <a:gd name="T7" fmla="*/ 31 h 156"/>
                  <a:gd name="T8" fmla="*/ 62 w 94"/>
                  <a:gd name="T9" fmla="*/ 0 h 156"/>
                  <a:gd name="T10" fmla="*/ 62 w 94"/>
                  <a:gd name="T11" fmla="*/ 0 h 156"/>
                  <a:gd name="T12" fmla="*/ 62 w 94"/>
                  <a:gd name="T13" fmla="*/ 0 h 156"/>
                  <a:gd name="T14" fmla="*/ 31 w 94"/>
                  <a:gd name="T15" fmla="*/ 0 h 156"/>
                  <a:gd name="T16" fmla="*/ 31 w 94"/>
                  <a:gd name="T17" fmla="*/ 0 h 156"/>
                  <a:gd name="T18" fmla="*/ 31 w 94"/>
                  <a:gd name="T19" fmla="*/ 0 h 156"/>
                  <a:gd name="T20" fmla="*/ 0 w 94"/>
                  <a:gd name="T21" fmla="*/ 31 h 156"/>
                  <a:gd name="T22" fmla="*/ 0 w 94"/>
                  <a:gd name="T23" fmla="*/ 31 h 156"/>
                  <a:gd name="T24" fmla="*/ 0 w 94"/>
                  <a:gd name="T25" fmla="*/ 61 h 156"/>
                  <a:gd name="T26" fmla="*/ 0 w 94"/>
                  <a:gd name="T27" fmla="*/ 61 h 156"/>
                  <a:gd name="T28" fmla="*/ 0 w 94"/>
                  <a:gd name="T29" fmla="*/ 61 h 156"/>
                  <a:gd name="T30" fmla="*/ 0 w 94"/>
                  <a:gd name="T31" fmla="*/ 92 h 156"/>
                  <a:gd name="T32" fmla="*/ 0 w 94"/>
                  <a:gd name="T33" fmla="*/ 124 h 156"/>
                  <a:gd name="T34" fmla="*/ 0 w 94"/>
                  <a:gd name="T35" fmla="*/ 124 h 156"/>
                  <a:gd name="T36" fmla="*/ 0 w 94"/>
                  <a:gd name="T37" fmla="*/ 124 h 156"/>
                  <a:gd name="T38" fmla="*/ 0 w 94"/>
                  <a:gd name="T39" fmla="*/ 155 h 156"/>
                  <a:gd name="T40" fmla="*/ 0 w 94"/>
                  <a:gd name="T41" fmla="*/ 155 h 156"/>
                  <a:gd name="T42" fmla="*/ 31 w 94"/>
                  <a:gd name="T43" fmla="*/ 155 h 156"/>
                  <a:gd name="T44" fmla="*/ 31 w 94"/>
                  <a:gd name="T45" fmla="*/ 124 h 156"/>
                  <a:gd name="T46" fmla="*/ 93 w 94"/>
                  <a:gd name="T47" fmla="*/ 92 h 156"/>
                  <a:gd name="T48" fmla="*/ 93 w 94"/>
                  <a:gd name="T49" fmla="*/ 92 h 156"/>
                  <a:gd name="T50" fmla="*/ 93 w 94"/>
                  <a:gd name="T51" fmla="*/ 92 h 156"/>
                  <a:gd name="T52" fmla="*/ 93 w 94"/>
                  <a:gd name="T53" fmla="*/ 92 h 156"/>
                  <a:gd name="T54" fmla="*/ 93 w 94"/>
                  <a:gd name="T55" fmla="*/ 6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 h="156">
                    <a:moveTo>
                      <a:pt x="93" y="61"/>
                    </a:moveTo>
                    <a:lnTo>
                      <a:pt x="93" y="61"/>
                    </a:lnTo>
                    <a:cubicBezTo>
                      <a:pt x="62" y="61"/>
                      <a:pt x="62" y="61"/>
                      <a:pt x="62" y="31"/>
                    </a:cubicBezTo>
                    <a:lnTo>
                      <a:pt x="62" y="31"/>
                    </a:lnTo>
                    <a:cubicBezTo>
                      <a:pt x="62" y="31"/>
                      <a:pt x="62" y="31"/>
                      <a:pt x="62" y="0"/>
                    </a:cubicBezTo>
                    <a:lnTo>
                      <a:pt x="62" y="0"/>
                    </a:lnTo>
                    <a:lnTo>
                      <a:pt x="62" y="0"/>
                    </a:lnTo>
                    <a:lnTo>
                      <a:pt x="31" y="0"/>
                    </a:lnTo>
                    <a:lnTo>
                      <a:pt x="31" y="0"/>
                    </a:lnTo>
                    <a:lnTo>
                      <a:pt x="31" y="0"/>
                    </a:lnTo>
                    <a:cubicBezTo>
                      <a:pt x="31" y="31"/>
                      <a:pt x="31" y="31"/>
                      <a:pt x="0" y="31"/>
                    </a:cubicBezTo>
                    <a:lnTo>
                      <a:pt x="0" y="31"/>
                    </a:lnTo>
                    <a:cubicBezTo>
                      <a:pt x="0" y="31"/>
                      <a:pt x="0" y="31"/>
                      <a:pt x="0" y="61"/>
                    </a:cubicBezTo>
                    <a:lnTo>
                      <a:pt x="0" y="61"/>
                    </a:lnTo>
                    <a:lnTo>
                      <a:pt x="0" y="61"/>
                    </a:lnTo>
                    <a:cubicBezTo>
                      <a:pt x="31" y="61"/>
                      <a:pt x="0" y="92"/>
                      <a:pt x="0" y="92"/>
                    </a:cubicBezTo>
                    <a:lnTo>
                      <a:pt x="0" y="124"/>
                    </a:lnTo>
                    <a:lnTo>
                      <a:pt x="0" y="124"/>
                    </a:lnTo>
                    <a:lnTo>
                      <a:pt x="0" y="124"/>
                    </a:lnTo>
                    <a:cubicBezTo>
                      <a:pt x="0" y="124"/>
                      <a:pt x="0" y="124"/>
                      <a:pt x="0" y="155"/>
                    </a:cubicBezTo>
                    <a:lnTo>
                      <a:pt x="0" y="155"/>
                    </a:lnTo>
                    <a:cubicBezTo>
                      <a:pt x="0" y="155"/>
                      <a:pt x="0" y="155"/>
                      <a:pt x="31" y="155"/>
                    </a:cubicBezTo>
                    <a:lnTo>
                      <a:pt x="31" y="124"/>
                    </a:lnTo>
                    <a:cubicBezTo>
                      <a:pt x="31" y="124"/>
                      <a:pt x="62" y="92"/>
                      <a:pt x="93" y="92"/>
                    </a:cubicBezTo>
                    <a:lnTo>
                      <a:pt x="93" y="92"/>
                    </a:lnTo>
                    <a:lnTo>
                      <a:pt x="93" y="92"/>
                    </a:lnTo>
                    <a:lnTo>
                      <a:pt x="93" y="92"/>
                    </a:lnTo>
                    <a:lnTo>
                      <a:pt x="93" y="6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90" name="Freeform 87"/>
              <p:cNvSpPr>
                <a:spLocks noChangeArrowheads="1"/>
              </p:cNvSpPr>
              <p:nvPr/>
            </p:nvSpPr>
            <p:spPr bwMode="auto">
              <a:xfrm>
                <a:off x="4383088" y="1801813"/>
                <a:ext cx="100012" cy="88900"/>
              </a:xfrm>
              <a:custGeom>
                <a:avLst/>
                <a:gdLst>
                  <a:gd name="T0" fmla="*/ 31 w 280"/>
                  <a:gd name="T1" fmla="*/ 94 h 249"/>
                  <a:gd name="T2" fmla="*/ 31 w 280"/>
                  <a:gd name="T3" fmla="*/ 94 h 249"/>
                  <a:gd name="T4" fmla="*/ 31 w 280"/>
                  <a:gd name="T5" fmla="*/ 94 h 249"/>
                  <a:gd name="T6" fmla="*/ 31 w 280"/>
                  <a:gd name="T7" fmla="*/ 124 h 249"/>
                  <a:gd name="T8" fmla="*/ 62 w 280"/>
                  <a:gd name="T9" fmla="*/ 155 h 249"/>
                  <a:gd name="T10" fmla="*/ 62 w 280"/>
                  <a:gd name="T11" fmla="*/ 187 h 249"/>
                  <a:gd name="T12" fmla="*/ 62 w 280"/>
                  <a:gd name="T13" fmla="*/ 187 h 249"/>
                  <a:gd name="T14" fmla="*/ 31 w 280"/>
                  <a:gd name="T15" fmla="*/ 187 h 249"/>
                  <a:gd name="T16" fmla="*/ 31 w 280"/>
                  <a:gd name="T17" fmla="*/ 187 h 249"/>
                  <a:gd name="T18" fmla="*/ 31 w 280"/>
                  <a:gd name="T19" fmla="*/ 187 h 249"/>
                  <a:gd name="T20" fmla="*/ 31 w 280"/>
                  <a:gd name="T21" fmla="*/ 218 h 249"/>
                  <a:gd name="T22" fmla="*/ 0 w 280"/>
                  <a:gd name="T23" fmla="*/ 248 h 249"/>
                  <a:gd name="T24" fmla="*/ 31 w 280"/>
                  <a:gd name="T25" fmla="*/ 248 h 249"/>
                  <a:gd name="T26" fmla="*/ 31 w 280"/>
                  <a:gd name="T27" fmla="*/ 248 h 249"/>
                  <a:gd name="T28" fmla="*/ 31 w 280"/>
                  <a:gd name="T29" fmla="*/ 248 h 249"/>
                  <a:gd name="T30" fmla="*/ 62 w 280"/>
                  <a:gd name="T31" fmla="*/ 248 h 249"/>
                  <a:gd name="T32" fmla="*/ 62 w 280"/>
                  <a:gd name="T33" fmla="*/ 248 h 249"/>
                  <a:gd name="T34" fmla="*/ 124 w 280"/>
                  <a:gd name="T35" fmla="*/ 218 h 249"/>
                  <a:gd name="T36" fmla="*/ 124 w 280"/>
                  <a:gd name="T37" fmla="*/ 187 h 249"/>
                  <a:gd name="T38" fmla="*/ 124 w 280"/>
                  <a:gd name="T39" fmla="*/ 187 h 249"/>
                  <a:gd name="T40" fmla="*/ 216 w 280"/>
                  <a:gd name="T41" fmla="*/ 155 h 249"/>
                  <a:gd name="T42" fmla="*/ 248 w 280"/>
                  <a:gd name="T43" fmla="*/ 94 h 249"/>
                  <a:gd name="T44" fmla="*/ 279 w 280"/>
                  <a:gd name="T45" fmla="*/ 94 h 249"/>
                  <a:gd name="T46" fmla="*/ 248 w 280"/>
                  <a:gd name="T47" fmla="*/ 63 h 249"/>
                  <a:gd name="T48" fmla="*/ 248 w 280"/>
                  <a:gd name="T49" fmla="*/ 31 h 249"/>
                  <a:gd name="T50" fmla="*/ 248 w 280"/>
                  <a:gd name="T51" fmla="*/ 31 h 249"/>
                  <a:gd name="T52" fmla="*/ 248 w 280"/>
                  <a:gd name="T53" fmla="*/ 31 h 249"/>
                  <a:gd name="T54" fmla="*/ 248 w 280"/>
                  <a:gd name="T55" fmla="*/ 31 h 249"/>
                  <a:gd name="T56" fmla="*/ 248 w 280"/>
                  <a:gd name="T57" fmla="*/ 0 h 249"/>
                  <a:gd name="T58" fmla="*/ 248 w 280"/>
                  <a:gd name="T59" fmla="*/ 0 h 249"/>
                  <a:gd name="T60" fmla="*/ 248 w 280"/>
                  <a:gd name="T61" fmla="*/ 0 h 249"/>
                  <a:gd name="T62" fmla="*/ 216 w 280"/>
                  <a:gd name="T63" fmla="*/ 31 h 249"/>
                  <a:gd name="T64" fmla="*/ 186 w 280"/>
                  <a:gd name="T65" fmla="*/ 31 h 249"/>
                  <a:gd name="T66" fmla="*/ 186 w 280"/>
                  <a:gd name="T67" fmla="*/ 31 h 249"/>
                  <a:gd name="T68" fmla="*/ 155 w 280"/>
                  <a:gd name="T69" fmla="*/ 31 h 249"/>
                  <a:gd name="T70" fmla="*/ 124 w 280"/>
                  <a:gd name="T71" fmla="*/ 31 h 249"/>
                  <a:gd name="T72" fmla="*/ 124 w 280"/>
                  <a:gd name="T73" fmla="*/ 31 h 249"/>
                  <a:gd name="T74" fmla="*/ 124 w 280"/>
                  <a:gd name="T75" fmla="*/ 31 h 249"/>
                  <a:gd name="T76" fmla="*/ 93 w 280"/>
                  <a:gd name="T77" fmla="*/ 31 h 249"/>
                  <a:gd name="T78" fmla="*/ 93 w 280"/>
                  <a:gd name="T79" fmla="*/ 31 h 249"/>
                  <a:gd name="T80" fmla="*/ 93 w 280"/>
                  <a:gd name="T81" fmla="*/ 31 h 249"/>
                  <a:gd name="T82" fmla="*/ 62 w 280"/>
                  <a:gd name="T83" fmla="*/ 31 h 249"/>
                  <a:gd name="T84" fmla="*/ 62 w 280"/>
                  <a:gd name="T85" fmla="*/ 31 h 249"/>
                  <a:gd name="T86" fmla="*/ 62 w 280"/>
                  <a:gd name="T87" fmla="*/ 31 h 249"/>
                  <a:gd name="T88" fmla="*/ 31 w 280"/>
                  <a:gd name="T89" fmla="*/ 63 h 249"/>
                  <a:gd name="T90" fmla="*/ 31 w 280"/>
                  <a:gd name="T91" fmla="*/ 63 h 249"/>
                  <a:gd name="T92" fmla="*/ 31 w 280"/>
                  <a:gd name="T93" fmla="*/ 63 h 249"/>
                  <a:gd name="T94" fmla="*/ 0 w 280"/>
                  <a:gd name="T95" fmla="*/ 63 h 249"/>
                  <a:gd name="T96" fmla="*/ 0 w 280"/>
                  <a:gd name="T97" fmla="*/ 63 h 249"/>
                  <a:gd name="T98" fmla="*/ 0 w 280"/>
                  <a:gd name="T99" fmla="*/ 94 h 249"/>
                  <a:gd name="T100" fmla="*/ 31 w 280"/>
                  <a:gd name="T101" fmla="*/ 9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0" h="249">
                    <a:moveTo>
                      <a:pt x="31" y="94"/>
                    </a:moveTo>
                    <a:lnTo>
                      <a:pt x="31" y="94"/>
                    </a:lnTo>
                    <a:lnTo>
                      <a:pt x="31" y="94"/>
                    </a:lnTo>
                    <a:cubicBezTo>
                      <a:pt x="31" y="94"/>
                      <a:pt x="31" y="94"/>
                      <a:pt x="31" y="124"/>
                    </a:cubicBezTo>
                    <a:cubicBezTo>
                      <a:pt x="62" y="124"/>
                      <a:pt x="62" y="124"/>
                      <a:pt x="62" y="155"/>
                    </a:cubicBezTo>
                    <a:cubicBezTo>
                      <a:pt x="62" y="155"/>
                      <a:pt x="62" y="155"/>
                      <a:pt x="62" y="187"/>
                    </a:cubicBezTo>
                    <a:lnTo>
                      <a:pt x="62" y="187"/>
                    </a:lnTo>
                    <a:lnTo>
                      <a:pt x="31" y="187"/>
                    </a:lnTo>
                    <a:lnTo>
                      <a:pt x="31" y="187"/>
                    </a:lnTo>
                    <a:lnTo>
                      <a:pt x="31" y="187"/>
                    </a:lnTo>
                    <a:cubicBezTo>
                      <a:pt x="31" y="218"/>
                      <a:pt x="31" y="218"/>
                      <a:pt x="31" y="218"/>
                    </a:cubicBezTo>
                    <a:lnTo>
                      <a:pt x="0" y="248"/>
                    </a:lnTo>
                    <a:cubicBezTo>
                      <a:pt x="0" y="248"/>
                      <a:pt x="0" y="248"/>
                      <a:pt x="31" y="248"/>
                    </a:cubicBezTo>
                    <a:lnTo>
                      <a:pt x="31" y="248"/>
                    </a:lnTo>
                    <a:lnTo>
                      <a:pt x="31" y="248"/>
                    </a:lnTo>
                    <a:lnTo>
                      <a:pt x="62" y="248"/>
                    </a:lnTo>
                    <a:lnTo>
                      <a:pt x="62" y="248"/>
                    </a:lnTo>
                    <a:cubicBezTo>
                      <a:pt x="62" y="218"/>
                      <a:pt x="93" y="218"/>
                      <a:pt x="124" y="218"/>
                    </a:cubicBezTo>
                    <a:lnTo>
                      <a:pt x="124" y="187"/>
                    </a:lnTo>
                    <a:lnTo>
                      <a:pt x="124" y="187"/>
                    </a:lnTo>
                    <a:cubicBezTo>
                      <a:pt x="155" y="187"/>
                      <a:pt x="216" y="155"/>
                      <a:pt x="216" y="155"/>
                    </a:cubicBezTo>
                    <a:cubicBezTo>
                      <a:pt x="248" y="124"/>
                      <a:pt x="248" y="124"/>
                      <a:pt x="248" y="94"/>
                    </a:cubicBezTo>
                    <a:cubicBezTo>
                      <a:pt x="279" y="94"/>
                      <a:pt x="279" y="94"/>
                      <a:pt x="279" y="94"/>
                    </a:cubicBezTo>
                    <a:cubicBezTo>
                      <a:pt x="248" y="94"/>
                      <a:pt x="248" y="63"/>
                      <a:pt x="248" y="63"/>
                    </a:cubicBezTo>
                    <a:lnTo>
                      <a:pt x="248" y="31"/>
                    </a:lnTo>
                    <a:lnTo>
                      <a:pt x="248" y="31"/>
                    </a:lnTo>
                    <a:lnTo>
                      <a:pt x="248" y="31"/>
                    </a:lnTo>
                    <a:lnTo>
                      <a:pt x="248" y="31"/>
                    </a:lnTo>
                    <a:lnTo>
                      <a:pt x="248" y="0"/>
                    </a:lnTo>
                    <a:lnTo>
                      <a:pt x="248" y="0"/>
                    </a:lnTo>
                    <a:lnTo>
                      <a:pt x="248" y="0"/>
                    </a:lnTo>
                    <a:cubicBezTo>
                      <a:pt x="248" y="0"/>
                      <a:pt x="248" y="0"/>
                      <a:pt x="216" y="31"/>
                    </a:cubicBezTo>
                    <a:cubicBezTo>
                      <a:pt x="216" y="31"/>
                      <a:pt x="216" y="31"/>
                      <a:pt x="186" y="31"/>
                    </a:cubicBezTo>
                    <a:lnTo>
                      <a:pt x="186" y="31"/>
                    </a:lnTo>
                    <a:cubicBezTo>
                      <a:pt x="155" y="31"/>
                      <a:pt x="155" y="31"/>
                      <a:pt x="155" y="31"/>
                    </a:cubicBezTo>
                    <a:cubicBezTo>
                      <a:pt x="155" y="31"/>
                      <a:pt x="155" y="31"/>
                      <a:pt x="124" y="31"/>
                    </a:cubicBezTo>
                    <a:lnTo>
                      <a:pt x="124" y="31"/>
                    </a:lnTo>
                    <a:lnTo>
                      <a:pt x="124" y="31"/>
                    </a:lnTo>
                    <a:cubicBezTo>
                      <a:pt x="93" y="31"/>
                      <a:pt x="93" y="31"/>
                      <a:pt x="93" y="31"/>
                    </a:cubicBezTo>
                    <a:lnTo>
                      <a:pt x="93" y="31"/>
                    </a:lnTo>
                    <a:lnTo>
                      <a:pt x="93" y="31"/>
                    </a:lnTo>
                    <a:cubicBezTo>
                      <a:pt x="62" y="31"/>
                      <a:pt x="62" y="31"/>
                      <a:pt x="62" y="31"/>
                    </a:cubicBezTo>
                    <a:lnTo>
                      <a:pt x="62" y="31"/>
                    </a:lnTo>
                    <a:lnTo>
                      <a:pt x="62" y="31"/>
                    </a:lnTo>
                    <a:cubicBezTo>
                      <a:pt x="62" y="63"/>
                      <a:pt x="31" y="63"/>
                      <a:pt x="31" y="63"/>
                    </a:cubicBezTo>
                    <a:lnTo>
                      <a:pt x="31" y="63"/>
                    </a:lnTo>
                    <a:lnTo>
                      <a:pt x="31" y="63"/>
                    </a:lnTo>
                    <a:cubicBezTo>
                      <a:pt x="31" y="63"/>
                      <a:pt x="31" y="63"/>
                      <a:pt x="0" y="63"/>
                    </a:cubicBezTo>
                    <a:lnTo>
                      <a:pt x="0" y="63"/>
                    </a:lnTo>
                    <a:cubicBezTo>
                      <a:pt x="0" y="94"/>
                      <a:pt x="0" y="94"/>
                      <a:pt x="0" y="94"/>
                    </a:cubicBezTo>
                    <a:cubicBezTo>
                      <a:pt x="0" y="94"/>
                      <a:pt x="0" y="94"/>
                      <a:pt x="31" y="9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91" name="Freeform 88"/>
              <p:cNvSpPr>
                <a:spLocks noChangeArrowheads="1"/>
              </p:cNvSpPr>
              <p:nvPr/>
            </p:nvSpPr>
            <p:spPr bwMode="auto">
              <a:xfrm>
                <a:off x="3924300" y="1490663"/>
                <a:ext cx="100013" cy="22225"/>
              </a:xfrm>
              <a:custGeom>
                <a:avLst/>
                <a:gdLst>
                  <a:gd name="T0" fmla="*/ 0 w 280"/>
                  <a:gd name="T1" fmla="*/ 30 h 63"/>
                  <a:gd name="T2" fmla="*/ 0 w 280"/>
                  <a:gd name="T3" fmla="*/ 30 h 63"/>
                  <a:gd name="T4" fmla="*/ 0 w 280"/>
                  <a:gd name="T5" fmla="*/ 30 h 63"/>
                  <a:gd name="T6" fmla="*/ 31 w 280"/>
                  <a:gd name="T7" fmla="*/ 62 h 63"/>
                  <a:gd name="T8" fmla="*/ 31 w 280"/>
                  <a:gd name="T9" fmla="*/ 62 h 63"/>
                  <a:gd name="T10" fmla="*/ 62 w 280"/>
                  <a:gd name="T11" fmla="*/ 62 h 63"/>
                  <a:gd name="T12" fmla="*/ 62 w 280"/>
                  <a:gd name="T13" fmla="*/ 62 h 63"/>
                  <a:gd name="T14" fmla="*/ 62 w 280"/>
                  <a:gd name="T15" fmla="*/ 62 h 63"/>
                  <a:gd name="T16" fmla="*/ 93 w 280"/>
                  <a:gd name="T17" fmla="*/ 62 h 63"/>
                  <a:gd name="T18" fmla="*/ 93 w 280"/>
                  <a:gd name="T19" fmla="*/ 62 h 63"/>
                  <a:gd name="T20" fmla="*/ 124 w 280"/>
                  <a:gd name="T21" fmla="*/ 62 h 63"/>
                  <a:gd name="T22" fmla="*/ 124 w 280"/>
                  <a:gd name="T23" fmla="*/ 62 h 63"/>
                  <a:gd name="T24" fmla="*/ 186 w 280"/>
                  <a:gd name="T25" fmla="*/ 62 h 63"/>
                  <a:gd name="T26" fmla="*/ 186 w 280"/>
                  <a:gd name="T27" fmla="*/ 62 h 63"/>
                  <a:gd name="T28" fmla="*/ 186 w 280"/>
                  <a:gd name="T29" fmla="*/ 62 h 63"/>
                  <a:gd name="T30" fmla="*/ 186 w 280"/>
                  <a:gd name="T31" fmla="*/ 62 h 63"/>
                  <a:gd name="T32" fmla="*/ 186 w 280"/>
                  <a:gd name="T33" fmla="*/ 62 h 63"/>
                  <a:gd name="T34" fmla="*/ 217 w 280"/>
                  <a:gd name="T35" fmla="*/ 62 h 63"/>
                  <a:gd name="T36" fmla="*/ 248 w 280"/>
                  <a:gd name="T37" fmla="*/ 62 h 63"/>
                  <a:gd name="T38" fmla="*/ 248 w 280"/>
                  <a:gd name="T39" fmla="*/ 62 h 63"/>
                  <a:gd name="T40" fmla="*/ 248 w 280"/>
                  <a:gd name="T41" fmla="*/ 62 h 63"/>
                  <a:gd name="T42" fmla="*/ 279 w 280"/>
                  <a:gd name="T43" fmla="*/ 30 h 63"/>
                  <a:gd name="T44" fmla="*/ 279 w 280"/>
                  <a:gd name="T45" fmla="*/ 30 h 63"/>
                  <a:gd name="T46" fmla="*/ 279 w 280"/>
                  <a:gd name="T47" fmla="*/ 30 h 63"/>
                  <a:gd name="T48" fmla="*/ 248 w 280"/>
                  <a:gd name="T49" fmla="*/ 30 h 63"/>
                  <a:gd name="T50" fmla="*/ 217 w 280"/>
                  <a:gd name="T51" fmla="*/ 30 h 63"/>
                  <a:gd name="T52" fmla="*/ 217 w 280"/>
                  <a:gd name="T53" fmla="*/ 30 h 63"/>
                  <a:gd name="T54" fmla="*/ 217 w 280"/>
                  <a:gd name="T55" fmla="*/ 30 h 63"/>
                  <a:gd name="T56" fmla="*/ 217 w 280"/>
                  <a:gd name="T57" fmla="*/ 30 h 63"/>
                  <a:gd name="T58" fmla="*/ 217 w 280"/>
                  <a:gd name="T59" fmla="*/ 30 h 63"/>
                  <a:gd name="T60" fmla="*/ 217 w 280"/>
                  <a:gd name="T61" fmla="*/ 30 h 63"/>
                  <a:gd name="T62" fmla="*/ 186 w 280"/>
                  <a:gd name="T63" fmla="*/ 30 h 63"/>
                  <a:gd name="T64" fmla="*/ 186 w 280"/>
                  <a:gd name="T65" fmla="*/ 30 h 63"/>
                  <a:gd name="T66" fmla="*/ 186 w 280"/>
                  <a:gd name="T67" fmla="*/ 30 h 63"/>
                  <a:gd name="T68" fmla="*/ 155 w 280"/>
                  <a:gd name="T69" fmla="*/ 0 h 63"/>
                  <a:gd name="T70" fmla="*/ 155 w 280"/>
                  <a:gd name="T71" fmla="*/ 0 h 63"/>
                  <a:gd name="T72" fmla="*/ 124 w 280"/>
                  <a:gd name="T73" fmla="*/ 0 h 63"/>
                  <a:gd name="T74" fmla="*/ 124 w 280"/>
                  <a:gd name="T75" fmla="*/ 0 h 63"/>
                  <a:gd name="T76" fmla="*/ 124 w 280"/>
                  <a:gd name="T77" fmla="*/ 0 h 63"/>
                  <a:gd name="T78" fmla="*/ 93 w 280"/>
                  <a:gd name="T79" fmla="*/ 0 h 63"/>
                  <a:gd name="T80" fmla="*/ 93 w 280"/>
                  <a:gd name="T81" fmla="*/ 0 h 63"/>
                  <a:gd name="T82" fmla="*/ 93 w 280"/>
                  <a:gd name="T83" fmla="*/ 0 h 63"/>
                  <a:gd name="T84" fmla="*/ 62 w 280"/>
                  <a:gd name="T85" fmla="*/ 0 h 63"/>
                  <a:gd name="T86" fmla="*/ 31 w 280"/>
                  <a:gd name="T87" fmla="*/ 0 h 63"/>
                  <a:gd name="T88" fmla="*/ 31 w 280"/>
                  <a:gd name="T89" fmla="*/ 0 h 63"/>
                  <a:gd name="T90" fmla="*/ 0 w 280"/>
                  <a:gd name="T91" fmla="*/ 0 h 63"/>
                  <a:gd name="T92" fmla="*/ 0 w 280"/>
                  <a:gd name="T93" fmla="*/ 3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63">
                    <a:moveTo>
                      <a:pt x="0" y="30"/>
                    </a:moveTo>
                    <a:lnTo>
                      <a:pt x="0" y="30"/>
                    </a:lnTo>
                    <a:lnTo>
                      <a:pt x="0" y="30"/>
                    </a:lnTo>
                    <a:cubicBezTo>
                      <a:pt x="0" y="30"/>
                      <a:pt x="31" y="30"/>
                      <a:pt x="31" y="62"/>
                    </a:cubicBezTo>
                    <a:lnTo>
                      <a:pt x="31" y="62"/>
                    </a:lnTo>
                    <a:cubicBezTo>
                      <a:pt x="62" y="62"/>
                      <a:pt x="62" y="62"/>
                      <a:pt x="62" y="62"/>
                    </a:cubicBezTo>
                    <a:lnTo>
                      <a:pt x="62" y="62"/>
                    </a:lnTo>
                    <a:lnTo>
                      <a:pt x="62" y="62"/>
                    </a:lnTo>
                    <a:lnTo>
                      <a:pt x="93" y="62"/>
                    </a:lnTo>
                    <a:lnTo>
                      <a:pt x="93" y="62"/>
                    </a:lnTo>
                    <a:lnTo>
                      <a:pt x="124" y="62"/>
                    </a:lnTo>
                    <a:lnTo>
                      <a:pt x="124" y="62"/>
                    </a:lnTo>
                    <a:cubicBezTo>
                      <a:pt x="155" y="62"/>
                      <a:pt x="155" y="62"/>
                      <a:pt x="186" y="62"/>
                    </a:cubicBezTo>
                    <a:lnTo>
                      <a:pt x="186" y="62"/>
                    </a:lnTo>
                    <a:lnTo>
                      <a:pt x="186" y="62"/>
                    </a:lnTo>
                    <a:lnTo>
                      <a:pt x="186" y="62"/>
                    </a:lnTo>
                    <a:lnTo>
                      <a:pt x="186" y="62"/>
                    </a:lnTo>
                    <a:cubicBezTo>
                      <a:pt x="186" y="62"/>
                      <a:pt x="186" y="62"/>
                      <a:pt x="217" y="62"/>
                    </a:cubicBezTo>
                    <a:cubicBezTo>
                      <a:pt x="217" y="62"/>
                      <a:pt x="217" y="62"/>
                      <a:pt x="248" y="62"/>
                    </a:cubicBezTo>
                    <a:lnTo>
                      <a:pt x="248" y="62"/>
                    </a:lnTo>
                    <a:lnTo>
                      <a:pt x="248" y="62"/>
                    </a:lnTo>
                    <a:lnTo>
                      <a:pt x="279" y="30"/>
                    </a:lnTo>
                    <a:lnTo>
                      <a:pt x="279" y="30"/>
                    </a:lnTo>
                    <a:lnTo>
                      <a:pt x="279" y="30"/>
                    </a:lnTo>
                    <a:lnTo>
                      <a:pt x="248" y="30"/>
                    </a:lnTo>
                    <a:cubicBezTo>
                      <a:pt x="248" y="30"/>
                      <a:pt x="248" y="30"/>
                      <a:pt x="217" y="30"/>
                    </a:cubicBezTo>
                    <a:lnTo>
                      <a:pt x="217" y="30"/>
                    </a:lnTo>
                    <a:lnTo>
                      <a:pt x="217" y="30"/>
                    </a:lnTo>
                    <a:lnTo>
                      <a:pt x="217" y="30"/>
                    </a:lnTo>
                    <a:lnTo>
                      <a:pt x="217" y="30"/>
                    </a:lnTo>
                    <a:lnTo>
                      <a:pt x="217" y="30"/>
                    </a:lnTo>
                    <a:cubicBezTo>
                      <a:pt x="217" y="30"/>
                      <a:pt x="217" y="30"/>
                      <a:pt x="186" y="30"/>
                    </a:cubicBezTo>
                    <a:lnTo>
                      <a:pt x="186" y="30"/>
                    </a:lnTo>
                    <a:lnTo>
                      <a:pt x="186" y="30"/>
                    </a:lnTo>
                    <a:cubicBezTo>
                      <a:pt x="155" y="30"/>
                      <a:pt x="155" y="0"/>
                      <a:pt x="155" y="0"/>
                    </a:cubicBezTo>
                    <a:lnTo>
                      <a:pt x="155" y="0"/>
                    </a:lnTo>
                    <a:lnTo>
                      <a:pt x="124" y="0"/>
                    </a:lnTo>
                    <a:lnTo>
                      <a:pt x="124" y="0"/>
                    </a:lnTo>
                    <a:lnTo>
                      <a:pt x="124" y="0"/>
                    </a:lnTo>
                    <a:cubicBezTo>
                      <a:pt x="93" y="0"/>
                      <a:pt x="93" y="0"/>
                      <a:pt x="93" y="0"/>
                    </a:cubicBezTo>
                    <a:lnTo>
                      <a:pt x="93" y="0"/>
                    </a:lnTo>
                    <a:lnTo>
                      <a:pt x="93" y="0"/>
                    </a:lnTo>
                    <a:lnTo>
                      <a:pt x="62" y="0"/>
                    </a:lnTo>
                    <a:lnTo>
                      <a:pt x="31" y="0"/>
                    </a:lnTo>
                    <a:lnTo>
                      <a:pt x="31" y="0"/>
                    </a:lnTo>
                    <a:lnTo>
                      <a:pt x="0" y="0"/>
                    </a:lnTo>
                    <a:lnTo>
                      <a:pt x="0" y="3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92" name="Freeform 89"/>
              <p:cNvSpPr>
                <a:spLocks noChangeArrowheads="1"/>
              </p:cNvSpPr>
              <p:nvPr/>
            </p:nvSpPr>
            <p:spPr bwMode="auto">
              <a:xfrm>
                <a:off x="3913188" y="1535113"/>
                <a:ext cx="77787" cy="33337"/>
              </a:xfrm>
              <a:custGeom>
                <a:avLst/>
                <a:gdLst>
                  <a:gd name="T0" fmla="*/ 62 w 218"/>
                  <a:gd name="T1" fmla="*/ 30 h 94"/>
                  <a:gd name="T2" fmla="*/ 62 w 218"/>
                  <a:gd name="T3" fmla="*/ 30 h 94"/>
                  <a:gd name="T4" fmla="*/ 62 w 218"/>
                  <a:gd name="T5" fmla="*/ 30 h 94"/>
                  <a:gd name="T6" fmla="*/ 31 w 218"/>
                  <a:gd name="T7" fmla="*/ 30 h 94"/>
                  <a:gd name="T8" fmla="*/ 31 w 218"/>
                  <a:gd name="T9" fmla="*/ 62 h 94"/>
                  <a:gd name="T10" fmla="*/ 0 w 218"/>
                  <a:gd name="T11" fmla="*/ 62 h 94"/>
                  <a:gd name="T12" fmla="*/ 0 w 218"/>
                  <a:gd name="T13" fmla="*/ 62 h 94"/>
                  <a:gd name="T14" fmla="*/ 0 w 218"/>
                  <a:gd name="T15" fmla="*/ 62 h 94"/>
                  <a:gd name="T16" fmla="*/ 0 w 218"/>
                  <a:gd name="T17" fmla="*/ 93 h 94"/>
                  <a:gd name="T18" fmla="*/ 0 w 218"/>
                  <a:gd name="T19" fmla="*/ 93 h 94"/>
                  <a:gd name="T20" fmla="*/ 31 w 218"/>
                  <a:gd name="T21" fmla="*/ 93 h 94"/>
                  <a:gd name="T22" fmla="*/ 31 w 218"/>
                  <a:gd name="T23" fmla="*/ 93 h 94"/>
                  <a:gd name="T24" fmla="*/ 62 w 218"/>
                  <a:gd name="T25" fmla="*/ 62 h 94"/>
                  <a:gd name="T26" fmla="*/ 62 w 218"/>
                  <a:gd name="T27" fmla="*/ 93 h 94"/>
                  <a:gd name="T28" fmla="*/ 62 w 218"/>
                  <a:gd name="T29" fmla="*/ 93 h 94"/>
                  <a:gd name="T30" fmla="*/ 62 w 218"/>
                  <a:gd name="T31" fmla="*/ 93 h 94"/>
                  <a:gd name="T32" fmla="*/ 62 w 218"/>
                  <a:gd name="T33" fmla="*/ 93 h 94"/>
                  <a:gd name="T34" fmla="*/ 93 w 218"/>
                  <a:gd name="T35" fmla="*/ 93 h 94"/>
                  <a:gd name="T36" fmla="*/ 93 w 218"/>
                  <a:gd name="T37" fmla="*/ 93 h 94"/>
                  <a:gd name="T38" fmla="*/ 93 w 218"/>
                  <a:gd name="T39" fmla="*/ 93 h 94"/>
                  <a:gd name="T40" fmla="*/ 93 w 218"/>
                  <a:gd name="T41" fmla="*/ 93 h 94"/>
                  <a:gd name="T42" fmla="*/ 93 w 218"/>
                  <a:gd name="T43" fmla="*/ 93 h 94"/>
                  <a:gd name="T44" fmla="*/ 93 w 218"/>
                  <a:gd name="T45" fmla="*/ 93 h 94"/>
                  <a:gd name="T46" fmla="*/ 93 w 218"/>
                  <a:gd name="T47" fmla="*/ 93 h 94"/>
                  <a:gd name="T48" fmla="*/ 93 w 218"/>
                  <a:gd name="T49" fmla="*/ 93 h 94"/>
                  <a:gd name="T50" fmla="*/ 93 w 218"/>
                  <a:gd name="T51" fmla="*/ 93 h 94"/>
                  <a:gd name="T52" fmla="*/ 124 w 218"/>
                  <a:gd name="T53" fmla="*/ 62 h 94"/>
                  <a:gd name="T54" fmla="*/ 124 w 218"/>
                  <a:gd name="T55" fmla="*/ 62 h 94"/>
                  <a:gd name="T56" fmla="*/ 124 w 218"/>
                  <a:gd name="T57" fmla="*/ 93 h 94"/>
                  <a:gd name="T58" fmla="*/ 155 w 218"/>
                  <a:gd name="T59" fmla="*/ 93 h 94"/>
                  <a:gd name="T60" fmla="*/ 155 w 218"/>
                  <a:gd name="T61" fmla="*/ 93 h 94"/>
                  <a:gd name="T62" fmla="*/ 155 w 218"/>
                  <a:gd name="T63" fmla="*/ 62 h 94"/>
                  <a:gd name="T64" fmla="*/ 186 w 218"/>
                  <a:gd name="T65" fmla="*/ 62 h 94"/>
                  <a:gd name="T66" fmla="*/ 186 w 218"/>
                  <a:gd name="T67" fmla="*/ 62 h 94"/>
                  <a:gd name="T68" fmla="*/ 186 w 218"/>
                  <a:gd name="T69" fmla="*/ 62 h 94"/>
                  <a:gd name="T70" fmla="*/ 186 w 218"/>
                  <a:gd name="T71" fmla="*/ 30 h 94"/>
                  <a:gd name="T72" fmla="*/ 186 w 218"/>
                  <a:gd name="T73" fmla="*/ 30 h 94"/>
                  <a:gd name="T74" fmla="*/ 217 w 218"/>
                  <a:gd name="T75" fmla="*/ 30 h 94"/>
                  <a:gd name="T76" fmla="*/ 217 w 218"/>
                  <a:gd name="T77" fmla="*/ 30 h 94"/>
                  <a:gd name="T78" fmla="*/ 217 w 218"/>
                  <a:gd name="T79" fmla="*/ 30 h 94"/>
                  <a:gd name="T80" fmla="*/ 217 w 218"/>
                  <a:gd name="T81" fmla="*/ 30 h 94"/>
                  <a:gd name="T82" fmla="*/ 217 w 218"/>
                  <a:gd name="T83" fmla="*/ 30 h 94"/>
                  <a:gd name="T84" fmla="*/ 217 w 218"/>
                  <a:gd name="T85" fmla="*/ 0 h 94"/>
                  <a:gd name="T86" fmla="*/ 217 w 218"/>
                  <a:gd name="T87" fmla="*/ 0 h 94"/>
                  <a:gd name="T88" fmla="*/ 217 w 218"/>
                  <a:gd name="T89" fmla="*/ 0 h 94"/>
                  <a:gd name="T90" fmla="*/ 217 w 218"/>
                  <a:gd name="T91" fmla="*/ 0 h 94"/>
                  <a:gd name="T92" fmla="*/ 186 w 218"/>
                  <a:gd name="T93" fmla="*/ 0 h 94"/>
                  <a:gd name="T94" fmla="*/ 186 w 218"/>
                  <a:gd name="T95" fmla="*/ 0 h 94"/>
                  <a:gd name="T96" fmla="*/ 186 w 218"/>
                  <a:gd name="T97" fmla="*/ 0 h 94"/>
                  <a:gd name="T98" fmla="*/ 155 w 218"/>
                  <a:gd name="T99" fmla="*/ 0 h 94"/>
                  <a:gd name="T100" fmla="*/ 155 w 218"/>
                  <a:gd name="T101" fmla="*/ 0 h 94"/>
                  <a:gd name="T102" fmla="*/ 155 w 218"/>
                  <a:gd name="T103" fmla="*/ 0 h 94"/>
                  <a:gd name="T104" fmla="*/ 93 w 218"/>
                  <a:gd name="T105" fmla="*/ 0 h 94"/>
                  <a:gd name="T106" fmla="*/ 93 w 218"/>
                  <a:gd name="T107" fmla="*/ 0 h 94"/>
                  <a:gd name="T108" fmla="*/ 93 w 218"/>
                  <a:gd name="T109" fmla="*/ 0 h 94"/>
                  <a:gd name="T110" fmla="*/ 62 w 218"/>
                  <a:gd name="T111" fmla="*/ 0 h 94"/>
                  <a:gd name="T112" fmla="*/ 62 w 218"/>
                  <a:gd name="T113" fmla="*/ 0 h 94"/>
                  <a:gd name="T114" fmla="*/ 62 w 218"/>
                  <a:gd name="T115" fmla="*/ 0 h 94"/>
                  <a:gd name="T116" fmla="*/ 62 w 218"/>
                  <a:gd name="T117" fmla="*/ 3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8" h="94">
                    <a:moveTo>
                      <a:pt x="62" y="30"/>
                    </a:moveTo>
                    <a:lnTo>
                      <a:pt x="62" y="30"/>
                    </a:lnTo>
                    <a:lnTo>
                      <a:pt x="62" y="30"/>
                    </a:lnTo>
                    <a:lnTo>
                      <a:pt x="31" y="30"/>
                    </a:lnTo>
                    <a:cubicBezTo>
                      <a:pt x="31" y="62"/>
                      <a:pt x="31" y="62"/>
                      <a:pt x="31" y="62"/>
                    </a:cubicBezTo>
                    <a:cubicBezTo>
                      <a:pt x="0" y="62"/>
                      <a:pt x="0" y="62"/>
                      <a:pt x="0" y="62"/>
                    </a:cubicBezTo>
                    <a:lnTo>
                      <a:pt x="0" y="62"/>
                    </a:lnTo>
                    <a:lnTo>
                      <a:pt x="0" y="62"/>
                    </a:lnTo>
                    <a:cubicBezTo>
                      <a:pt x="0" y="62"/>
                      <a:pt x="0" y="62"/>
                      <a:pt x="0" y="93"/>
                    </a:cubicBezTo>
                    <a:lnTo>
                      <a:pt x="0" y="93"/>
                    </a:lnTo>
                    <a:cubicBezTo>
                      <a:pt x="31" y="93"/>
                      <a:pt x="31" y="93"/>
                      <a:pt x="31" y="93"/>
                    </a:cubicBezTo>
                    <a:lnTo>
                      <a:pt x="31" y="93"/>
                    </a:lnTo>
                    <a:cubicBezTo>
                      <a:pt x="62" y="62"/>
                      <a:pt x="62" y="62"/>
                      <a:pt x="62" y="62"/>
                    </a:cubicBezTo>
                    <a:cubicBezTo>
                      <a:pt x="62" y="93"/>
                      <a:pt x="62" y="93"/>
                      <a:pt x="62" y="93"/>
                    </a:cubicBezTo>
                    <a:lnTo>
                      <a:pt x="62" y="93"/>
                    </a:lnTo>
                    <a:lnTo>
                      <a:pt x="62" y="93"/>
                    </a:lnTo>
                    <a:lnTo>
                      <a:pt x="62" y="93"/>
                    </a:lnTo>
                    <a:lnTo>
                      <a:pt x="93" y="93"/>
                    </a:lnTo>
                    <a:lnTo>
                      <a:pt x="93" y="93"/>
                    </a:lnTo>
                    <a:lnTo>
                      <a:pt x="93" y="93"/>
                    </a:lnTo>
                    <a:lnTo>
                      <a:pt x="93" y="93"/>
                    </a:lnTo>
                    <a:lnTo>
                      <a:pt x="93" y="93"/>
                    </a:lnTo>
                    <a:lnTo>
                      <a:pt x="93" y="93"/>
                    </a:lnTo>
                    <a:lnTo>
                      <a:pt x="93" y="93"/>
                    </a:lnTo>
                    <a:lnTo>
                      <a:pt x="93" y="93"/>
                    </a:lnTo>
                    <a:lnTo>
                      <a:pt x="93" y="93"/>
                    </a:lnTo>
                    <a:lnTo>
                      <a:pt x="124" y="62"/>
                    </a:lnTo>
                    <a:lnTo>
                      <a:pt x="124" y="62"/>
                    </a:lnTo>
                    <a:lnTo>
                      <a:pt x="124" y="93"/>
                    </a:lnTo>
                    <a:cubicBezTo>
                      <a:pt x="155" y="93"/>
                      <a:pt x="155" y="93"/>
                      <a:pt x="155" y="93"/>
                    </a:cubicBezTo>
                    <a:lnTo>
                      <a:pt x="155" y="93"/>
                    </a:lnTo>
                    <a:cubicBezTo>
                      <a:pt x="155" y="62"/>
                      <a:pt x="155" y="62"/>
                      <a:pt x="155" y="62"/>
                    </a:cubicBezTo>
                    <a:cubicBezTo>
                      <a:pt x="186" y="62"/>
                      <a:pt x="186" y="62"/>
                      <a:pt x="186" y="62"/>
                    </a:cubicBezTo>
                    <a:lnTo>
                      <a:pt x="186" y="62"/>
                    </a:lnTo>
                    <a:lnTo>
                      <a:pt x="186" y="62"/>
                    </a:lnTo>
                    <a:cubicBezTo>
                      <a:pt x="186" y="30"/>
                      <a:pt x="186" y="30"/>
                      <a:pt x="186" y="30"/>
                    </a:cubicBezTo>
                    <a:lnTo>
                      <a:pt x="186" y="30"/>
                    </a:lnTo>
                    <a:cubicBezTo>
                      <a:pt x="186" y="30"/>
                      <a:pt x="186" y="30"/>
                      <a:pt x="217" y="30"/>
                    </a:cubicBezTo>
                    <a:lnTo>
                      <a:pt x="217" y="30"/>
                    </a:lnTo>
                    <a:lnTo>
                      <a:pt x="217" y="30"/>
                    </a:lnTo>
                    <a:lnTo>
                      <a:pt x="217" y="30"/>
                    </a:lnTo>
                    <a:lnTo>
                      <a:pt x="217" y="30"/>
                    </a:lnTo>
                    <a:cubicBezTo>
                      <a:pt x="217" y="0"/>
                      <a:pt x="217" y="0"/>
                      <a:pt x="217" y="0"/>
                    </a:cubicBezTo>
                    <a:lnTo>
                      <a:pt x="217" y="0"/>
                    </a:lnTo>
                    <a:lnTo>
                      <a:pt x="217" y="0"/>
                    </a:lnTo>
                    <a:lnTo>
                      <a:pt x="217" y="0"/>
                    </a:lnTo>
                    <a:cubicBezTo>
                      <a:pt x="217" y="0"/>
                      <a:pt x="217" y="0"/>
                      <a:pt x="186" y="0"/>
                    </a:cubicBezTo>
                    <a:lnTo>
                      <a:pt x="186" y="0"/>
                    </a:lnTo>
                    <a:lnTo>
                      <a:pt x="186" y="0"/>
                    </a:lnTo>
                    <a:lnTo>
                      <a:pt x="155" y="0"/>
                    </a:lnTo>
                    <a:lnTo>
                      <a:pt x="155" y="0"/>
                    </a:lnTo>
                    <a:lnTo>
                      <a:pt x="155" y="0"/>
                    </a:lnTo>
                    <a:cubicBezTo>
                      <a:pt x="124" y="0"/>
                      <a:pt x="124" y="0"/>
                      <a:pt x="93" y="0"/>
                    </a:cubicBezTo>
                    <a:lnTo>
                      <a:pt x="93" y="0"/>
                    </a:lnTo>
                    <a:lnTo>
                      <a:pt x="93" y="0"/>
                    </a:lnTo>
                    <a:cubicBezTo>
                      <a:pt x="62" y="0"/>
                      <a:pt x="62" y="0"/>
                      <a:pt x="62" y="0"/>
                    </a:cubicBezTo>
                    <a:lnTo>
                      <a:pt x="62" y="0"/>
                    </a:lnTo>
                    <a:lnTo>
                      <a:pt x="62" y="0"/>
                    </a:lnTo>
                    <a:lnTo>
                      <a:pt x="62" y="3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93" name="Freeform 90"/>
              <p:cNvSpPr>
                <a:spLocks noChangeArrowheads="1"/>
              </p:cNvSpPr>
              <p:nvPr/>
            </p:nvSpPr>
            <p:spPr bwMode="auto">
              <a:xfrm>
                <a:off x="3948113" y="1579563"/>
                <a:ext cx="22225" cy="22225"/>
              </a:xfrm>
              <a:custGeom>
                <a:avLst/>
                <a:gdLst>
                  <a:gd name="T0" fmla="*/ 31 w 63"/>
                  <a:gd name="T1" fmla="*/ 30 h 63"/>
                  <a:gd name="T2" fmla="*/ 31 w 63"/>
                  <a:gd name="T3" fmla="*/ 30 h 63"/>
                  <a:gd name="T4" fmla="*/ 31 w 63"/>
                  <a:gd name="T5" fmla="*/ 30 h 63"/>
                  <a:gd name="T6" fmla="*/ 31 w 63"/>
                  <a:gd name="T7" fmla="*/ 30 h 63"/>
                  <a:gd name="T8" fmla="*/ 62 w 63"/>
                  <a:gd name="T9" fmla="*/ 30 h 63"/>
                  <a:gd name="T10" fmla="*/ 62 w 63"/>
                  <a:gd name="T11" fmla="*/ 30 h 63"/>
                  <a:gd name="T12" fmla="*/ 62 w 63"/>
                  <a:gd name="T13" fmla="*/ 30 h 63"/>
                  <a:gd name="T14" fmla="*/ 62 w 63"/>
                  <a:gd name="T15" fmla="*/ 0 h 63"/>
                  <a:gd name="T16" fmla="*/ 31 w 63"/>
                  <a:gd name="T17" fmla="*/ 0 h 63"/>
                  <a:gd name="T18" fmla="*/ 31 w 63"/>
                  <a:gd name="T19" fmla="*/ 0 h 63"/>
                  <a:gd name="T20" fmla="*/ 31 w 63"/>
                  <a:gd name="T21" fmla="*/ 30 h 63"/>
                  <a:gd name="T22" fmla="*/ 31 w 63"/>
                  <a:gd name="T23" fmla="*/ 30 h 63"/>
                  <a:gd name="T24" fmla="*/ 0 w 63"/>
                  <a:gd name="T25" fmla="*/ 30 h 63"/>
                  <a:gd name="T26" fmla="*/ 0 w 63"/>
                  <a:gd name="T27" fmla="*/ 30 h 63"/>
                  <a:gd name="T28" fmla="*/ 0 w 63"/>
                  <a:gd name="T29" fmla="*/ 30 h 63"/>
                  <a:gd name="T30" fmla="*/ 0 w 63"/>
                  <a:gd name="T31" fmla="*/ 30 h 63"/>
                  <a:gd name="T32" fmla="*/ 0 w 63"/>
                  <a:gd name="T33" fmla="*/ 30 h 63"/>
                  <a:gd name="T34" fmla="*/ 0 w 63"/>
                  <a:gd name="T35" fmla="*/ 30 h 63"/>
                  <a:gd name="T36" fmla="*/ 0 w 63"/>
                  <a:gd name="T37" fmla="*/ 30 h 63"/>
                  <a:gd name="T38" fmla="*/ 0 w 63"/>
                  <a:gd name="T39" fmla="*/ 62 h 63"/>
                  <a:gd name="T40" fmla="*/ 31 w 63"/>
                  <a:gd name="T41" fmla="*/ 3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63">
                    <a:moveTo>
                      <a:pt x="31" y="30"/>
                    </a:moveTo>
                    <a:lnTo>
                      <a:pt x="31" y="30"/>
                    </a:lnTo>
                    <a:lnTo>
                      <a:pt x="31" y="30"/>
                    </a:lnTo>
                    <a:lnTo>
                      <a:pt x="31" y="30"/>
                    </a:lnTo>
                    <a:cubicBezTo>
                      <a:pt x="31" y="30"/>
                      <a:pt x="31" y="30"/>
                      <a:pt x="62" y="30"/>
                    </a:cubicBezTo>
                    <a:lnTo>
                      <a:pt x="62" y="30"/>
                    </a:lnTo>
                    <a:lnTo>
                      <a:pt x="62" y="30"/>
                    </a:lnTo>
                    <a:lnTo>
                      <a:pt x="62" y="0"/>
                    </a:lnTo>
                    <a:cubicBezTo>
                      <a:pt x="62" y="0"/>
                      <a:pt x="62" y="0"/>
                      <a:pt x="31" y="0"/>
                    </a:cubicBezTo>
                    <a:lnTo>
                      <a:pt x="31" y="0"/>
                    </a:lnTo>
                    <a:cubicBezTo>
                      <a:pt x="31" y="30"/>
                      <a:pt x="31" y="30"/>
                      <a:pt x="31" y="30"/>
                    </a:cubicBezTo>
                    <a:lnTo>
                      <a:pt x="31" y="30"/>
                    </a:lnTo>
                    <a:cubicBezTo>
                      <a:pt x="0" y="30"/>
                      <a:pt x="0" y="30"/>
                      <a:pt x="0" y="30"/>
                    </a:cubicBezTo>
                    <a:lnTo>
                      <a:pt x="0" y="30"/>
                    </a:lnTo>
                    <a:lnTo>
                      <a:pt x="0" y="30"/>
                    </a:lnTo>
                    <a:lnTo>
                      <a:pt x="0" y="30"/>
                    </a:lnTo>
                    <a:lnTo>
                      <a:pt x="0" y="30"/>
                    </a:lnTo>
                    <a:lnTo>
                      <a:pt x="0" y="30"/>
                    </a:lnTo>
                    <a:lnTo>
                      <a:pt x="0" y="30"/>
                    </a:lnTo>
                    <a:cubicBezTo>
                      <a:pt x="0" y="62"/>
                      <a:pt x="0" y="62"/>
                      <a:pt x="0" y="62"/>
                    </a:cubicBezTo>
                    <a:cubicBezTo>
                      <a:pt x="0" y="62"/>
                      <a:pt x="0" y="30"/>
                      <a:pt x="31" y="3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94" name="Freeform 91"/>
              <p:cNvSpPr>
                <a:spLocks noChangeArrowheads="1"/>
              </p:cNvSpPr>
              <p:nvPr/>
            </p:nvSpPr>
            <p:spPr bwMode="auto">
              <a:xfrm>
                <a:off x="4037013" y="1590675"/>
                <a:ext cx="66675" cy="77788"/>
              </a:xfrm>
              <a:custGeom>
                <a:avLst/>
                <a:gdLst>
                  <a:gd name="T0" fmla="*/ 186 w 187"/>
                  <a:gd name="T1" fmla="*/ 156 h 218"/>
                  <a:gd name="T2" fmla="*/ 186 w 187"/>
                  <a:gd name="T3" fmla="*/ 156 h 218"/>
                  <a:gd name="T4" fmla="*/ 186 w 187"/>
                  <a:gd name="T5" fmla="*/ 124 h 218"/>
                  <a:gd name="T6" fmla="*/ 186 w 187"/>
                  <a:gd name="T7" fmla="*/ 124 h 218"/>
                  <a:gd name="T8" fmla="*/ 186 w 187"/>
                  <a:gd name="T9" fmla="*/ 124 h 218"/>
                  <a:gd name="T10" fmla="*/ 155 w 187"/>
                  <a:gd name="T11" fmla="*/ 124 h 218"/>
                  <a:gd name="T12" fmla="*/ 155 w 187"/>
                  <a:gd name="T13" fmla="*/ 124 h 218"/>
                  <a:gd name="T14" fmla="*/ 124 w 187"/>
                  <a:gd name="T15" fmla="*/ 63 h 218"/>
                  <a:gd name="T16" fmla="*/ 93 w 187"/>
                  <a:gd name="T17" fmla="*/ 32 h 218"/>
                  <a:gd name="T18" fmla="*/ 62 w 187"/>
                  <a:gd name="T19" fmla="*/ 0 h 218"/>
                  <a:gd name="T20" fmla="*/ 62 w 187"/>
                  <a:gd name="T21" fmla="*/ 0 h 218"/>
                  <a:gd name="T22" fmla="*/ 62 w 187"/>
                  <a:gd name="T23" fmla="*/ 32 h 218"/>
                  <a:gd name="T24" fmla="*/ 62 w 187"/>
                  <a:gd name="T25" fmla="*/ 32 h 218"/>
                  <a:gd name="T26" fmla="*/ 62 w 187"/>
                  <a:gd name="T27" fmla="*/ 63 h 218"/>
                  <a:gd name="T28" fmla="*/ 62 w 187"/>
                  <a:gd name="T29" fmla="*/ 63 h 218"/>
                  <a:gd name="T30" fmla="*/ 62 w 187"/>
                  <a:gd name="T31" fmla="*/ 94 h 218"/>
                  <a:gd name="T32" fmla="*/ 62 w 187"/>
                  <a:gd name="T33" fmla="*/ 94 h 218"/>
                  <a:gd name="T34" fmla="*/ 62 w 187"/>
                  <a:gd name="T35" fmla="*/ 94 h 218"/>
                  <a:gd name="T36" fmla="*/ 62 w 187"/>
                  <a:gd name="T37" fmla="*/ 94 h 218"/>
                  <a:gd name="T38" fmla="*/ 62 w 187"/>
                  <a:gd name="T39" fmla="*/ 124 h 218"/>
                  <a:gd name="T40" fmla="*/ 62 w 187"/>
                  <a:gd name="T41" fmla="*/ 124 h 218"/>
                  <a:gd name="T42" fmla="*/ 62 w 187"/>
                  <a:gd name="T43" fmla="*/ 124 h 218"/>
                  <a:gd name="T44" fmla="*/ 62 w 187"/>
                  <a:gd name="T45" fmla="*/ 124 h 218"/>
                  <a:gd name="T46" fmla="*/ 31 w 187"/>
                  <a:gd name="T47" fmla="*/ 187 h 218"/>
                  <a:gd name="T48" fmla="*/ 0 w 187"/>
                  <a:gd name="T49" fmla="*/ 187 h 218"/>
                  <a:gd name="T50" fmla="*/ 0 w 187"/>
                  <a:gd name="T51" fmla="*/ 187 h 218"/>
                  <a:gd name="T52" fmla="*/ 31 w 187"/>
                  <a:gd name="T53" fmla="*/ 217 h 218"/>
                  <a:gd name="T54" fmla="*/ 0 w 187"/>
                  <a:gd name="T55" fmla="*/ 217 h 218"/>
                  <a:gd name="T56" fmla="*/ 31 w 187"/>
                  <a:gd name="T57" fmla="*/ 217 h 218"/>
                  <a:gd name="T58" fmla="*/ 31 w 187"/>
                  <a:gd name="T59" fmla="*/ 187 h 218"/>
                  <a:gd name="T60" fmla="*/ 62 w 187"/>
                  <a:gd name="T61" fmla="*/ 187 h 218"/>
                  <a:gd name="T62" fmla="*/ 62 w 187"/>
                  <a:gd name="T63" fmla="*/ 187 h 218"/>
                  <a:gd name="T64" fmla="*/ 93 w 187"/>
                  <a:gd name="T65" fmla="*/ 217 h 218"/>
                  <a:gd name="T66" fmla="*/ 93 w 187"/>
                  <a:gd name="T67" fmla="*/ 217 h 218"/>
                  <a:gd name="T68" fmla="*/ 93 w 187"/>
                  <a:gd name="T69" fmla="*/ 217 h 218"/>
                  <a:gd name="T70" fmla="*/ 93 w 187"/>
                  <a:gd name="T71" fmla="*/ 217 h 218"/>
                  <a:gd name="T72" fmla="*/ 93 w 187"/>
                  <a:gd name="T73" fmla="*/ 217 h 218"/>
                  <a:gd name="T74" fmla="*/ 93 w 187"/>
                  <a:gd name="T75" fmla="*/ 217 h 218"/>
                  <a:gd name="T76" fmla="*/ 124 w 187"/>
                  <a:gd name="T77" fmla="*/ 217 h 218"/>
                  <a:gd name="T78" fmla="*/ 124 w 187"/>
                  <a:gd name="T79" fmla="*/ 217 h 218"/>
                  <a:gd name="T80" fmla="*/ 155 w 187"/>
                  <a:gd name="T81" fmla="*/ 217 h 218"/>
                  <a:gd name="T82" fmla="*/ 186 w 187"/>
                  <a:gd name="T83" fmla="*/ 187 h 218"/>
                  <a:gd name="T84" fmla="*/ 186 w 187"/>
                  <a:gd name="T85" fmla="*/ 217 h 218"/>
                  <a:gd name="T86" fmla="*/ 186 w 187"/>
                  <a:gd name="T87" fmla="*/ 187 h 218"/>
                  <a:gd name="T88" fmla="*/ 186 w 187"/>
                  <a:gd name="T89" fmla="*/ 187 h 218"/>
                  <a:gd name="T90" fmla="*/ 186 w 187"/>
                  <a:gd name="T91" fmla="*/ 187 h 218"/>
                  <a:gd name="T92" fmla="*/ 186 w 187"/>
                  <a:gd name="T93" fmla="*/ 187 h 218"/>
                  <a:gd name="T94" fmla="*/ 186 w 187"/>
                  <a:gd name="T95" fmla="*/ 15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7" h="218">
                    <a:moveTo>
                      <a:pt x="186" y="156"/>
                    </a:moveTo>
                    <a:lnTo>
                      <a:pt x="186" y="156"/>
                    </a:lnTo>
                    <a:lnTo>
                      <a:pt x="186" y="124"/>
                    </a:lnTo>
                    <a:lnTo>
                      <a:pt x="186" y="124"/>
                    </a:lnTo>
                    <a:lnTo>
                      <a:pt x="186" y="124"/>
                    </a:lnTo>
                    <a:cubicBezTo>
                      <a:pt x="155" y="124"/>
                      <a:pt x="155" y="124"/>
                      <a:pt x="155" y="124"/>
                    </a:cubicBezTo>
                    <a:lnTo>
                      <a:pt x="155" y="124"/>
                    </a:lnTo>
                    <a:cubicBezTo>
                      <a:pt x="155" y="94"/>
                      <a:pt x="124" y="94"/>
                      <a:pt x="124" y="63"/>
                    </a:cubicBezTo>
                    <a:cubicBezTo>
                      <a:pt x="93" y="63"/>
                      <a:pt x="93" y="32"/>
                      <a:pt x="93" y="32"/>
                    </a:cubicBezTo>
                    <a:cubicBezTo>
                      <a:pt x="93" y="32"/>
                      <a:pt x="62" y="32"/>
                      <a:pt x="62" y="0"/>
                    </a:cubicBezTo>
                    <a:lnTo>
                      <a:pt x="62" y="0"/>
                    </a:lnTo>
                    <a:cubicBezTo>
                      <a:pt x="62" y="32"/>
                      <a:pt x="62" y="32"/>
                      <a:pt x="62" y="32"/>
                    </a:cubicBezTo>
                    <a:lnTo>
                      <a:pt x="62" y="32"/>
                    </a:lnTo>
                    <a:cubicBezTo>
                      <a:pt x="62" y="63"/>
                      <a:pt x="62" y="63"/>
                      <a:pt x="62" y="63"/>
                    </a:cubicBezTo>
                    <a:lnTo>
                      <a:pt x="62" y="63"/>
                    </a:lnTo>
                    <a:lnTo>
                      <a:pt x="62" y="94"/>
                    </a:lnTo>
                    <a:lnTo>
                      <a:pt x="62" y="94"/>
                    </a:lnTo>
                    <a:lnTo>
                      <a:pt x="62" y="94"/>
                    </a:lnTo>
                    <a:lnTo>
                      <a:pt x="62" y="94"/>
                    </a:lnTo>
                    <a:lnTo>
                      <a:pt x="62" y="124"/>
                    </a:lnTo>
                    <a:lnTo>
                      <a:pt x="62" y="124"/>
                    </a:lnTo>
                    <a:lnTo>
                      <a:pt x="62" y="124"/>
                    </a:lnTo>
                    <a:lnTo>
                      <a:pt x="62" y="124"/>
                    </a:lnTo>
                    <a:cubicBezTo>
                      <a:pt x="62" y="156"/>
                      <a:pt x="31" y="187"/>
                      <a:pt x="31" y="187"/>
                    </a:cubicBezTo>
                    <a:cubicBezTo>
                      <a:pt x="0" y="187"/>
                      <a:pt x="0" y="187"/>
                      <a:pt x="0" y="187"/>
                    </a:cubicBezTo>
                    <a:lnTo>
                      <a:pt x="0" y="187"/>
                    </a:lnTo>
                    <a:cubicBezTo>
                      <a:pt x="31" y="217"/>
                      <a:pt x="31" y="217"/>
                      <a:pt x="31" y="217"/>
                    </a:cubicBezTo>
                    <a:cubicBezTo>
                      <a:pt x="0" y="217"/>
                      <a:pt x="0" y="217"/>
                      <a:pt x="0" y="217"/>
                    </a:cubicBezTo>
                    <a:cubicBezTo>
                      <a:pt x="31" y="217"/>
                      <a:pt x="31" y="217"/>
                      <a:pt x="31" y="217"/>
                    </a:cubicBezTo>
                    <a:cubicBezTo>
                      <a:pt x="31" y="217"/>
                      <a:pt x="31" y="217"/>
                      <a:pt x="31" y="187"/>
                    </a:cubicBezTo>
                    <a:cubicBezTo>
                      <a:pt x="31" y="187"/>
                      <a:pt x="31" y="187"/>
                      <a:pt x="62" y="187"/>
                    </a:cubicBezTo>
                    <a:lnTo>
                      <a:pt x="62" y="187"/>
                    </a:lnTo>
                    <a:lnTo>
                      <a:pt x="93" y="217"/>
                    </a:lnTo>
                    <a:lnTo>
                      <a:pt x="93" y="217"/>
                    </a:lnTo>
                    <a:lnTo>
                      <a:pt x="93" y="217"/>
                    </a:lnTo>
                    <a:lnTo>
                      <a:pt x="93" y="217"/>
                    </a:lnTo>
                    <a:lnTo>
                      <a:pt x="93" y="217"/>
                    </a:lnTo>
                    <a:lnTo>
                      <a:pt x="93" y="217"/>
                    </a:lnTo>
                    <a:cubicBezTo>
                      <a:pt x="93" y="217"/>
                      <a:pt x="93" y="217"/>
                      <a:pt x="124" y="217"/>
                    </a:cubicBezTo>
                    <a:lnTo>
                      <a:pt x="124" y="217"/>
                    </a:lnTo>
                    <a:cubicBezTo>
                      <a:pt x="124" y="217"/>
                      <a:pt x="124" y="217"/>
                      <a:pt x="155" y="217"/>
                    </a:cubicBezTo>
                    <a:cubicBezTo>
                      <a:pt x="155" y="217"/>
                      <a:pt x="155" y="187"/>
                      <a:pt x="186" y="187"/>
                    </a:cubicBezTo>
                    <a:cubicBezTo>
                      <a:pt x="186" y="187"/>
                      <a:pt x="186" y="187"/>
                      <a:pt x="186" y="217"/>
                    </a:cubicBezTo>
                    <a:cubicBezTo>
                      <a:pt x="186" y="187"/>
                      <a:pt x="186" y="187"/>
                      <a:pt x="186" y="187"/>
                    </a:cubicBezTo>
                    <a:lnTo>
                      <a:pt x="186" y="187"/>
                    </a:lnTo>
                    <a:lnTo>
                      <a:pt x="186" y="187"/>
                    </a:lnTo>
                    <a:lnTo>
                      <a:pt x="186" y="187"/>
                    </a:lnTo>
                    <a:cubicBezTo>
                      <a:pt x="186" y="156"/>
                      <a:pt x="186" y="156"/>
                      <a:pt x="186" y="156"/>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95" name="Freeform 92"/>
              <p:cNvSpPr>
                <a:spLocks noChangeArrowheads="1"/>
              </p:cNvSpPr>
              <p:nvPr/>
            </p:nvSpPr>
            <p:spPr bwMode="auto">
              <a:xfrm>
                <a:off x="3992563" y="1612900"/>
                <a:ext cx="44450" cy="44450"/>
              </a:xfrm>
              <a:custGeom>
                <a:avLst/>
                <a:gdLst>
                  <a:gd name="T0" fmla="*/ 124 w 125"/>
                  <a:gd name="T1" fmla="*/ 31 h 125"/>
                  <a:gd name="T2" fmla="*/ 124 w 125"/>
                  <a:gd name="T3" fmla="*/ 31 h 125"/>
                  <a:gd name="T4" fmla="*/ 124 w 125"/>
                  <a:gd name="T5" fmla="*/ 31 h 125"/>
                  <a:gd name="T6" fmla="*/ 124 w 125"/>
                  <a:gd name="T7" fmla="*/ 31 h 125"/>
                  <a:gd name="T8" fmla="*/ 124 w 125"/>
                  <a:gd name="T9" fmla="*/ 31 h 125"/>
                  <a:gd name="T10" fmla="*/ 124 w 125"/>
                  <a:gd name="T11" fmla="*/ 31 h 125"/>
                  <a:gd name="T12" fmla="*/ 93 w 125"/>
                  <a:gd name="T13" fmla="*/ 31 h 125"/>
                  <a:gd name="T14" fmla="*/ 93 w 125"/>
                  <a:gd name="T15" fmla="*/ 31 h 125"/>
                  <a:gd name="T16" fmla="*/ 93 w 125"/>
                  <a:gd name="T17" fmla="*/ 31 h 125"/>
                  <a:gd name="T18" fmla="*/ 93 w 125"/>
                  <a:gd name="T19" fmla="*/ 31 h 125"/>
                  <a:gd name="T20" fmla="*/ 0 w 125"/>
                  <a:gd name="T21" fmla="*/ 0 h 125"/>
                  <a:gd name="T22" fmla="*/ 0 w 125"/>
                  <a:gd name="T23" fmla="*/ 0 h 125"/>
                  <a:gd name="T24" fmla="*/ 0 w 125"/>
                  <a:gd name="T25" fmla="*/ 31 h 125"/>
                  <a:gd name="T26" fmla="*/ 0 w 125"/>
                  <a:gd name="T27" fmla="*/ 31 h 125"/>
                  <a:gd name="T28" fmla="*/ 31 w 125"/>
                  <a:gd name="T29" fmla="*/ 31 h 125"/>
                  <a:gd name="T30" fmla="*/ 62 w 125"/>
                  <a:gd name="T31" fmla="*/ 61 h 125"/>
                  <a:gd name="T32" fmla="*/ 62 w 125"/>
                  <a:gd name="T33" fmla="*/ 93 h 125"/>
                  <a:gd name="T34" fmla="*/ 62 w 125"/>
                  <a:gd name="T35" fmla="*/ 93 h 125"/>
                  <a:gd name="T36" fmla="*/ 62 w 125"/>
                  <a:gd name="T37" fmla="*/ 93 h 125"/>
                  <a:gd name="T38" fmla="*/ 93 w 125"/>
                  <a:gd name="T39" fmla="*/ 124 h 125"/>
                  <a:gd name="T40" fmla="*/ 124 w 125"/>
                  <a:gd name="T41" fmla="*/ 93 h 125"/>
                  <a:gd name="T42" fmla="*/ 124 w 125"/>
                  <a:gd name="T43" fmla="*/ 61 h 125"/>
                  <a:gd name="T44" fmla="*/ 124 w 125"/>
                  <a:gd name="T45" fmla="*/ 3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25">
                    <a:moveTo>
                      <a:pt x="124" y="31"/>
                    </a:moveTo>
                    <a:lnTo>
                      <a:pt x="124" y="31"/>
                    </a:lnTo>
                    <a:lnTo>
                      <a:pt x="124" y="31"/>
                    </a:lnTo>
                    <a:lnTo>
                      <a:pt x="124" y="31"/>
                    </a:lnTo>
                    <a:lnTo>
                      <a:pt x="124" y="31"/>
                    </a:lnTo>
                    <a:lnTo>
                      <a:pt x="124" y="31"/>
                    </a:lnTo>
                    <a:cubicBezTo>
                      <a:pt x="93" y="31"/>
                      <a:pt x="93" y="31"/>
                      <a:pt x="93" y="31"/>
                    </a:cubicBezTo>
                    <a:lnTo>
                      <a:pt x="93" y="31"/>
                    </a:lnTo>
                    <a:lnTo>
                      <a:pt x="93" y="31"/>
                    </a:lnTo>
                    <a:lnTo>
                      <a:pt x="93" y="31"/>
                    </a:lnTo>
                    <a:cubicBezTo>
                      <a:pt x="62" y="31"/>
                      <a:pt x="31" y="0"/>
                      <a:pt x="0" y="0"/>
                    </a:cubicBezTo>
                    <a:lnTo>
                      <a:pt x="0" y="0"/>
                    </a:lnTo>
                    <a:cubicBezTo>
                      <a:pt x="0" y="0"/>
                      <a:pt x="0" y="0"/>
                      <a:pt x="0" y="31"/>
                    </a:cubicBezTo>
                    <a:lnTo>
                      <a:pt x="0" y="31"/>
                    </a:lnTo>
                    <a:cubicBezTo>
                      <a:pt x="0" y="31"/>
                      <a:pt x="0" y="31"/>
                      <a:pt x="31" y="31"/>
                    </a:cubicBezTo>
                    <a:cubicBezTo>
                      <a:pt x="31" y="61"/>
                      <a:pt x="31" y="61"/>
                      <a:pt x="62" y="61"/>
                    </a:cubicBezTo>
                    <a:cubicBezTo>
                      <a:pt x="62" y="93"/>
                      <a:pt x="62" y="93"/>
                      <a:pt x="62" y="93"/>
                    </a:cubicBezTo>
                    <a:lnTo>
                      <a:pt x="62" y="93"/>
                    </a:lnTo>
                    <a:lnTo>
                      <a:pt x="62" y="93"/>
                    </a:lnTo>
                    <a:cubicBezTo>
                      <a:pt x="93" y="93"/>
                      <a:pt x="93" y="124"/>
                      <a:pt x="93" y="124"/>
                    </a:cubicBezTo>
                    <a:cubicBezTo>
                      <a:pt x="93" y="93"/>
                      <a:pt x="93" y="93"/>
                      <a:pt x="124" y="93"/>
                    </a:cubicBezTo>
                    <a:cubicBezTo>
                      <a:pt x="124" y="61"/>
                      <a:pt x="124" y="61"/>
                      <a:pt x="124" y="61"/>
                    </a:cubicBezTo>
                    <a:cubicBezTo>
                      <a:pt x="124" y="61"/>
                      <a:pt x="124" y="61"/>
                      <a:pt x="124"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96" name="Freeform 93"/>
              <p:cNvSpPr>
                <a:spLocks noChangeArrowheads="1"/>
              </p:cNvSpPr>
              <p:nvPr/>
            </p:nvSpPr>
            <p:spPr bwMode="auto">
              <a:xfrm>
                <a:off x="4081463" y="1712913"/>
                <a:ext cx="33337" cy="44450"/>
              </a:xfrm>
              <a:custGeom>
                <a:avLst/>
                <a:gdLst>
                  <a:gd name="T0" fmla="*/ 62 w 94"/>
                  <a:gd name="T1" fmla="*/ 0 h 125"/>
                  <a:gd name="T2" fmla="*/ 62 w 94"/>
                  <a:gd name="T3" fmla="*/ 0 h 125"/>
                  <a:gd name="T4" fmla="*/ 31 w 94"/>
                  <a:gd name="T5" fmla="*/ 0 h 125"/>
                  <a:gd name="T6" fmla="*/ 31 w 94"/>
                  <a:gd name="T7" fmla="*/ 0 h 125"/>
                  <a:gd name="T8" fmla="*/ 31 w 94"/>
                  <a:gd name="T9" fmla="*/ 0 h 125"/>
                  <a:gd name="T10" fmla="*/ 31 w 94"/>
                  <a:gd name="T11" fmla="*/ 0 h 125"/>
                  <a:gd name="T12" fmla="*/ 31 w 94"/>
                  <a:gd name="T13" fmla="*/ 0 h 125"/>
                  <a:gd name="T14" fmla="*/ 0 w 94"/>
                  <a:gd name="T15" fmla="*/ 31 h 125"/>
                  <a:gd name="T16" fmla="*/ 0 w 94"/>
                  <a:gd name="T17" fmla="*/ 31 h 125"/>
                  <a:gd name="T18" fmla="*/ 0 w 94"/>
                  <a:gd name="T19" fmla="*/ 63 h 125"/>
                  <a:gd name="T20" fmla="*/ 0 w 94"/>
                  <a:gd name="T21" fmla="*/ 63 h 125"/>
                  <a:gd name="T22" fmla="*/ 0 w 94"/>
                  <a:gd name="T23" fmla="*/ 63 h 125"/>
                  <a:gd name="T24" fmla="*/ 0 w 94"/>
                  <a:gd name="T25" fmla="*/ 124 h 125"/>
                  <a:gd name="T26" fmla="*/ 0 w 94"/>
                  <a:gd name="T27" fmla="*/ 124 h 125"/>
                  <a:gd name="T28" fmla="*/ 31 w 94"/>
                  <a:gd name="T29" fmla="*/ 124 h 125"/>
                  <a:gd name="T30" fmla="*/ 31 w 94"/>
                  <a:gd name="T31" fmla="*/ 124 h 125"/>
                  <a:gd name="T32" fmla="*/ 62 w 94"/>
                  <a:gd name="T33" fmla="*/ 124 h 125"/>
                  <a:gd name="T34" fmla="*/ 62 w 94"/>
                  <a:gd name="T35" fmla="*/ 124 h 125"/>
                  <a:gd name="T36" fmla="*/ 62 w 94"/>
                  <a:gd name="T37" fmla="*/ 124 h 125"/>
                  <a:gd name="T38" fmla="*/ 62 w 94"/>
                  <a:gd name="T39" fmla="*/ 94 h 125"/>
                  <a:gd name="T40" fmla="*/ 93 w 94"/>
                  <a:gd name="T41" fmla="*/ 63 h 125"/>
                  <a:gd name="T42" fmla="*/ 62 w 94"/>
                  <a:gd name="T4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25">
                    <a:moveTo>
                      <a:pt x="62" y="0"/>
                    </a:moveTo>
                    <a:lnTo>
                      <a:pt x="62" y="0"/>
                    </a:lnTo>
                    <a:cubicBezTo>
                      <a:pt x="62" y="0"/>
                      <a:pt x="62" y="0"/>
                      <a:pt x="31" y="0"/>
                    </a:cubicBezTo>
                    <a:lnTo>
                      <a:pt x="31" y="0"/>
                    </a:lnTo>
                    <a:lnTo>
                      <a:pt x="31" y="0"/>
                    </a:lnTo>
                    <a:lnTo>
                      <a:pt x="31" y="0"/>
                    </a:lnTo>
                    <a:lnTo>
                      <a:pt x="31" y="0"/>
                    </a:lnTo>
                    <a:cubicBezTo>
                      <a:pt x="31" y="31"/>
                      <a:pt x="31" y="31"/>
                      <a:pt x="0" y="31"/>
                    </a:cubicBezTo>
                    <a:lnTo>
                      <a:pt x="0" y="31"/>
                    </a:lnTo>
                    <a:lnTo>
                      <a:pt x="0" y="63"/>
                    </a:lnTo>
                    <a:lnTo>
                      <a:pt x="0" y="63"/>
                    </a:lnTo>
                    <a:lnTo>
                      <a:pt x="0" y="63"/>
                    </a:lnTo>
                    <a:cubicBezTo>
                      <a:pt x="0" y="94"/>
                      <a:pt x="0" y="94"/>
                      <a:pt x="0" y="124"/>
                    </a:cubicBezTo>
                    <a:lnTo>
                      <a:pt x="0" y="124"/>
                    </a:lnTo>
                    <a:lnTo>
                      <a:pt x="31" y="124"/>
                    </a:lnTo>
                    <a:lnTo>
                      <a:pt x="31" y="124"/>
                    </a:lnTo>
                    <a:cubicBezTo>
                      <a:pt x="31" y="124"/>
                      <a:pt x="31" y="124"/>
                      <a:pt x="62" y="124"/>
                    </a:cubicBezTo>
                    <a:lnTo>
                      <a:pt x="62" y="124"/>
                    </a:lnTo>
                    <a:lnTo>
                      <a:pt x="62" y="124"/>
                    </a:lnTo>
                    <a:cubicBezTo>
                      <a:pt x="62" y="94"/>
                      <a:pt x="62" y="94"/>
                      <a:pt x="62" y="94"/>
                    </a:cubicBezTo>
                    <a:cubicBezTo>
                      <a:pt x="62" y="94"/>
                      <a:pt x="62" y="63"/>
                      <a:pt x="93" y="63"/>
                    </a:cubicBezTo>
                    <a:cubicBezTo>
                      <a:pt x="62" y="63"/>
                      <a:pt x="62" y="31"/>
                      <a:pt x="62"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97" name="Freeform 94"/>
              <p:cNvSpPr>
                <a:spLocks noChangeArrowheads="1"/>
              </p:cNvSpPr>
              <p:nvPr/>
            </p:nvSpPr>
            <p:spPr bwMode="auto">
              <a:xfrm>
                <a:off x="4148138" y="1322388"/>
                <a:ext cx="68262" cy="34925"/>
              </a:xfrm>
              <a:custGeom>
                <a:avLst/>
                <a:gdLst>
                  <a:gd name="T0" fmla="*/ 187 w 188"/>
                  <a:gd name="T1" fmla="*/ 63 h 95"/>
                  <a:gd name="T2" fmla="*/ 187 w 188"/>
                  <a:gd name="T3" fmla="*/ 63 h 95"/>
                  <a:gd name="T4" fmla="*/ 187 w 188"/>
                  <a:gd name="T5" fmla="*/ 63 h 95"/>
                  <a:gd name="T6" fmla="*/ 187 w 188"/>
                  <a:gd name="T7" fmla="*/ 63 h 95"/>
                  <a:gd name="T8" fmla="*/ 156 w 188"/>
                  <a:gd name="T9" fmla="*/ 32 h 95"/>
                  <a:gd name="T10" fmla="*/ 156 w 188"/>
                  <a:gd name="T11" fmla="*/ 32 h 95"/>
                  <a:gd name="T12" fmla="*/ 156 w 188"/>
                  <a:gd name="T13" fmla="*/ 32 h 95"/>
                  <a:gd name="T14" fmla="*/ 156 w 188"/>
                  <a:gd name="T15" fmla="*/ 32 h 95"/>
                  <a:gd name="T16" fmla="*/ 156 w 188"/>
                  <a:gd name="T17" fmla="*/ 32 h 95"/>
                  <a:gd name="T18" fmla="*/ 156 w 188"/>
                  <a:gd name="T19" fmla="*/ 32 h 95"/>
                  <a:gd name="T20" fmla="*/ 125 w 188"/>
                  <a:gd name="T21" fmla="*/ 32 h 95"/>
                  <a:gd name="T22" fmla="*/ 125 w 188"/>
                  <a:gd name="T23" fmla="*/ 32 h 95"/>
                  <a:gd name="T24" fmla="*/ 63 w 188"/>
                  <a:gd name="T25" fmla="*/ 0 h 95"/>
                  <a:gd name="T26" fmla="*/ 63 w 188"/>
                  <a:gd name="T27" fmla="*/ 0 h 95"/>
                  <a:gd name="T28" fmla="*/ 32 w 188"/>
                  <a:gd name="T29" fmla="*/ 0 h 95"/>
                  <a:gd name="T30" fmla="*/ 32 w 188"/>
                  <a:gd name="T31" fmla="*/ 0 h 95"/>
                  <a:gd name="T32" fmla="*/ 32 w 188"/>
                  <a:gd name="T33" fmla="*/ 0 h 95"/>
                  <a:gd name="T34" fmla="*/ 32 w 188"/>
                  <a:gd name="T35" fmla="*/ 0 h 95"/>
                  <a:gd name="T36" fmla="*/ 0 w 188"/>
                  <a:gd name="T37" fmla="*/ 32 h 95"/>
                  <a:gd name="T38" fmla="*/ 32 w 188"/>
                  <a:gd name="T39" fmla="*/ 32 h 95"/>
                  <a:gd name="T40" fmla="*/ 32 w 188"/>
                  <a:gd name="T41" fmla="*/ 32 h 95"/>
                  <a:gd name="T42" fmla="*/ 32 w 188"/>
                  <a:gd name="T43" fmla="*/ 32 h 95"/>
                  <a:gd name="T44" fmla="*/ 63 w 188"/>
                  <a:gd name="T45" fmla="*/ 63 h 95"/>
                  <a:gd name="T46" fmla="*/ 63 w 188"/>
                  <a:gd name="T47" fmla="*/ 63 h 95"/>
                  <a:gd name="T48" fmla="*/ 63 w 188"/>
                  <a:gd name="T49" fmla="*/ 63 h 95"/>
                  <a:gd name="T50" fmla="*/ 125 w 188"/>
                  <a:gd name="T51" fmla="*/ 94 h 95"/>
                  <a:gd name="T52" fmla="*/ 125 w 188"/>
                  <a:gd name="T53" fmla="*/ 94 h 95"/>
                  <a:gd name="T54" fmla="*/ 125 w 188"/>
                  <a:gd name="T55" fmla="*/ 94 h 95"/>
                  <a:gd name="T56" fmla="*/ 125 w 188"/>
                  <a:gd name="T57" fmla="*/ 94 h 95"/>
                  <a:gd name="T58" fmla="*/ 125 w 188"/>
                  <a:gd name="T59" fmla="*/ 94 h 95"/>
                  <a:gd name="T60" fmla="*/ 125 w 188"/>
                  <a:gd name="T61" fmla="*/ 94 h 95"/>
                  <a:gd name="T62" fmla="*/ 156 w 188"/>
                  <a:gd name="T63" fmla="*/ 94 h 95"/>
                  <a:gd name="T64" fmla="*/ 187 w 188"/>
                  <a:gd name="T65" fmla="*/ 6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8" h="95">
                    <a:moveTo>
                      <a:pt x="187" y="63"/>
                    </a:moveTo>
                    <a:lnTo>
                      <a:pt x="187" y="63"/>
                    </a:lnTo>
                    <a:lnTo>
                      <a:pt x="187" y="63"/>
                    </a:lnTo>
                    <a:lnTo>
                      <a:pt x="187" y="63"/>
                    </a:lnTo>
                    <a:cubicBezTo>
                      <a:pt x="156" y="63"/>
                      <a:pt x="156" y="63"/>
                      <a:pt x="156" y="32"/>
                    </a:cubicBezTo>
                    <a:lnTo>
                      <a:pt x="156" y="32"/>
                    </a:lnTo>
                    <a:lnTo>
                      <a:pt x="156" y="32"/>
                    </a:lnTo>
                    <a:lnTo>
                      <a:pt x="156" y="32"/>
                    </a:lnTo>
                    <a:lnTo>
                      <a:pt x="156" y="32"/>
                    </a:lnTo>
                    <a:lnTo>
                      <a:pt x="156" y="32"/>
                    </a:lnTo>
                    <a:cubicBezTo>
                      <a:pt x="125" y="32"/>
                      <a:pt x="125" y="32"/>
                      <a:pt x="125" y="32"/>
                    </a:cubicBezTo>
                    <a:lnTo>
                      <a:pt x="125" y="32"/>
                    </a:lnTo>
                    <a:cubicBezTo>
                      <a:pt x="94" y="32"/>
                      <a:pt x="94" y="0"/>
                      <a:pt x="63" y="0"/>
                    </a:cubicBezTo>
                    <a:lnTo>
                      <a:pt x="63" y="0"/>
                    </a:lnTo>
                    <a:cubicBezTo>
                      <a:pt x="63" y="0"/>
                      <a:pt x="63" y="0"/>
                      <a:pt x="32" y="0"/>
                    </a:cubicBezTo>
                    <a:lnTo>
                      <a:pt x="32" y="0"/>
                    </a:lnTo>
                    <a:lnTo>
                      <a:pt x="32" y="0"/>
                    </a:lnTo>
                    <a:lnTo>
                      <a:pt x="32" y="0"/>
                    </a:lnTo>
                    <a:cubicBezTo>
                      <a:pt x="32" y="32"/>
                      <a:pt x="32" y="32"/>
                      <a:pt x="0" y="32"/>
                    </a:cubicBezTo>
                    <a:cubicBezTo>
                      <a:pt x="0" y="32"/>
                      <a:pt x="0" y="32"/>
                      <a:pt x="32" y="32"/>
                    </a:cubicBezTo>
                    <a:lnTo>
                      <a:pt x="32" y="32"/>
                    </a:lnTo>
                    <a:lnTo>
                      <a:pt x="32" y="32"/>
                    </a:lnTo>
                    <a:lnTo>
                      <a:pt x="63" y="63"/>
                    </a:lnTo>
                    <a:lnTo>
                      <a:pt x="63" y="63"/>
                    </a:lnTo>
                    <a:lnTo>
                      <a:pt x="63" y="63"/>
                    </a:lnTo>
                    <a:cubicBezTo>
                      <a:pt x="94" y="63"/>
                      <a:pt x="125" y="63"/>
                      <a:pt x="125" y="94"/>
                    </a:cubicBezTo>
                    <a:lnTo>
                      <a:pt x="125" y="94"/>
                    </a:lnTo>
                    <a:lnTo>
                      <a:pt x="125" y="94"/>
                    </a:lnTo>
                    <a:lnTo>
                      <a:pt x="125" y="94"/>
                    </a:lnTo>
                    <a:lnTo>
                      <a:pt x="125" y="94"/>
                    </a:lnTo>
                    <a:lnTo>
                      <a:pt x="125" y="94"/>
                    </a:lnTo>
                    <a:cubicBezTo>
                      <a:pt x="156" y="94"/>
                      <a:pt x="156" y="94"/>
                      <a:pt x="156" y="94"/>
                    </a:cubicBezTo>
                    <a:cubicBezTo>
                      <a:pt x="156" y="63"/>
                      <a:pt x="187" y="63"/>
                      <a:pt x="187" y="6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98" name="Freeform 95"/>
              <p:cNvSpPr>
                <a:spLocks noChangeArrowheads="1"/>
              </p:cNvSpPr>
              <p:nvPr/>
            </p:nvSpPr>
            <p:spPr bwMode="auto">
              <a:xfrm>
                <a:off x="4148138" y="1277938"/>
                <a:ext cx="57150" cy="34925"/>
              </a:xfrm>
              <a:custGeom>
                <a:avLst/>
                <a:gdLst>
                  <a:gd name="T0" fmla="*/ 125 w 157"/>
                  <a:gd name="T1" fmla="*/ 32 h 95"/>
                  <a:gd name="T2" fmla="*/ 125 w 157"/>
                  <a:gd name="T3" fmla="*/ 32 h 95"/>
                  <a:gd name="T4" fmla="*/ 63 w 157"/>
                  <a:gd name="T5" fmla="*/ 0 h 95"/>
                  <a:gd name="T6" fmla="*/ 63 w 157"/>
                  <a:gd name="T7" fmla="*/ 0 h 95"/>
                  <a:gd name="T8" fmla="*/ 32 w 157"/>
                  <a:gd name="T9" fmla="*/ 0 h 95"/>
                  <a:gd name="T10" fmla="*/ 0 w 157"/>
                  <a:gd name="T11" fmla="*/ 32 h 95"/>
                  <a:gd name="T12" fmla="*/ 0 w 157"/>
                  <a:gd name="T13" fmla="*/ 32 h 95"/>
                  <a:gd name="T14" fmla="*/ 0 w 157"/>
                  <a:gd name="T15" fmla="*/ 32 h 95"/>
                  <a:gd name="T16" fmla="*/ 0 w 157"/>
                  <a:gd name="T17" fmla="*/ 32 h 95"/>
                  <a:gd name="T18" fmla="*/ 32 w 157"/>
                  <a:gd name="T19" fmla="*/ 63 h 95"/>
                  <a:gd name="T20" fmla="*/ 32 w 157"/>
                  <a:gd name="T21" fmla="*/ 63 h 95"/>
                  <a:gd name="T22" fmla="*/ 94 w 157"/>
                  <a:gd name="T23" fmla="*/ 94 h 95"/>
                  <a:gd name="T24" fmla="*/ 125 w 157"/>
                  <a:gd name="T25" fmla="*/ 94 h 95"/>
                  <a:gd name="T26" fmla="*/ 125 w 157"/>
                  <a:gd name="T27" fmla="*/ 94 h 95"/>
                  <a:gd name="T28" fmla="*/ 156 w 157"/>
                  <a:gd name="T29" fmla="*/ 94 h 95"/>
                  <a:gd name="T30" fmla="*/ 156 w 157"/>
                  <a:gd name="T31" fmla="*/ 63 h 95"/>
                  <a:gd name="T32" fmla="*/ 156 w 157"/>
                  <a:gd name="T33" fmla="*/ 63 h 95"/>
                  <a:gd name="T34" fmla="*/ 156 w 157"/>
                  <a:gd name="T35" fmla="*/ 32 h 95"/>
                  <a:gd name="T36" fmla="*/ 156 w 157"/>
                  <a:gd name="T37" fmla="*/ 32 h 95"/>
                  <a:gd name="T38" fmla="*/ 125 w 157"/>
                  <a:gd name="T39" fmla="*/ 3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95">
                    <a:moveTo>
                      <a:pt x="125" y="32"/>
                    </a:moveTo>
                    <a:lnTo>
                      <a:pt x="125" y="32"/>
                    </a:lnTo>
                    <a:cubicBezTo>
                      <a:pt x="94" y="32"/>
                      <a:pt x="94" y="32"/>
                      <a:pt x="63" y="0"/>
                    </a:cubicBezTo>
                    <a:lnTo>
                      <a:pt x="63" y="0"/>
                    </a:lnTo>
                    <a:lnTo>
                      <a:pt x="32" y="0"/>
                    </a:lnTo>
                    <a:cubicBezTo>
                      <a:pt x="32" y="0"/>
                      <a:pt x="32" y="0"/>
                      <a:pt x="0" y="32"/>
                    </a:cubicBezTo>
                    <a:lnTo>
                      <a:pt x="0" y="32"/>
                    </a:lnTo>
                    <a:lnTo>
                      <a:pt x="0" y="32"/>
                    </a:lnTo>
                    <a:lnTo>
                      <a:pt x="0" y="32"/>
                    </a:lnTo>
                    <a:cubicBezTo>
                      <a:pt x="0" y="32"/>
                      <a:pt x="0" y="63"/>
                      <a:pt x="32" y="63"/>
                    </a:cubicBezTo>
                    <a:lnTo>
                      <a:pt x="32" y="63"/>
                    </a:lnTo>
                    <a:cubicBezTo>
                      <a:pt x="63" y="63"/>
                      <a:pt x="94" y="63"/>
                      <a:pt x="94" y="94"/>
                    </a:cubicBezTo>
                    <a:lnTo>
                      <a:pt x="125" y="94"/>
                    </a:lnTo>
                    <a:lnTo>
                      <a:pt x="125" y="94"/>
                    </a:lnTo>
                    <a:lnTo>
                      <a:pt x="156" y="94"/>
                    </a:lnTo>
                    <a:lnTo>
                      <a:pt x="156" y="63"/>
                    </a:lnTo>
                    <a:lnTo>
                      <a:pt x="156" y="63"/>
                    </a:lnTo>
                    <a:lnTo>
                      <a:pt x="156" y="32"/>
                    </a:lnTo>
                    <a:lnTo>
                      <a:pt x="156" y="32"/>
                    </a:lnTo>
                    <a:lnTo>
                      <a:pt x="125" y="3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99" name="Freeform 96"/>
              <p:cNvSpPr>
                <a:spLocks noChangeArrowheads="1"/>
              </p:cNvSpPr>
              <p:nvPr/>
            </p:nvSpPr>
            <p:spPr bwMode="auto">
              <a:xfrm>
                <a:off x="4092575" y="1044575"/>
                <a:ext cx="190500" cy="212725"/>
              </a:xfrm>
              <a:custGeom>
                <a:avLst/>
                <a:gdLst>
                  <a:gd name="T0" fmla="*/ 372 w 528"/>
                  <a:gd name="T1" fmla="*/ 93 h 590"/>
                  <a:gd name="T2" fmla="*/ 372 w 528"/>
                  <a:gd name="T3" fmla="*/ 62 h 590"/>
                  <a:gd name="T4" fmla="*/ 372 w 528"/>
                  <a:gd name="T5" fmla="*/ 31 h 590"/>
                  <a:gd name="T6" fmla="*/ 372 w 528"/>
                  <a:gd name="T7" fmla="*/ 0 h 590"/>
                  <a:gd name="T8" fmla="*/ 372 w 528"/>
                  <a:gd name="T9" fmla="*/ 0 h 590"/>
                  <a:gd name="T10" fmla="*/ 310 w 528"/>
                  <a:gd name="T11" fmla="*/ 0 h 590"/>
                  <a:gd name="T12" fmla="*/ 310 w 528"/>
                  <a:gd name="T13" fmla="*/ 0 h 590"/>
                  <a:gd name="T14" fmla="*/ 279 w 528"/>
                  <a:gd name="T15" fmla="*/ 0 h 590"/>
                  <a:gd name="T16" fmla="*/ 248 w 528"/>
                  <a:gd name="T17" fmla="*/ 62 h 590"/>
                  <a:gd name="T18" fmla="*/ 217 w 528"/>
                  <a:gd name="T19" fmla="*/ 93 h 590"/>
                  <a:gd name="T20" fmla="*/ 154 w 528"/>
                  <a:gd name="T21" fmla="*/ 93 h 590"/>
                  <a:gd name="T22" fmla="*/ 124 w 528"/>
                  <a:gd name="T23" fmla="*/ 93 h 590"/>
                  <a:gd name="T24" fmla="*/ 154 w 528"/>
                  <a:gd name="T25" fmla="*/ 124 h 590"/>
                  <a:gd name="T26" fmla="*/ 154 w 528"/>
                  <a:gd name="T27" fmla="*/ 124 h 590"/>
                  <a:gd name="T28" fmla="*/ 154 w 528"/>
                  <a:gd name="T29" fmla="*/ 155 h 590"/>
                  <a:gd name="T30" fmla="*/ 186 w 528"/>
                  <a:gd name="T31" fmla="*/ 186 h 590"/>
                  <a:gd name="T32" fmla="*/ 186 w 528"/>
                  <a:gd name="T33" fmla="*/ 186 h 590"/>
                  <a:gd name="T34" fmla="*/ 154 w 528"/>
                  <a:gd name="T35" fmla="*/ 217 h 590"/>
                  <a:gd name="T36" fmla="*/ 248 w 528"/>
                  <a:gd name="T37" fmla="*/ 279 h 590"/>
                  <a:gd name="T38" fmla="*/ 217 w 528"/>
                  <a:gd name="T39" fmla="*/ 341 h 590"/>
                  <a:gd name="T40" fmla="*/ 186 w 528"/>
                  <a:gd name="T41" fmla="*/ 310 h 590"/>
                  <a:gd name="T42" fmla="*/ 124 w 528"/>
                  <a:gd name="T43" fmla="*/ 372 h 590"/>
                  <a:gd name="T44" fmla="*/ 93 w 528"/>
                  <a:gd name="T45" fmla="*/ 402 h 590"/>
                  <a:gd name="T46" fmla="*/ 62 w 528"/>
                  <a:gd name="T47" fmla="*/ 402 h 590"/>
                  <a:gd name="T48" fmla="*/ 31 w 528"/>
                  <a:gd name="T49" fmla="*/ 496 h 590"/>
                  <a:gd name="T50" fmla="*/ 31 w 528"/>
                  <a:gd name="T51" fmla="*/ 558 h 590"/>
                  <a:gd name="T52" fmla="*/ 31 w 528"/>
                  <a:gd name="T53" fmla="*/ 558 h 590"/>
                  <a:gd name="T54" fmla="*/ 62 w 528"/>
                  <a:gd name="T55" fmla="*/ 589 h 590"/>
                  <a:gd name="T56" fmla="*/ 93 w 528"/>
                  <a:gd name="T57" fmla="*/ 589 h 590"/>
                  <a:gd name="T58" fmla="*/ 154 w 528"/>
                  <a:gd name="T59" fmla="*/ 589 h 590"/>
                  <a:gd name="T60" fmla="*/ 186 w 528"/>
                  <a:gd name="T61" fmla="*/ 589 h 590"/>
                  <a:gd name="T62" fmla="*/ 217 w 528"/>
                  <a:gd name="T63" fmla="*/ 558 h 590"/>
                  <a:gd name="T64" fmla="*/ 279 w 528"/>
                  <a:gd name="T65" fmla="*/ 558 h 590"/>
                  <a:gd name="T66" fmla="*/ 279 w 528"/>
                  <a:gd name="T67" fmla="*/ 558 h 590"/>
                  <a:gd name="T68" fmla="*/ 310 w 528"/>
                  <a:gd name="T69" fmla="*/ 558 h 590"/>
                  <a:gd name="T70" fmla="*/ 341 w 528"/>
                  <a:gd name="T71" fmla="*/ 558 h 590"/>
                  <a:gd name="T72" fmla="*/ 372 w 528"/>
                  <a:gd name="T73" fmla="*/ 526 h 590"/>
                  <a:gd name="T74" fmla="*/ 403 w 528"/>
                  <a:gd name="T75" fmla="*/ 526 h 590"/>
                  <a:gd name="T76" fmla="*/ 434 w 528"/>
                  <a:gd name="T77" fmla="*/ 496 h 590"/>
                  <a:gd name="T78" fmla="*/ 527 w 528"/>
                  <a:gd name="T79" fmla="*/ 434 h 590"/>
                  <a:gd name="T80" fmla="*/ 527 w 528"/>
                  <a:gd name="T81" fmla="*/ 434 h 590"/>
                  <a:gd name="T82" fmla="*/ 527 w 528"/>
                  <a:gd name="T83" fmla="*/ 434 h 590"/>
                  <a:gd name="T84" fmla="*/ 496 w 528"/>
                  <a:gd name="T85" fmla="*/ 434 h 590"/>
                  <a:gd name="T86" fmla="*/ 465 w 528"/>
                  <a:gd name="T87" fmla="*/ 402 h 590"/>
                  <a:gd name="T88" fmla="*/ 434 w 528"/>
                  <a:gd name="T89" fmla="*/ 372 h 590"/>
                  <a:gd name="T90" fmla="*/ 465 w 528"/>
                  <a:gd name="T91" fmla="*/ 341 h 590"/>
                  <a:gd name="T92" fmla="*/ 434 w 528"/>
                  <a:gd name="T93" fmla="*/ 310 h 590"/>
                  <a:gd name="T94" fmla="*/ 434 w 528"/>
                  <a:gd name="T95" fmla="*/ 248 h 590"/>
                  <a:gd name="T96" fmla="*/ 434 w 528"/>
                  <a:gd name="T97" fmla="*/ 217 h 590"/>
                  <a:gd name="T98" fmla="*/ 434 w 528"/>
                  <a:gd name="T99" fmla="*/ 217 h 590"/>
                  <a:gd name="T100" fmla="*/ 403 w 528"/>
                  <a:gd name="T101" fmla="*/ 186 h 590"/>
                  <a:gd name="T102" fmla="*/ 403 w 528"/>
                  <a:gd name="T103" fmla="*/ 155 h 590"/>
                  <a:gd name="T104" fmla="*/ 403 w 528"/>
                  <a:gd name="T105" fmla="*/ 124 h 590"/>
                  <a:gd name="T106" fmla="*/ 403 w 528"/>
                  <a:gd name="T107" fmla="*/ 124 h 590"/>
                  <a:gd name="T108" fmla="*/ 403 w 528"/>
                  <a:gd name="T109" fmla="*/ 124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8" h="590">
                    <a:moveTo>
                      <a:pt x="372" y="93"/>
                    </a:moveTo>
                    <a:lnTo>
                      <a:pt x="372" y="93"/>
                    </a:lnTo>
                    <a:lnTo>
                      <a:pt x="372" y="93"/>
                    </a:lnTo>
                    <a:lnTo>
                      <a:pt x="372" y="62"/>
                    </a:lnTo>
                    <a:lnTo>
                      <a:pt x="372" y="62"/>
                    </a:lnTo>
                    <a:cubicBezTo>
                      <a:pt x="372" y="31"/>
                      <a:pt x="372" y="31"/>
                      <a:pt x="372" y="31"/>
                    </a:cubicBezTo>
                    <a:lnTo>
                      <a:pt x="372" y="31"/>
                    </a:lnTo>
                    <a:cubicBezTo>
                      <a:pt x="372" y="31"/>
                      <a:pt x="372" y="31"/>
                      <a:pt x="372" y="0"/>
                    </a:cubicBezTo>
                    <a:lnTo>
                      <a:pt x="372" y="0"/>
                    </a:lnTo>
                    <a:lnTo>
                      <a:pt x="372" y="0"/>
                    </a:lnTo>
                    <a:cubicBezTo>
                      <a:pt x="341" y="0"/>
                      <a:pt x="341" y="0"/>
                      <a:pt x="341" y="0"/>
                    </a:cubicBezTo>
                    <a:cubicBezTo>
                      <a:pt x="341" y="0"/>
                      <a:pt x="341" y="0"/>
                      <a:pt x="310" y="0"/>
                    </a:cubicBezTo>
                    <a:lnTo>
                      <a:pt x="310" y="0"/>
                    </a:lnTo>
                    <a:lnTo>
                      <a:pt x="310" y="0"/>
                    </a:lnTo>
                    <a:cubicBezTo>
                      <a:pt x="279" y="0"/>
                      <a:pt x="279" y="0"/>
                      <a:pt x="279" y="0"/>
                    </a:cubicBezTo>
                    <a:lnTo>
                      <a:pt x="279" y="0"/>
                    </a:lnTo>
                    <a:cubicBezTo>
                      <a:pt x="279" y="31"/>
                      <a:pt x="248" y="62"/>
                      <a:pt x="248" y="62"/>
                    </a:cubicBezTo>
                    <a:lnTo>
                      <a:pt x="248" y="62"/>
                    </a:lnTo>
                    <a:cubicBezTo>
                      <a:pt x="248" y="62"/>
                      <a:pt x="248" y="62"/>
                      <a:pt x="217" y="62"/>
                    </a:cubicBezTo>
                    <a:lnTo>
                      <a:pt x="217" y="93"/>
                    </a:lnTo>
                    <a:lnTo>
                      <a:pt x="186" y="93"/>
                    </a:lnTo>
                    <a:lnTo>
                      <a:pt x="154" y="93"/>
                    </a:lnTo>
                    <a:lnTo>
                      <a:pt x="154" y="93"/>
                    </a:lnTo>
                    <a:lnTo>
                      <a:pt x="124" y="93"/>
                    </a:lnTo>
                    <a:lnTo>
                      <a:pt x="124" y="93"/>
                    </a:lnTo>
                    <a:cubicBezTo>
                      <a:pt x="124" y="93"/>
                      <a:pt x="154" y="93"/>
                      <a:pt x="154" y="124"/>
                    </a:cubicBezTo>
                    <a:lnTo>
                      <a:pt x="154" y="124"/>
                    </a:lnTo>
                    <a:lnTo>
                      <a:pt x="154" y="124"/>
                    </a:lnTo>
                    <a:cubicBezTo>
                      <a:pt x="154" y="155"/>
                      <a:pt x="154" y="155"/>
                      <a:pt x="154" y="155"/>
                    </a:cubicBezTo>
                    <a:lnTo>
                      <a:pt x="154" y="155"/>
                    </a:lnTo>
                    <a:lnTo>
                      <a:pt x="154" y="155"/>
                    </a:lnTo>
                    <a:cubicBezTo>
                      <a:pt x="154" y="155"/>
                      <a:pt x="154" y="155"/>
                      <a:pt x="186" y="186"/>
                    </a:cubicBezTo>
                    <a:lnTo>
                      <a:pt x="186" y="186"/>
                    </a:lnTo>
                    <a:lnTo>
                      <a:pt x="186" y="186"/>
                    </a:lnTo>
                    <a:cubicBezTo>
                      <a:pt x="154" y="186"/>
                      <a:pt x="154" y="217"/>
                      <a:pt x="154" y="217"/>
                    </a:cubicBezTo>
                    <a:lnTo>
                      <a:pt x="154" y="217"/>
                    </a:lnTo>
                    <a:lnTo>
                      <a:pt x="186" y="217"/>
                    </a:lnTo>
                    <a:cubicBezTo>
                      <a:pt x="217" y="217"/>
                      <a:pt x="248" y="248"/>
                      <a:pt x="248" y="279"/>
                    </a:cubicBezTo>
                    <a:lnTo>
                      <a:pt x="248" y="310"/>
                    </a:lnTo>
                    <a:lnTo>
                      <a:pt x="217" y="341"/>
                    </a:lnTo>
                    <a:lnTo>
                      <a:pt x="186" y="310"/>
                    </a:lnTo>
                    <a:lnTo>
                      <a:pt x="186" y="310"/>
                    </a:lnTo>
                    <a:cubicBezTo>
                      <a:pt x="186" y="341"/>
                      <a:pt x="154" y="341"/>
                      <a:pt x="154" y="341"/>
                    </a:cubicBezTo>
                    <a:cubicBezTo>
                      <a:pt x="154" y="341"/>
                      <a:pt x="154" y="372"/>
                      <a:pt x="124" y="372"/>
                    </a:cubicBezTo>
                    <a:lnTo>
                      <a:pt x="124" y="372"/>
                    </a:lnTo>
                    <a:cubicBezTo>
                      <a:pt x="93" y="402"/>
                      <a:pt x="93" y="402"/>
                      <a:pt x="93" y="402"/>
                    </a:cubicBezTo>
                    <a:cubicBezTo>
                      <a:pt x="62" y="402"/>
                      <a:pt x="62" y="402"/>
                      <a:pt x="62" y="402"/>
                    </a:cubicBezTo>
                    <a:lnTo>
                      <a:pt x="62" y="402"/>
                    </a:lnTo>
                    <a:cubicBezTo>
                      <a:pt x="62" y="434"/>
                      <a:pt x="0" y="465"/>
                      <a:pt x="0" y="465"/>
                    </a:cubicBezTo>
                    <a:cubicBezTo>
                      <a:pt x="0" y="465"/>
                      <a:pt x="0" y="465"/>
                      <a:pt x="31" y="496"/>
                    </a:cubicBezTo>
                    <a:lnTo>
                      <a:pt x="31" y="496"/>
                    </a:lnTo>
                    <a:cubicBezTo>
                      <a:pt x="31" y="526"/>
                      <a:pt x="31" y="526"/>
                      <a:pt x="31" y="558"/>
                    </a:cubicBezTo>
                    <a:lnTo>
                      <a:pt x="31" y="558"/>
                    </a:lnTo>
                    <a:lnTo>
                      <a:pt x="31" y="558"/>
                    </a:lnTo>
                    <a:cubicBezTo>
                      <a:pt x="62" y="558"/>
                      <a:pt x="62" y="589"/>
                      <a:pt x="62" y="589"/>
                    </a:cubicBezTo>
                    <a:lnTo>
                      <a:pt x="62" y="589"/>
                    </a:lnTo>
                    <a:lnTo>
                      <a:pt x="62" y="589"/>
                    </a:lnTo>
                    <a:lnTo>
                      <a:pt x="93" y="589"/>
                    </a:lnTo>
                    <a:cubicBezTo>
                      <a:pt x="93" y="589"/>
                      <a:pt x="93" y="589"/>
                      <a:pt x="124" y="589"/>
                    </a:cubicBezTo>
                    <a:cubicBezTo>
                      <a:pt x="124" y="589"/>
                      <a:pt x="124" y="589"/>
                      <a:pt x="154" y="589"/>
                    </a:cubicBezTo>
                    <a:lnTo>
                      <a:pt x="154" y="589"/>
                    </a:lnTo>
                    <a:cubicBezTo>
                      <a:pt x="186" y="589"/>
                      <a:pt x="186" y="589"/>
                      <a:pt x="186" y="589"/>
                    </a:cubicBezTo>
                    <a:cubicBezTo>
                      <a:pt x="186" y="589"/>
                      <a:pt x="217" y="589"/>
                      <a:pt x="217" y="558"/>
                    </a:cubicBezTo>
                    <a:lnTo>
                      <a:pt x="217" y="558"/>
                    </a:lnTo>
                    <a:cubicBezTo>
                      <a:pt x="248" y="558"/>
                      <a:pt x="248" y="558"/>
                      <a:pt x="248" y="558"/>
                    </a:cubicBezTo>
                    <a:lnTo>
                      <a:pt x="279" y="558"/>
                    </a:lnTo>
                    <a:lnTo>
                      <a:pt x="279" y="558"/>
                    </a:lnTo>
                    <a:lnTo>
                      <a:pt x="279" y="558"/>
                    </a:lnTo>
                    <a:cubicBezTo>
                      <a:pt x="310" y="558"/>
                      <a:pt x="310" y="558"/>
                      <a:pt x="310" y="558"/>
                    </a:cubicBezTo>
                    <a:lnTo>
                      <a:pt x="310" y="558"/>
                    </a:lnTo>
                    <a:cubicBezTo>
                      <a:pt x="341" y="558"/>
                      <a:pt x="341" y="558"/>
                      <a:pt x="341" y="558"/>
                    </a:cubicBezTo>
                    <a:lnTo>
                      <a:pt x="341" y="558"/>
                    </a:lnTo>
                    <a:lnTo>
                      <a:pt x="341" y="558"/>
                    </a:lnTo>
                    <a:lnTo>
                      <a:pt x="372" y="526"/>
                    </a:lnTo>
                    <a:lnTo>
                      <a:pt x="372" y="526"/>
                    </a:lnTo>
                    <a:cubicBezTo>
                      <a:pt x="372" y="526"/>
                      <a:pt x="372" y="526"/>
                      <a:pt x="403" y="526"/>
                    </a:cubicBezTo>
                    <a:cubicBezTo>
                      <a:pt x="403" y="526"/>
                      <a:pt x="403" y="526"/>
                      <a:pt x="434" y="496"/>
                    </a:cubicBezTo>
                    <a:lnTo>
                      <a:pt x="434" y="496"/>
                    </a:lnTo>
                    <a:cubicBezTo>
                      <a:pt x="434" y="496"/>
                      <a:pt x="434" y="496"/>
                      <a:pt x="465" y="465"/>
                    </a:cubicBezTo>
                    <a:cubicBezTo>
                      <a:pt x="465" y="465"/>
                      <a:pt x="496" y="434"/>
                      <a:pt x="527" y="434"/>
                    </a:cubicBezTo>
                    <a:lnTo>
                      <a:pt x="527" y="434"/>
                    </a:lnTo>
                    <a:lnTo>
                      <a:pt x="527" y="434"/>
                    </a:lnTo>
                    <a:lnTo>
                      <a:pt x="527" y="434"/>
                    </a:lnTo>
                    <a:lnTo>
                      <a:pt x="527" y="434"/>
                    </a:lnTo>
                    <a:lnTo>
                      <a:pt x="527" y="434"/>
                    </a:lnTo>
                    <a:lnTo>
                      <a:pt x="496" y="434"/>
                    </a:lnTo>
                    <a:lnTo>
                      <a:pt x="496" y="402"/>
                    </a:lnTo>
                    <a:cubicBezTo>
                      <a:pt x="465" y="402"/>
                      <a:pt x="465" y="402"/>
                      <a:pt x="465" y="402"/>
                    </a:cubicBezTo>
                    <a:cubicBezTo>
                      <a:pt x="434" y="372"/>
                      <a:pt x="434" y="372"/>
                      <a:pt x="434" y="372"/>
                    </a:cubicBezTo>
                    <a:lnTo>
                      <a:pt x="434" y="372"/>
                    </a:lnTo>
                    <a:cubicBezTo>
                      <a:pt x="434" y="372"/>
                      <a:pt x="434" y="341"/>
                      <a:pt x="465" y="341"/>
                    </a:cubicBezTo>
                    <a:lnTo>
                      <a:pt x="465" y="341"/>
                    </a:lnTo>
                    <a:cubicBezTo>
                      <a:pt x="434" y="341"/>
                      <a:pt x="434" y="310"/>
                      <a:pt x="434" y="310"/>
                    </a:cubicBezTo>
                    <a:lnTo>
                      <a:pt x="434" y="310"/>
                    </a:lnTo>
                    <a:lnTo>
                      <a:pt x="434" y="279"/>
                    </a:lnTo>
                    <a:lnTo>
                      <a:pt x="434" y="248"/>
                    </a:lnTo>
                    <a:lnTo>
                      <a:pt x="434" y="248"/>
                    </a:lnTo>
                    <a:lnTo>
                      <a:pt x="434" y="217"/>
                    </a:lnTo>
                    <a:lnTo>
                      <a:pt x="434" y="217"/>
                    </a:lnTo>
                    <a:lnTo>
                      <a:pt x="434" y="217"/>
                    </a:lnTo>
                    <a:cubicBezTo>
                      <a:pt x="434" y="217"/>
                      <a:pt x="403" y="217"/>
                      <a:pt x="403" y="186"/>
                    </a:cubicBezTo>
                    <a:lnTo>
                      <a:pt x="403" y="186"/>
                    </a:lnTo>
                    <a:lnTo>
                      <a:pt x="403" y="186"/>
                    </a:lnTo>
                    <a:cubicBezTo>
                      <a:pt x="403" y="186"/>
                      <a:pt x="403" y="186"/>
                      <a:pt x="403" y="155"/>
                    </a:cubicBezTo>
                    <a:cubicBezTo>
                      <a:pt x="403" y="155"/>
                      <a:pt x="403" y="155"/>
                      <a:pt x="403" y="124"/>
                    </a:cubicBezTo>
                    <a:lnTo>
                      <a:pt x="403" y="124"/>
                    </a:lnTo>
                    <a:lnTo>
                      <a:pt x="403" y="124"/>
                    </a:lnTo>
                    <a:lnTo>
                      <a:pt x="403" y="124"/>
                    </a:lnTo>
                    <a:lnTo>
                      <a:pt x="403" y="124"/>
                    </a:lnTo>
                    <a:lnTo>
                      <a:pt x="403" y="124"/>
                    </a:lnTo>
                    <a:lnTo>
                      <a:pt x="372" y="93"/>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00" name="Freeform 97"/>
              <p:cNvSpPr>
                <a:spLocks noChangeArrowheads="1"/>
              </p:cNvSpPr>
              <p:nvPr/>
            </p:nvSpPr>
            <p:spPr bwMode="auto">
              <a:xfrm>
                <a:off x="4114800" y="1457325"/>
                <a:ext cx="334963" cy="157163"/>
              </a:xfrm>
              <a:custGeom>
                <a:avLst/>
                <a:gdLst>
                  <a:gd name="T0" fmla="*/ 682 w 931"/>
                  <a:gd name="T1" fmla="*/ 63 h 436"/>
                  <a:gd name="T2" fmla="*/ 682 w 931"/>
                  <a:gd name="T3" fmla="*/ 63 h 436"/>
                  <a:gd name="T4" fmla="*/ 620 w 931"/>
                  <a:gd name="T5" fmla="*/ 63 h 436"/>
                  <a:gd name="T6" fmla="*/ 589 w 931"/>
                  <a:gd name="T7" fmla="*/ 0 h 436"/>
                  <a:gd name="T8" fmla="*/ 527 w 931"/>
                  <a:gd name="T9" fmla="*/ 0 h 436"/>
                  <a:gd name="T10" fmla="*/ 496 w 931"/>
                  <a:gd name="T11" fmla="*/ 0 h 436"/>
                  <a:gd name="T12" fmla="*/ 465 w 931"/>
                  <a:gd name="T13" fmla="*/ 32 h 436"/>
                  <a:gd name="T14" fmla="*/ 434 w 931"/>
                  <a:gd name="T15" fmla="*/ 63 h 436"/>
                  <a:gd name="T16" fmla="*/ 372 w 931"/>
                  <a:gd name="T17" fmla="*/ 63 h 436"/>
                  <a:gd name="T18" fmla="*/ 341 w 931"/>
                  <a:gd name="T19" fmla="*/ 32 h 436"/>
                  <a:gd name="T20" fmla="*/ 310 w 931"/>
                  <a:gd name="T21" fmla="*/ 32 h 436"/>
                  <a:gd name="T22" fmla="*/ 279 w 931"/>
                  <a:gd name="T23" fmla="*/ 32 h 436"/>
                  <a:gd name="T24" fmla="*/ 248 w 931"/>
                  <a:gd name="T25" fmla="*/ 32 h 436"/>
                  <a:gd name="T26" fmla="*/ 186 w 931"/>
                  <a:gd name="T27" fmla="*/ 0 h 436"/>
                  <a:gd name="T28" fmla="*/ 92 w 931"/>
                  <a:gd name="T29" fmla="*/ 32 h 436"/>
                  <a:gd name="T30" fmla="*/ 92 w 931"/>
                  <a:gd name="T31" fmla="*/ 32 h 436"/>
                  <a:gd name="T32" fmla="*/ 92 w 931"/>
                  <a:gd name="T33" fmla="*/ 63 h 436"/>
                  <a:gd name="T34" fmla="*/ 62 w 931"/>
                  <a:gd name="T35" fmla="*/ 124 h 436"/>
                  <a:gd name="T36" fmla="*/ 31 w 931"/>
                  <a:gd name="T37" fmla="*/ 124 h 436"/>
                  <a:gd name="T38" fmla="*/ 31 w 931"/>
                  <a:gd name="T39" fmla="*/ 156 h 436"/>
                  <a:gd name="T40" fmla="*/ 0 w 931"/>
                  <a:gd name="T41" fmla="*/ 187 h 436"/>
                  <a:gd name="T42" fmla="*/ 0 w 931"/>
                  <a:gd name="T43" fmla="*/ 218 h 436"/>
                  <a:gd name="T44" fmla="*/ 0 w 931"/>
                  <a:gd name="T45" fmla="*/ 218 h 436"/>
                  <a:gd name="T46" fmla="*/ 92 w 931"/>
                  <a:gd name="T47" fmla="*/ 218 h 436"/>
                  <a:gd name="T48" fmla="*/ 155 w 931"/>
                  <a:gd name="T49" fmla="*/ 218 h 436"/>
                  <a:gd name="T50" fmla="*/ 217 w 931"/>
                  <a:gd name="T51" fmla="*/ 218 h 436"/>
                  <a:gd name="T52" fmla="*/ 217 w 931"/>
                  <a:gd name="T53" fmla="*/ 187 h 436"/>
                  <a:gd name="T54" fmla="*/ 248 w 931"/>
                  <a:gd name="T55" fmla="*/ 187 h 436"/>
                  <a:gd name="T56" fmla="*/ 248 w 931"/>
                  <a:gd name="T57" fmla="*/ 187 h 436"/>
                  <a:gd name="T58" fmla="*/ 310 w 931"/>
                  <a:gd name="T59" fmla="*/ 187 h 436"/>
                  <a:gd name="T60" fmla="*/ 341 w 931"/>
                  <a:gd name="T61" fmla="*/ 218 h 436"/>
                  <a:gd name="T62" fmla="*/ 403 w 931"/>
                  <a:gd name="T63" fmla="*/ 248 h 436"/>
                  <a:gd name="T64" fmla="*/ 434 w 931"/>
                  <a:gd name="T65" fmla="*/ 311 h 436"/>
                  <a:gd name="T66" fmla="*/ 496 w 931"/>
                  <a:gd name="T67" fmla="*/ 280 h 436"/>
                  <a:gd name="T68" fmla="*/ 527 w 931"/>
                  <a:gd name="T69" fmla="*/ 342 h 436"/>
                  <a:gd name="T70" fmla="*/ 589 w 931"/>
                  <a:gd name="T71" fmla="*/ 311 h 436"/>
                  <a:gd name="T72" fmla="*/ 651 w 931"/>
                  <a:gd name="T73" fmla="*/ 342 h 436"/>
                  <a:gd name="T74" fmla="*/ 620 w 931"/>
                  <a:gd name="T75" fmla="*/ 404 h 436"/>
                  <a:gd name="T76" fmla="*/ 651 w 931"/>
                  <a:gd name="T77" fmla="*/ 435 h 436"/>
                  <a:gd name="T78" fmla="*/ 682 w 931"/>
                  <a:gd name="T79" fmla="*/ 435 h 436"/>
                  <a:gd name="T80" fmla="*/ 682 w 931"/>
                  <a:gd name="T81" fmla="*/ 404 h 436"/>
                  <a:gd name="T82" fmla="*/ 651 w 931"/>
                  <a:gd name="T83" fmla="*/ 311 h 436"/>
                  <a:gd name="T84" fmla="*/ 713 w 931"/>
                  <a:gd name="T85" fmla="*/ 311 h 436"/>
                  <a:gd name="T86" fmla="*/ 775 w 931"/>
                  <a:gd name="T87" fmla="*/ 311 h 436"/>
                  <a:gd name="T88" fmla="*/ 837 w 931"/>
                  <a:gd name="T89" fmla="*/ 280 h 436"/>
                  <a:gd name="T90" fmla="*/ 868 w 931"/>
                  <a:gd name="T91" fmla="*/ 218 h 436"/>
                  <a:gd name="T92" fmla="*/ 930 w 931"/>
                  <a:gd name="T93" fmla="*/ 218 h 436"/>
                  <a:gd name="T94" fmla="*/ 930 w 931"/>
                  <a:gd name="T95" fmla="*/ 218 h 436"/>
                  <a:gd name="T96" fmla="*/ 930 w 931"/>
                  <a:gd name="T97" fmla="*/ 156 h 436"/>
                  <a:gd name="T98" fmla="*/ 930 w 931"/>
                  <a:gd name="T99" fmla="*/ 156 h 436"/>
                  <a:gd name="T100" fmla="*/ 868 w 931"/>
                  <a:gd name="T101" fmla="*/ 124 h 436"/>
                  <a:gd name="T102" fmla="*/ 837 w 931"/>
                  <a:gd name="T103" fmla="*/ 124 h 436"/>
                  <a:gd name="T104" fmla="*/ 806 w 931"/>
                  <a:gd name="T105" fmla="*/ 124 h 436"/>
                  <a:gd name="T106" fmla="*/ 775 w 931"/>
                  <a:gd name="T107" fmla="*/ 124 h 436"/>
                  <a:gd name="T108" fmla="*/ 744 w 931"/>
                  <a:gd name="T109" fmla="*/ 124 h 436"/>
                  <a:gd name="T110" fmla="*/ 713 w 931"/>
                  <a:gd name="T111" fmla="*/ 124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1" h="436">
                    <a:moveTo>
                      <a:pt x="682" y="94"/>
                    </a:moveTo>
                    <a:lnTo>
                      <a:pt x="682" y="94"/>
                    </a:lnTo>
                    <a:lnTo>
                      <a:pt x="682" y="63"/>
                    </a:lnTo>
                    <a:lnTo>
                      <a:pt x="682" y="63"/>
                    </a:lnTo>
                    <a:lnTo>
                      <a:pt x="682" y="63"/>
                    </a:lnTo>
                    <a:lnTo>
                      <a:pt x="682" y="63"/>
                    </a:lnTo>
                    <a:cubicBezTo>
                      <a:pt x="651" y="63"/>
                      <a:pt x="651" y="63"/>
                      <a:pt x="651" y="63"/>
                    </a:cubicBezTo>
                    <a:lnTo>
                      <a:pt x="620" y="63"/>
                    </a:lnTo>
                    <a:lnTo>
                      <a:pt x="620" y="63"/>
                    </a:lnTo>
                    <a:cubicBezTo>
                      <a:pt x="620" y="32"/>
                      <a:pt x="620" y="32"/>
                      <a:pt x="620" y="32"/>
                    </a:cubicBezTo>
                    <a:cubicBezTo>
                      <a:pt x="620" y="0"/>
                      <a:pt x="620" y="0"/>
                      <a:pt x="620" y="0"/>
                    </a:cubicBezTo>
                    <a:cubicBezTo>
                      <a:pt x="620" y="0"/>
                      <a:pt x="620" y="0"/>
                      <a:pt x="589" y="0"/>
                    </a:cubicBezTo>
                    <a:lnTo>
                      <a:pt x="589" y="0"/>
                    </a:lnTo>
                    <a:cubicBezTo>
                      <a:pt x="558" y="0"/>
                      <a:pt x="558" y="0"/>
                      <a:pt x="558" y="0"/>
                    </a:cubicBezTo>
                    <a:lnTo>
                      <a:pt x="527" y="0"/>
                    </a:lnTo>
                    <a:lnTo>
                      <a:pt x="527" y="0"/>
                    </a:lnTo>
                    <a:lnTo>
                      <a:pt x="527" y="0"/>
                    </a:lnTo>
                    <a:cubicBezTo>
                      <a:pt x="496" y="0"/>
                      <a:pt x="496" y="0"/>
                      <a:pt x="496" y="0"/>
                    </a:cubicBezTo>
                    <a:cubicBezTo>
                      <a:pt x="496" y="0"/>
                      <a:pt x="496" y="0"/>
                      <a:pt x="465" y="0"/>
                    </a:cubicBezTo>
                    <a:lnTo>
                      <a:pt x="465" y="0"/>
                    </a:lnTo>
                    <a:cubicBezTo>
                      <a:pt x="465" y="32"/>
                      <a:pt x="465" y="32"/>
                      <a:pt x="465" y="32"/>
                    </a:cubicBezTo>
                    <a:lnTo>
                      <a:pt x="465" y="32"/>
                    </a:lnTo>
                    <a:cubicBezTo>
                      <a:pt x="465" y="63"/>
                      <a:pt x="434" y="63"/>
                      <a:pt x="434" y="63"/>
                    </a:cubicBezTo>
                    <a:lnTo>
                      <a:pt x="434" y="63"/>
                    </a:lnTo>
                    <a:lnTo>
                      <a:pt x="434" y="63"/>
                    </a:lnTo>
                    <a:cubicBezTo>
                      <a:pt x="403" y="63"/>
                      <a:pt x="403" y="63"/>
                      <a:pt x="403" y="32"/>
                    </a:cubicBezTo>
                    <a:cubicBezTo>
                      <a:pt x="403" y="63"/>
                      <a:pt x="403" y="63"/>
                      <a:pt x="372" y="63"/>
                    </a:cubicBezTo>
                    <a:lnTo>
                      <a:pt x="372" y="63"/>
                    </a:lnTo>
                    <a:lnTo>
                      <a:pt x="372" y="32"/>
                    </a:lnTo>
                    <a:lnTo>
                      <a:pt x="341" y="32"/>
                    </a:lnTo>
                    <a:lnTo>
                      <a:pt x="341" y="32"/>
                    </a:lnTo>
                    <a:cubicBezTo>
                      <a:pt x="310" y="32"/>
                      <a:pt x="310" y="32"/>
                      <a:pt x="310" y="32"/>
                    </a:cubicBezTo>
                    <a:lnTo>
                      <a:pt x="310" y="32"/>
                    </a:lnTo>
                    <a:lnTo>
                      <a:pt x="310" y="32"/>
                    </a:lnTo>
                    <a:lnTo>
                      <a:pt x="279" y="32"/>
                    </a:lnTo>
                    <a:lnTo>
                      <a:pt x="279" y="32"/>
                    </a:lnTo>
                    <a:lnTo>
                      <a:pt x="279" y="32"/>
                    </a:lnTo>
                    <a:lnTo>
                      <a:pt x="248" y="32"/>
                    </a:lnTo>
                    <a:lnTo>
                      <a:pt x="248" y="32"/>
                    </a:lnTo>
                    <a:cubicBezTo>
                      <a:pt x="248" y="32"/>
                      <a:pt x="217" y="0"/>
                      <a:pt x="186" y="0"/>
                    </a:cubicBezTo>
                    <a:lnTo>
                      <a:pt x="186" y="0"/>
                    </a:lnTo>
                    <a:lnTo>
                      <a:pt x="186" y="0"/>
                    </a:lnTo>
                    <a:cubicBezTo>
                      <a:pt x="186" y="0"/>
                      <a:pt x="186" y="0"/>
                      <a:pt x="155" y="0"/>
                    </a:cubicBezTo>
                    <a:cubicBezTo>
                      <a:pt x="155" y="0"/>
                      <a:pt x="124" y="0"/>
                      <a:pt x="124" y="32"/>
                    </a:cubicBezTo>
                    <a:lnTo>
                      <a:pt x="92" y="32"/>
                    </a:lnTo>
                    <a:lnTo>
                      <a:pt x="92" y="32"/>
                    </a:lnTo>
                    <a:lnTo>
                      <a:pt x="92" y="32"/>
                    </a:lnTo>
                    <a:lnTo>
                      <a:pt x="92" y="32"/>
                    </a:lnTo>
                    <a:lnTo>
                      <a:pt x="92" y="63"/>
                    </a:lnTo>
                    <a:lnTo>
                      <a:pt x="92" y="63"/>
                    </a:lnTo>
                    <a:lnTo>
                      <a:pt x="92" y="63"/>
                    </a:lnTo>
                    <a:cubicBezTo>
                      <a:pt x="92" y="94"/>
                      <a:pt x="92" y="124"/>
                      <a:pt x="62" y="124"/>
                    </a:cubicBezTo>
                    <a:lnTo>
                      <a:pt x="62" y="124"/>
                    </a:lnTo>
                    <a:lnTo>
                      <a:pt x="62" y="124"/>
                    </a:lnTo>
                    <a:lnTo>
                      <a:pt x="62" y="124"/>
                    </a:lnTo>
                    <a:lnTo>
                      <a:pt x="31" y="124"/>
                    </a:lnTo>
                    <a:lnTo>
                      <a:pt x="31" y="124"/>
                    </a:lnTo>
                    <a:lnTo>
                      <a:pt x="31" y="124"/>
                    </a:lnTo>
                    <a:lnTo>
                      <a:pt x="31" y="156"/>
                    </a:lnTo>
                    <a:lnTo>
                      <a:pt x="31" y="156"/>
                    </a:lnTo>
                    <a:lnTo>
                      <a:pt x="31" y="156"/>
                    </a:lnTo>
                    <a:lnTo>
                      <a:pt x="31" y="187"/>
                    </a:lnTo>
                    <a:lnTo>
                      <a:pt x="0" y="187"/>
                    </a:lnTo>
                    <a:lnTo>
                      <a:pt x="0" y="187"/>
                    </a:lnTo>
                    <a:cubicBezTo>
                      <a:pt x="0" y="187"/>
                      <a:pt x="0" y="187"/>
                      <a:pt x="0" y="218"/>
                    </a:cubicBezTo>
                    <a:lnTo>
                      <a:pt x="0" y="218"/>
                    </a:lnTo>
                    <a:lnTo>
                      <a:pt x="0" y="218"/>
                    </a:lnTo>
                    <a:lnTo>
                      <a:pt x="0" y="218"/>
                    </a:lnTo>
                    <a:lnTo>
                      <a:pt x="0" y="218"/>
                    </a:lnTo>
                    <a:cubicBezTo>
                      <a:pt x="31" y="218"/>
                      <a:pt x="31" y="218"/>
                      <a:pt x="31" y="218"/>
                    </a:cubicBezTo>
                    <a:cubicBezTo>
                      <a:pt x="31" y="218"/>
                      <a:pt x="31" y="218"/>
                      <a:pt x="62" y="218"/>
                    </a:cubicBezTo>
                    <a:lnTo>
                      <a:pt x="92" y="218"/>
                    </a:lnTo>
                    <a:lnTo>
                      <a:pt x="92" y="218"/>
                    </a:lnTo>
                    <a:lnTo>
                      <a:pt x="124" y="218"/>
                    </a:lnTo>
                    <a:cubicBezTo>
                      <a:pt x="124" y="218"/>
                      <a:pt x="124" y="218"/>
                      <a:pt x="155" y="218"/>
                    </a:cubicBezTo>
                    <a:lnTo>
                      <a:pt x="155" y="218"/>
                    </a:lnTo>
                    <a:cubicBezTo>
                      <a:pt x="155" y="218"/>
                      <a:pt x="155" y="218"/>
                      <a:pt x="186" y="218"/>
                    </a:cubicBezTo>
                    <a:lnTo>
                      <a:pt x="217" y="218"/>
                    </a:lnTo>
                    <a:lnTo>
                      <a:pt x="217" y="218"/>
                    </a:lnTo>
                    <a:lnTo>
                      <a:pt x="217" y="218"/>
                    </a:lnTo>
                    <a:cubicBezTo>
                      <a:pt x="217" y="218"/>
                      <a:pt x="217" y="218"/>
                      <a:pt x="217" y="187"/>
                    </a:cubicBezTo>
                    <a:lnTo>
                      <a:pt x="217" y="187"/>
                    </a:lnTo>
                    <a:lnTo>
                      <a:pt x="217" y="187"/>
                    </a:lnTo>
                    <a:lnTo>
                      <a:pt x="248" y="187"/>
                    </a:lnTo>
                    <a:lnTo>
                      <a:pt x="248" y="187"/>
                    </a:lnTo>
                    <a:lnTo>
                      <a:pt x="248" y="187"/>
                    </a:lnTo>
                    <a:lnTo>
                      <a:pt x="248" y="187"/>
                    </a:lnTo>
                    <a:lnTo>
                      <a:pt x="248" y="187"/>
                    </a:lnTo>
                    <a:lnTo>
                      <a:pt x="279" y="187"/>
                    </a:lnTo>
                    <a:lnTo>
                      <a:pt x="310" y="187"/>
                    </a:lnTo>
                    <a:cubicBezTo>
                      <a:pt x="310" y="187"/>
                      <a:pt x="341" y="187"/>
                      <a:pt x="341" y="218"/>
                    </a:cubicBezTo>
                    <a:lnTo>
                      <a:pt x="341" y="218"/>
                    </a:lnTo>
                    <a:lnTo>
                      <a:pt x="341" y="218"/>
                    </a:lnTo>
                    <a:cubicBezTo>
                      <a:pt x="372" y="218"/>
                      <a:pt x="403" y="218"/>
                      <a:pt x="403" y="248"/>
                    </a:cubicBezTo>
                    <a:lnTo>
                      <a:pt x="403" y="248"/>
                    </a:lnTo>
                    <a:lnTo>
                      <a:pt x="403" y="248"/>
                    </a:lnTo>
                    <a:cubicBezTo>
                      <a:pt x="403" y="248"/>
                      <a:pt x="403" y="248"/>
                      <a:pt x="403" y="280"/>
                    </a:cubicBezTo>
                    <a:lnTo>
                      <a:pt x="403" y="280"/>
                    </a:lnTo>
                    <a:cubicBezTo>
                      <a:pt x="434" y="280"/>
                      <a:pt x="434" y="311"/>
                      <a:pt x="434" y="311"/>
                    </a:cubicBezTo>
                    <a:lnTo>
                      <a:pt x="434" y="311"/>
                    </a:lnTo>
                    <a:lnTo>
                      <a:pt x="434" y="311"/>
                    </a:lnTo>
                    <a:cubicBezTo>
                      <a:pt x="465" y="311"/>
                      <a:pt x="465" y="280"/>
                      <a:pt x="496" y="280"/>
                    </a:cubicBezTo>
                    <a:lnTo>
                      <a:pt x="496" y="280"/>
                    </a:lnTo>
                    <a:cubicBezTo>
                      <a:pt x="527" y="280"/>
                      <a:pt x="527" y="311"/>
                      <a:pt x="527" y="311"/>
                    </a:cubicBezTo>
                    <a:cubicBezTo>
                      <a:pt x="527" y="311"/>
                      <a:pt x="527" y="311"/>
                      <a:pt x="527" y="342"/>
                    </a:cubicBezTo>
                    <a:lnTo>
                      <a:pt x="527" y="342"/>
                    </a:lnTo>
                    <a:cubicBezTo>
                      <a:pt x="527" y="342"/>
                      <a:pt x="558" y="342"/>
                      <a:pt x="558" y="311"/>
                    </a:cubicBezTo>
                    <a:lnTo>
                      <a:pt x="589" y="311"/>
                    </a:lnTo>
                    <a:lnTo>
                      <a:pt x="589" y="311"/>
                    </a:lnTo>
                    <a:lnTo>
                      <a:pt x="620" y="342"/>
                    </a:lnTo>
                    <a:cubicBezTo>
                      <a:pt x="651" y="342"/>
                      <a:pt x="651" y="342"/>
                      <a:pt x="651" y="342"/>
                    </a:cubicBezTo>
                    <a:cubicBezTo>
                      <a:pt x="620" y="404"/>
                      <a:pt x="620" y="404"/>
                      <a:pt x="620" y="404"/>
                    </a:cubicBezTo>
                    <a:lnTo>
                      <a:pt x="620" y="404"/>
                    </a:lnTo>
                    <a:lnTo>
                      <a:pt x="620" y="404"/>
                    </a:lnTo>
                    <a:lnTo>
                      <a:pt x="620" y="404"/>
                    </a:lnTo>
                    <a:lnTo>
                      <a:pt x="620" y="435"/>
                    </a:lnTo>
                    <a:lnTo>
                      <a:pt x="651" y="435"/>
                    </a:lnTo>
                    <a:lnTo>
                      <a:pt x="651" y="435"/>
                    </a:lnTo>
                    <a:lnTo>
                      <a:pt x="651" y="435"/>
                    </a:lnTo>
                    <a:lnTo>
                      <a:pt x="682" y="435"/>
                    </a:lnTo>
                    <a:lnTo>
                      <a:pt x="682" y="435"/>
                    </a:lnTo>
                    <a:cubicBezTo>
                      <a:pt x="682" y="404"/>
                      <a:pt x="682" y="404"/>
                      <a:pt x="682" y="404"/>
                    </a:cubicBezTo>
                    <a:lnTo>
                      <a:pt x="682" y="404"/>
                    </a:lnTo>
                    <a:cubicBezTo>
                      <a:pt x="651" y="404"/>
                      <a:pt x="651" y="372"/>
                      <a:pt x="651" y="372"/>
                    </a:cubicBezTo>
                    <a:cubicBezTo>
                      <a:pt x="651" y="342"/>
                      <a:pt x="651" y="342"/>
                      <a:pt x="651" y="342"/>
                    </a:cubicBezTo>
                    <a:cubicBezTo>
                      <a:pt x="651" y="311"/>
                      <a:pt x="651" y="311"/>
                      <a:pt x="651" y="311"/>
                    </a:cubicBezTo>
                    <a:lnTo>
                      <a:pt x="651" y="311"/>
                    </a:lnTo>
                    <a:cubicBezTo>
                      <a:pt x="682" y="311"/>
                      <a:pt x="682" y="311"/>
                      <a:pt x="713" y="311"/>
                    </a:cubicBezTo>
                    <a:lnTo>
                      <a:pt x="713" y="311"/>
                    </a:lnTo>
                    <a:lnTo>
                      <a:pt x="744" y="311"/>
                    </a:lnTo>
                    <a:cubicBezTo>
                      <a:pt x="744" y="311"/>
                      <a:pt x="744" y="311"/>
                      <a:pt x="775" y="311"/>
                    </a:cubicBezTo>
                    <a:lnTo>
                      <a:pt x="775" y="311"/>
                    </a:lnTo>
                    <a:cubicBezTo>
                      <a:pt x="775" y="311"/>
                      <a:pt x="775" y="311"/>
                      <a:pt x="775" y="280"/>
                    </a:cubicBezTo>
                    <a:cubicBezTo>
                      <a:pt x="806" y="280"/>
                      <a:pt x="806" y="280"/>
                      <a:pt x="806" y="280"/>
                    </a:cubicBezTo>
                    <a:cubicBezTo>
                      <a:pt x="837" y="280"/>
                      <a:pt x="837" y="280"/>
                      <a:pt x="837" y="280"/>
                    </a:cubicBezTo>
                    <a:lnTo>
                      <a:pt x="837" y="280"/>
                    </a:lnTo>
                    <a:cubicBezTo>
                      <a:pt x="837" y="248"/>
                      <a:pt x="868" y="218"/>
                      <a:pt x="868" y="218"/>
                    </a:cubicBezTo>
                    <a:lnTo>
                      <a:pt x="868" y="218"/>
                    </a:lnTo>
                    <a:cubicBezTo>
                      <a:pt x="899" y="218"/>
                      <a:pt x="899" y="218"/>
                      <a:pt x="899" y="218"/>
                    </a:cubicBezTo>
                    <a:lnTo>
                      <a:pt x="930" y="218"/>
                    </a:lnTo>
                    <a:lnTo>
                      <a:pt x="930" y="218"/>
                    </a:lnTo>
                    <a:lnTo>
                      <a:pt x="930" y="218"/>
                    </a:lnTo>
                    <a:lnTo>
                      <a:pt x="930" y="218"/>
                    </a:lnTo>
                    <a:lnTo>
                      <a:pt x="930" y="218"/>
                    </a:lnTo>
                    <a:lnTo>
                      <a:pt x="930" y="187"/>
                    </a:lnTo>
                    <a:lnTo>
                      <a:pt x="930" y="187"/>
                    </a:lnTo>
                    <a:lnTo>
                      <a:pt x="930" y="156"/>
                    </a:lnTo>
                    <a:lnTo>
                      <a:pt x="930" y="156"/>
                    </a:lnTo>
                    <a:lnTo>
                      <a:pt x="930" y="156"/>
                    </a:lnTo>
                    <a:lnTo>
                      <a:pt x="930" y="156"/>
                    </a:lnTo>
                    <a:lnTo>
                      <a:pt x="930" y="156"/>
                    </a:lnTo>
                    <a:cubicBezTo>
                      <a:pt x="899" y="156"/>
                      <a:pt x="899" y="156"/>
                      <a:pt x="899" y="124"/>
                    </a:cubicBezTo>
                    <a:lnTo>
                      <a:pt x="868" y="124"/>
                    </a:lnTo>
                    <a:lnTo>
                      <a:pt x="868" y="124"/>
                    </a:lnTo>
                    <a:cubicBezTo>
                      <a:pt x="837" y="124"/>
                      <a:pt x="837" y="124"/>
                      <a:pt x="837" y="124"/>
                    </a:cubicBezTo>
                    <a:lnTo>
                      <a:pt x="837" y="124"/>
                    </a:lnTo>
                    <a:cubicBezTo>
                      <a:pt x="806" y="124"/>
                      <a:pt x="806" y="124"/>
                      <a:pt x="806" y="124"/>
                    </a:cubicBezTo>
                    <a:lnTo>
                      <a:pt x="806" y="124"/>
                    </a:lnTo>
                    <a:lnTo>
                      <a:pt x="806" y="124"/>
                    </a:lnTo>
                    <a:lnTo>
                      <a:pt x="806" y="124"/>
                    </a:lnTo>
                    <a:cubicBezTo>
                      <a:pt x="806" y="124"/>
                      <a:pt x="806" y="124"/>
                      <a:pt x="775" y="124"/>
                    </a:cubicBezTo>
                    <a:lnTo>
                      <a:pt x="775" y="124"/>
                    </a:lnTo>
                    <a:lnTo>
                      <a:pt x="775" y="124"/>
                    </a:lnTo>
                    <a:cubicBezTo>
                      <a:pt x="775" y="124"/>
                      <a:pt x="775" y="124"/>
                      <a:pt x="744" y="124"/>
                    </a:cubicBezTo>
                    <a:lnTo>
                      <a:pt x="744" y="124"/>
                    </a:lnTo>
                    <a:lnTo>
                      <a:pt x="744" y="124"/>
                    </a:lnTo>
                    <a:lnTo>
                      <a:pt x="744" y="124"/>
                    </a:lnTo>
                    <a:cubicBezTo>
                      <a:pt x="713" y="124"/>
                      <a:pt x="713" y="124"/>
                      <a:pt x="713" y="124"/>
                    </a:cubicBezTo>
                    <a:lnTo>
                      <a:pt x="713" y="124"/>
                    </a:lnTo>
                    <a:cubicBezTo>
                      <a:pt x="682" y="124"/>
                      <a:pt x="682" y="94"/>
                      <a:pt x="682" y="9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01" name="Freeform 98"/>
              <p:cNvSpPr>
                <a:spLocks noChangeArrowheads="1"/>
              </p:cNvSpPr>
              <p:nvPr/>
            </p:nvSpPr>
            <p:spPr bwMode="auto">
              <a:xfrm>
                <a:off x="4148138" y="1366838"/>
                <a:ext cx="146050" cy="88900"/>
              </a:xfrm>
              <a:custGeom>
                <a:avLst/>
                <a:gdLst>
                  <a:gd name="T0" fmla="*/ 373 w 405"/>
                  <a:gd name="T1" fmla="*/ 94 h 249"/>
                  <a:gd name="T2" fmla="*/ 342 w 405"/>
                  <a:gd name="T3" fmla="*/ 63 h 249"/>
                  <a:gd name="T4" fmla="*/ 342 w 405"/>
                  <a:gd name="T5" fmla="*/ 63 h 249"/>
                  <a:gd name="T6" fmla="*/ 342 w 405"/>
                  <a:gd name="T7" fmla="*/ 31 h 249"/>
                  <a:gd name="T8" fmla="*/ 311 w 405"/>
                  <a:gd name="T9" fmla="*/ 0 h 249"/>
                  <a:gd name="T10" fmla="*/ 280 w 405"/>
                  <a:gd name="T11" fmla="*/ 31 h 249"/>
                  <a:gd name="T12" fmla="*/ 249 w 405"/>
                  <a:gd name="T13" fmla="*/ 0 h 249"/>
                  <a:gd name="T14" fmla="*/ 218 w 405"/>
                  <a:gd name="T15" fmla="*/ 0 h 249"/>
                  <a:gd name="T16" fmla="*/ 218 w 405"/>
                  <a:gd name="T17" fmla="*/ 0 h 249"/>
                  <a:gd name="T18" fmla="*/ 156 w 405"/>
                  <a:gd name="T19" fmla="*/ 31 h 249"/>
                  <a:gd name="T20" fmla="*/ 156 w 405"/>
                  <a:gd name="T21" fmla="*/ 63 h 249"/>
                  <a:gd name="T22" fmla="*/ 94 w 405"/>
                  <a:gd name="T23" fmla="*/ 63 h 249"/>
                  <a:gd name="T24" fmla="*/ 94 w 405"/>
                  <a:gd name="T25" fmla="*/ 63 h 249"/>
                  <a:gd name="T26" fmla="*/ 94 w 405"/>
                  <a:gd name="T27" fmla="*/ 94 h 249"/>
                  <a:gd name="T28" fmla="*/ 63 w 405"/>
                  <a:gd name="T29" fmla="*/ 124 h 249"/>
                  <a:gd name="T30" fmla="*/ 32 w 405"/>
                  <a:gd name="T31" fmla="*/ 124 h 249"/>
                  <a:gd name="T32" fmla="*/ 0 w 405"/>
                  <a:gd name="T33" fmla="*/ 156 h 249"/>
                  <a:gd name="T34" fmla="*/ 0 w 405"/>
                  <a:gd name="T35" fmla="*/ 156 h 249"/>
                  <a:gd name="T36" fmla="*/ 0 w 405"/>
                  <a:gd name="T37" fmla="*/ 187 h 249"/>
                  <a:gd name="T38" fmla="*/ 0 w 405"/>
                  <a:gd name="T39" fmla="*/ 218 h 249"/>
                  <a:gd name="T40" fmla="*/ 0 w 405"/>
                  <a:gd name="T41" fmla="*/ 218 h 249"/>
                  <a:gd name="T42" fmla="*/ 0 w 405"/>
                  <a:gd name="T43" fmla="*/ 218 h 249"/>
                  <a:gd name="T44" fmla="*/ 94 w 405"/>
                  <a:gd name="T45" fmla="*/ 218 h 249"/>
                  <a:gd name="T46" fmla="*/ 187 w 405"/>
                  <a:gd name="T47" fmla="*/ 218 h 249"/>
                  <a:gd name="T48" fmla="*/ 187 w 405"/>
                  <a:gd name="T49" fmla="*/ 218 h 249"/>
                  <a:gd name="T50" fmla="*/ 218 w 405"/>
                  <a:gd name="T51" fmla="*/ 218 h 249"/>
                  <a:gd name="T52" fmla="*/ 249 w 405"/>
                  <a:gd name="T53" fmla="*/ 218 h 249"/>
                  <a:gd name="T54" fmla="*/ 249 w 405"/>
                  <a:gd name="T55" fmla="*/ 218 h 249"/>
                  <a:gd name="T56" fmla="*/ 280 w 405"/>
                  <a:gd name="T57" fmla="*/ 248 h 249"/>
                  <a:gd name="T58" fmla="*/ 280 w 405"/>
                  <a:gd name="T59" fmla="*/ 248 h 249"/>
                  <a:gd name="T60" fmla="*/ 311 w 405"/>
                  <a:gd name="T61" fmla="*/ 248 h 249"/>
                  <a:gd name="T62" fmla="*/ 311 w 405"/>
                  <a:gd name="T63" fmla="*/ 248 h 249"/>
                  <a:gd name="T64" fmla="*/ 342 w 405"/>
                  <a:gd name="T65" fmla="*/ 248 h 249"/>
                  <a:gd name="T66" fmla="*/ 342 w 405"/>
                  <a:gd name="T67" fmla="*/ 187 h 249"/>
                  <a:gd name="T68" fmla="*/ 373 w 405"/>
                  <a:gd name="T69" fmla="*/ 187 h 249"/>
                  <a:gd name="T70" fmla="*/ 373 w 405"/>
                  <a:gd name="T71" fmla="*/ 156 h 249"/>
                  <a:gd name="T72" fmla="*/ 373 w 405"/>
                  <a:gd name="T73" fmla="*/ 156 h 249"/>
                  <a:gd name="T74" fmla="*/ 373 w 405"/>
                  <a:gd name="T75" fmla="*/ 124 h 249"/>
                  <a:gd name="T76" fmla="*/ 404 w 405"/>
                  <a:gd name="T77" fmla="*/ 124 h 249"/>
                  <a:gd name="T78" fmla="*/ 373 w 405"/>
                  <a:gd name="T79" fmla="*/ 9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5" h="249">
                    <a:moveTo>
                      <a:pt x="373" y="94"/>
                    </a:moveTo>
                    <a:lnTo>
                      <a:pt x="373" y="94"/>
                    </a:lnTo>
                    <a:lnTo>
                      <a:pt x="373" y="94"/>
                    </a:lnTo>
                    <a:cubicBezTo>
                      <a:pt x="373" y="94"/>
                      <a:pt x="342" y="94"/>
                      <a:pt x="342" y="63"/>
                    </a:cubicBezTo>
                    <a:lnTo>
                      <a:pt x="342" y="63"/>
                    </a:lnTo>
                    <a:lnTo>
                      <a:pt x="342" y="63"/>
                    </a:lnTo>
                    <a:cubicBezTo>
                      <a:pt x="342" y="31"/>
                      <a:pt x="342" y="31"/>
                      <a:pt x="342" y="31"/>
                    </a:cubicBezTo>
                    <a:lnTo>
                      <a:pt x="342" y="31"/>
                    </a:lnTo>
                    <a:cubicBezTo>
                      <a:pt x="342" y="31"/>
                      <a:pt x="342" y="31"/>
                      <a:pt x="342" y="0"/>
                    </a:cubicBezTo>
                    <a:cubicBezTo>
                      <a:pt x="342" y="0"/>
                      <a:pt x="342" y="0"/>
                      <a:pt x="311" y="0"/>
                    </a:cubicBezTo>
                    <a:cubicBezTo>
                      <a:pt x="311" y="31"/>
                      <a:pt x="311" y="31"/>
                      <a:pt x="311" y="31"/>
                    </a:cubicBezTo>
                    <a:cubicBezTo>
                      <a:pt x="311" y="31"/>
                      <a:pt x="311" y="31"/>
                      <a:pt x="280" y="31"/>
                    </a:cubicBezTo>
                    <a:cubicBezTo>
                      <a:pt x="280" y="31"/>
                      <a:pt x="280" y="0"/>
                      <a:pt x="249" y="0"/>
                    </a:cubicBezTo>
                    <a:lnTo>
                      <a:pt x="249" y="0"/>
                    </a:lnTo>
                    <a:cubicBezTo>
                      <a:pt x="218" y="0"/>
                      <a:pt x="218" y="0"/>
                      <a:pt x="218" y="0"/>
                    </a:cubicBezTo>
                    <a:lnTo>
                      <a:pt x="218" y="0"/>
                    </a:lnTo>
                    <a:lnTo>
                      <a:pt x="218" y="0"/>
                    </a:lnTo>
                    <a:lnTo>
                      <a:pt x="218" y="0"/>
                    </a:lnTo>
                    <a:cubicBezTo>
                      <a:pt x="187" y="0"/>
                      <a:pt x="187" y="0"/>
                      <a:pt x="187" y="0"/>
                    </a:cubicBezTo>
                    <a:cubicBezTo>
                      <a:pt x="187" y="0"/>
                      <a:pt x="156" y="0"/>
                      <a:pt x="156" y="31"/>
                    </a:cubicBezTo>
                    <a:lnTo>
                      <a:pt x="156" y="31"/>
                    </a:lnTo>
                    <a:cubicBezTo>
                      <a:pt x="156" y="31"/>
                      <a:pt x="156" y="31"/>
                      <a:pt x="156" y="63"/>
                    </a:cubicBezTo>
                    <a:cubicBezTo>
                      <a:pt x="125" y="63"/>
                      <a:pt x="125" y="63"/>
                      <a:pt x="125" y="63"/>
                    </a:cubicBezTo>
                    <a:lnTo>
                      <a:pt x="94" y="63"/>
                    </a:lnTo>
                    <a:lnTo>
                      <a:pt x="94" y="63"/>
                    </a:lnTo>
                    <a:lnTo>
                      <a:pt x="94" y="63"/>
                    </a:lnTo>
                    <a:lnTo>
                      <a:pt x="94" y="94"/>
                    </a:lnTo>
                    <a:lnTo>
                      <a:pt x="94" y="94"/>
                    </a:lnTo>
                    <a:cubicBezTo>
                      <a:pt x="94" y="124"/>
                      <a:pt x="63" y="124"/>
                      <a:pt x="63" y="124"/>
                    </a:cubicBezTo>
                    <a:lnTo>
                      <a:pt x="63" y="124"/>
                    </a:lnTo>
                    <a:cubicBezTo>
                      <a:pt x="63" y="124"/>
                      <a:pt x="63" y="124"/>
                      <a:pt x="32" y="124"/>
                    </a:cubicBezTo>
                    <a:lnTo>
                      <a:pt x="32" y="124"/>
                    </a:lnTo>
                    <a:lnTo>
                      <a:pt x="32" y="124"/>
                    </a:lnTo>
                    <a:lnTo>
                      <a:pt x="0" y="156"/>
                    </a:lnTo>
                    <a:lnTo>
                      <a:pt x="0" y="156"/>
                    </a:lnTo>
                    <a:lnTo>
                      <a:pt x="0" y="156"/>
                    </a:lnTo>
                    <a:lnTo>
                      <a:pt x="0" y="156"/>
                    </a:lnTo>
                    <a:lnTo>
                      <a:pt x="0" y="187"/>
                    </a:lnTo>
                    <a:lnTo>
                      <a:pt x="0" y="218"/>
                    </a:lnTo>
                    <a:lnTo>
                      <a:pt x="0" y="218"/>
                    </a:lnTo>
                    <a:lnTo>
                      <a:pt x="0" y="218"/>
                    </a:lnTo>
                    <a:lnTo>
                      <a:pt x="0" y="218"/>
                    </a:lnTo>
                    <a:lnTo>
                      <a:pt x="0" y="218"/>
                    </a:lnTo>
                    <a:lnTo>
                      <a:pt x="0" y="218"/>
                    </a:lnTo>
                    <a:cubicBezTo>
                      <a:pt x="32" y="218"/>
                      <a:pt x="32" y="218"/>
                      <a:pt x="63" y="218"/>
                    </a:cubicBezTo>
                    <a:cubicBezTo>
                      <a:pt x="94" y="218"/>
                      <a:pt x="94" y="218"/>
                      <a:pt x="94" y="218"/>
                    </a:cubicBezTo>
                    <a:lnTo>
                      <a:pt x="94" y="218"/>
                    </a:lnTo>
                    <a:cubicBezTo>
                      <a:pt x="125" y="218"/>
                      <a:pt x="156" y="218"/>
                      <a:pt x="187" y="218"/>
                    </a:cubicBezTo>
                    <a:lnTo>
                      <a:pt x="187" y="218"/>
                    </a:lnTo>
                    <a:lnTo>
                      <a:pt x="187" y="218"/>
                    </a:lnTo>
                    <a:lnTo>
                      <a:pt x="187" y="218"/>
                    </a:lnTo>
                    <a:lnTo>
                      <a:pt x="218" y="218"/>
                    </a:lnTo>
                    <a:cubicBezTo>
                      <a:pt x="218" y="218"/>
                      <a:pt x="218" y="218"/>
                      <a:pt x="249" y="218"/>
                    </a:cubicBezTo>
                    <a:lnTo>
                      <a:pt x="249" y="218"/>
                    </a:lnTo>
                    <a:lnTo>
                      <a:pt x="249" y="218"/>
                    </a:lnTo>
                    <a:lnTo>
                      <a:pt x="249" y="218"/>
                    </a:lnTo>
                    <a:lnTo>
                      <a:pt x="249" y="218"/>
                    </a:lnTo>
                    <a:cubicBezTo>
                      <a:pt x="280" y="218"/>
                      <a:pt x="280" y="218"/>
                      <a:pt x="280" y="248"/>
                    </a:cubicBezTo>
                    <a:lnTo>
                      <a:pt x="280" y="248"/>
                    </a:lnTo>
                    <a:lnTo>
                      <a:pt x="280" y="248"/>
                    </a:lnTo>
                    <a:cubicBezTo>
                      <a:pt x="280" y="248"/>
                      <a:pt x="280" y="248"/>
                      <a:pt x="311" y="248"/>
                    </a:cubicBezTo>
                    <a:lnTo>
                      <a:pt x="311" y="248"/>
                    </a:lnTo>
                    <a:lnTo>
                      <a:pt x="311" y="248"/>
                    </a:lnTo>
                    <a:lnTo>
                      <a:pt x="311" y="248"/>
                    </a:lnTo>
                    <a:lnTo>
                      <a:pt x="311" y="248"/>
                    </a:lnTo>
                    <a:cubicBezTo>
                      <a:pt x="311" y="248"/>
                      <a:pt x="311" y="248"/>
                      <a:pt x="342" y="248"/>
                    </a:cubicBezTo>
                    <a:cubicBezTo>
                      <a:pt x="342" y="218"/>
                      <a:pt x="342" y="218"/>
                      <a:pt x="342" y="218"/>
                    </a:cubicBezTo>
                    <a:lnTo>
                      <a:pt x="342" y="187"/>
                    </a:lnTo>
                    <a:lnTo>
                      <a:pt x="373" y="187"/>
                    </a:lnTo>
                    <a:lnTo>
                      <a:pt x="373" y="187"/>
                    </a:lnTo>
                    <a:lnTo>
                      <a:pt x="373" y="187"/>
                    </a:lnTo>
                    <a:cubicBezTo>
                      <a:pt x="373" y="187"/>
                      <a:pt x="373" y="187"/>
                      <a:pt x="373" y="156"/>
                    </a:cubicBezTo>
                    <a:lnTo>
                      <a:pt x="373" y="156"/>
                    </a:lnTo>
                    <a:lnTo>
                      <a:pt x="373" y="156"/>
                    </a:lnTo>
                    <a:lnTo>
                      <a:pt x="373" y="156"/>
                    </a:lnTo>
                    <a:lnTo>
                      <a:pt x="373" y="124"/>
                    </a:lnTo>
                    <a:lnTo>
                      <a:pt x="373" y="124"/>
                    </a:lnTo>
                    <a:cubicBezTo>
                      <a:pt x="404" y="124"/>
                      <a:pt x="404" y="124"/>
                      <a:pt x="404" y="124"/>
                    </a:cubicBezTo>
                    <a:lnTo>
                      <a:pt x="404" y="124"/>
                    </a:lnTo>
                    <a:cubicBezTo>
                      <a:pt x="404" y="124"/>
                      <a:pt x="373" y="124"/>
                      <a:pt x="373" y="9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02" name="Freeform 99"/>
              <p:cNvSpPr>
                <a:spLocks noChangeArrowheads="1"/>
              </p:cNvSpPr>
              <p:nvPr/>
            </p:nvSpPr>
            <p:spPr bwMode="auto">
              <a:xfrm>
                <a:off x="3948113" y="809625"/>
                <a:ext cx="100012" cy="66675"/>
              </a:xfrm>
              <a:custGeom>
                <a:avLst/>
                <a:gdLst>
                  <a:gd name="T0" fmla="*/ 155 w 280"/>
                  <a:gd name="T1" fmla="*/ 31 h 187"/>
                  <a:gd name="T2" fmla="*/ 155 w 280"/>
                  <a:gd name="T3" fmla="*/ 31 h 187"/>
                  <a:gd name="T4" fmla="*/ 155 w 280"/>
                  <a:gd name="T5" fmla="*/ 62 h 187"/>
                  <a:gd name="T6" fmla="*/ 155 w 280"/>
                  <a:gd name="T7" fmla="*/ 93 h 187"/>
                  <a:gd name="T8" fmla="*/ 155 w 280"/>
                  <a:gd name="T9" fmla="*/ 124 h 187"/>
                  <a:gd name="T10" fmla="*/ 124 w 280"/>
                  <a:gd name="T11" fmla="*/ 124 h 187"/>
                  <a:gd name="T12" fmla="*/ 93 w 280"/>
                  <a:gd name="T13" fmla="*/ 124 h 187"/>
                  <a:gd name="T14" fmla="*/ 93 w 280"/>
                  <a:gd name="T15" fmla="*/ 124 h 187"/>
                  <a:gd name="T16" fmla="*/ 62 w 280"/>
                  <a:gd name="T17" fmla="*/ 124 h 187"/>
                  <a:gd name="T18" fmla="*/ 62 w 280"/>
                  <a:gd name="T19" fmla="*/ 124 h 187"/>
                  <a:gd name="T20" fmla="*/ 31 w 280"/>
                  <a:gd name="T21" fmla="*/ 155 h 187"/>
                  <a:gd name="T22" fmla="*/ 0 w 280"/>
                  <a:gd name="T23" fmla="*/ 155 h 187"/>
                  <a:gd name="T24" fmla="*/ 0 w 280"/>
                  <a:gd name="T25" fmla="*/ 155 h 187"/>
                  <a:gd name="T26" fmla="*/ 31 w 280"/>
                  <a:gd name="T27" fmla="*/ 155 h 187"/>
                  <a:gd name="T28" fmla="*/ 93 w 280"/>
                  <a:gd name="T29" fmla="*/ 186 h 187"/>
                  <a:gd name="T30" fmla="*/ 124 w 280"/>
                  <a:gd name="T31" fmla="*/ 186 h 187"/>
                  <a:gd name="T32" fmla="*/ 155 w 280"/>
                  <a:gd name="T33" fmla="*/ 155 h 187"/>
                  <a:gd name="T34" fmla="*/ 155 w 280"/>
                  <a:gd name="T35" fmla="*/ 155 h 187"/>
                  <a:gd name="T36" fmla="*/ 217 w 280"/>
                  <a:gd name="T37" fmla="*/ 124 h 187"/>
                  <a:gd name="T38" fmla="*/ 217 w 280"/>
                  <a:gd name="T39" fmla="*/ 124 h 187"/>
                  <a:gd name="T40" fmla="*/ 217 w 280"/>
                  <a:gd name="T41" fmla="*/ 93 h 187"/>
                  <a:gd name="T42" fmla="*/ 248 w 280"/>
                  <a:gd name="T43" fmla="*/ 93 h 187"/>
                  <a:gd name="T44" fmla="*/ 248 w 280"/>
                  <a:gd name="T45" fmla="*/ 93 h 187"/>
                  <a:gd name="T46" fmla="*/ 279 w 280"/>
                  <a:gd name="T47" fmla="*/ 62 h 187"/>
                  <a:gd name="T48" fmla="*/ 279 w 280"/>
                  <a:gd name="T49" fmla="*/ 62 h 187"/>
                  <a:gd name="T50" fmla="*/ 279 w 280"/>
                  <a:gd name="T51" fmla="*/ 62 h 187"/>
                  <a:gd name="T52" fmla="*/ 217 w 280"/>
                  <a:gd name="T53" fmla="*/ 31 h 187"/>
                  <a:gd name="T54" fmla="*/ 217 w 280"/>
                  <a:gd name="T55" fmla="*/ 31 h 187"/>
                  <a:gd name="T56" fmla="*/ 217 w 280"/>
                  <a:gd name="T57" fmla="*/ 31 h 187"/>
                  <a:gd name="T58" fmla="*/ 217 w 280"/>
                  <a:gd name="T59" fmla="*/ 31 h 187"/>
                  <a:gd name="T60" fmla="*/ 186 w 280"/>
                  <a:gd name="T61" fmla="*/ 0 h 187"/>
                  <a:gd name="T62" fmla="*/ 186 w 280"/>
                  <a:gd name="T63" fmla="*/ 0 h 187"/>
                  <a:gd name="T64" fmla="*/ 124 w 280"/>
                  <a:gd name="T65" fmla="*/ 0 h 187"/>
                  <a:gd name="T66" fmla="*/ 155 w 280"/>
                  <a:gd name="T67" fmla="*/ 3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 h="187">
                    <a:moveTo>
                      <a:pt x="155" y="31"/>
                    </a:moveTo>
                    <a:lnTo>
                      <a:pt x="155" y="31"/>
                    </a:lnTo>
                    <a:lnTo>
                      <a:pt x="155" y="62"/>
                    </a:lnTo>
                    <a:cubicBezTo>
                      <a:pt x="155" y="62"/>
                      <a:pt x="155" y="62"/>
                      <a:pt x="155" y="93"/>
                    </a:cubicBezTo>
                    <a:lnTo>
                      <a:pt x="155" y="124"/>
                    </a:lnTo>
                    <a:cubicBezTo>
                      <a:pt x="124" y="124"/>
                      <a:pt x="124" y="124"/>
                      <a:pt x="124" y="124"/>
                    </a:cubicBezTo>
                    <a:cubicBezTo>
                      <a:pt x="93" y="124"/>
                      <a:pt x="93" y="124"/>
                      <a:pt x="93" y="124"/>
                    </a:cubicBezTo>
                    <a:lnTo>
                      <a:pt x="93" y="124"/>
                    </a:lnTo>
                    <a:cubicBezTo>
                      <a:pt x="62" y="124"/>
                      <a:pt x="62" y="124"/>
                      <a:pt x="62" y="124"/>
                    </a:cubicBezTo>
                    <a:lnTo>
                      <a:pt x="62" y="124"/>
                    </a:lnTo>
                    <a:cubicBezTo>
                      <a:pt x="62" y="155"/>
                      <a:pt x="31" y="155"/>
                      <a:pt x="31" y="155"/>
                    </a:cubicBezTo>
                    <a:lnTo>
                      <a:pt x="0" y="155"/>
                    </a:lnTo>
                    <a:lnTo>
                      <a:pt x="0" y="155"/>
                    </a:lnTo>
                    <a:lnTo>
                      <a:pt x="31" y="155"/>
                    </a:lnTo>
                    <a:cubicBezTo>
                      <a:pt x="62" y="155"/>
                      <a:pt x="93" y="155"/>
                      <a:pt x="93" y="186"/>
                    </a:cubicBezTo>
                    <a:lnTo>
                      <a:pt x="124" y="186"/>
                    </a:lnTo>
                    <a:cubicBezTo>
                      <a:pt x="124" y="186"/>
                      <a:pt x="124" y="186"/>
                      <a:pt x="155" y="155"/>
                    </a:cubicBezTo>
                    <a:lnTo>
                      <a:pt x="155" y="155"/>
                    </a:lnTo>
                    <a:cubicBezTo>
                      <a:pt x="155" y="155"/>
                      <a:pt x="186" y="124"/>
                      <a:pt x="217" y="124"/>
                    </a:cubicBezTo>
                    <a:lnTo>
                      <a:pt x="217" y="124"/>
                    </a:lnTo>
                    <a:lnTo>
                      <a:pt x="217" y="93"/>
                    </a:lnTo>
                    <a:lnTo>
                      <a:pt x="248" y="93"/>
                    </a:lnTo>
                    <a:lnTo>
                      <a:pt x="248" y="93"/>
                    </a:lnTo>
                    <a:lnTo>
                      <a:pt x="279" y="62"/>
                    </a:lnTo>
                    <a:lnTo>
                      <a:pt x="279" y="62"/>
                    </a:lnTo>
                    <a:lnTo>
                      <a:pt x="279" y="62"/>
                    </a:lnTo>
                    <a:cubicBezTo>
                      <a:pt x="248" y="62"/>
                      <a:pt x="248" y="62"/>
                      <a:pt x="217" y="31"/>
                    </a:cubicBezTo>
                    <a:lnTo>
                      <a:pt x="217" y="31"/>
                    </a:lnTo>
                    <a:lnTo>
                      <a:pt x="217" y="31"/>
                    </a:lnTo>
                    <a:lnTo>
                      <a:pt x="217" y="31"/>
                    </a:lnTo>
                    <a:cubicBezTo>
                      <a:pt x="186" y="31"/>
                      <a:pt x="186" y="31"/>
                      <a:pt x="186" y="0"/>
                    </a:cubicBezTo>
                    <a:lnTo>
                      <a:pt x="186" y="0"/>
                    </a:lnTo>
                    <a:cubicBezTo>
                      <a:pt x="155" y="0"/>
                      <a:pt x="155" y="0"/>
                      <a:pt x="124" y="0"/>
                    </a:cubicBezTo>
                    <a:cubicBezTo>
                      <a:pt x="124" y="31"/>
                      <a:pt x="155" y="31"/>
                      <a:pt x="155"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03" name="Freeform 100"/>
              <p:cNvSpPr>
                <a:spLocks noChangeArrowheads="1"/>
              </p:cNvSpPr>
              <p:nvPr/>
            </p:nvSpPr>
            <p:spPr bwMode="auto">
              <a:xfrm>
                <a:off x="3890963" y="820738"/>
                <a:ext cx="77787" cy="11112"/>
              </a:xfrm>
              <a:custGeom>
                <a:avLst/>
                <a:gdLst>
                  <a:gd name="T0" fmla="*/ 31 w 218"/>
                  <a:gd name="T1" fmla="*/ 0 h 32"/>
                  <a:gd name="T2" fmla="*/ 31 w 218"/>
                  <a:gd name="T3" fmla="*/ 0 h 32"/>
                  <a:gd name="T4" fmla="*/ 62 w 218"/>
                  <a:gd name="T5" fmla="*/ 31 h 32"/>
                  <a:gd name="T6" fmla="*/ 93 w 218"/>
                  <a:gd name="T7" fmla="*/ 31 h 32"/>
                  <a:gd name="T8" fmla="*/ 93 w 218"/>
                  <a:gd name="T9" fmla="*/ 31 h 32"/>
                  <a:gd name="T10" fmla="*/ 93 w 218"/>
                  <a:gd name="T11" fmla="*/ 31 h 32"/>
                  <a:gd name="T12" fmla="*/ 124 w 218"/>
                  <a:gd name="T13" fmla="*/ 31 h 32"/>
                  <a:gd name="T14" fmla="*/ 124 w 218"/>
                  <a:gd name="T15" fmla="*/ 31 h 32"/>
                  <a:gd name="T16" fmla="*/ 186 w 218"/>
                  <a:gd name="T17" fmla="*/ 31 h 32"/>
                  <a:gd name="T18" fmla="*/ 186 w 218"/>
                  <a:gd name="T19" fmla="*/ 31 h 32"/>
                  <a:gd name="T20" fmla="*/ 217 w 218"/>
                  <a:gd name="T21" fmla="*/ 0 h 32"/>
                  <a:gd name="T22" fmla="*/ 217 w 218"/>
                  <a:gd name="T23" fmla="*/ 0 h 32"/>
                  <a:gd name="T24" fmla="*/ 186 w 218"/>
                  <a:gd name="T25" fmla="*/ 0 h 32"/>
                  <a:gd name="T26" fmla="*/ 186 w 218"/>
                  <a:gd name="T27" fmla="*/ 0 h 32"/>
                  <a:gd name="T28" fmla="*/ 124 w 218"/>
                  <a:gd name="T29" fmla="*/ 31 h 32"/>
                  <a:gd name="T30" fmla="*/ 93 w 218"/>
                  <a:gd name="T31" fmla="*/ 0 h 32"/>
                  <a:gd name="T32" fmla="*/ 93 w 218"/>
                  <a:gd name="T33" fmla="*/ 0 h 32"/>
                  <a:gd name="T34" fmla="*/ 93 w 218"/>
                  <a:gd name="T35" fmla="*/ 0 h 32"/>
                  <a:gd name="T36" fmla="*/ 62 w 218"/>
                  <a:gd name="T37" fmla="*/ 0 h 32"/>
                  <a:gd name="T38" fmla="*/ 31 w 218"/>
                  <a:gd name="T39" fmla="*/ 0 h 32"/>
                  <a:gd name="T40" fmla="*/ 0 w 218"/>
                  <a:gd name="T41" fmla="*/ 0 h 32"/>
                  <a:gd name="T42" fmla="*/ 0 w 218"/>
                  <a:gd name="T43" fmla="*/ 0 h 32"/>
                  <a:gd name="T44" fmla="*/ 31 w 218"/>
                  <a:gd name="T4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8" h="32">
                    <a:moveTo>
                      <a:pt x="31" y="0"/>
                    </a:moveTo>
                    <a:lnTo>
                      <a:pt x="31" y="0"/>
                    </a:lnTo>
                    <a:lnTo>
                      <a:pt x="62" y="31"/>
                    </a:lnTo>
                    <a:cubicBezTo>
                      <a:pt x="93" y="31"/>
                      <a:pt x="93" y="31"/>
                      <a:pt x="93" y="31"/>
                    </a:cubicBezTo>
                    <a:lnTo>
                      <a:pt x="93" y="31"/>
                    </a:lnTo>
                    <a:lnTo>
                      <a:pt x="93" y="31"/>
                    </a:lnTo>
                    <a:lnTo>
                      <a:pt x="124" y="31"/>
                    </a:lnTo>
                    <a:lnTo>
                      <a:pt x="124" y="31"/>
                    </a:lnTo>
                    <a:cubicBezTo>
                      <a:pt x="124" y="31"/>
                      <a:pt x="155" y="31"/>
                      <a:pt x="186" y="31"/>
                    </a:cubicBezTo>
                    <a:lnTo>
                      <a:pt x="186" y="31"/>
                    </a:lnTo>
                    <a:cubicBezTo>
                      <a:pt x="186" y="31"/>
                      <a:pt x="186" y="0"/>
                      <a:pt x="217" y="0"/>
                    </a:cubicBezTo>
                    <a:lnTo>
                      <a:pt x="217" y="0"/>
                    </a:lnTo>
                    <a:cubicBezTo>
                      <a:pt x="186" y="0"/>
                      <a:pt x="186" y="0"/>
                      <a:pt x="186" y="0"/>
                    </a:cubicBezTo>
                    <a:lnTo>
                      <a:pt x="186" y="0"/>
                    </a:lnTo>
                    <a:cubicBezTo>
                      <a:pt x="155" y="0"/>
                      <a:pt x="155" y="31"/>
                      <a:pt x="124" y="31"/>
                    </a:cubicBezTo>
                    <a:cubicBezTo>
                      <a:pt x="124" y="31"/>
                      <a:pt x="124" y="31"/>
                      <a:pt x="93" y="0"/>
                    </a:cubicBezTo>
                    <a:lnTo>
                      <a:pt x="93" y="0"/>
                    </a:lnTo>
                    <a:lnTo>
                      <a:pt x="93" y="0"/>
                    </a:lnTo>
                    <a:lnTo>
                      <a:pt x="62" y="0"/>
                    </a:lnTo>
                    <a:cubicBezTo>
                      <a:pt x="62" y="0"/>
                      <a:pt x="62" y="0"/>
                      <a:pt x="31" y="0"/>
                    </a:cubicBezTo>
                    <a:cubicBezTo>
                      <a:pt x="0" y="0"/>
                      <a:pt x="0" y="0"/>
                      <a:pt x="0" y="0"/>
                    </a:cubicBezTo>
                    <a:lnTo>
                      <a:pt x="0" y="0"/>
                    </a:lnTo>
                    <a:cubicBezTo>
                      <a:pt x="0" y="0"/>
                      <a:pt x="0" y="0"/>
                      <a:pt x="31"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04" name="Freeform 101"/>
              <p:cNvSpPr>
                <a:spLocks noChangeArrowheads="1"/>
              </p:cNvSpPr>
              <p:nvPr/>
            </p:nvSpPr>
            <p:spPr bwMode="auto">
              <a:xfrm>
                <a:off x="6469063" y="2728913"/>
                <a:ext cx="168275" cy="157162"/>
              </a:xfrm>
              <a:custGeom>
                <a:avLst/>
                <a:gdLst>
                  <a:gd name="T0" fmla="*/ 0 w 466"/>
                  <a:gd name="T1" fmla="*/ 217 h 435"/>
                  <a:gd name="T2" fmla="*/ 0 w 466"/>
                  <a:gd name="T3" fmla="*/ 248 h 435"/>
                  <a:gd name="T4" fmla="*/ 0 w 466"/>
                  <a:gd name="T5" fmla="*/ 372 h 435"/>
                  <a:gd name="T6" fmla="*/ 31 w 466"/>
                  <a:gd name="T7" fmla="*/ 372 h 435"/>
                  <a:gd name="T8" fmla="*/ 31 w 466"/>
                  <a:gd name="T9" fmla="*/ 372 h 435"/>
                  <a:gd name="T10" fmla="*/ 93 w 466"/>
                  <a:gd name="T11" fmla="*/ 372 h 435"/>
                  <a:gd name="T12" fmla="*/ 93 w 466"/>
                  <a:gd name="T13" fmla="*/ 372 h 435"/>
                  <a:gd name="T14" fmla="*/ 124 w 466"/>
                  <a:gd name="T15" fmla="*/ 341 h 435"/>
                  <a:gd name="T16" fmla="*/ 186 w 466"/>
                  <a:gd name="T17" fmla="*/ 279 h 435"/>
                  <a:gd name="T18" fmla="*/ 217 w 466"/>
                  <a:gd name="T19" fmla="*/ 279 h 435"/>
                  <a:gd name="T20" fmla="*/ 279 w 466"/>
                  <a:gd name="T21" fmla="*/ 279 h 435"/>
                  <a:gd name="T22" fmla="*/ 310 w 466"/>
                  <a:gd name="T23" fmla="*/ 341 h 435"/>
                  <a:gd name="T24" fmla="*/ 341 w 466"/>
                  <a:gd name="T25" fmla="*/ 372 h 435"/>
                  <a:gd name="T26" fmla="*/ 341 w 466"/>
                  <a:gd name="T27" fmla="*/ 372 h 435"/>
                  <a:gd name="T28" fmla="*/ 372 w 466"/>
                  <a:gd name="T29" fmla="*/ 403 h 435"/>
                  <a:gd name="T30" fmla="*/ 403 w 466"/>
                  <a:gd name="T31" fmla="*/ 403 h 435"/>
                  <a:gd name="T32" fmla="*/ 434 w 466"/>
                  <a:gd name="T33" fmla="*/ 434 h 435"/>
                  <a:gd name="T34" fmla="*/ 434 w 466"/>
                  <a:gd name="T35" fmla="*/ 403 h 435"/>
                  <a:gd name="T36" fmla="*/ 403 w 466"/>
                  <a:gd name="T37" fmla="*/ 372 h 435"/>
                  <a:gd name="T38" fmla="*/ 372 w 466"/>
                  <a:gd name="T39" fmla="*/ 341 h 435"/>
                  <a:gd name="T40" fmla="*/ 341 w 466"/>
                  <a:gd name="T41" fmla="*/ 279 h 435"/>
                  <a:gd name="T42" fmla="*/ 310 w 466"/>
                  <a:gd name="T43" fmla="*/ 217 h 435"/>
                  <a:gd name="T44" fmla="*/ 310 w 466"/>
                  <a:gd name="T45" fmla="*/ 186 h 435"/>
                  <a:gd name="T46" fmla="*/ 248 w 466"/>
                  <a:gd name="T47" fmla="*/ 155 h 435"/>
                  <a:gd name="T48" fmla="*/ 248 w 466"/>
                  <a:gd name="T49" fmla="*/ 93 h 435"/>
                  <a:gd name="T50" fmla="*/ 217 w 466"/>
                  <a:gd name="T51" fmla="*/ 62 h 435"/>
                  <a:gd name="T52" fmla="*/ 186 w 466"/>
                  <a:gd name="T53" fmla="*/ 62 h 435"/>
                  <a:gd name="T54" fmla="*/ 186 w 466"/>
                  <a:gd name="T55" fmla="*/ 62 h 435"/>
                  <a:gd name="T56" fmla="*/ 124 w 466"/>
                  <a:gd name="T57" fmla="*/ 31 h 435"/>
                  <a:gd name="T58" fmla="*/ 124 w 466"/>
                  <a:gd name="T59" fmla="*/ 31 h 435"/>
                  <a:gd name="T60" fmla="*/ 62 w 466"/>
                  <a:gd name="T61" fmla="*/ 0 h 435"/>
                  <a:gd name="T62" fmla="*/ 0 w 466"/>
                  <a:gd name="T63" fmla="*/ 186 h 435"/>
                  <a:gd name="T64" fmla="*/ 0 w 466"/>
                  <a:gd name="T65" fmla="*/ 186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6" h="435">
                    <a:moveTo>
                      <a:pt x="0" y="217"/>
                    </a:moveTo>
                    <a:lnTo>
                      <a:pt x="0" y="217"/>
                    </a:lnTo>
                    <a:cubicBezTo>
                      <a:pt x="0" y="217"/>
                      <a:pt x="0" y="217"/>
                      <a:pt x="0" y="248"/>
                    </a:cubicBezTo>
                    <a:lnTo>
                      <a:pt x="0" y="248"/>
                    </a:lnTo>
                    <a:cubicBezTo>
                      <a:pt x="0" y="248"/>
                      <a:pt x="0" y="248"/>
                      <a:pt x="0" y="310"/>
                    </a:cubicBezTo>
                    <a:cubicBezTo>
                      <a:pt x="0" y="310"/>
                      <a:pt x="0" y="341"/>
                      <a:pt x="0" y="372"/>
                    </a:cubicBezTo>
                    <a:lnTo>
                      <a:pt x="31" y="372"/>
                    </a:lnTo>
                    <a:lnTo>
                      <a:pt x="31" y="372"/>
                    </a:lnTo>
                    <a:lnTo>
                      <a:pt x="31" y="372"/>
                    </a:lnTo>
                    <a:lnTo>
                      <a:pt x="31" y="372"/>
                    </a:lnTo>
                    <a:cubicBezTo>
                      <a:pt x="62" y="372"/>
                      <a:pt x="62" y="372"/>
                      <a:pt x="62" y="372"/>
                    </a:cubicBezTo>
                    <a:lnTo>
                      <a:pt x="93" y="372"/>
                    </a:lnTo>
                    <a:lnTo>
                      <a:pt x="93" y="372"/>
                    </a:lnTo>
                    <a:lnTo>
                      <a:pt x="93" y="372"/>
                    </a:lnTo>
                    <a:lnTo>
                      <a:pt x="93" y="372"/>
                    </a:lnTo>
                    <a:cubicBezTo>
                      <a:pt x="93" y="341"/>
                      <a:pt x="124" y="341"/>
                      <a:pt x="124" y="341"/>
                    </a:cubicBezTo>
                    <a:cubicBezTo>
                      <a:pt x="124" y="341"/>
                      <a:pt x="124" y="341"/>
                      <a:pt x="124" y="310"/>
                    </a:cubicBezTo>
                    <a:cubicBezTo>
                      <a:pt x="155" y="279"/>
                      <a:pt x="186" y="279"/>
                      <a:pt x="186" y="279"/>
                    </a:cubicBezTo>
                    <a:cubicBezTo>
                      <a:pt x="186" y="279"/>
                      <a:pt x="186" y="279"/>
                      <a:pt x="217" y="279"/>
                    </a:cubicBezTo>
                    <a:lnTo>
                      <a:pt x="217" y="279"/>
                    </a:lnTo>
                    <a:cubicBezTo>
                      <a:pt x="248" y="279"/>
                      <a:pt x="248" y="279"/>
                      <a:pt x="248" y="279"/>
                    </a:cubicBezTo>
                    <a:lnTo>
                      <a:pt x="279" y="279"/>
                    </a:lnTo>
                    <a:cubicBezTo>
                      <a:pt x="310" y="310"/>
                      <a:pt x="310" y="310"/>
                      <a:pt x="310" y="310"/>
                    </a:cubicBezTo>
                    <a:lnTo>
                      <a:pt x="310" y="341"/>
                    </a:lnTo>
                    <a:lnTo>
                      <a:pt x="310" y="341"/>
                    </a:lnTo>
                    <a:cubicBezTo>
                      <a:pt x="341" y="341"/>
                      <a:pt x="341" y="341"/>
                      <a:pt x="341" y="372"/>
                    </a:cubicBezTo>
                    <a:lnTo>
                      <a:pt x="341" y="372"/>
                    </a:lnTo>
                    <a:lnTo>
                      <a:pt x="341" y="372"/>
                    </a:lnTo>
                    <a:cubicBezTo>
                      <a:pt x="372" y="372"/>
                      <a:pt x="372" y="403"/>
                      <a:pt x="372" y="403"/>
                    </a:cubicBezTo>
                    <a:lnTo>
                      <a:pt x="372" y="403"/>
                    </a:lnTo>
                    <a:lnTo>
                      <a:pt x="403" y="403"/>
                    </a:lnTo>
                    <a:lnTo>
                      <a:pt x="403" y="403"/>
                    </a:lnTo>
                    <a:lnTo>
                      <a:pt x="403" y="403"/>
                    </a:lnTo>
                    <a:lnTo>
                      <a:pt x="434" y="434"/>
                    </a:lnTo>
                    <a:cubicBezTo>
                      <a:pt x="465" y="434"/>
                      <a:pt x="465" y="434"/>
                      <a:pt x="465" y="434"/>
                    </a:cubicBezTo>
                    <a:cubicBezTo>
                      <a:pt x="434" y="434"/>
                      <a:pt x="434" y="403"/>
                      <a:pt x="434" y="403"/>
                    </a:cubicBezTo>
                    <a:lnTo>
                      <a:pt x="434" y="403"/>
                    </a:lnTo>
                    <a:cubicBezTo>
                      <a:pt x="434" y="403"/>
                      <a:pt x="403" y="403"/>
                      <a:pt x="403" y="372"/>
                    </a:cubicBezTo>
                    <a:lnTo>
                      <a:pt x="372" y="372"/>
                    </a:lnTo>
                    <a:cubicBezTo>
                      <a:pt x="372" y="341"/>
                      <a:pt x="372" y="341"/>
                      <a:pt x="372" y="341"/>
                    </a:cubicBezTo>
                    <a:cubicBezTo>
                      <a:pt x="372" y="310"/>
                      <a:pt x="341" y="310"/>
                      <a:pt x="341" y="310"/>
                    </a:cubicBezTo>
                    <a:lnTo>
                      <a:pt x="341" y="279"/>
                    </a:lnTo>
                    <a:cubicBezTo>
                      <a:pt x="310" y="279"/>
                      <a:pt x="310" y="248"/>
                      <a:pt x="310" y="248"/>
                    </a:cubicBezTo>
                    <a:cubicBezTo>
                      <a:pt x="310" y="217"/>
                      <a:pt x="310" y="217"/>
                      <a:pt x="310" y="217"/>
                    </a:cubicBezTo>
                    <a:cubicBezTo>
                      <a:pt x="310" y="186"/>
                      <a:pt x="310" y="186"/>
                      <a:pt x="341" y="186"/>
                    </a:cubicBezTo>
                    <a:cubicBezTo>
                      <a:pt x="310" y="186"/>
                      <a:pt x="310" y="186"/>
                      <a:pt x="310" y="186"/>
                    </a:cubicBezTo>
                    <a:cubicBezTo>
                      <a:pt x="310" y="186"/>
                      <a:pt x="310" y="186"/>
                      <a:pt x="279" y="186"/>
                    </a:cubicBezTo>
                    <a:cubicBezTo>
                      <a:pt x="279" y="186"/>
                      <a:pt x="248" y="186"/>
                      <a:pt x="248" y="155"/>
                    </a:cubicBezTo>
                    <a:lnTo>
                      <a:pt x="248" y="124"/>
                    </a:lnTo>
                    <a:cubicBezTo>
                      <a:pt x="248" y="124"/>
                      <a:pt x="248" y="124"/>
                      <a:pt x="248" y="93"/>
                    </a:cubicBezTo>
                    <a:lnTo>
                      <a:pt x="248" y="93"/>
                    </a:lnTo>
                    <a:cubicBezTo>
                      <a:pt x="217" y="93"/>
                      <a:pt x="217" y="93"/>
                      <a:pt x="217" y="62"/>
                    </a:cubicBezTo>
                    <a:cubicBezTo>
                      <a:pt x="186" y="62"/>
                      <a:pt x="186" y="62"/>
                      <a:pt x="186" y="62"/>
                    </a:cubicBezTo>
                    <a:lnTo>
                      <a:pt x="186" y="62"/>
                    </a:lnTo>
                    <a:lnTo>
                      <a:pt x="186" y="62"/>
                    </a:lnTo>
                    <a:lnTo>
                      <a:pt x="186" y="62"/>
                    </a:lnTo>
                    <a:lnTo>
                      <a:pt x="186" y="62"/>
                    </a:lnTo>
                    <a:cubicBezTo>
                      <a:pt x="155" y="62"/>
                      <a:pt x="155" y="62"/>
                      <a:pt x="124" y="31"/>
                    </a:cubicBezTo>
                    <a:lnTo>
                      <a:pt x="124" y="31"/>
                    </a:lnTo>
                    <a:lnTo>
                      <a:pt x="124" y="31"/>
                    </a:lnTo>
                    <a:cubicBezTo>
                      <a:pt x="93" y="31"/>
                      <a:pt x="93" y="31"/>
                      <a:pt x="93" y="31"/>
                    </a:cubicBezTo>
                    <a:lnTo>
                      <a:pt x="62" y="0"/>
                    </a:lnTo>
                    <a:cubicBezTo>
                      <a:pt x="62" y="0"/>
                      <a:pt x="31" y="0"/>
                      <a:pt x="0" y="0"/>
                    </a:cubicBezTo>
                    <a:cubicBezTo>
                      <a:pt x="0" y="186"/>
                      <a:pt x="0" y="186"/>
                      <a:pt x="0" y="186"/>
                    </a:cubicBezTo>
                    <a:cubicBezTo>
                      <a:pt x="31" y="186"/>
                      <a:pt x="31" y="186"/>
                      <a:pt x="31" y="186"/>
                    </a:cubicBezTo>
                    <a:cubicBezTo>
                      <a:pt x="0" y="186"/>
                      <a:pt x="0" y="186"/>
                      <a:pt x="0" y="186"/>
                    </a:cubicBezTo>
                    <a:lnTo>
                      <a:pt x="0" y="217"/>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05" name="Freeform 102"/>
              <p:cNvSpPr>
                <a:spLocks noChangeArrowheads="1"/>
              </p:cNvSpPr>
              <p:nvPr/>
            </p:nvSpPr>
            <p:spPr bwMode="auto">
              <a:xfrm>
                <a:off x="4605338" y="1377950"/>
                <a:ext cx="781050" cy="323850"/>
              </a:xfrm>
              <a:custGeom>
                <a:avLst/>
                <a:gdLst>
                  <a:gd name="T0" fmla="*/ 61 w 2170"/>
                  <a:gd name="T1" fmla="*/ 497 h 901"/>
                  <a:gd name="T2" fmla="*/ 185 w 2170"/>
                  <a:gd name="T3" fmla="*/ 497 h 901"/>
                  <a:gd name="T4" fmla="*/ 309 w 2170"/>
                  <a:gd name="T5" fmla="*/ 497 h 901"/>
                  <a:gd name="T6" fmla="*/ 309 w 2170"/>
                  <a:gd name="T7" fmla="*/ 652 h 901"/>
                  <a:gd name="T8" fmla="*/ 248 w 2170"/>
                  <a:gd name="T9" fmla="*/ 745 h 901"/>
                  <a:gd name="T10" fmla="*/ 341 w 2170"/>
                  <a:gd name="T11" fmla="*/ 806 h 901"/>
                  <a:gd name="T12" fmla="*/ 620 w 2170"/>
                  <a:gd name="T13" fmla="*/ 589 h 901"/>
                  <a:gd name="T14" fmla="*/ 775 w 2170"/>
                  <a:gd name="T15" fmla="*/ 589 h 901"/>
                  <a:gd name="T16" fmla="*/ 805 w 2170"/>
                  <a:gd name="T17" fmla="*/ 713 h 901"/>
                  <a:gd name="T18" fmla="*/ 929 w 2170"/>
                  <a:gd name="T19" fmla="*/ 713 h 901"/>
                  <a:gd name="T20" fmla="*/ 1023 w 2170"/>
                  <a:gd name="T21" fmla="*/ 745 h 901"/>
                  <a:gd name="T22" fmla="*/ 1116 w 2170"/>
                  <a:gd name="T23" fmla="*/ 869 h 901"/>
                  <a:gd name="T24" fmla="*/ 1177 w 2170"/>
                  <a:gd name="T25" fmla="*/ 900 h 901"/>
                  <a:gd name="T26" fmla="*/ 1177 w 2170"/>
                  <a:gd name="T27" fmla="*/ 869 h 901"/>
                  <a:gd name="T28" fmla="*/ 1271 w 2170"/>
                  <a:gd name="T29" fmla="*/ 806 h 901"/>
                  <a:gd name="T30" fmla="*/ 1425 w 2170"/>
                  <a:gd name="T31" fmla="*/ 745 h 901"/>
                  <a:gd name="T32" fmla="*/ 1581 w 2170"/>
                  <a:gd name="T33" fmla="*/ 745 h 901"/>
                  <a:gd name="T34" fmla="*/ 1673 w 2170"/>
                  <a:gd name="T35" fmla="*/ 745 h 901"/>
                  <a:gd name="T36" fmla="*/ 1797 w 2170"/>
                  <a:gd name="T37" fmla="*/ 776 h 901"/>
                  <a:gd name="T38" fmla="*/ 1829 w 2170"/>
                  <a:gd name="T39" fmla="*/ 745 h 901"/>
                  <a:gd name="T40" fmla="*/ 1766 w 2170"/>
                  <a:gd name="T41" fmla="*/ 652 h 901"/>
                  <a:gd name="T42" fmla="*/ 1860 w 2170"/>
                  <a:gd name="T43" fmla="*/ 621 h 901"/>
                  <a:gd name="T44" fmla="*/ 1921 w 2170"/>
                  <a:gd name="T45" fmla="*/ 559 h 901"/>
                  <a:gd name="T46" fmla="*/ 2014 w 2170"/>
                  <a:gd name="T47" fmla="*/ 497 h 901"/>
                  <a:gd name="T48" fmla="*/ 2108 w 2170"/>
                  <a:gd name="T49" fmla="*/ 497 h 901"/>
                  <a:gd name="T50" fmla="*/ 2169 w 2170"/>
                  <a:gd name="T51" fmla="*/ 373 h 901"/>
                  <a:gd name="T52" fmla="*/ 2077 w 2170"/>
                  <a:gd name="T53" fmla="*/ 373 h 901"/>
                  <a:gd name="T54" fmla="*/ 2014 w 2170"/>
                  <a:gd name="T55" fmla="*/ 311 h 901"/>
                  <a:gd name="T56" fmla="*/ 1921 w 2170"/>
                  <a:gd name="T57" fmla="*/ 311 h 901"/>
                  <a:gd name="T58" fmla="*/ 1860 w 2170"/>
                  <a:gd name="T59" fmla="*/ 280 h 901"/>
                  <a:gd name="T60" fmla="*/ 1766 w 2170"/>
                  <a:gd name="T61" fmla="*/ 280 h 901"/>
                  <a:gd name="T62" fmla="*/ 1642 w 2170"/>
                  <a:gd name="T63" fmla="*/ 125 h 901"/>
                  <a:gd name="T64" fmla="*/ 1549 w 2170"/>
                  <a:gd name="T65" fmla="*/ 93 h 901"/>
                  <a:gd name="T66" fmla="*/ 1457 w 2170"/>
                  <a:gd name="T67" fmla="*/ 125 h 901"/>
                  <a:gd name="T68" fmla="*/ 1394 w 2170"/>
                  <a:gd name="T69" fmla="*/ 93 h 901"/>
                  <a:gd name="T70" fmla="*/ 1364 w 2170"/>
                  <a:gd name="T71" fmla="*/ 93 h 901"/>
                  <a:gd name="T72" fmla="*/ 1271 w 2170"/>
                  <a:gd name="T73" fmla="*/ 32 h 901"/>
                  <a:gd name="T74" fmla="*/ 1208 w 2170"/>
                  <a:gd name="T75" fmla="*/ 0 h 901"/>
                  <a:gd name="T76" fmla="*/ 1053 w 2170"/>
                  <a:gd name="T77" fmla="*/ 63 h 901"/>
                  <a:gd name="T78" fmla="*/ 992 w 2170"/>
                  <a:gd name="T79" fmla="*/ 93 h 901"/>
                  <a:gd name="T80" fmla="*/ 837 w 2170"/>
                  <a:gd name="T81" fmla="*/ 93 h 901"/>
                  <a:gd name="T82" fmla="*/ 805 w 2170"/>
                  <a:gd name="T83" fmla="*/ 125 h 901"/>
                  <a:gd name="T84" fmla="*/ 775 w 2170"/>
                  <a:gd name="T85" fmla="*/ 187 h 901"/>
                  <a:gd name="T86" fmla="*/ 775 w 2170"/>
                  <a:gd name="T87" fmla="*/ 311 h 901"/>
                  <a:gd name="T88" fmla="*/ 713 w 2170"/>
                  <a:gd name="T89" fmla="*/ 311 h 901"/>
                  <a:gd name="T90" fmla="*/ 620 w 2170"/>
                  <a:gd name="T91" fmla="*/ 280 h 901"/>
                  <a:gd name="T92" fmla="*/ 557 w 2170"/>
                  <a:gd name="T93" fmla="*/ 311 h 901"/>
                  <a:gd name="T94" fmla="*/ 465 w 2170"/>
                  <a:gd name="T95" fmla="*/ 311 h 901"/>
                  <a:gd name="T96" fmla="*/ 403 w 2170"/>
                  <a:gd name="T97" fmla="*/ 311 h 901"/>
                  <a:gd name="T98" fmla="*/ 341 w 2170"/>
                  <a:gd name="T99" fmla="*/ 249 h 901"/>
                  <a:gd name="T100" fmla="*/ 279 w 2170"/>
                  <a:gd name="T101" fmla="*/ 249 h 901"/>
                  <a:gd name="T102" fmla="*/ 217 w 2170"/>
                  <a:gd name="T103" fmla="*/ 249 h 901"/>
                  <a:gd name="T104" fmla="*/ 185 w 2170"/>
                  <a:gd name="T105" fmla="*/ 249 h 901"/>
                  <a:gd name="T106" fmla="*/ 124 w 2170"/>
                  <a:gd name="T107" fmla="*/ 280 h 901"/>
                  <a:gd name="T108" fmla="*/ 93 w 2170"/>
                  <a:gd name="T109" fmla="*/ 341 h 901"/>
                  <a:gd name="T110" fmla="*/ 31 w 2170"/>
                  <a:gd name="T111" fmla="*/ 341 h 901"/>
                  <a:gd name="T112" fmla="*/ 0 w 2170"/>
                  <a:gd name="T113" fmla="*/ 373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70" h="901">
                    <a:moveTo>
                      <a:pt x="0" y="404"/>
                    </a:moveTo>
                    <a:lnTo>
                      <a:pt x="0" y="404"/>
                    </a:lnTo>
                    <a:cubicBezTo>
                      <a:pt x="0" y="435"/>
                      <a:pt x="0" y="435"/>
                      <a:pt x="0" y="435"/>
                    </a:cubicBezTo>
                    <a:lnTo>
                      <a:pt x="0" y="435"/>
                    </a:lnTo>
                    <a:cubicBezTo>
                      <a:pt x="31" y="435"/>
                      <a:pt x="31" y="435"/>
                      <a:pt x="31" y="435"/>
                    </a:cubicBezTo>
                    <a:lnTo>
                      <a:pt x="61" y="465"/>
                    </a:lnTo>
                    <a:cubicBezTo>
                      <a:pt x="61" y="465"/>
                      <a:pt x="61" y="465"/>
                      <a:pt x="61" y="497"/>
                    </a:cubicBezTo>
                    <a:lnTo>
                      <a:pt x="93" y="497"/>
                    </a:lnTo>
                    <a:cubicBezTo>
                      <a:pt x="124" y="497"/>
                      <a:pt x="124" y="528"/>
                      <a:pt x="124" y="528"/>
                    </a:cubicBezTo>
                    <a:lnTo>
                      <a:pt x="124" y="528"/>
                    </a:lnTo>
                    <a:lnTo>
                      <a:pt x="124" y="528"/>
                    </a:lnTo>
                    <a:lnTo>
                      <a:pt x="155" y="528"/>
                    </a:lnTo>
                    <a:lnTo>
                      <a:pt x="155" y="528"/>
                    </a:lnTo>
                    <a:cubicBezTo>
                      <a:pt x="155" y="497"/>
                      <a:pt x="185" y="497"/>
                      <a:pt x="185" y="497"/>
                    </a:cubicBezTo>
                    <a:lnTo>
                      <a:pt x="217" y="497"/>
                    </a:lnTo>
                    <a:lnTo>
                      <a:pt x="217" y="497"/>
                    </a:lnTo>
                    <a:cubicBezTo>
                      <a:pt x="217" y="497"/>
                      <a:pt x="217" y="497"/>
                      <a:pt x="248" y="497"/>
                    </a:cubicBezTo>
                    <a:lnTo>
                      <a:pt x="248" y="497"/>
                    </a:lnTo>
                    <a:lnTo>
                      <a:pt x="248" y="497"/>
                    </a:lnTo>
                    <a:lnTo>
                      <a:pt x="279" y="497"/>
                    </a:lnTo>
                    <a:lnTo>
                      <a:pt x="309" y="497"/>
                    </a:lnTo>
                    <a:lnTo>
                      <a:pt x="341" y="497"/>
                    </a:lnTo>
                    <a:cubicBezTo>
                      <a:pt x="341" y="528"/>
                      <a:pt x="341" y="528"/>
                      <a:pt x="341" y="528"/>
                    </a:cubicBezTo>
                    <a:lnTo>
                      <a:pt x="341" y="528"/>
                    </a:lnTo>
                    <a:cubicBezTo>
                      <a:pt x="341" y="528"/>
                      <a:pt x="341" y="528"/>
                      <a:pt x="341" y="559"/>
                    </a:cubicBezTo>
                    <a:lnTo>
                      <a:pt x="341" y="589"/>
                    </a:lnTo>
                    <a:cubicBezTo>
                      <a:pt x="341" y="621"/>
                      <a:pt x="341" y="652"/>
                      <a:pt x="309" y="652"/>
                    </a:cubicBezTo>
                    <a:lnTo>
                      <a:pt x="309" y="652"/>
                    </a:lnTo>
                    <a:cubicBezTo>
                      <a:pt x="309" y="652"/>
                      <a:pt x="309" y="652"/>
                      <a:pt x="279" y="652"/>
                    </a:cubicBezTo>
                    <a:lnTo>
                      <a:pt x="248" y="652"/>
                    </a:lnTo>
                    <a:lnTo>
                      <a:pt x="248" y="652"/>
                    </a:lnTo>
                    <a:lnTo>
                      <a:pt x="248" y="652"/>
                    </a:lnTo>
                    <a:lnTo>
                      <a:pt x="248" y="683"/>
                    </a:lnTo>
                    <a:cubicBezTo>
                      <a:pt x="248" y="683"/>
                      <a:pt x="248" y="713"/>
                      <a:pt x="217" y="713"/>
                    </a:cubicBezTo>
                    <a:cubicBezTo>
                      <a:pt x="248" y="713"/>
                      <a:pt x="248" y="745"/>
                      <a:pt x="248" y="745"/>
                    </a:cubicBezTo>
                    <a:lnTo>
                      <a:pt x="248" y="745"/>
                    </a:lnTo>
                    <a:cubicBezTo>
                      <a:pt x="248" y="745"/>
                      <a:pt x="248" y="745"/>
                      <a:pt x="279" y="745"/>
                    </a:cubicBezTo>
                    <a:lnTo>
                      <a:pt x="279" y="745"/>
                    </a:lnTo>
                    <a:cubicBezTo>
                      <a:pt x="279" y="776"/>
                      <a:pt x="309" y="776"/>
                      <a:pt x="309" y="776"/>
                    </a:cubicBezTo>
                    <a:cubicBezTo>
                      <a:pt x="309" y="806"/>
                      <a:pt x="309" y="806"/>
                      <a:pt x="309" y="806"/>
                    </a:cubicBezTo>
                    <a:lnTo>
                      <a:pt x="341" y="806"/>
                    </a:lnTo>
                    <a:lnTo>
                      <a:pt x="341" y="806"/>
                    </a:lnTo>
                    <a:cubicBezTo>
                      <a:pt x="372" y="806"/>
                      <a:pt x="372" y="776"/>
                      <a:pt x="372" y="776"/>
                    </a:cubicBezTo>
                    <a:lnTo>
                      <a:pt x="372" y="776"/>
                    </a:lnTo>
                    <a:lnTo>
                      <a:pt x="403" y="806"/>
                    </a:lnTo>
                    <a:cubicBezTo>
                      <a:pt x="433" y="806"/>
                      <a:pt x="433" y="837"/>
                      <a:pt x="465" y="837"/>
                    </a:cubicBezTo>
                    <a:cubicBezTo>
                      <a:pt x="465" y="869"/>
                      <a:pt x="465" y="869"/>
                      <a:pt x="465" y="869"/>
                    </a:cubicBezTo>
                    <a:cubicBezTo>
                      <a:pt x="465" y="621"/>
                      <a:pt x="465" y="621"/>
                      <a:pt x="465" y="621"/>
                    </a:cubicBezTo>
                    <a:cubicBezTo>
                      <a:pt x="620" y="589"/>
                      <a:pt x="620" y="589"/>
                      <a:pt x="620" y="589"/>
                    </a:cubicBezTo>
                    <a:cubicBezTo>
                      <a:pt x="651" y="589"/>
                      <a:pt x="651" y="589"/>
                      <a:pt x="651" y="589"/>
                    </a:cubicBezTo>
                    <a:lnTo>
                      <a:pt x="681" y="559"/>
                    </a:lnTo>
                    <a:lnTo>
                      <a:pt x="681" y="559"/>
                    </a:lnTo>
                    <a:cubicBezTo>
                      <a:pt x="713" y="559"/>
                      <a:pt x="713" y="559"/>
                      <a:pt x="713" y="559"/>
                    </a:cubicBezTo>
                    <a:cubicBezTo>
                      <a:pt x="713" y="559"/>
                      <a:pt x="713" y="559"/>
                      <a:pt x="744" y="559"/>
                    </a:cubicBezTo>
                    <a:lnTo>
                      <a:pt x="744" y="559"/>
                    </a:lnTo>
                    <a:cubicBezTo>
                      <a:pt x="744" y="559"/>
                      <a:pt x="744" y="559"/>
                      <a:pt x="775" y="589"/>
                    </a:cubicBezTo>
                    <a:lnTo>
                      <a:pt x="775" y="589"/>
                    </a:lnTo>
                    <a:lnTo>
                      <a:pt x="775" y="621"/>
                    </a:lnTo>
                    <a:cubicBezTo>
                      <a:pt x="775" y="652"/>
                      <a:pt x="775" y="652"/>
                      <a:pt x="775" y="683"/>
                    </a:cubicBezTo>
                    <a:lnTo>
                      <a:pt x="775" y="683"/>
                    </a:lnTo>
                    <a:lnTo>
                      <a:pt x="775" y="683"/>
                    </a:lnTo>
                    <a:cubicBezTo>
                      <a:pt x="775" y="683"/>
                      <a:pt x="805" y="683"/>
                      <a:pt x="805" y="713"/>
                    </a:cubicBezTo>
                    <a:lnTo>
                      <a:pt x="805" y="713"/>
                    </a:lnTo>
                    <a:lnTo>
                      <a:pt x="837" y="713"/>
                    </a:lnTo>
                    <a:lnTo>
                      <a:pt x="837" y="713"/>
                    </a:lnTo>
                    <a:lnTo>
                      <a:pt x="837" y="713"/>
                    </a:lnTo>
                    <a:cubicBezTo>
                      <a:pt x="868" y="713"/>
                      <a:pt x="868" y="713"/>
                      <a:pt x="868" y="713"/>
                    </a:cubicBezTo>
                    <a:cubicBezTo>
                      <a:pt x="899" y="713"/>
                      <a:pt x="899" y="713"/>
                      <a:pt x="929" y="713"/>
                    </a:cubicBezTo>
                    <a:lnTo>
                      <a:pt x="929" y="713"/>
                    </a:lnTo>
                    <a:lnTo>
                      <a:pt x="929" y="713"/>
                    </a:lnTo>
                    <a:lnTo>
                      <a:pt x="961" y="713"/>
                    </a:lnTo>
                    <a:lnTo>
                      <a:pt x="961" y="713"/>
                    </a:lnTo>
                    <a:lnTo>
                      <a:pt x="961" y="713"/>
                    </a:lnTo>
                    <a:cubicBezTo>
                      <a:pt x="992" y="713"/>
                      <a:pt x="992" y="713"/>
                      <a:pt x="992" y="713"/>
                    </a:cubicBezTo>
                    <a:lnTo>
                      <a:pt x="992" y="713"/>
                    </a:lnTo>
                    <a:cubicBezTo>
                      <a:pt x="1023" y="713"/>
                      <a:pt x="1023" y="713"/>
                      <a:pt x="1023" y="713"/>
                    </a:cubicBezTo>
                    <a:cubicBezTo>
                      <a:pt x="1023" y="745"/>
                      <a:pt x="1023" y="745"/>
                      <a:pt x="1023" y="745"/>
                    </a:cubicBezTo>
                    <a:cubicBezTo>
                      <a:pt x="1053" y="745"/>
                      <a:pt x="1053" y="745"/>
                      <a:pt x="1053" y="776"/>
                    </a:cubicBezTo>
                    <a:cubicBezTo>
                      <a:pt x="1053" y="776"/>
                      <a:pt x="1053" y="776"/>
                      <a:pt x="1053" y="806"/>
                    </a:cubicBezTo>
                    <a:lnTo>
                      <a:pt x="1053" y="806"/>
                    </a:lnTo>
                    <a:cubicBezTo>
                      <a:pt x="1053" y="806"/>
                      <a:pt x="1053" y="806"/>
                      <a:pt x="1085" y="806"/>
                    </a:cubicBezTo>
                    <a:cubicBezTo>
                      <a:pt x="1085" y="837"/>
                      <a:pt x="1085" y="837"/>
                      <a:pt x="1085" y="869"/>
                    </a:cubicBezTo>
                    <a:lnTo>
                      <a:pt x="1116" y="869"/>
                    </a:lnTo>
                    <a:lnTo>
                      <a:pt x="1116" y="869"/>
                    </a:lnTo>
                    <a:lnTo>
                      <a:pt x="1116" y="869"/>
                    </a:lnTo>
                    <a:lnTo>
                      <a:pt x="1116" y="869"/>
                    </a:lnTo>
                    <a:lnTo>
                      <a:pt x="1116" y="869"/>
                    </a:lnTo>
                    <a:lnTo>
                      <a:pt x="1116" y="869"/>
                    </a:lnTo>
                    <a:cubicBezTo>
                      <a:pt x="1116" y="869"/>
                      <a:pt x="1116" y="869"/>
                      <a:pt x="1147" y="869"/>
                    </a:cubicBezTo>
                    <a:lnTo>
                      <a:pt x="1147" y="869"/>
                    </a:lnTo>
                    <a:cubicBezTo>
                      <a:pt x="1147" y="869"/>
                      <a:pt x="1177" y="869"/>
                      <a:pt x="1177" y="900"/>
                    </a:cubicBezTo>
                    <a:lnTo>
                      <a:pt x="1177" y="900"/>
                    </a:lnTo>
                    <a:lnTo>
                      <a:pt x="1177" y="900"/>
                    </a:lnTo>
                    <a:lnTo>
                      <a:pt x="1177" y="900"/>
                    </a:lnTo>
                    <a:lnTo>
                      <a:pt x="1177" y="869"/>
                    </a:lnTo>
                    <a:lnTo>
                      <a:pt x="1177" y="869"/>
                    </a:lnTo>
                    <a:lnTo>
                      <a:pt x="1177" y="869"/>
                    </a:lnTo>
                    <a:lnTo>
                      <a:pt x="1177" y="869"/>
                    </a:lnTo>
                    <a:cubicBezTo>
                      <a:pt x="1177" y="837"/>
                      <a:pt x="1177" y="837"/>
                      <a:pt x="1177" y="837"/>
                    </a:cubicBezTo>
                    <a:cubicBezTo>
                      <a:pt x="1177" y="869"/>
                      <a:pt x="1177" y="869"/>
                      <a:pt x="1177" y="869"/>
                    </a:cubicBezTo>
                    <a:cubicBezTo>
                      <a:pt x="1177" y="869"/>
                      <a:pt x="1177" y="837"/>
                      <a:pt x="1208" y="837"/>
                    </a:cubicBezTo>
                    <a:lnTo>
                      <a:pt x="1208" y="837"/>
                    </a:lnTo>
                    <a:cubicBezTo>
                      <a:pt x="1240" y="837"/>
                      <a:pt x="1240" y="837"/>
                      <a:pt x="1271" y="837"/>
                    </a:cubicBezTo>
                    <a:cubicBezTo>
                      <a:pt x="1271" y="806"/>
                      <a:pt x="1271" y="806"/>
                      <a:pt x="1271" y="806"/>
                    </a:cubicBezTo>
                    <a:lnTo>
                      <a:pt x="1271" y="806"/>
                    </a:lnTo>
                    <a:lnTo>
                      <a:pt x="1271" y="806"/>
                    </a:lnTo>
                    <a:cubicBezTo>
                      <a:pt x="1301" y="806"/>
                      <a:pt x="1301" y="806"/>
                      <a:pt x="1301" y="806"/>
                    </a:cubicBezTo>
                    <a:cubicBezTo>
                      <a:pt x="1301" y="776"/>
                      <a:pt x="1301" y="776"/>
                      <a:pt x="1333" y="745"/>
                    </a:cubicBezTo>
                    <a:lnTo>
                      <a:pt x="1364" y="745"/>
                    </a:lnTo>
                    <a:lnTo>
                      <a:pt x="1394" y="776"/>
                    </a:lnTo>
                    <a:cubicBezTo>
                      <a:pt x="1425" y="776"/>
                      <a:pt x="1425" y="776"/>
                      <a:pt x="1425" y="776"/>
                    </a:cubicBezTo>
                    <a:cubicBezTo>
                      <a:pt x="1425" y="776"/>
                      <a:pt x="1425" y="776"/>
                      <a:pt x="1425" y="745"/>
                    </a:cubicBezTo>
                    <a:lnTo>
                      <a:pt x="1457" y="745"/>
                    </a:lnTo>
                    <a:cubicBezTo>
                      <a:pt x="1488" y="745"/>
                      <a:pt x="1488" y="745"/>
                      <a:pt x="1488" y="745"/>
                    </a:cubicBezTo>
                    <a:cubicBezTo>
                      <a:pt x="1488" y="745"/>
                      <a:pt x="1488" y="745"/>
                      <a:pt x="1518" y="745"/>
                    </a:cubicBezTo>
                    <a:lnTo>
                      <a:pt x="1518" y="745"/>
                    </a:lnTo>
                    <a:cubicBezTo>
                      <a:pt x="1549" y="745"/>
                      <a:pt x="1549" y="745"/>
                      <a:pt x="1549" y="745"/>
                    </a:cubicBezTo>
                    <a:lnTo>
                      <a:pt x="1549" y="745"/>
                    </a:lnTo>
                    <a:lnTo>
                      <a:pt x="1581" y="745"/>
                    </a:lnTo>
                    <a:lnTo>
                      <a:pt x="1581" y="745"/>
                    </a:lnTo>
                    <a:lnTo>
                      <a:pt x="1612" y="745"/>
                    </a:lnTo>
                    <a:lnTo>
                      <a:pt x="1612" y="745"/>
                    </a:lnTo>
                    <a:lnTo>
                      <a:pt x="1642" y="745"/>
                    </a:lnTo>
                    <a:lnTo>
                      <a:pt x="1642" y="745"/>
                    </a:lnTo>
                    <a:cubicBezTo>
                      <a:pt x="1642" y="745"/>
                      <a:pt x="1642" y="745"/>
                      <a:pt x="1673" y="745"/>
                    </a:cubicBezTo>
                    <a:lnTo>
                      <a:pt x="1673" y="745"/>
                    </a:lnTo>
                    <a:cubicBezTo>
                      <a:pt x="1673" y="745"/>
                      <a:pt x="1673" y="745"/>
                      <a:pt x="1705" y="745"/>
                    </a:cubicBezTo>
                    <a:lnTo>
                      <a:pt x="1705" y="745"/>
                    </a:lnTo>
                    <a:lnTo>
                      <a:pt x="1705" y="745"/>
                    </a:lnTo>
                    <a:cubicBezTo>
                      <a:pt x="1736" y="745"/>
                      <a:pt x="1736" y="745"/>
                      <a:pt x="1736" y="745"/>
                    </a:cubicBezTo>
                    <a:lnTo>
                      <a:pt x="1736" y="745"/>
                    </a:lnTo>
                    <a:cubicBezTo>
                      <a:pt x="1766" y="745"/>
                      <a:pt x="1766" y="776"/>
                      <a:pt x="1766" y="776"/>
                    </a:cubicBezTo>
                    <a:cubicBezTo>
                      <a:pt x="1797" y="776"/>
                      <a:pt x="1797" y="776"/>
                      <a:pt x="1797" y="776"/>
                    </a:cubicBezTo>
                    <a:lnTo>
                      <a:pt x="1797" y="776"/>
                    </a:lnTo>
                    <a:lnTo>
                      <a:pt x="1797" y="776"/>
                    </a:lnTo>
                    <a:cubicBezTo>
                      <a:pt x="1797" y="776"/>
                      <a:pt x="1797" y="776"/>
                      <a:pt x="1829" y="745"/>
                    </a:cubicBezTo>
                    <a:lnTo>
                      <a:pt x="1829" y="745"/>
                    </a:lnTo>
                    <a:lnTo>
                      <a:pt x="1829" y="745"/>
                    </a:lnTo>
                    <a:lnTo>
                      <a:pt x="1829" y="745"/>
                    </a:lnTo>
                    <a:lnTo>
                      <a:pt x="1829" y="745"/>
                    </a:lnTo>
                    <a:cubicBezTo>
                      <a:pt x="1797" y="713"/>
                      <a:pt x="1797" y="713"/>
                      <a:pt x="1797" y="683"/>
                    </a:cubicBezTo>
                    <a:cubicBezTo>
                      <a:pt x="1797" y="683"/>
                      <a:pt x="1766" y="683"/>
                      <a:pt x="1766" y="652"/>
                    </a:cubicBezTo>
                    <a:lnTo>
                      <a:pt x="1766" y="652"/>
                    </a:lnTo>
                    <a:lnTo>
                      <a:pt x="1766" y="652"/>
                    </a:lnTo>
                    <a:lnTo>
                      <a:pt x="1766" y="652"/>
                    </a:lnTo>
                    <a:lnTo>
                      <a:pt x="1766" y="652"/>
                    </a:lnTo>
                    <a:lnTo>
                      <a:pt x="1766" y="652"/>
                    </a:lnTo>
                    <a:cubicBezTo>
                      <a:pt x="1766" y="652"/>
                      <a:pt x="1797" y="652"/>
                      <a:pt x="1797" y="621"/>
                    </a:cubicBezTo>
                    <a:lnTo>
                      <a:pt x="1797" y="621"/>
                    </a:lnTo>
                    <a:lnTo>
                      <a:pt x="1797" y="621"/>
                    </a:lnTo>
                    <a:lnTo>
                      <a:pt x="1797" y="621"/>
                    </a:lnTo>
                    <a:lnTo>
                      <a:pt x="1829" y="621"/>
                    </a:lnTo>
                    <a:lnTo>
                      <a:pt x="1860" y="621"/>
                    </a:lnTo>
                    <a:lnTo>
                      <a:pt x="1860" y="621"/>
                    </a:lnTo>
                    <a:lnTo>
                      <a:pt x="1860" y="621"/>
                    </a:lnTo>
                    <a:cubicBezTo>
                      <a:pt x="1860" y="589"/>
                      <a:pt x="1890" y="589"/>
                      <a:pt x="1890" y="589"/>
                    </a:cubicBezTo>
                    <a:lnTo>
                      <a:pt x="1890" y="589"/>
                    </a:lnTo>
                    <a:lnTo>
                      <a:pt x="1921" y="589"/>
                    </a:lnTo>
                    <a:lnTo>
                      <a:pt x="1921" y="589"/>
                    </a:lnTo>
                    <a:cubicBezTo>
                      <a:pt x="1921" y="589"/>
                      <a:pt x="1921" y="589"/>
                      <a:pt x="1921" y="559"/>
                    </a:cubicBezTo>
                    <a:lnTo>
                      <a:pt x="1921" y="559"/>
                    </a:lnTo>
                    <a:lnTo>
                      <a:pt x="1921" y="559"/>
                    </a:lnTo>
                    <a:cubicBezTo>
                      <a:pt x="1921" y="528"/>
                      <a:pt x="1921" y="528"/>
                      <a:pt x="1921" y="528"/>
                    </a:cubicBezTo>
                    <a:cubicBezTo>
                      <a:pt x="1921" y="528"/>
                      <a:pt x="1921" y="497"/>
                      <a:pt x="1953" y="497"/>
                    </a:cubicBezTo>
                    <a:lnTo>
                      <a:pt x="1953" y="497"/>
                    </a:lnTo>
                    <a:lnTo>
                      <a:pt x="1984" y="497"/>
                    </a:lnTo>
                    <a:cubicBezTo>
                      <a:pt x="1984" y="497"/>
                      <a:pt x="1984" y="497"/>
                      <a:pt x="2014" y="497"/>
                    </a:cubicBezTo>
                    <a:lnTo>
                      <a:pt x="2014" y="497"/>
                    </a:lnTo>
                    <a:lnTo>
                      <a:pt x="2014" y="497"/>
                    </a:lnTo>
                    <a:lnTo>
                      <a:pt x="2045" y="497"/>
                    </a:lnTo>
                    <a:lnTo>
                      <a:pt x="2045" y="497"/>
                    </a:lnTo>
                    <a:lnTo>
                      <a:pt x="2045" y="497"/>
                    </a:lnTo>
                    <a:cubicBezTo>
                      <a:pt x="2077" y="497"/>
                      <a:pt x="2077" y="497"/>
                      <a:pt x="2077" y="497"/>
                    </a:cubicBezTo>
                    <a:cubicBezTo>
                      <a:pt x="2077" y="497"/>
                      <a:pt x="2077" y="497"/>
                      <a:pt x="2108" y="497"/>
                    </a:cubicBezTo>
                    <a:lnTo>
                      <a:pt x="2108" y="497"/>
                    </a:lnTo>
                    <a:cubicBezTo>
                      <a:pt x="2077" y="465"/>
                      <a:pt x="2077" y="465"/>
                      <a:pt x="2077" y="465"/>
                    </a:cubicBezTo>
                    <a:lnTo>
                      <a:pt x="2077" y="465"/>
                    </a:lnTo>
                    <a:cubicBezTo>
                      <a:pt x="2077" y="435"/>
                      <a:pt x="2108" y="435"/>
                      <a:pt x="2108" y="404"/>
                    </a:cubicBezTo>
                    <a:cubicBezTo>
                      <a:pt x="2108" y="404"/>
                      <a:pt x="2108" y="404"/>
                      <a:pt x="2138" y="404"/>
                    </a:cubicBezTo>
                    <a:lnTo>
                      <a:pt x="2138" y="404"/>
                    </a:lnTo>
                    <a:cubicBezTo>
                      <a:pt x="2138" y="404"/>
                      <a:pt x="2138" y="404"/>
                      <a:pt x="2169" y="404"/>
                    </a:cubicBezTo>
                    <a:lnTo>
                      <a:pt x="2169" y="373"/>
                    </a:lnTo>
                    <a:lnTo>
                      <a:pt x="2169" y="373"/>
                    </a:lnTo>
                    <a:lnTo>
                      <a:pt x="2169" y="373"/>
                    </a:lnTo>
                    <a:lnTo>
                      <a:pt x="2169" y="373"/>
                    </a:lnTo>
                    <a:cubicBezTo>
                      <a:pt x="2169" y="373"/>
                      <a:pt x="2169" y="373"/>
                      <a:pt x="2138" y="373"/>
                    </a:cubicBezTo>
                    <a:lnTo>
                      <a:pt x="2138" y="373"/>
                    </a:lnTo>
                    <a:cubicBezTo>
                      <a:pt x="2108" y="373"/>
                      <a:pt x="2108" y="373"/>
                      <a:pt x="2077" y="373"/>
                    </a:cubicBezTo>
                    <a:lnTo>
                      <a:pt x="2077" y="373"/>
                    </a:lnTo>
                    <a:lnTo>
                      <a:pt x="2045" y="341"/>
                    </a:lnTo>
                    <a:lnTo>
                      <a:pt x="2045" y="341"/>
                    </a:lnTo>
                    <a:lnTo>
                      <a:pt x="2045" y="341"/>
                    </a:lnTo>
                    <a:lnTo>
                      <a:pt x="2045" y="341"/>
                    </a:lnTo>
                    <a:cubicBezTo>
                      <a:pt x="2014" y="341"/>
                      <a:pt x="2014" y="311"/>
                      <a:pt x="2014" y="311"/>
                    </a:cubicBezTo>
                    <a:lnTo>
                      <a:pt x="2014" y="311"/>
                    </a:lnTo>
                    <a:lnTo>
                      <a:pt x="2014" y="311"/>
                    </a:lnTo>
                    <a:cubicBezTo>
                      <a:pt x="1984" y="311"/>
                      <a:pt x="1984" y="280"/>
                      <a:pt x="1984" y="280"/>
                    </a:cubicBezTo>
                    <a:cubicBezTo>
                      <a:pt x="1984" y="311"/>
                      <a:pt x="1953" y="311"/>
                      <a:pt x="1953" y="311"/>
                    </a:cubicBezTo>
                    <a:lnTo>
                      <a:pt x="1953" y="311"/>
                    </a:lnTo>
                    <a:lnTo>
                      <a:pt x="1953" y="311"/>
                    </a:lnTo>
                    <a:lnTo>
                      <a:pt x="1953" y="311"/>
                    </a:lnTo>
                    <a:lnTo>
                      <a:pt x="1953" y="311"/>
                    </a:lnTo>
                    <a:cubicBezTo>
                      <a:pt x="1921" y="311"/>
                      <a:pt x="1921" y="311"/>
                      <a:pt x="1921" y="311"/>
                    </a:cubicBezTo>
                    <a:cubicBezTo>
                      <a:pt x="1921" y="311"/>
                      <a:pt x="1921" y="311"/>
                      <a:pt x="1890" y="311"/>
                    </a:cubicBezTo>
                    <a:lnTo>
                      <a:pt x="1890" y="311"/>
                    </a:lnTo>
                    <a:lnTo>
                      <a:pt x="1890" y="311"/>
                    </a:lnTo>
                    <a:lnTo>
                      <a:pt x="1890" y="311"/>
                    </a:lnTo>
                    <a:lnTo>
                      <a:pt x="1890" y="311"/>
                    </a:lnTo>
                    <a:cubicBezTo>
                      <a:pt x="1860" y="311"/>
                      <a:pt x="1860" y="280"/>
                      <a:pt x="1860" y="280"/>
                    </a:cubicBezTo>
                    <a:lnTo>
                      <a:pt x="1860" y="280"/>
                    </a:lnTo>
                    <a:cubicBezTo>
                      <a:pt x="1829" y="280"/>
                      <a:pt x="1829" y="311"/>
                      <a:pt x="1829" y="311"/>
                    </a:cubicBezTo>
                    <a:lnTo>
                      <a:pt x="1829" y="311"/>
                    </a:lnTo>
                    <a:lnTo>
                      <a:pt x="1829" y="311"/>
                    </a:lnTo>
                    <a:lnTo>
                      <a:pt x="1797" y="311"/>
                    </a:lnTo>
                    <a:lnTo>
                      <a:pt x="1797" y="311"/>
                    </a:lnTo>
                    <a:cubicBezTo>
                      <a:pt x="1797" y="311"/>
                      <a:pt x="1766" y="311"/>
                      <a:pt x="1766" y="280"/>
                    </a:cubicBezTo>
                    <a:lnTo>
                      <a:pt x="1766" y="280"/>
                    </a:lnTo>
                    <a:cubicBezTo>
                      <a:pt x="1766" y="249"/>
                      <a:pt x="1736" y="249"/>
                      <a:pt x="1736" y="217"/>
                    </a:cubicBezTo>
                    <a:lnTo>
                      <a:pt x="1736" y="217"/>
                    </a:lnTo>
                    <a:cubicBezTo>
                      <a:pt x="1736" y="217"/>
                      <a:pt x="1736" y="217"/>
                      <a:pt x="1705" y="187"/>
                    </a:cubicBezTo>
                    <a:lnTo>
                      <a:pt x="1673" y="156"/>
                    </a:lnTo>
                    <a:lnTo>
                      <a:pt x="1642" y="125"/>
                    </a:lnTo>
                    <a:lnTo>
                      <a:pt x="1642" y="125"/>
                    </a:lnTo>
                    <a:lnTo>
                      <a:pt x="1642" y="125"/>
                    </a:lnTo>
                    <a:lnTo>
                      <a:pt x="1612" y="125"/>
                    </a:lnTo>
                    <a:cubicBezTo>
                      <a:pt x="1612" y="93"/>
                      <a:pt x="1612" y="93"/>
                      <a:pt x="1612" y="93"/>
                    </a:cubicBezTo>
                    <a:lnTo>
                      <a:pt x="1612" y="93"/>
                    </a:lnTo>
                    <a:cubicBezTo>
                      <a:pt x="1581" y="93"/>
                      <a:pt x="1581" y="93"/>
                      <a:pt x="1581" y="93"/>
                    </a:cubicBezTo>
                    <a:lnTo>
                      <a:pt x="1581" y="93"/>
                    </a:lnTo>
                    <a:lnTo>
                      <a:pt x="1549" y="93"/>
                    </a:lnTo>
                    <a:lnTo>
                      <a:pt x="1549" y="93"/>
                    </a:lnTo>
                    <a:cubicBezTo>
                      <a:pt x="1549" y="93"/>
                      <a:pt x="1549" y="125"/>
                      <a:pt x="1518" y="125"/>
                    </a:cubicBezTo>
                    <a:lnTo>
                      <a:pt x="1518" y="125"/>
                    </a:lnTo>
                    <a:cubicBezTo>
                      <a:pt x="1518" y="125"/>
                      <a:pt x="1518" y="156"/>
                      <a:pt x="1488" y="156"/>
                    </a:cubicBezTo>
                    <a:lnTo>
                      <a:pt x="1488" y="156"/>
                    </a:lnTo>
                    <a:lnTo>
                      <a:pt x="1488" y="156"/>
                    </a:lnTo>
                    <a:cubicBezTo>
                      <a:pt x="1488" y="156"/>
                      <a:pt x="1488" y="125"/>
                      <a:pt x="1457" y="125"/>
                    </a:cubicBezTo>
                    <a:lnTo>
                      <a:pt x="1457" y="125"/>
                    </a:lnTo>
                    <a:lnTo>
                      <a:pt x="1457" y="125"/>
                    </a:lnTo>
                    <a:cubicBezTo>
                      <a:pt x="1425" y="125"/>
                      <a:pt x="1425" y="125"/>
                      <a:pt x="1425" y="125"/>
                    </a:cubicBezTo>
                    <a:lnTo>
                      <a:pt x="1425" y="125"/>
                    </a:lnTo>
                    <a:cubicBezTo>
                      <a:pt x="1425" y="125"/>
                      <a:pt x="1425" y="93"/>
                      <a:pt x="1394" y="93"/>
                    </a:cubicBezTo>
                    <a:lnTo>
                      <a:pt x="1394" y="93"/>
                    </a:lnTo>
                    <a:lnTo>
                      <a:pt x="1394" y="93"/>
                    </a:lnTo>
                    <a:lnTo>
                      <a:pt x="1394" y="93"/>
                    </a:lnTo>
                    <a:lnTo>
                      <a:pt x="1394" y="93"/>
                    </a:lnTo>
                    <a:lnTo>
                      <a:pt x="1364" y="93"/>
                    </a:lnTo>
                    <a:lnTo>
                      <a:pt x="1364" y="93"/>
                    </a:lnTo>
                    <a:lnTo>
                      <a:pt x="1364" y="93"/>
                    </a:lnTo>
                    <a:lnTo>
                      <a:pt x="1364" y="93"/>
                    </a:lnTo>
                    <a:lnTo>
                      <a:pt x="1364" y="93"/>
                    </a:lnTo>
                    <a:lnTo>
                      <a:pt x="1364" y="93"/>
                    </a:lnTo>
                    <a:lnTo>
                      <a:pt x="1333" y="93"/>
                    </a:lnTo>
                    <a:lnTo>
                      <a:pt x="1333" y="93"/>
                    </a:lnTo>
                    <a:cubicBezTo>
                      <a:pt x="1301" y="93"/>
                      <a:pt x="1301" y="93"/>
                      <a:pt x="1301" y="63"/>
                    </a:cubicBezTo>
                    <a:lnTo>
                      <a:pt x="1301" y="63"/>
                    </a:lnTo>
                    <a:lnTo>
                      <a:pt x="1301" y="63"/>
                    </a:lnTo>
                    <a:lnTo>
                      <a:pt x="1271" y="32"/>
                    </a:lnTo>
                    <a:lnTo>
                      <a:pt x="1271" y="32"/>
                    </a:lnTo>
                    <a:lnTo>
                      <a:pt x="1271" y="32"/>
                    </a:lnTo>
                    <a:cubicBezTo>
                      <a:pt x="1271" y="32"/>
                      <a:pt x="1271" y="32"/>
                      <a:pt x="1271" y="0"/>
                    </a:cubicBezTo>
                    <a:cubicBezTo>
                      <a:pt x="1271" y="32"/>
                      <a:pt x="1271" y="32"/>
                      <a:pt x="1271" y="32"/>
                    </a:cubicBezTo>
                    <a:lnTo>
                      <a:pt x="1271" y="32"/>
                    </a:lnTo>
                    <a:cubicBezTo>
                      <a:pt x="1240" y="32"/>
                      <a:pt x="1240" y="0"/>
                      <a:pt x="1240" y="0"/>
                    </a:cubicBezTo>
                    <a:lnTo>
                      <a:pt x="1208" y="0"/>
                    </a:lnTo>
                    <a:lnTo>
                      <a:pt x="1208" y="0"/>
                    </a:lnTo>
                    <a:cubicBezTo>
                      <a:pt x="1177" y="0"/>
                      <a:pt x="1177" y="32"/>
                      <a:pt x="1177" y="32"/>
                    </a:cubicBezTo>
                    <a:lnTo>
                      <a:pt x="1177" y="32"/>
                    </a:lnTo>
                    <a:cubicBezTo>
                      <a:pt x="1147" y="63"/>
                      <a:pt x="1147" y="63"/>
                      <a:pt x="1147" y="63"/>
                    </a:cubicBezTo>
                    <a:cubicBezTo>
                      <a:pt x="1116" y="63"/>
                      <a:pt x="1116" y="32"/>
                      <a:pt x="1116" y="32"/>
                    </a:cubicBezTo>
                    <a:lnTo>
                      <a:pt x="1116" y="32"/>
                    </a:lnTo>
                    <a:cubicBezTo>
                      <a:pt x="1085" y="32"/>
                      <a:pt x="1085" y="63"/>
                      <a:pt x="1085" y="63"/>
                    </a:cubicBezTo>
                    <a:lnTo>
                      <a:pt x="1053" y="63"/>
                    </a:lnTo>
                    <a:lnTo>
                      <a:pt x="1053" y="63"/>
                    </a:lnTo>
                    <a:cubicBezTo>
                      <a:pt x="1023" y="63"/>
                      <a:pt x="1023" y="63"/>
                      <a:pt x="1023" y="63"/>
                    </a:cubicBezTo>
                    <a:lnTo>
                      <a:pt x="1023" y="63"/>
                    </a:lnTo>
                    <a:lnTo>
                      <a:pt x="1023" y="63"/>
                    </a:lnTo>
                    <a:lnTo>
                      <a:pt x="1023" y="63"/>
                    </a:lnTo>
                    <a:lnTo>
                      <a:pt x="1023" y="63"/>
                    </a:lnTo>
                    <a:cubicBezTo>
                      <a:pt x="992" y="63"/>
                      <a:pt x="992" y="93"/>
                      <a:pt x="992" y="93"/>
                    </a:cubicBezTo>
                    <a:lnTo>
                      <a:pt x="992" y="93"/>
                    </a:lnTo>
                    <a:cubicBezTo>
                      <a:pt x="961" y="93"/>
                      <a:pt x="961" y="93"/>
                      <a:pt x="961" y="93"/>
                    </a:cubicBezTo>
                    <a:lnTo>
                      <a:pt x="961" y="93"/>
                    </a:lnTo>
                    <a:cubicBezTo>
                      <a:pt x="929" y="93"/>
                      <a:pt x="929" y="93"/>
                      <a:pt x="899" y="93"/>
                    </a:cubicBezTo>
                    <a:cubicBezTo>
                      <a:pt x="868" y="93"/>
                      <a:pt x="868" y="93"/>
                      <a:pt x="868" y="93"/>
                    </a:cubicBezTo>
                    <a:cubicBezTo>
                      <a:pt x="837" y="93"/>
                      <a:pt x="837" y="93"/>
                      <a:pt x="837" y="93"/>
                    </a:cubicBezTo>
                    <a:lnTo>
                      <a:pt x="837" y="93"/>
                    </a:lnTo>
                    <a:cubicBezTo>
                      <a:pt x="805" y="93"/>
                      <a:pt x="805" y="93"/>
                      <a:pt x="805" y="93"/>
                    </a:cubicBezTo>
                    <a:lnTo>
                      <a:pt x="805" y="93"/>
                    </a:lnTo>
                    <a:lnTo>
                      <a:pt x="805" y="125"/>
                    </a:lnTo>
                    <a:lnTo>
                      <a:pt x="805" y="125"/>
                    </a:lnTo>
                    <a:lnTo>
                      <a:pt x="805" y="125"/>
                    </a:lnTo>
                    <a:lnTo>
                      <a:pt x="805" y="125"/>
                    </a:lnTo>
                    <a:lnTo>
                      <a:pt x="805" y="125"/>
                    </a:lnTo>
                    <a:lnTo>
                      <a:pt x="805" y="125"/>
                    </a:lnTo>
                    <a:cubicBezTo>
                      <a:pt x="805" y="156"/>
                      <a:pt x="805" y="156"/>
                      <a:pt x="805" y="156"/>
                    </a:cubicBezTo>
                    <a:lnTo>
                      <a:pt x="805" y="156"/>
                    </a:lnTo>
                    <a:lnTo>
                      <a:pt x="805" y="156"/>
                    </a:lnTo>
                    <a:cubicBezTo>
                      <a:pt x="805" y="156"/>
                      <a:pt x="805" y="156"/>
                      <a:pt x="775" y="156"/>
                    </a:cubicBezTo>
                    <a:lnTo>
                      <a:pt x="775" y="187"/>
                    </a:lnTo>
                    <a:lnTo>
                      <a:pt x="775" y="187"/>
                    </a:lnTo>
                    <a:lnTo>
                      <a:pt x="775" y="187"/>
                    </a:lnTo>
                    <a:lnTo>
                      <a:pt x="775" y="187"/>
                    </a:lnTo>
                    <a:lnTo>
                      <a:pt x="775" y="217"/>
                    </a:lnTo>
                    <a:lnTo>
                      <a:pt x="805" y="217"/>
                    </a:lnTo>
                    <a:cubicBezTo>
                      <a:pt x="805" y="249"/>
                      <a:pt x="805" y="249"/>
                      <a:pt x="805" y="249"/>
                    </a:cubicBezTo>
                    <a:lnTo>
                      <a:pt x="805" y="249"/>
                    </a:lnTo>
                    <a:cubicBezTo>
                      <a:pt x="805" y="280"/>
                      <a:pt x="805" y="311"/>
                      <a:pt x="775" y="311"/>
                    </a:cubicBezTo>
                    <a:lnTo>
                      <a:pt x="775" y="311"/>
                    </a:lnTo>
                    <a:lnTo>
                      <a:pt x="775" y="311"/>
                    </a:lnTo>
                    <a:lnTo>
                      <a:pt x="775" y="311"/>
                    </a:lnTo>
                    <a:lnTo>
                      <a:pt x="775" y="311"/>
                    </a:lnTo>
                    <a:lnTo>
                      <a:pt x="744" y="311"/>
                    </a:lnTo>
                    <a:cubicBezTo>
                      <a:pt x="744" y="311"/>
                      <a:pt x="744" y="311"/>
                      <a:pt x="713" y="311"/>
                    </a:cubicBezTo>
                    <a:lnTo>
                      <a:pt x="713" y="311"/>
                    </a:lnTo>
                    <a:lnTo>
                      <a:pt x="713" y="311"/>
                    </a:lnTo>
                    <a:lnTo>
                      <a:pt x="713" y="311"/>
                    </a:lnTo>
                    <a:lnTo>
                      <a:pt x="681" y="311"/>
                    </a:lnTo>
                    <a:lnTo>
                      <a:pt x="681" y="311"/>
                    </a:lnTo>
                    <a:lnTo>
                      <a:pt x="651" y="311"/>
                    </a:lnTo>
                    <a:lnTo>
                      <a:pt x="651" y="311"/>
                    </a:lnTo>
                    <a:cubicBezTo>
                      <a:pt x="620" y="311"/>
                      <a:pt x="620" y="311"/>
                      <a:pt x="620" y="280"/>
                    </a:cubicBezTo>
                    <a:lnTo>
                      <a:pt x="620" y="280"/>
                    </a:lnTo>
                    <a:lnTo>
                      <a:pt x="620" y="280"/>
                    </a:lnTo>
                    <a:cubicBezTo>
                      <a:pt x="589" y="280"/>
                      <a:pt x="589" y="280"/>
                      <a:pt x="589" y="280"/>
                    </a:cubicBezTo>
                    <a:cubicBezTo>
                      <a:pt x="589" y="280"/>
                      <a:pt x="589" y="311"/>
                      <a:pt x="557" y="311"/>
                    </a:cubicBezTo>
                    <a:lnTo>
                      <a:pt x="557" y="311"/>
                    </a:lnTo>
                    <a:lnTo>
                      <a:pt x="557" y="311"/>
                    </a:lnTo>
                    <a:lnTo>
                      <a:pt x="557" y="311"/>
                    </a:lnTo>
                    <a:cubicBezTo>
                      <a:pt x="527" y="311"/>
                      <a:pt x="527" y="280"/>
                      <a:pt x="527" y="280"/>
                    </a:cubicBezTo>
                    <a:lnTo>
                      <a:pt x="527" y="280"/>
                    </a:lnTo>
                    <a:cubicBezTo>
                      <a:pt x="527" y="280"/>
                      <a:pt x="496" y="280"/>
                      <a:pt x="496" y="311"/>
                    </a:cubicBezTo>
                    <a:lnTo>
                      <a:pt x="496" y="311"/>
                    </a:lnTo>
                    <a:lnTo>
                      <a:pt x="465" y="311"/>
                    </a:lnTo>
                    <a:lnTo>
                      <a:pt x="465" y="311"/>
                    </a:lnTo>
                    <a:lnTo>
                      <a:pt x="465" y="311"/>
                    </a:lnTo>
                    <a:lnTo>
                      <a:pt x="465" y="311"/>
                    </a:lnTo>
                    <a:cubicBezTo>
                      <a:pt x="433" y="311"/>
                      <a:pt x="433" y="311"/>
                      <a:pt x="433" y="280"/>
                    </a:cubicBezTo>
                    <a:lnTo>
                      <a:pt x="433" y="280"/>
                    </a:lnTo>
                    <a:lnTo>
                      <a:pt x="433" y="280"/>
                    </a:lnTo>
                    <a:cubicBezTo>
                      <a:pt x="433" y="311"/>
                      <a:pt x="403" y="311"/>
                      <a:pt x="403" y="311"/>
                    </a:cubicBezTo>
                    <a:lnTo>
                      <a:pt x="403" y="311"/>
                    </a:lnTo>
                    <a:lnTo>
                      <a:pt x="403" y="311"/>
                    </a:lnTo>
                    <a:lnTo>
                      <a:pt x="403" y="311"/>
                    </a:lnTo>
                    <a:cubicBezTo>
                      <a:pt x="372" y="311"/>
                      <a:pt x="372" y="311"/>
                      <a:pt x="372" y="280"/>
                    </a:cubicBezTo>
                    <a:lnTo>
                      <a:pt x="372" y="280"/>
                    </a:lnTo>
                    <a:lnTo>
                      <a:pt x="372" y="280"/>
                    </a:lnTo>
                    <a:lnTo>
                      <a:pt x="341" y="280"/>
                    </a:lnTo>
                    <a:lnTo>
                      <a:pt x="341" y="280"/>
                    </a:lnTo>
                    <a:cubicBezTo>
                      <a:pt x="341" y="249"/>
                      <a:pt x="341" y="249"/>
                      <a:pt x="341" y="249"/>
                    </a:cubicBezTo>
                    <a:lnTo>
                      <a:pt x="309" y="249"/>
                    </a:lnTo>
                    <a:cubicBezTo>
                      <a:pt x="309" y="249"/>
                      <a:pt x="309" y="249"/>
                      <a:pt x="309" y="280"/>
                    </a:cubicBezTo>
                    <a:lnTo>
                      <a:pt x="309" y="280"/>
                    </a:lnTo>
                    <a:lnTo>
                      <a:pt x="309" y="280"/>
                    </a:lnTo>
                    <a:lnTo>
                      <a:pt x="309" y="280"/>
                    </a:lnTo>
                    <a:cubicBezTo>
                      <a:pt x="279" y="280"/>
                      <a:pt x="279" y="249"/>
                      <a:pt x="279" y="249"/>
                    </a:cubicBezTo>
                    <a:lnTo>
                      <a:pt x="279" y="249"/>
                    </a:lnTo>
                    <a:lnTo>
                      <a:pt x="279" y="249"/>
                    </a:lnTo>
                    <a:lnTo>
                      <a:pt x="279" y="249"/>
                    </a:lnTo>
                    <a:cubicBezTo>
                      <a:pt x="248" y="249"/>
                      <a:pt x="248" y="249"/>
                      <a:pt x="248" y="249"/>
                    </a:cubicBezTo>
                    <a:lnTo>
                      <a:pt x="248" y="249"/>
                    </a:lnTo>
                    <a:lnTo>
                      <a:pt x="248" y="249"/>
                    </a:lnTo>
                    <a:lnTo>
                      <a:pt x="217" y="249"/>
                    </a:lnTo>
                    <a:lnTo>
                      <a:pt x="217" y="249"/>
                    </a:lnTo>
                    <a:lnTo>
                      <a:pt x="217" y="249"/>
                    </a:lnTo>
                    <a:lnTo>
                      <a:pt x="217" y="249"/>
                    </a:lnTo>
                    <a:lnTo>
                      <a:pt x="217" y="249"/>
                    </a:lnTo>
                    <a:lnTo>
                      <a:pt x="185" y="249"/>
                    </a:lnTo>
                    <a:lnTo>
                      <a:pt x="185" y="249"/>
                    </a:lnTo>
                    <a:lnTo>
                      <a:pt x="185" y="249"/>
                    </a:lnTo>
                    <a:lnTo>
                      <a:pt x="185" y="249"/>
                    </a:lnTo>
                    <a:lnTo>
                      <a:pt x="185" y="249"/>
                    </a:lnTo>
                    <a:lnTo>
                      <a:pt x="185" y="249"/>
                    </a:lnTo>
                    <a:lnTo>
                      <a:pt x="185" y="249"/>
                    </a:lnTo>
                    <a:cubicBezTo>
                      <a:pt x="185" y="249"/>
                      <a:pt x="185" y="280"/>
                      <a:pt x="155" y="280"/>
                    </a:cubicBezTo>
                    <a:lnTo>
                      <a:pt x="155" y="280"/>
                    </a:lnTo>
                    <a:lnTo>
                      <a:pt x="155" y="280"/>
                    </a:lnTo>
                    <a:cubicBezTo>
                      <a:pt x="124" y="280"/>
                      <a:pt x="124" y="280"/>
                      <a:pt x="124" y="280"/>
                    </a:cubicBezTo>
                    <a:lnTo>
                      <a:pt x="124" y="280"/>
                    </a:lnTo>
                    <a:lnTo>
                      <a:pt x="124" y="280"/>
                    </a:lnTo>
                    <a:cubicBezTo>
                      <a:pt x="93" y="311"/>
                      <a:pt x="93" y="311"/>
                      <a:pt x="93" y="311"/>
                    </a:cubicBezTo>
                    <a:lnTo>
                      <a:pt x="93" y="311"/>
                    </a:lnTo>
                    <a:cubicBezTo>
                      <a:pt x="93" y="311"/>
                      <a:pt x="93" y="311"/>
                      <a:pt x="93" y="341"/>
                    </a:cubicBezTo>
                    <a:lnTo>
                      <a:pt x="93" y="341"/>
                    </a:lnTo>
                    <a:lnTo>
                      <a:pt x="93" y="341"/>
                    </a:lnTo>
                    <a:cubicBezTo>
                      <a:pt x="93" y="341"/>
                      <a:pt x="93" y="341"/>
                      <a:pt x="93" y="373"/>
                    </a:cubicBezTo>
                    <a:cubicBezTo>
                      <a:pt x="61" y="373"/>
                      <a:pt x="61" y="373"/>
                      <a:pt x="61" y="373"/>
                    </a:cubicBezTo>
                    <a:lnTo>
                      <a:pt x="61" y="373"/>
                    </a:lnTo>
                    <a:lnTo>
                      <a:pt x="61" y="373"/>
                    </a:lnTo>
                    <a:lnTo>
                      <a:pt x="61" y="373"/>
                    </a:lnTo>
                    <a:lnTo>
                      <a:pt x="61" y="373"/>
                    </a:lnTo>
                    <a:cubicBezTo>
                      <a:pt x="31" y="373"/>
                      <a:pt x="31" y="373"/>
                      <a:pt x="31" y="341"/>
                    </a:cubicBezTo>
                    <a:lnTo>
                      <a:pt x="31" y="341"/>
                    </a:lnTo>
                    <a:lnTo>
                      <a:pt x="31" y="341"/>
                    </a:lnTo>
                    <a:cubicBezTo>
                      <a:pt x="31" y="341"/>
                      <a:pt x="31" y="341"/>
                      <a:pt x="0" y="341"/>
                    </a:cubicBezTo>
                    <a:cubicBezTo>
                      <a:pt x="0" y="341"/>
                      <a:pt x="0" y="341"/>
                      <a:pt x="0" y="311"/>
                    </a:cubicBezTo>
                    <a:lnTo>
                      <a:pt x="0" y="311"/>
                    </a:lnTo>
                    <a:lnTo>
                      <a:pt x="0" y="311"/>
                    </a:lnTo>
                    <a:cubicBezTo>
                      <a:pt x="0" y="341"/>
                      <a:pt x="0" y="341"/>
                      <a:pt x="0" y="373"/>
                    </a:cubicBezTo>
                    <a:lnTo>
                      <a:pt x="0" y="373"/>
                    </a:lnTo>
                    <a:lnTo>
                      <a:pt x="0" y="373"/>
                    </a:lnTo>
                    <a:lnTo>
                      <a:pt x="0" y="373"/>
                    </a:lnTo>
                    <a:lnTo>
                      <a:pt x="0" y="373"/>
                    </a:lnTo>
                    <a:cubicBezTo>
                      <a:pt x="0" y="373"/>
                      <a:pt x="0" y="373"/>
                      <a:pt x="0" y="40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06" name="Freeform 103"/>
              <p:cNvSpPr>
                <a:spLocks noChangeArrowheads="1"/>
              </p:cNvSpPr>
              <p:nvPr/>
            </p:nvSpPr>
            <p:spPr bwMode="auto">
              <a:xfrm>
                <a:off x="6469063" y="1624013"/>
                <a:ext cx="77787" cy="44450"/>
              </a:xfrm>
              <a:custGeom>
                <a:avLst/>
                <a:gdLst>
                  <a:gd name="T0" fmla="*/ 62 w 218"/>
                  <a:gd name="T1" fmla="*/ 0 h 124"/>
                  <a:gd name="T2" fmla="*/ 62 w 218"/>
                  <a:gd name="T3" fmla="*/ 0 h 124"/>
                  <a:gd name="T4" fmla="*/ 62 w 218"/>
                  <a:gd name="T5" fmla="*/ 0 h 124"/>
                  <a:gd name="T6" fmla="*/ 62 w 218"/>
                  <a:gd name="T7" fmla="*/ 0 h 124"/>
                  <a:gd name="T8" fmla="*/ 62 w 218"/>
                  <a:gd name="T9" fmla="*/ 30 h 124"/>
                  <a:gd name="T10" fmla="*/ 62 w 218"/>
                  <a:gd name="T11" fmla="*/ 62 h 124"/>
                  <a:gd name="T12" fmla="*/ 62 w 218"/>
                  <a:gd name="T13" fmla="*/ 62 h 124"/>
                  <a:gd name="T14" fmla="*/ 31 w 218"/>
                  <a:gd name="T15" fmla="*/ 93 h 124"/>
                  <a:gd name="T16" fmla="*/ 31 w 218"/>
                  <a:gd name="T17" fmla="*/ 93 h 124"/>
                  <a:gd name="T18" fmla="*/ 0 w 218"/>
                  <a:gd name="T19" fmla="*/ 93 h 124"/>
                  <a:gd name="T20" fmla="*/ 0 w 218"/>
                  <a:gd name="T21" fmla="*/ 93 h 124"/>
                  <a:gd name="T22" fmla="*/ 0 w 218"/>
                  <a:gd name="T23" fmla="*/ 93 h 124"/>
                  <a:gd name="T24" fmla="*/ 31 w 218"/>
                  <a:gd name="T25" fmla="*/ 93 h 124"/>
                  <a:gd name="T26" fmla="*/ 31 w 218"/>
                  <a:gd name="T27" fmla="*/ 93 h 124"/>
                  <a:gd name="T28" fmla="*/ 62 w 218"/>
                  <a:gd name="T29" fmla="*/ 93 h 124"/>
                  <a:gd name="T30" fmla="*/ 62 w 218"/>
                  <a:gd name="T31" fmla="*/ 93 h 124"/>
                  <a:gd name="T32" fmla="*/ 93 w 218"/>
                  <a:gd name="T33" fmla="*/ 123 h 124"/>
                  <a:gd name="T34" fmla="*/ 124 w 218"/>
                  <a:gd name="T35" fmla="*/ 123 h 124"/>
                  <a:gd name="T36" fmla="*/ 124 w 218"/>
                  <a:gd name="T37" fmla="*/ 123 h 124"/>
                  <a:gd name="T38" fmla="*/ 155 w 218"/>
                  <a:gd name="T39" fmla="*/ 93 h 124"/>
                  <a:gd name="T40" fmla="*/ 186 w 218"/>
                  <a:gd name="T41" fmla="*/ 62 h 124"/>
                  <a:gd name="T42" fmla="*/ 186 w 218"/>
                  <a:gd name="T43" fmla="*/ 62 h 124"/>
                  <a:gd name="T44" fmla="*/ 186 w 218"/>
                  <a:gd name="T45" fmla="*/ 62 h 124"/>
                  <a:gd name="T46" fmla="*/ 186 w 218"/>
                  <a:gd name="T47" fmla="*/ 62 h 124"/>
                  <a:gd name="T48" fmla="*/ 217 w 218"/>
                  <a:gd name="T49" fmla="*/ 62 h 124"/>
                  <a:gd name="T50" fmla="*/ 217 w 218"/>
                  <a:gd name="T51" fmla="*/ 62 h 124"/>
                  <a:gd name="T52" fmla="*/ 217 w 218"/>
                  <a:gd name="T53" fmla="*/ 62 h 124"/>
                  <a:gd name="T54" fmla="*/ 217 w 218"/>
                  <a:gd name="T55" fmla="*/ 62 h 124"/>
                  <a:gd name="T56" fmla="*/ 186 w 218"/>
                  <a:gd name="T57" fmla="*/ 30 h 124"/>
                  <a:gd name="T58" fmla="*/ 155 w 218"/>
                  <a:gd name="T59" fmla="*/ 30 h 124"/>
                  <a:gd name="T60" fmla="*/ 93 w 218"/>
                  <a:gd name="T61" fmla="*/ 0 h 124"/>
                  <a:gd name="T62" fmla="*/ 93 w 218"/>
                  <a:gd name="T63" fmla="*/ 0 h 124"/>
                  <a:gd name="T64" fmla="*/ 62 w 218"/>
                  <a:gd name="T6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8" h="124">
                    <a:moveTo>
                      <a:pt x="62" y="0"/>
                    </a:moveTo>
                    <a:lnTo>
                      <a:pt x="62" y="0"/>
                    </a:lnTo>
                    <a:lnTo>
                      <a:pt x="62" y="0"/>
                    </a:lnTo>
                    <a:lnTo>
                      <a:pt x="62" y="0"/>
                    </a:lnTo>
                    <a:lnTo>
                      <a:pt x="62" y="30"/>
                    </a:lnTo>
                    <a:cubicBezTo>
                      <a:pt x="62" y="30"/>
                      <a:pt x="62" y="30"/>
                      <a:pt x="62" y="62"/>
                    </a:cubicBezTo>
                    <a:lnTo>
                      <a:pt x="62" y="62"/>
                    </a:lnTo>
                    <a:lnTo>
                      <a:pt x="31" y="93"/>
                    </a:lnTo>
                    <a:lnTo>
                      <a:pt x="31" y="93"/>
                    </a:lnTo>
                    <a:cubicBezTo>
                      <a:pt x="0" y="93"/>
                      <a:pt x="0" y="93"/>
                      <a:pt x="0" y="93"/>
                    </a:cubicBezTo>
                    <a:lnTo>
                      <a:pt x="0" y="93"/>
                    </a:lnTo>
                    <a:lnTo>
                      <a:pt x="0" y="93"/>
                    </a:lnTo>
                    <a:cubicBezTo>
                      <a:pt x="31" y="93"/>
                      <a:pt x="31" y="93"/>
                      <a:pt x="31" y="93"/>
                    </a:cubicBezTo>
                    <a:lnTo>
                      <a:pt x="31" y="93"/>
                    </a:lnTo>
                    <a:cubicBezTo>
                      <a:pt x="62" y="93"/>
                      <a:pt x="62" y="93"/>
                      <a:pt x="62" y="93"/>
                    </a:cubicBezTo>
                    <a:lnTo>
                      <a:pt x="62" y="93"/>
                    </a:lnTo>
                    <a:lnTo>
                      <a:pt x="93" y="123"/>
                    </a:lnTo>
                    <a:cubicBezTo>
                      <a:pt x="124" y="123"/>
                      <a:pt x="124" y="123"/>
                      <a:pt x="124" y="123"/>
                    </a:cubicBezTo>
                    <a:lnTo>
                      <a:pt x="124" y="123"/>
                    </a:lnTo>
                    <a:cubicBezTo>
                      <a:pt x="124" y="93"/>
                      <a:pt x="124" y="93"/>
                      <a:pt x="155" y="93"/>
                    </a:cubicBezTo>
                    <a:cubicBezTo>
                      <a:pt x="155" y="62"/>
                      <a:pt x="155" y="62"/>
                      <a:pt x="186" y="62"/>
                    </a:cubicBezTo>
                    <a:lnTo>
                      <a:pt x="186" y="62"/>
                    </a:lnTo>
                    <a:lnTo>
                      <a:pt x="186" y="62"/>
                    </a:lnTo>
                    <a:lnTo>
                      <a:pt x="186" y="62"/>
                    </a:lnTo>
                    <a:cubicBezTo>
                      <a:pt x="217" y="62"/>
                      <a:pt x="217" y="62"/>
                      <a:pt x="217" y="62"/>
                    </a:cubicBezTo>
                    <a:lnTo>
                      <a:pt x="217" y="62"/>
                    </a:lnTo>
                    <a:lnTo>
                      <a:pt x="217" y="62"/>
                    </a:lnTo>
                    <a:lnTo>
                      <a:pt x="217" y="62"/>
                    </a:lnTo>
                    <a:cubicBezTo>
                      <a:pt x="186" y="62"/>
                      <a:pt x="186" y="62"/>
                      <a:pt x="186" y="30"/>
                    </a:cubicBezTo>
                    <a:lnTo>
                      <a:pt x="155" y="30"/>
                    </a:lnTo>
                    <a:cubicBezTo>
                      <a:pt x="124" y="30"/>
                      <a:pt x="124" y="30"/>
                      <a:pt x="93" y="0"/>
                    </a:cubicBezTo>
                    <a:lnTo>
                      <a:pt x="93" y="0"/>
                    </a:lnTo>
                    <a:cubicBezTo>
                      <a:pt x="93" y="0"/>
                      <a:pt x="93" y="0"/>
                      <a:pt x="62"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07" name="Freeform 104"/>
              <p:cNvSpPr>
                <a:spLocks noChangeArrowheads="1"/>
              </p:cNvSpPr>
              <p:nvPr/>
            </p:nvSpPr>
            <p:spPr bwMode="auto">
              <a:xfrm>
                <a:off x="6491288" y="1423988"/>
                <a:ext cx="33337" cy="100012"/>
              </a:xfrm>
              <a:custGeom>
                <a:avLst/>
                <a:gdLst>
                  <a:gd name="T0" fmla="*/ 0 w 94"/>
                  <a:gd name="T1" fmla="*/ 62 h 280"/>
                  <a:gd name="T2" fmla="*/ 0 w 94"/>
                  <a:gd name="T3" fmla="*/ 62 h 280"/>
                  <a:gd name="T4" fmla="*/ 0 w 94"/>
                  <a:gd name="T5" fmla="*/ 92 h 280"/>
                  <a:gd name="T6" fmla="*/ 31 w 94"/>
                  <a:gd name="T7" fmla="*/ 92 h 280"/>
                  <a:gd name="T8" fmla="*/ 31 w 94"/>
                  <a:gd name="T9" fmla="*/ 92 h 280"/>
                  <a:gd name="T10" fmla="*/ 31 w 94"/>
                  <a:gd name="T11" fmla="*/ 124 h 280"/>
                  <a:gd name="T12" fmla="*/ 31 w 94"/>
                  <a:gd name="T13" fmla="*/ 155 h 280"/>
                  <a:gd name="T14" fmla="*/ 31 w 94"/>
                  <a:gd name="T15" fmla="*/ 155 h 280"/>
                  <a:gd name="T16" fmla="*/ 31 w 94"/>
                  <a:gd name="T17" fmla="*/ 155 h 280"/>
                  <a:gd name="T18" fmla="*/ 31 w 94"/>
                  <a:gd name="T19" fmla="*/ 216 h 280"/>
                  <a:gd name="T20" fmla="*/ 31 w 94"/>
                  <a:gd name="T21" fmla="*/ 248 h 280"/>
                  <a:gd name="T22" fmla="*/ 31 w 94"/>
                  <a:gd name="T23" fmla="*/ 279 h 280"/>
                  <a:gd name="T24" fmla="*/ 31 w 94"/>
                  <a:gd name="T25" fmla="*/ 279 h 280"/>
                  <a:gd name="T26" fmla="*/ 31 w 94"/>
                  <a:gd name="T27" fmla="*/ 279 h 280"/>
                  <a:gd name="T28" fmla="*/ 31 w 94"/>
                  <a:gd name="T29" fmla="*/ 279 h 280"/>
                  <a:gd name="T30" fmla="*/ 31 w 94"/>
                  <a:gd name="T31" fmla="*/ 279 h 280"/>
                  <a:gd name="T32" fmla="*/ 31 w 94"/>
                  <a:gd name="T33" fmla="*/ 248 h 280"/>
                  <a:gd name="T34" fmla="*/ 31 w 94"/>
                  <a:gd name="T35" fmla="*/ 216 h 280"/>
                  <a:gd name="T36" fmla="*/ 62 w 94"/>
                  <a:gd name="T37" fmla="*/ 216 h 280"/>
                  <a:gd name="T38" fmla="*/ 62 w 94"/>
                  <a:gd name="T39" fmla="*/ 216 h 280"/>
                  <a:gd name="T40" fmla="*/ 93 w 94"/>
                  <a:gd name="T41" fmla="*/ 216 h 280"/>
                  <a:gd name="T42" fmla="*/ 93 w 94"/>
                  <a:gd name="T43" fmla="*/ 216 h 280"/>
                  <a:gd name="T44" fmla="*/ 93 w 94"/>
                  <a:gd name="T45" fmla="*/ 216 h 280"/>
                  <a:gd name="T46" fmla="*/ 93 w 94"/>
                  <a:gd name="T47" fmla="*/ 186 h 280"/>
                  <a:gd name="T48" fmla="*/ 93 w 94"/>
                  <a:gd name="T49" fmla="*/ 186 h 280"/>
                  <a:gd name="T50" fmla="*/ 62 w 94"/>
                  <a:gd name="T51" fmla="*/ 155 h 280"/>
                  <a:gd name="T52" fmla="*/ 62 w 94"/>
                  <a:gd name="T53" fmla="*/ 155 h 280"/>
                  <a:gd name="T54" fmla="*/ 62 w 94"/>
                  <a:gd name="T55" fmla="*/ 124 h 280"/>
                  <a:gd name="T56" fmla="*/ 31 w 94"/>
                  <a:gd name="T57" fmla="*/ 92 h 280"/>
                  <a:gd name="T58" fmla="*/ 62 w 94"/>
                  <a:gd name="T59" fmla="*/ 31 h 280"/>
                  <a:gd name="T60" fmla="*/ 62 w 94"/>
                  <a:gd name="T61" fmla="*/ 31 h 280"/>
                  <a:gd name="T62" fmla="*/ 62 w 94"/>
                  <a:gd name="T63" fmla="*/ 31 h 280"/>
                  <a:gd name="T64" fmla="*/ 62 w 94"/>
                  <a:gd name="T65" fmla="*/ 0 h 280"/>
                  <a:gd name="T66" fmla="*/ 62 w 94"/>
                  <a:gd name="T67" fmla="*/ 0 h 280"/>
                  <a:gd name="T68" fmla="*/ 62 w 94"/>
                  <a:gd name="T69" fmla="*/ 0 h 280"/>
                  <a:gd name="T70" fmla="*/ 31 w 94"/>
                  <a:gd name="T71" fmla="*/ 0 h 280"/>
                  <a:gd name="T72" fmla="*/ 31 w 94"/>
                  <a:gd name="T73" fmla="*/ 0 h 280"/>
                  <a:gd name="T74" fmla="*/ 31 w 94"/>
                  <a:gd name="T75" fmla="*/ 0 h 280"/>
                  <a:gd name="T76" fmla="*/ 0 w 94"/>
                  <a:gd name="T77" fmla="*/ 6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4" h="280">
                    <a:moveTo>
                      <a:pt x="0" y="62"/>
                    </a:moveTo>
                    <a:lnTo>
                      <a:pt x="0" y="62"/>
                    </a:lnTo>
                    <a:cubicBezTo>
                      <a:pt x="0" y="92"/>
                      <a:pt x="0" y="92"/>
                      <a:pt x="0" y="92"/>
                    </a:cubicBezTo>
                    <a:cubicBezTo>
                      <a:pt x="0" y="92"/>
                      <a:pt x="0" y="92"/>
                      <a:pt x="31" y="92"/>
                    </a:cubicBezTo>
                    <a:lnTo>
                      <a:pt x="31" y="92"/>
                    </a:lnTo>
                    <a:lnTo>
                      <a:pt x="31" y="124"/>
                    </a:lnTo>
                    <a:cubicBezTo>
                      <a:pt x="31" y="155"/>
                      <a:pt x="31" y="155"/>
                      <a:pt x="31" y="155"/>
                    </a:cubicBezTo>
                    <a:lnTo>
                      <a:pt x="31" y="155"/>
                    </a:lnTo>
                    <a:lnTo>
                      <a:pt x="31" y="155"/>
                    </a:lnTo>
                    <a:cubicBezTo>
                      <a:pt x="31" y="186"/>
                      <a:pt x="31" y="216"/>
                      <a:pt x="31" y="216"/>
                    </a:cubicBezTo>
                    <a:cubicBezTo>
                      <a:pt x="31" y="248"/>
                      <a:pt x="31" y="248"/>
                      <a:pt x="31" y="248"/>
                    </a:cubicBezTo>
                    <a:lnTo>
                      <a:pt x="31" y="279"/>
                    </a:lnTo>
                    <a:lnTo>
                      <a:pt x="31" y="279"/>
                    </a:lnTo>
                    <a:lnTo>
                      <a:pt x="31" y="279"/>
                    </a:lnTo>
                    <a:lnTo>
                      <a:pt x="31" y="279"/>
                    </a:lnTo>
                    <a:lnTo>
                      <a:pt x="31" y="279"/>
                    </a:lnTo>
                    <a:cubicBezTo>
                      <a:pt x="31" y="279"/>
                      <a:pt x="31" y="279"/>
                      <a:pt x="31" y="248"/>
                    </a:cubicBezTo>
                    <a:cubicBezTo>
                      <a:pt x="31" y="248"/>
                      <a:pt x="31" y="248"/>
                      <a:pt x="31" y="216"/>
                    </a:cubicBezTo>
                    <a:lnTo>
                      <a:pt x="62" y="216"/>
                    </a:lnTo>
                    <a:lnTo>
                      <a:pt x="62" y="216"/>
                    </a:lnTo>
                    <a:cubicBezTo>
                      <a:pt x="93" y="216"/>
                      <a:pt x="93" y="216"/>
                      <a:pt x="93" y="216"/>
                    </a:cubicBezTo>
                    <a:lnTo>
                      <a:pt x="93" y="216"/>
                    </a:lnTo>
                    <a:lnTo>
                      <a:pt x="93" y="216"/>
                    </a:lnTo>
                    <a:cubicBezTo>
                      <a:pt x="93" y="186"/>
                      <a:pt x="62" y="186"/>
                      <a:pt x="93" y="186"/>
                    </a:cubicBezTo>
                    <a:lnTo>
                      <a:pt x="93" y="186"/>
                    </a:lnTo>
                    <a:cubicBezTo>
                      <a:pt x="93" y="186"/>
                      <a:pt x="93" y="186"/>
                      <a:pt x="62" y="155"/>
                    </a:cubicBezTo>
                    <a:lnTo>
                      <a:pt x="62" y="155"/>
                    </a:lnTo>
                    <a:lnTo>
                      <a:pt x="62" y="124"/>
                    </a:lnTo>
                    <a:cubicBezTo>
                      <a:pt x="62" y="124"/>
                      <a:pt x="62" y="92"/>
                      <a:pt x="31" y="92"/>
                    </a:cubicBezTo>
                    <a:cubicBezTo>
                      <a:pt x="31" y="62"/>
                      <a:pt x="31" y="31"/>
                      <a:pt x="62" y="31"/>
                    </a:cubicBezTo>
                    <a:lnTo>
                      <a:pt x="62" y="31"/>
                    </a:lnTo>
                    <a:lnTo>
                      <a:pt x="62" y="31"/>
                    </a:lnTo>
                    <a:lnTo>
                      <a:pt x="62" y="0"/>
                    </a:lnTo>
                    <a:lnTo>
                      <a:pt x="62" y="0"/>
                    </a:lnTo>
                    <a:lnTo>
                      <a:pt x="62" y="0"/>
                    </a:lnTo>
                    <a:cubicBezTo>
                      <a:pt x="62" y="0"/>
                      <a:pt x="62" y="0"/>
                      <a:pt x="31" y="0"/>
                    </a:cubicBezTo>
                    <a:lnTo>
                      <a:pt x="31" y="0"/>
                    </a:lnTo>
                    <a:lnTo>
                      <a:pt x="31" y="0"/>
                    </a:lnTo>
                    <a:cubicBezTo>
                      <a:pt x="31" y="31"/>
                      <a:pt x="0" y="31"/>
                      <a:pt x="0" y="6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08" name="Freeform 105"/>
              <p:cNvSpPr>
                <a:spLocks noChangeArrowheads="1"/>
              </p:cNvSpPr>
              <p:nvPr/>
            </p:nvSpPr>
            <p:spPr bwMode="auto">
              <a:xfrm>
                <a:off x="5141913" y="1423988"/>
                <a:ext cx="1193800" cy="736600"/>
              </a:xfrm>
              <a:custGeom>
                <a:avLst/>
                <a:gdLst>
                  <a:gd name="T0" fmla="*/ 2913 w 3317"/>
                  <a:gd name="T1" fmla="*/ 712 h 2046"/>
                  <a:gd name="T2" fmla="*/ 3130 w 3317"/>
                  <a:gd name="T3" fmla="*/ 620 h 2046"/>
                  <a:gd name="T4" fmla="*/ 3161 w 3317"/>
                  <a:gd name="T5" fmla="*/ 496 h 2046"/>
                  <a:gd name="T6" fmla="*/ 3254 w 3317"/>
                  <a:gd name="T7" fmla="*/ 464 h 2046"/>
                  <a:gd name="T8" fmla="*/ 3254 w 3317"/>
                  <a:gd name="T9" fmla="*/ 340 h 2046"/>
                  <a:gd name="T10" fmla="*/ 3069 w 3317"/>
                  <a:gd name="T11" fmla="*/ 279 h 2046"/>
                  <a:gd name="T12" fmla="*/ 2851 w 3317"/>
                  <a:gd name="T13" fmla="*/ 62 h 2046"/>
                  <a:gd name="T14" fmla="*/ 2665 w 3317"/>
                  <a:gd name="T15" fmla="*/ 0 h 2046"/>
                  <a:gd name="T16" fmla="*/ 2603 w 3317"/>
                  <a:gd name="T17" fmla="*/ 62 h 2046"/>
                  <a:gd name="T18" fmla="*/ 2479 w 3317"/>
                  <a:gd name="T19" fmla="*/ 216 h 2046"/>
                  <a:gd name="T20" fmla="*/ 2325 w 3317"/>
                  <a:gd name="T21" fmla="*/ 310 h 2046"/>
                  <a:gd name="T22" fmla="*/ 2541 w 3317"/>
                  <a:gd name="T23" fmla="*/ 403 h 2046"/>
                  <a:gd name="T24" fmla="*/ 2479 w 3317"/>
                  <a:gd name="T25" fmla="*/ 434 h 2046"/>
                  <a:gd name="T26" fmla="*/ 2355 w 3317"/>
                  <a:gd name="T27" fmla="*/ 464 h 2046"/>
                  <a:gd name="T28" fmla="*/ 2201 w 3317"/>
                  <a:gd name="T29" fmla="*/ 558 h 2046"/>
                  <a:gd name="T30" fmla="*/ 2107 w 3317"/>
                  <a:gd name="T31" fmla="*/ 588 h 2046"/>
                  <a:gd name="T32" fmla="*/ 1983 w 3317"/>
                  <a:gd name="T33" fmla="*/ 712 h 2046"/>
                  <a:gd name="T34" fmla="*/ 1673 w 3317"/>
                  <a:gd name="T35" fmla="*/ 744 h 2046"/>
                  <a:gd name="T36" fmla="*/ 1549 w 3317"/>
                  <a:gd name="T37" fmla="*/ 744 h 2046"/>
                  <a:gd name="T38" fmla="*/ 1240 w 3317"/>
                  <a:gd name="T39" fmla="*/ 681 h 2046"/>
                  <a:gd name="T40" fmla="*/ 1085 w 3317"/>
                  <a:gd name="T41" fmla="*/ 558 h 2046"/>
                  <a:gd name="T42" fmla="*/ 898 w 3317"/>
                  <a:gd name="T43" fmla="*/ 434 h 2046"/>
                  <a:gd name="T44" fmla="*/ 713 w 3317"/>
                  <a:gd name="T45" fmla="*/ 279 h 2046"/>
                  <a:gd name="T46" fmla="*/ 620 w 3317"/>
                  <a:gd name="T47" fmla="*/ 434 h 2046"/>
                  <a:gd name="T48" fmla="*/ 496 w 3317"/>
                  <a:gd name="T49" fmla="*/ 434 h 2046"/>
                  <a:gd name="T50" fmla="*/ 433 w 3317"/>
                  <a:gd name="T51" fmla="*/ 558 h 2046"/>
                  <a:gd name="T52" fmla="*/ 372 w 3317"/>
                  <a:gd name="T53" fmla="*/ 651 h 2046"/>
                  <a:gd name="T54" fmla="*/ 341 w 3317"/>
                  <a:gd name="T55" fmla="*/ 744 h 2046"/>
                  <a:gd name="T56" fmla="*/ 61 w 3317"/>
                  <a:gd name="T57" fmla="*/ 836 h 2046"/>
                  <a:gd name="T58" fmla="*/ 0 w 3317"/>
                  <a:gd name="T59" fmla="*/ 899 h 2046"/>
                  <a:gd name="T60" fmla="*/ 124 w 3317"/>
                  <a:gd name="T61" fmla="*/ 1053 h 2046"/>
                  <a:gd name="T62" fmla="*/ 248 w 3317"/>
                  <a:gd name="T63" fmla="*/ 1084 h 2046"/>
                  <a:gd name="T64" fmla="*/ 341 w 3317"/>
                  <a:gd name="T65" fmla="*/ 1084 h 2046"/>
                  <a:gd name="T66" fmla="*/ 341 w 3317"/>
                  <a:gd name="T67" fmla="*/ 1208 h 2046"/>
                  <a:gd name="T68" fmla="*/ 278 w 3317"/>
                  <a:gd name="T69" fmla="*/ 1364 h 2046"/>
                  <a:gd name="T70" fmla="*/ 372 w 3317"/>
                  <a:gd name="T71" fmla="*/ 1456 h 2046"/>
                  <a:gd name="T72" fmla="*/ 526 w 3317"/>
                  <a:gd name="T73" fmla="*/ 1488 h 2046"/>
                  <a:gd name="T74" fmla="*/ 650 w 3317"/>
                  <a:gd name="T75" fmla="*/ 1549 h 2046"/>
                  <a:gd name="T76" fmla="*/ 774 w 3317"/>
                  <a:gd name="T77" fmla="*/ 1580 h 2046"/>
                  <a:gd name="T78" fmla="*/ 868 w 3317"/>
                  <a:gd name="T79" fmla="*/ 1549 h 2046"/>
                  <a:gd name="T80" fmla="*/ 961 w 3317"/>
                  <a:gd name="T81" fmla="*/ 1580 h 2046"/>
                  <a:gd name="T82" fmla="*/ 1085 w 3317"/>
                  <a:gd name="T83" fmla="*/ 1519 h 2046"/>
                  <a:gd name="T84" fmla="*/ 1240 w 3317"/>
                  <a:gd name="T85" fmla="*/ 1488 h 2046"/>
                  <a:gd name="T86" fmla="*/ 1394 w 3317"/>
                  <a:gd name="T87" fmla="*/ 1704 h 2046"/>
                  <a:gd name="T88" fmla="*/ 1332 w 3317"/>
                  <a:gd name="T89" fmla="*/ 1828 h 2046"/>
                  <a:gd name="T90" fmla="*/ 1394 w 3317"/>
                  <a:gd name="T91" fmla="*/ 1890 h 2046"/>
                  <a:gd name="T92" fmla="*/ 1457 w 3317"/>
                  <a:gd name="T93" fmla="*/ 1984 h 2046"/>
                  <a:gd name="T94" fmla="*/ 1549 w 3317"/>
                  <a:gd name="T95" fmla="*/ 1952 h 2046"/>
                  <a:gd name="T96" fmla="*/ 1673 w 3317"/>
                  <a:gd name="T97" fmla="*/ 1921 h 2046"/>
                  <a:gd name="T98" fmla="*/ 1766 w 3317"/>
                  <a:gd name="T99" fmla="*/ 1921 h 2046"/>
                  <a:gd name="T100" fmla="*/ 1890 w 3317"/>
                  <a:gd name="T101" fmla="*/ 2014 h 2046"/>
                  <a:gd name="T102" fmla="*/ 2169 w 3317"/>
                  <a:gd name="T103" fmla="*/ 1952 h 2046"/>
                  <a:gd name="T104" fmla="*/ 2386 w 3317"/>
                  <a:gd name="T105" fmla="*/ 1828 h 2046"/>
                  <a:gd name="T106" fmla="*/ 2573 w 3317"/>
                  <a:gd name="T107" fmla="*/ 1612 h 2046"/>
                  <a:gd name="T108" fmla="*/ 2573 w 3317"/>
                  <a:gd name="T109" fmla="*/ 1519 h 2046"/>
                  <a:gd name="T110" fmla="*/ 2573 w 3317"/>
                  <a:gd name="T111" fmla="*/ 1271 h 2046"/>
                  <a:gd name="T112" fmla="*/ 2541 w 3317"/>
                  <a:gd name="T113" fmla="*/ 1053 h 2046"/>
                  <a:gd name="T114" fmla="*/ 2386 w 3317"/>
                  <a:gd name="T115" fmla="*/ 960 h 2046"/>
                  <a:gd name="T116" fmla="*/ 2603 w 3317"/>
                  <a:gd name="T117" fmla="*/ 744 h 2046"/>
                  <a:gd name="T118" fmla="*/ 2821 w 3317"/>
                  <a:gd name="T119" fmla="*/ 775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17" h="2046">
                    <a:moveTo>
                      <a:pt x="2821" y="775"/>
                    </a:moveTo>
                    <a:lnTo>
                      <a:pt x="2821" y="775"/>
                    </a:lnTo>
                    <a:lnTo>
                      <a:pt x="2821" y="775"/>
                    </a:lnTo>
                    <a:lnTo>
                      <a:pt x="2821" y="775"/>
                    </a:lnTo>
                    <a:lnTo>
                      <a:pt x="2821" y="775"/>
                    </a:lnTo>
                    <a:lnTo>
                      <a:pt x="2851" y="744"/>
                    </a:lnTo>
                    <a:lnTo>
                      <a:pt x="2851" y="744"/>
                    </a:lnTo>
                    <a:lnTo>
                      <a:pt x="2851" y="744"/>
                    </a:lnTo>
                    <a:lnTo>
                      <a:pt x="2882" y="744"/>
                    </a:lnTo>
                    <a:cubicBezTo>
                      <a:pt x="2882" y="712"/>
                      <a:pt x="2882" y="712"/>
                      <a:pt x="2913" y="712"/>
                    </a:cubicBezTo>
                    <a:lnTo>
                      <a:pt x="2913" y="712"/>
                    </a:lnTo>
                    <a:cubicBezTo>
                      <a:pt x="2944" y="712"/>
                      <a:pt x="2944" y="712"/>
                      <a:pt x="2944" y="712"/>
                    </a:cubicBezTo>
                    <a:cubicBezTo>
                      <a:pt x="2944" y="712"/>
                      <a:pt x="2975" y="712"/>
                      <a:pt x="2975" y="681"/>
                    </a:cubicBezTo>
                    <a:lnTo>
                      <a:pt x="2975" y="681"/>
                    </a:lnTo>
                    <a:lnTo>
                      <a:pt x="3006" y="681"/>
                    </a:lnTo>
                    <a:lnTo>
                      <a:pt x="3006" y="681"/>
                    </a:lnTo>
                    <a:cubicBezTo>
                      <a:pt x="3037" y="681"/>
                      <a:pt x="3037" y="651"/>
                      <a:pt x="3037" y="651"/>
                    </a:cubicBezTo>
                    <a:cubicBezTo>
                      <a:pt x="3037" y="651"/>
                      <a:pt x="3037" y="651"/>
                      <a:pt x="3069" y="620"/>
                    </a:cubicBezTo>
                    <a:lnTo>
                      <a:pt x="3069" y="620"/>
                    </a:lnTo>
                    <a:lnTo>
                      <a:pt x="3069" y="620"/>
                    </a:lnTo>
                    <a:cubicBezTo>
                      <a:pt x="3099" y="620"/>
                      <a:pt x="3099" y="620"/>
                      <a:pt x="3099" y="620"/>
                    </a:cubicBezTo>
                    <a:lnTo>
                      <a:pt x="3130" y="620"/>
                    </a:lnTo>
                    <a:lnTo>
                      <a:pt x="3130" y="620"/>
                    </a:lnTo>
                    <a:lnTo>
                      <a:pt x="3130" y="620"/>
                    </a:lnTo>
                    <a:cubicBezTo>
                      <a:pt x="3130" y="620"/>
                      <a:pt x="3130" y="620"/>
                      <a:pt x="3130" y="588"/>
                    </a:cubicBezTo>
                    <a:lnTo>
                      <a:pt x="3130" y="588"/>
                    </a:lnTo>
                    <a:lnTo>
                      <a:pt x="3130" y="558"/>
                    </a:lnTo>
                    <a:lnTo>
                      <a:pt x="3130" y="558"/>
                    </a:lnTo>
                    <a:lnTo>
                      <a:pt x="3099" y="558"/>
                    </a:lnTo>
                    <a:cubicBezTo>
                      <a:pt x="3099" y="527"/>
                      <a:pt x="3099" y="527"/>
                      <a:pt x="3099" y="527"/>
                    </a:cubicBezTo>
                    <a:cubicBezTo>
                      <a:pt x="3099" y="527"/>
                      <a:pt x="3099" y="496"/>
                      <a:pt x="3130" y="496"/>
                    </a:cubicBezTo>
                    <a:lnTo>
                      <a:pt x="3130" y="496"/>
                    </a:lnTo>
                    <a:lnTo>
                      <a:pt x="3161" y="496"/>
                    </a:lnTo>
                    <a:cubicBezTo>
                      <a:pt x="3161" y="496"/>
                      <a:pt x="3161" y="496"/>
                      <a:pt x="3161" y="464"/>
                    </a:cubicBezTo>
                    <a:lnTo>
                      <a:pt x="3161" y="464"/>
                    </a:lnTo>
                    <a:cubicBezTo>
                      <a:pt x="3161" y="464"/>
                      <a:pt x="3161" y="464"/>
                      <a:pt x="3192" y="464"/>
                    </a:cubicBezTo>
                    <a:lnTo>
                      <a:pt x="3192" y="464"/>
                    </a:lnTo>
                    <a:lnTo>
                      <a:pt x="3192" y="464"/>
                    </a:lnTo>
                    <a:cubicBezTo>
                      <a:pt x="3192" y="464"/>
                      <a:pt x="3192" y="464"/>
                      <a:pt x="3223" y="496"/>
                    </a:cubicBezTo>
                    <a:lnTo>
                      <a:pt x="3223" y="496"/>
                    </a:lnTo>
                    <a:cubicBezTo>
                      <a:pt x="3223" y="464"/>
                      <a:pt x="3254" y="464"/>
                      <a:pt x="3254" y="464"/>
                    </a:cubicBezTo>
                    <a:lnTo>
                      <a:pt x="3254" y="464"/>
                    </a:lnTo>
                    <a:lnTo>
                      <a:pt x="3254" y="464"/>
                    </a:lnTo>
                    <a:lnTo>
                      <a:pt x="3254" y="464"/>
                    </a:lnTo>
                    <a:lnTo>
                      <a:pt x="3254" y="464"/>
                    </a:lnTo>
                    <a:cubicBezTo>
                      <a:pt x="3254" y="434"/>
                      <a:pt x="3285" y="434"/>
                      <a:pt x="3285" y="403"/>
                    </a:cubicBezTo>
                    <a:lnTo>
                      <a:pt x="3285" y="403"/>
                    </a:lnTo>
                    <a:lnTo>
                      <a:pt x="3285" y="403"/>
                    </a:lnTo>
                    <a:cubicBezTo>
                      <a:pt x="3285" y="372"/>
                      <a:pt x="3285" y="372"/>
                      <a:pt x="3285" y="372"/>
                    </a:cubicBezTo>
                    <a:cubicBezTo>
                      <a:pt x="3285" y="372"/>
                      <a:pt x="3285" y="340"/>
                      <a:pt x="3316" y="340"/>
                    </a:cubicBezTo>
                    <a:lnTo>
                      <a:pt x="3316" y="340"/>
                    </a:lnTo>
                    <a:lnTo>
                      <a:pt x="3316" y="340"/>
                    </a:lnTo>
                    <a:lnTo>
                      <a:pt x="3285" y="340"/>
                    </a:lnTo>
                    <a:lnTo>
                      <a:pt x="3285" y="340"/>
                    </a:lnTo>
                    <a:cubicBezTo>
                      <a:pt x="3254" y="340"/>
                      <a:pt x="3254" y="340"/>
                      <a:pt x="3254" y="340"/>
                    </a:cubicBezTo>
                    <a:lnTo>
                      <a:pt x="3254" y="340"/>
                    </a:lnTo>
                    <a:lnTo>
                      <a:pt x="3254" y="340"/>
                    </a:lnTo>
                    <a:cubicBezTo>
                      <a:pt x="3254" y="372"/>
                      <a:pt x="3223" y="372"/>
                      <a:pt x="3192" y="372"/>
                    </a:cubicBezTo>
                    <a:lnTo>
                      <a:pt x="3192" y="372"/>
                    </a:lnTo>
                    <a:cubicBezTo>
                      <a:pt x="3161" y="372"/>
                      <a:pt x="3161" y="372"/>
                      <a:pt x="3130" y="372"/>
                    </a:cubicBezTo>
                    <a:lnTo>
                      <a:pt x="3130" y="372"/>
                    </a:lnTo>
                    <a:cubicBezTo>
                      <a:pt x="3099" y="372"/>
                      <a:pt x="3099" y="340"/>
                      <a:pt x="3099" y="340"/>
                    </a:cubicBezTo>
                    <a:cubicBezTo>
                      <a:pt x="3099" y="340"/>
                      <a:pt x="3099" y="340"/>
                      <a:pt x="3099" y="310"/>
                    </a:cubicBezTo>
                    <a:lnTo>
                      <a:pt x="3099" y="310"/>
                    </a:lnTo>
                    <a:lnTo>
                      <a:pt x="3099" y="310"/>
                    </a:lnTo>
                    <a:cubicBezTo>
                      <a:pt x="3069" y="310"/>
                      <a:pt x="3069" y="310"/>
                      <a:pt x="3069" y="279"/>
                    </a:cubicBezTo>
                    <a:cubicBezTo>
                      <a:pt x="3069" y="279"/>
                      <a:pt x="3069" y="279"/>
                      <a:pt x="3037" y="279"/>
                    </a:cubicBezTo>
                    <a:lnTo>
                      <a:pt x="3037" y="279"/>
                    </a:lnTo>
                    <a:lnTo>
                      <a:pt x="3037" y="279"/>
                    </a:lnTo>
                    <a:lnTo>
                      <a:pt x="3037" y="279"/>
                    </a:lnTo>
                    <a:cubicBezTo>
                      <a:pt x="3006" y="279"/>
                      <a:pt x="2975" y="279"/>
                      <a:pt x="2975" y="279"/>
                    </a:cubicBezTo>
                    <a:cubicBezTo>
                      <a:pt x="2944" y="248"/>
                      <a:pt x="2944" y="248"/>
                      <a:pt x="2913" y="216"/>
                    </a:cubicBezTo>
                    <a:lnTo>
                      <a:pt x="2913" y="186"/>
                    </a:lnTo>
                    <a:cubicBezTo>
                      <a:pt x="2913" y="155"/>
                      <a:pt x="2913" y="155"/>
                      <a:pt x="2882" y="155"/>
                    </a:cubicBezTo>
                    <a:cubicBezTo>
                      <a:pt x="2882" y="124"/>
                      <a:pt x="2882" y="124"/>
                      <a:pt x="2882" y="124"/>
                    </a:cubicBezTo>
                    <a:cubicBezTo>
                      <a:pt x="2882" y="124"/>
                      <a:pt x="2882" y="92"/>
                      <a:pt x="2851" y="92"/>
                    </a:cubicBezTo>
                    <a:lnTo>
                      <a:pt x="2851" y="62"/>
                    </a:lnTo>
                    <a:cubicBezTo>
                      <a:pt x="2851" y="62"/>
                      <a:pt x="2851" y="31"/>
                      <a:pt x="2821" y="31"/>
                    </a:cubicBezTo>
                    <a:lnTo>
                      <a:pt x="2821" y="31"/>
                    </a:lnTo>
                    <a:lnTo>
                      <a:pt x="2821" y="31"/>
                    </a:lnTo>
                    <a:lnTo>
                      <a:pt x="2821" y="31"/>
                    </a:lnTo>
                    <a:lnTo>
                      <a:pt x="2821" y="31"/>
                    </a:lnTo>
                    <a:lnTo>
                      <a:pt x="2789" y="31"/>
                    </a:lnTo>
                    <a:lnTo>
                      <a:pt x="2789" y="31"/>
                    </a:lnTo>
                    <a:lnTo>
                      <a:pt x="2758" y="31"/>
                    </a:lnTo>
                    <a:cubicBezTo>
                      <a:pt x="2758" y="31"/>
                      <a:pt x="2758" y="0"/>
                      <a:pt x="2727" y="0"/>
                    </a:cubicBezTo>
                    <a:lnTo>
                      <a:pt x="2665" y="0"/>
                    </a:lnTo>
                    <a:lnTo>
                      <a:pt x="2665" y="0"/>
                    </a:lnTo>
                    <a:cubicBezTo>
                      <a:pt x="2634" y="0"/>
                      <a:pt x="2634" y="0"/>
                      <a:pt x="2634" y="0"/>
                    </a:cubicBezTo>
                    <a:cubicBezTo>
                      <a:pt x="2634" y="31"/>
                      <a:pt x="2634" y="31"/>
                      <a:pt x="2603" y="31"/>
                    </a:cubicBezTo>
                    <a:lnTo>
                      <a:pt x="2603" y="31"/>
                    </a:lnTo>
                    <a:lnTo>
                      <a:pt x="2603" y="31"/>
                    </a:lnTo>
                    <a:cubicBezTo>
                      <a:pt x="2603" y="0"/>
                      <a:pt x="2603" y="0"/>
                      <a:pt x="2603" y="0"/>
                    </a:cubicBezTo>
                    <a:lnTo>
                      <a:pt x="2573" y="31"/>
                    </a:lnTo>
                    <a:lnTo>
                      <a:pt x="2573" y="31"/>
                    </a:lnTo>
                    <a:lnTo>
                      <a:pt x="2603" y="31"/>
                    </a:lnTo>
                    <a:cubicBezTo>
                      <a:pt x="2603" y="62"/>
                      <a:pt x="2603" y="62"/>
                      <a:pt x="2603" y="62"/>
                    </a:cubicBezTo>
                    <a:lnTo>
                      <a:pt x="2603" y="62"/>
                    </a:lnTo>
                    <a:lnTo>
                      <a:pt x="2603" y="62"/>
                    </a:lnTo>
                    <a:cubicBezTo>
                      <a:pt x="2603" y="92"/>
                      <a:pt x="2573" y="92"/>
                      <a:pt x="2573" y="124"/>
                    </a:cubicBezTo>
                    <a:lnTo>
                      <a:pt x="2541" y="124"/>
                    </a:lnTo>
                    <a:lnTo>
                      <a:pt x="2541" y="155"/>
                    </a:lnTo>
                    <a:lnTo>
                      <a:pt x="2541" y="155"/>
                    </a:lnTo>
                    <a:lnTo>
                      <a:pt x="2541" y="155"/>
                    </a:lnTo>
                    <a:lnTo>
                      <a:pt x="2510" y="186"/>
                    </a:lnTo>
                    <a:lnTo>
                      <a:pt x="2510" y="186"/>
                    </a:lnTo>
                    <a:lnTo>
                      <a:pt x="2510" y="186"/>
                    </a:lnTo>
                    <a:lnTo>
                      <a:pt x="2510" y="186"/>
                    </a:lnTo>
                    <a:cubicBezTo>
                      <a:pt x="2510" y="216"/>
                      <a:pt x="2510" y="216"/>
                      <a:pt x="2479" y="216"/>
                    </a:cubicBezTo>
                    <a:lnTo>
                      <a:pt x="2479" y="216"/>
                    </a:lnTo>
                    <a:lnTo>
                      <a:pt x="2479" y="216"/>
                    </a:lnTo>
                    <a:cubicBezTo>
                      <a:pt x="2479" y="248"/>
                      <a:pt x="2479" y="248"/>
                      <a:pt x="2449" y="248"/>
                    </a:cubicBezTo>
                    <a:cubicBezTo>
                      <a:pt x="2449" y="248"/>
                      <a:pt x="2417" y="248"/>
                      <a:pt x="2386" y="248"/>
                    </a:cubicBezTo>
                    <a:lnTo>
                      <a:pt x="2386" y="248"/>
                    </a:lnTo>
                    <a:lnTo>
                      <a:pt x="2355" y="248"/>
                    </a:lnTo>
                    <a:cubicBezTo>
                      <a:pt x="2355" y="248"/>
                      <a:pt x="2355" y="279"/>
                      <a:pt x="2325" y="279"/>
                    </a:cubicBezTo>
                    <a:lnTo>
                      <a:pt x="2325" y="310"/>
                    </a:lnTo>
                    <a:lnTo>
                      <a:pt x="2325" y="310"/>
                    </a:lnTo>
                    <a:lnTo>
                      <a:pt x="2325" y="310"/>
                    </a:lnTo>
                    <a:lnTo>
                      <a:pt x="2325" y="310"/>
                    </a:lnTo>
                    <a:lnTo>
                      <a:pt x="2325" y="310"/>
                    </a:lnTo>
                    <a:lnTo>
                      <a:pt x="2325" y="310"/>
                    </a:lnTo>
                    <a:cubicBezTo>
                      <a:pt x="2355" y="310"/>
                      <a:pt x="2355" y="310"/>
                      <a:pt x="2355" y="310"/>
                    </a:cubicBezTo>
                    <a:lnTo>
                      <a:pt x="2355" y="310"/>
                    </a:lnTo>
                    <a:lnTo>
                      <a:pt x="2386" y="310"/>
                    </a:lnTo>
                    <a:lnTo>
                      <a:pt x="2386" y="310"/>
                    </a:lnTo>
                    <a:cubicBezTo>
                      <a:pt x="2417" y="310"/>
                      <a:pt x="2417" y="310"/>
                      <a:pt x="2417" y="310"/>
                    </a:cubicBezTo>
                    <a:lnTo>
                      <a:pt x="2417" y="310"/>
                    </a:lnTo>
                    <a:cubicBezTo>
                      <a:pt x="2449" y="310"/>
                      <a:pt x="2449" y="310"/>
                      <a:pt x="2449" y="310"/>
                    </a:cubicBezTo>
                    <a:cubicBezTo>
                      <a:pt x="2449" y="310"/>
                      <a:pt x="2449" y="310"/>
                      <a:pt x="2479" y="310"/>
                    </a:cubicBezTo>
                    <a:cubicBezTo>
                      <a:pt x="2479" y="340"/>
                      <a:pt x="2541" y="372"/>
                      <a:pt x="2541" y="372"/>
                    </a:cubicBezTo>
                    <a:lnTo>
                      <a:pt x="2541" y="403"/>
                    </a:lnTo>
                    <a:cubicBezTo>
                      <a:pt x="2541" y="403"/>
                      <a:pt x="2541" y="403"/>
                      <a:pt x="2541" y="434"/>
                    </a:cubicBezTo>
                    <a:lnTo>
                      <a:pt x="2541" y="434"/>
                    </a:lnTo>
                    <a:cubicBezTo>
                      <a:pt x="2541" y="434"/>
                      <a:pt x="2541" y="464"/>
                      <a:pt x="2510" y="464"/>
                    </a:cubicBezTo>
                    <a:lnTo>
                      <a:pt x="2510" y="464"/>
                    </a:lnTo>
                    <a:lnTo>
                      <a:pt x="2510" y="434"/>
                    </a:lnTo>
                    <a:lnTo>
                      <a:pt x="2510" y="434"/>
                    </a:lnTo>
                    <a:cubicBezTo>
                      <a:pt x="2479" y="434"/>
                      <a:pt x="2479" y="434"/>
                      <a:pt x="2479" y="434"/>
                    </a:cubicBezTo>
                    <a:lnTo>
                      <a:pt x="2479" y="434"/>
                    </a:lnTo>
                    <a:lnTo>
                      <a:pt x="2479" y="434"/>
                    </a:lnTo>
                    <a:lnTo>
                      <a:pt x="2479" y="434"/>
                    </a:lnTo>
                    <a:lnTo>
                      <a:pt x="2479" y="434"/>
                    </a:lnTo>
                    <a:cubicBezTo>
                      <a:pt x="2449" y="434"/>
                      <a:pt x="2449" y="434"/>
                      <a:pt x="2449" y="434"/>
                    </a:cubicBezTo>
                    <a:lnTo>
                      <a:pt x="2449" y="434"/>
                    </a:lnTo>
                    <a:lnTo>
                      <a:pt x="2449" y="434"/>
                    </a:lnTo>
                    <a:cubicBezTo>
                      <a:pt x="2449" y="434"/>
                      <a:pt x="2449" y="434"/>
                      <a:pt x="2417" y="434"/>
                    </a:cubicBezTo>
                    <a:cubicBezTo>
                      <a:pt x="2417" y="464"/>
                      <a:pt x="2417" y="464"/>
                      <a:pt x="2417" y="464"/>
                    </a:cubicBezTo>
                    <a:lnTo>
                      <a:pt x="2417" y="464"/>
                    </a:lnTo>
                    <a:lnTo>
                      <a:pt x="2417" y="464"/>
                    </a:lnTo>
                    <a:cubicBezTo>
                      <a:pt x="2386" y="464"/>
                      <a:pt x="2386" y="464"/>
                      <a:pt x="2386" y="464"/>
                    </a:cubicBezTo>
                    <a:lnTo>
                      <a:pt x="2386" y="464"/>
                    </a:lnTo>
                    <a:lnTo>
                      <a:pt x="2386" y="464"/>
                    </a:lnTo>
                    <a:lnTo>
                      <a:pt x="2355" y="464"/>
                    </a:lnTo>
                    <a:lnTo>
                      <a:pt x="2355" y="464"/>
                    </a:lnTo>
                    <a:lnTo>
                      <a:pt x="2355" y="464"/>
                    </a:lnTo>
                    <a:cubicBezTo>
                      <a:pt x="2355" y="496"/>
                      <a:pt x="2355" y="496"/>
                      <a:pt x="2325" y="496"/>
                    </a:cubicBezTo>
                    <a:cubicBezTo>
                      <a:pt x="2325" y="527"/>
                      <a:pt x="2325" y="527"/>
                      <a:pt x="2325" y="527"/>
                    </a:cubicBezTo>
                    <a:cubicBezTo>
                      <a:pt x="2293" y="527"/>
                      <a:pt x="2293" y="527"/>
                      <a:pt x="2293" y="527"/>
                    </a:cubicBezTo>
                    <a:lnTo>
                      <a:pt x="2293" y="527"/>
                    </a:lnTo>
                    <a:lnTo>
                      <a:pt x="2262" y="527"/>
                    </a:lnTo>
                    <a:lnTo>
                      <a:pt x="2262" y="527"/>
                    </a:lnTo>
                    <a:lnTo>
                      <a:pt x="2262" y="527"/>
                    </a:lnTo>
                    <a:cubicBezTo>
                      <a:pt x="2262" y="527"/>
                      <a:pt x="2231" y="527"/>
                      <a:pt x="2231" y="558"/>
                    </a:cubicBezTo>
                    <a:cubicBezTo>
                      <a:pt x="2201" y="558"/>
                      <a:pt x="2201" y="558"/>
                      <a:pt x="2201" y="558"/>
                    </a:cubicBezTo>
                    <a:lnTo>
                      <a:pt x="2201" y="558"/>
                    </a:lnTo>
                    <a:lnTo>
                      <a:pt x="2201" y="558"/>
                    </a:lnTo>
                    <a:cubicBezTo>
                      <a:pt x="2169" y="558"/>
                      <a:pt x="2169" y="558"/>
                      <a:pt x="2169" y="558"/>
                    </a:cubicBezTo>
                    <a:lnTo>
                      <a:pt x="2169" y="558"/>
                    </a:lnTo>
                    <a:cubicBezTo>
                      <a:pt x="2138" y="558"/>
                      <a:pt x="2138" y="558"/>
                      <a:pt x="2138" y="558"/>
                    </a:cubicBezTo>
                    <a:cubicBezTo>
                      <a:pt x="2107" y="558"/>
                      <a:pt x="2107" y="558"/>
                      <a:pt x="2077" y="558"/>
                    </a:cubicBezTo>
                    <a:lnTo>
                      <a:pt x="2077" y="558"/>
                    </a:lnTo>
                    <a:lnTo>
                      <a:pt x="2077" y="558"/>
                    </a:lnTo>
                    <a:lnTo>
                      <a:pt x="2077" y="558"/>
                    </a:lnTo>
                    <a:lnTo>
                      <a:pt x="2077" y="558"/>
                    </a:lnTo>
                    <a:cubicBezTo>
                      <a:pt x="2107" y="558"/>
                      <a:pt x="2107" y="588"/>
                      <a:pt x="2107" y="588"/>
                    </a:cubicBezTo>
                    <a:cubicBezTo>
                      <a:pt x="2107" y="620"/>
                      <a:pt x="2107" y="620"/>
                      <a:pt x="2107" y="620"/>
                    </a:cubicBezTo>
                    <a:lnTo>
                      <a:pt x="2107" y="620"/>
                    </a:lnTo>
                    <a:cubicBezTo>
                      <a:pt x="2107" y="651"/>
                      <a:pt x="2077" y="651"/>
                      <a:pt x="2077" y="651"/>
                    </a:cubicBezTo>
                    <a:lnTo>
                      <a:pt x="2077" y="651"/>
                    </a:lnTo>
                    <a:cubicBezTo>
                      <a:pt x="2077" y="651"/>
                      <a:pt x="2077" y="651"/>
                      <a:pt x="2045" y="651"/>
                    </a:cubicBezTo>
                    <a:lnTo>
                      <a:pt x="2045" y="651"/>
                    </a:lnTo>
                    <a:lnTo>
                      <a:pt x="2045" y="651"/>
                    </a:lnTo>
                    <a:lnTo>
                      <a:pt x="2045" y="651"/>
                    </a:lnTo>
                    <a:lnTo>
                      <a:pt x="2045" y="651"/>
                    </a:lnTo>
                    <a:cubicBezTo>
                      <a:pt x="2045" y="681"/>
                      <a:pt x="2045" y="681"/>
                      <a:pt x="2014" y="681"/>
                    </a:cubicBezTo>
                    <a:cubicBezTo>
                      <a:pt x="2014" y="712"/>
                      <a:pt x="1983" y="712"/>
                      <a:pt x="1983" y="712"/>
                    </a:cubicBezTo>
                    <a:lnTo>
                      <a:pt x="1983" y="712"/>
                    </a:lnTo>
                    <a:cubicBezTo>
                      <a:pt x="1953" y="712"/>
                      <a:pt x="1953" y="712"/>
                      <a:pt x="1953" y="712"/>
                    </a:cubicBezTo>
                    <a:lnTo>
                      <a:pt x="1921" y="712"/>
                    </a:lnTo>
                    <a:cubicBezTo>
                      <a:pt x="1890" y="712"/>
                      <a:pt x="1890" y="712"/>
                      <a:pt x="1859" y="712"/>
                    </a:cubicBezTo>
                    <a:lnTo>
                      <a:pt x="1829" y="712"/>
                    </a:lnTo>
                    <a:lnTo>
                      <a:pt x="1829" y="712"/>
                    </a:lnTo>
                    <a:cubicBezTo>
                      <a:pt x="1829" y="712"/>
                      <a:pt x="1797" y="744"/>
                      <a:pt x="1766" y="744"/>
                    </a:cubicBezTo>
                    <a:cubicBezTo>
                      <a:pt x="1766" y="744"/>
                      <a:pt x="1735" y="775"/>
                      <a:pt x="1705" y="775"/>
                    </a:cubicBezTo>
                    <a:lnTo>
                      <a:pt x="1705" y="775"/>
                    </a:lnTo>
                    <a:cubicBezTo>
                      <a:pt x="1673" y="775"/>
                      <a:pt x="1673" y="775"/>
                      <a:pt x="1673" y="744"/>
                    </a:cubicBezTo>
                    <a:lnTo>
                      <a:pt x="1673" y="744"/>
                    </a:lnTo>
                    <a:cubicBezTo>
                      <a:pt x="1642" y="744"/>
                      <a:pt x="1642" y="775"/>
                      <a:pt x="1642" y="775"/>
                    </a:cubicBezTo>
                    <a:lnTo>
                      <a:pt x="1642" y="775"/>
                    </a:lnTo>
                    <a:lnTo>
                      <a:pt x="1642" y="775"/>
                    </a:lnTo>
                    <a:cubicBezTo>
                      <a:pt x="1642" y="775"/>
                      <a:pt x="1642" y="775"/>
                      <a:pt x="1611" y="775"/>
                    </a:cubicBezTo>
                    <a:lnTo>
                      <a:pt x="1611" y="775"/>
                    </a:lnTo>
                    <a:cubicBezTo>
                      <a:pt x="1611" y="775"/>
                      <a:pt x="1611" y="775"/>
                      <a:pt x="1581" y="744"/>
                    </a:cubicBezTo>
                    <a:lnTo>
                      <a:pt x="1581" y="744"/>
                    </a:lnTo>
                    <a:lnTo>
                      <a:pt x="1581" y="744"/>
                    </a:lnTo>
                    <a:lnTo>
                      <a:pt x="1581" y="744"/>
                    </a:lnTo>
                    <a:lnTo>
                      <a:pt x="1581" y="744"/>
                    </a:lnTo>
                    <a:cubicBezTo>
                      <a:pt x="1581" y="744"/>
                      <a:pt x="1581" y="744"/>
                      <a:pt x="1549" y="744"/>
                    </a:cubicBezTo>
                    <a:lnTo>
                      <a:pt x="1549" y="744"/>
                    </a:lnTo>
                    <a:cubicBezTo>
                      <a:pt x="1518" y="744"/>
                      <a:pt x="1518" y="712"/>
                      <a:pt x="1487" y="712"/>
                    </a:cubicBezTo>
                    <a:lnTo>
                      <a:pt x="1487" y="712"/>
                    </a:lnTo>
                    <a:lnTo>
                      <a:pt x="1487" y="712"/>
                    </a:lnTo>
                    <a:cubicBezTo>
                      <a:pt x="1457" y="712"/>
                      <a:pt x="1457" y="712"/>
                      <a:pt x="1457" y="712"/>
                    </a:cubicBezTo>
                    <a:lnTo>
                      <a:pt x="1425" y="712"/>
                    </a:lnTo>
                    <a:lnTo>
                      <a:pt x="1425" y="712"/>
                    </a:lnTo>
                    <a:cubicBezTo>
                      <a:pt x="1394" y="712"/>
                      <a:pt x="1394" y="712"/>
                      <a:pt x="1394" y="712"/>
                    </a:cubicBezTo>
                    <a:cubicBezTo>
                      <a:pt x="1364" y="712"/>
                      <a:pt x="1332" y="712"/>
                      <a:pt x="1332" y="712"/>
                    </a:cubicBezTo>
                    <a:cubicBezTo>
                      <a:pt x="1332" y="712"/>
                      <a:pt x="1270" y="712"/>
                      <a:pt x="1240" y="681"/>
                    </a:cubicBezTo>
                    <a:lnTo>
                      <a:pt x="1240" y="681"/>
                    </a:lnTo>
                    <a:cubicBezTo>
                      <a:pt x="1209" y="681"/>
                      <a:pt x="1209" y="681"/>
                      <a:pt x="1209" y="681"/>
                    </a:cubicBezTo>
                    <a:lnTo>
                      <a:pt x="1209" y="681"/>
                    </a:lnTo>
                    <a:cubicBezTo>
                      <a:pt x="1177" y="681"/>
                      <a:pt x="1177" y="651"/>
                      <a:pt x="1177" y="651"/>
                    </a:cubicBezTo>
                    <a:lnTo>
                      <a:pt x="1146" y="620"/>
                    </a:lnTo>
                    <a:lnTo>
                      <a:pt x="1146" y="620"/>
                    </a:lnTo>
                    <a:cubicBezTo>
                      <a:pt x="1146" y="620"/>
                      <a:pt x="1146" y="620"/>
                      <a:pt x="1146" y="588"/>
                    </a:cubicBezTo>
                    <a:lnTo>
                      <a:pt x="1146" y="588"/>
                    </a:lnTo>
                    <a:lnTo>
                      <a:pt x="1146" y="588"/>
                    </a:lnTo>
                    <a:lnTo>
                      <a:pt x="1146" y="588"/>
                    </a:lnTo>
                    <a:cubicBezTo>
                      <a:pt x="1116" y="588"/>
                      <a:pt x="1116" y="588"/>
                      <a:pt x="1116" y="588"/>
                    </a:cubicBezTo>
                    <a:cubicBezTo>
                      <a:pt x="1085" y="588"/>
                      <a:pt x="1085" y="558"/>
                      <a:pt x="1085" y="558"/>
                    </a:cubicBezTo>
                    <a:lnTo>
                      <a:pt x="1053" y="558"/>
                    </a:lnTo>
                    <a:lnTo>
                      <a:pt x="1053" y="558"/>
                    </a:lnTo>
                    <a:cubicBezTo>
                      <a:pt x="1053" y="558"/>
                      <a:pt x="1053" y="558"/>
                      <a:pt x="1022" y="558"/>
                    </a:cubicBezTo>
                    <a:cubicBezTo>
                      <a:pt x="1022" y="558"/>
                      <a:pt x="1022" y="558"/>
                      <a:pt x="992" y="558"/>
                    </a:cubicBezTo>
                    <a:lnTo>
                      <a:pt x="992" y="558"/>
                    </a:lnTo>
                    <a:lnTo>
                      <a:pt x="992" y="558"/>
                    </a:lnTo>
                    <a:cubicBezTo>
                      <a:pt x="961" y="558"/>
                      <a:pt x="961" y="558"/>
                      <a:pt x="929" y="558"/>
                    </a:cubicBezTo>
                    <a:cubicBezTo>
                      <a:pt x="898" y="558"/>
                      <a:pt x="898" y="527"/>
                      <a:pt x="898" y="527"/>
                    </a:cubicBezTo>
                    <a:cubicBezTo>
                      <a:pt x="898" y="496"/>
                      <a:pt x="898" y="496"/>
                      <a:pt x="898" y="496"/>
                    </a:cubicBezTo>
                    <a:lnTo>
                      <a:pt x="898" y="464"/>
                    </a:lnTo>
                    <a:cubicBezTo>
                      <a:pt x="898" y="434"/>
                      <a:pt x="898" y="434"/>
                      <a:pt x="898" y="434"/>
                    </a:cubicBezTo>
                    <a:cubicBezTo>
                      <a:pt x="898" y="434"/>
                      <a:pt x="898" y="434"/>
                      <a:pt x="898" y="403"/>
                    </a:cubicBezTo>
                    <a:cubicBezTo>
                      <a:pt x="898" y="403"/>
                      <a:pt x="868" y="403"/>
                      <a:pt x="868" y="372"/>
                    </a:cubicBezTo>
                    <a:lnTo>
                      <a:pt x="868" y="372"/>
                    </a:lnTo>
                    <a:lnTo>
                      <a:pt x="868" y="372"/>
                    </a:lnTo>
                    <a:cubicBezTo>
                      <a:pt x="868" y="372"/>
                      <a:pt x="868" y="372"/>
                      <a:pt x="837" y="372"/>
                    </a:cubicBezTo>
                    <a:lnTo>
                      <a:pt x="837" y="372"/>
                    </a:lnTo>
                    <a:cubicBezTo>
                      <a:pt x="837" y="372"/>
                      <a:pt x="837" y="372"/>
                      <a:pt x="805" y="372"/>
                    </a:cubicBezTo>
                    <a:cubicBezTo>
                      <a:pt x="805" y="340"/>
                      <a:pt x="774" y="340"/>
                      <a:pt x="774" y="340"/>
                    </a:cubicBezTo>
                    <a:lnTo>
                      <a:pt x="774" y="340"/>
                    </a:lnTo>
                    <a:cubicBezTo>
                      <a:pt x="744" y="340"/>
                      <a:pt x="744" y="310"/>
                      <a:pt x="744" y="310"/>
                    </a:cubicBezTo>
                    <a:cubicBezTo>
                      <a:pt x="744" y="310"/>
                      <a:pt x="713" y="310"/>
                      <a:pt x="713" y="279"/>
                    </a:cubicBezTo>
                    <a:cubicBezTo>
                      <a:pt x="713" y="310"/>
                      <a:pt x="713" y="310"/>
                      <a:pt x="713" y="310"/>
                    </a:cubicBezTo>
                    <a:cubicBezTo>
                      <a:pt x="713" y="340"/>
                      <a:pt x="681" y="340"/>
                      <a:pt x="681" y="340"/>
                    </a:cubicBezTo>
                    <a:cubicBezTo>
                      <a:pt x="681" y="340"/>
                      <a:pt x="681" y="340"/>
                      <a:pt x="650" y="340"/>
                    </a:cubicBezTo>
                    <a:lnTo>
                      <a:pt x="650" y="340"/>
                    </a:lnTo>
                    <a:lnTo>
                      <a:pt x="650" y="340"/>
                    </a:lnTo>
                    <a:lnTo>
                      <a:pt x="650" y="340"/>
                    </a:lnTo>
                    <a:cubicBezTo>
                      <a:pt x="650" y="372"/>
                      <a:pt x="650" y="372"/>
                      <a:pt x="650" y="372"/>
                    </a:cubicBezTo>
                    <a:lnTo>
                      <a:pt x="650" y="372"/>
                    </a:lnTo>
                    <a:lnTo>
                      <a:pt x="650" y="372"/>
                    </a:lnTo>
                    <a:cubicBezTo>
                      <a:pt x="650" y="403"/>
                      <a:pt x="650" y="403"/>
                      <a:pt x="650" y="403"/>
                    </a:cubicBezTo>
                    <a:cubicBezTo>
                      <a:pt x="620" y="434"/>
                      <a:pt x="620" y="434"/>
                      <a:pt x="620" y="434"/>
                    </a:cubicBezTo>
                    <a:cubicBezTo>
                      <a:pt x="589" y="434"/>
                      <a:pt x="589" y="434"/>
                      <a:pt x="589" y="434"/>
                    </a:cubicBezTo>
                    <a:lnTo>
                      <a:pt x="557" y="434"/>
                    </a:lnTo>
                    <a:lnTo>
                      <a:pt x="557" y="434"/>
                    </a:lnTo>
                    <a:lnTo>
                      <a:pt x="557" y="434"/>
                    </a:lnTo>
                    <a:cubicBezTo>
                      <a:pt x="557" y="434"/>
                      <a:pt x="557" y="434"/>
                      <a:pt x="526" y="434"/>
                    </a:cubicBezTo>
                    <a:lnTo>
                      <a:pt x="526" y="434"/>
                    </a:lnTo>
                    <a:cubicBezTo>
                      <a:pt x="496" y="434"/>
                      <a:pt x="496" y="434"/>
                      <a:pt x="496" y="434"/>
                    </a:cubicBezTo>
                    <a:cubicBezTo>
                      <a:pt x="496" y="403"/>
                      <a:pt x="496" y="403"/>
                      <a:pt x="496" y="403"/>
                    </a:cubicBezTo>
                    <a:lnTo>
                      <a:pt x="496" y="403"/>
                    </a:lnTo>
                    <a:cubicBezTo>
                      <a:pt x="496" y="434"/>
                      <a:pt x="496" y="434"/>
                      <a:pt x="496" y="434"/>
                    </a:cubicBezTo>
                    <a:lnTo>
                      <a:pt x="496" y="434"/>
                    </a:lnTo>
                    <a:lnTo>
                      <a:pt x="496" y="434"/>
                    </a:lnTo>
                    <a:cubicBezTo>
                      <a:pt x="496" y="464"/>
                      <a:pt x="496" y="464"/>
                      <a:pt x="496" y="464"/>
                    </a:cubicBezTo>
                    <a:cubicBezTo>
                      <a:pt x="496" y="464"/>
                      <a:pt x="465" y="464"/>
                      <a:pt x="465" y="496"/>
                    </a:cubicBezTo>
                    <a:cubicBezTo>
                      <a:pt x="496" y="496"/>
                      <a:pt x="496" y="496"/>
                      <a:pt x="496" y="496"/>
                    </a:cubicBezTo>
                    <a:lnTo>
                      <a:pt x="496" y="496"/>
                    </a:lnTo>
                    <a:cubicBezTo>
                      <a:pt x="496" y="527"/>
                      <a:pt x="496" y="527"/>
                      <a:pt x="496" y="527"/>
                    </a:cubicBezTo>
                    <a:lnTo>
                      <a:pt x="496" y="527"/>
                    </a:lnTo>
                    <a:cubicBezTo>
                      <a:pt x="496" y="527"/>
                      <a:pt x="465" y="558"/>
                      <a:pt x="433" y="558"/>
                    </a:cubicBezTo>
                    <a:lnTo>
                      <a:pt x="433" y="558"/>
                    </a:lnTo>
                    <a:lnTo>
                      <a:pt x="433" y="558"/>
                    </a:lnTo>
                    <a:lnTo>
                      <a:pt x="433" y="558"/>
                    </a:lnTo>
                    <a:lnTo>
                      <a:pt x="433" y="558"/>
                    </a:lnTo>
                    <a:cubicBezTo>
                      <a:pt x="402" y="527"/>
                      <a:pt x="402" y="527"/>
                      <a:pt x="402" y="527"/>
                    </a:cubicBezTo>
                    <a:cubicBezTo>
                      <a:pt x="402" y="527"/>
                      <a:pt x="402" y="527"/>
                      <a:pt x="372" y="558"/>
                    </a:cubicBezTo>
                    <a:lnTo>
                      <a:pt x="372" y="558"/>
                    </a:lnTo>
                    <a:lnTo>
                      <a:pt x="372" y="558"/>
                    </a:lnTo>
                    <a:lnTo>
                      <a:pt x="372" y="558"/>
                    </a:lnTo>
                    <a:lnTo>
                      <a:pt x="372" y="558"/>
                    </a:lnTo>
                    <a:lnTo>
                      <a:pt x="372" y="558"/>
                    </a:lnTo>
                    <a:lnTo>
                      <a:pt x="372" y="588"/>
                    </a:lnTo>
                    <a:lnTo>
                      <a:pt x="372" y="588"/>
                    </a:lnTo>
                    <a:cubicBezTo>
                      <a:pt x="372" y="620"/>
                      <a:pt x="372" y="620"/>
                      <a:pt x="372" y="651"/>
                    </a:cubicBezTo>
                    <a:lnTo>
                      <a:pt x="372" y="651"/>
                    </a:lnTo>
                    <a:lnTo>
                      <a:pt x="372" y="651"/>
                    </a:lnTo>
                    <a:cubicBezTo>
                      <a:pt x="372" y="681"/>
                      <a:pt x="372" y="681"/>
                      <a:pt x="372" y="681"/>
                    </a:cubicBezTo>
                    <a:lnTo>
                      <a:pt x="372" y="681"/>
                    </a:lnTo>
                    <a:lnTo>
                      <a:pt x="372" y="681"/>
                    </a:lnTo>
                    <a:cubicBezTo>
                      <a:pt x="341" y="681"/>
                      <a:pt x="341" y="681"/>
                      <a:pt x="341" y="681"/>
                    </a:cubicBezTo>
                    <a:lnTo>
                      <a:pt x="341" y="681"/>
                    </a:lnTo>
                    <a:lnTo>
                      <a:pt x="341" y="681"/>
                    </a:lnTo>
                    <a:cubicBezTo>
                      <a:pt x="341" y="712"/>
                      <a:pt x="341" y="712"/>
                      <a:pt x="341" y="712"/>
                    </a:cubicBezTo>
                    <a:cubicBezTo>
                      <a:pt x="341" y="744"/>
                      <a:pt x="341" y="744"/>
                      <a:pt x="341" y="744"/>
                    </a:cubicBezTo>
                    <a:lnTo>
                      <a:pt x="341" y="744"/>
                    </a:lnTo>
                    <a:lnTo>
                      <a:pt x="309" y="744"/>
                    </a:lnTo>
                    <a:cubicBezTo>
                      <a:pt x="278" y="744"/>
                      <a:pt x="278" y="744"/>
                      <a:pt x="278" y="744"/>
                    </a:cubicBezTo>
                    <a:lnTo>
                      <a:pt x="278" y="775"/>
                    </a:lnTo>
                    <a:lnTo>
                      <a:pt x="248" y="775"/>
                    </a:lnTo>
                    <a:cubicBezTo>
                      <a:pt x="248" y="805"/>
                      <a:pt x="217" y="805"/>
                      <a:pt x="217" y="805"/>
                    </a:cubicBezTo>
                    <a:cubicBezTo>
                      <a:pt x="185" y="805"/>
                      <a:pt x="185" y="805"/>
                      <a:pt x="154" y="805"/>
                    </a:cubicBezTo>
                    <a:cubicBezTo>
                      <a:pt x="154" y="836"/>
                      <a:pt x="154" y="836"/>
                      <a:pt x="124" y="836"/>
                    </a:cubicBezTo>
                    <a:lnTo>
                      <a:pt x="124" y="836"/>
                    </a:lnTo>
                    <a:lnTo>
                      <a:pt x="93" y="836"/>
                    </a:lnTo>
                    <a:lnTo>
                      <a:pt x="93" y="836"/>
                    </a:lnTo>
                    <a:lnTo>
                      <a:pt x="61" y="836"/>
                    </a:lnTo>
                    <a:cubicBezTo>
                      <a:pt x="61" y="836"/>
                      <a:pt x="61" y="836"/>
                      <a:pt x="30" y="836"/>
                    </a:cubicBezTo>
                    <a:lnTo>
                      <a:pt x="30" y="836"/>
                    </a:lnTo>
                    <a:lnTo>
                      <a:pt x="30" y="836"/>
                    </a:lnTo>
                    <a:lnTo>
                      <a:pt x="30" y="868"/>
                    </a:lnTo>
                    <a:lnTo>
                      <a:pt x="30" y="868"/>
                    </a:lnTo>
                    <a:lnTo>
                      <a:pt x="0" y="868"/>
                    </a:lnTo>
                    <a:lnTo>
                      <a:pt x="0" y="868"/>
                    </a:lnTo>
                    <a:lnTo>
                      <a:pt x="0" y="868"/>
                    </a:lnTo>
                    <a:lnTo>
                      <a:pt x="0" y="868"/>
                    </a:lnTo>
                    <a:cubicBezTo>
                      <a:pt x="0" y="899"/>
                      <a:pt x="0" y="899"/>
                      <a:pt x="0" y="899"/>
                    </a:cubicBezTo>
                    <a:lnTo>
                      <a:pt x="0" y="899"/>
                    </a:lnTo>
                    <a:lnTo>
                      <a:pt x="0" y="899"/>
                    </a:lnTo>
                    <a:cubicBezTo>
                      <a:pt x="0" y="899"/>
                      <a:pt x="0" y="899"/>
                      <a:pt x="30" y="899"/>
                    </a:cubicBezTo>
                    <a:lnTo>
                      <a:pt x="30" y="899"/>
                    </a:lnTo>
                    <a:lnTo>
                      <a:pt x="30" y="899"/>
                    </a:lnTo>
                    <a:cubicBezTo>
                      <a:pt x="61" y="929"/>
                      <a:pt x="61" y="960"/>
                      <a:pt x="61" y="960"/>
                    </a:cubicBezTo>
                    <a:cubicBezTo>
                      <a:pt x="61" y="992"/>
                      <a:pt x="61" y="992"/>
                      <a:pt x="61" y="992"/>
                    </a:cubicBezTo>
                    <a:lnTo>
                      <a:pt x="61" y="1023"/>
                    </a:lnTo>
                    <a:lnTo>
                      <a:pt x="93" y="1023"/>
                    </a:lnTo>
                    <a:lnTo>
                      <a:pt x="93" y="1023"/>
                    </a:lnTo>
                    <a:cubicBezTo>
                      <a:pt x="124" y="1053"/>
                      <a:pt x="124" y="1053"/>
                      <a:pt x="124" y="1053"/>
                    </a:cubicBezTo>
                    <a:lnTo>
                      <a:pt x="124" y="1053"/>
                    </a:lnTo>
                    <a:lnTo>
                      <a:pt x="124" y="1053"/>
                    </a:lnTo>
                    <a:lnTo>
                      <a:pt x="124" y="1084"/>
                    </a:lnTo>
                    <a:lnTo>
                      <a:pt x="124" y="1084"/>
                    </a:lnTo>
                    <a:cubicBezTo>
                      <a:pt x="124" y="1084"/>
                      <a:pt x="124" y="1084"/>
                      <a:pt x="154" y="1084"/>
                    </a:cubicBezTo>
                    <a:lnTo>
                      <a:pt x="154" y="1084"/>
                    </a:lnTo>
                    <a:cubicBezTo>
                      <a:pt x="185" y="1116"/>
                      <a:pt x="185" y="1116"/>
                      <a:pt x="185" y="1116"/>
                    </a:cubicBezTo>
                    <a:cubicBezTo>
                      <a:pt x="185" y="1116"/>
                      <a:pt x="185" y="1116"/>
                      <a:pt x="217" y="1084"/>
                    </a:cubicBezTo>
                    <a:lnTo>
                      <a:pt x="217" y="1084"/>
                    </a:lnTo>
                    <a:lnTo>
                      <a:pt x="217" y="1084"/>
                    </a:lnTo>
                    <a:cubicBezTo>
                      <a:pt x="217" y="1084"/>
                      <a:pt x="217" y="1084"/>
                      <a:pt x="248" y="1084"/>
                    </a:cubicBezTo>
                    <a:lnTo>
                      <a:pt x="248" y="1084"/>
                    </a:lnTo>
                    <a:lnTo>
                      <a:pt x="248" y="1084"/>
                    </a:lnTo>
                    <a:lnTo>
                      <a:pt x="278" y="1084"/>
                    </a:lnTo>
                    <a:cubicBezTo>
                      <a:pt x="278" y="1084"/>
                      <a:pt x="278" y="1084"/>
                      <a:pt x="309" y="1084"/>
                    </a:cubicBezTo>
                    <a:lnTo>
                      <a:pt x="309" y="1084"/>
                    </a:lnTo>
                    <a:lnTo>
                      <a:pt x="309" y="1084"/>
                    </a:lnTo>
                    <a:lnTo>
                      <a:pt x="309" y="1084"/>
                    </a:lnTo>
                    <a:cubicBezTo>
                      <a:pt x="341" y="1084"/>
                      <a:pt x="341" y="1084"/>
                      <a:pt x="341" y="1084"/>
                    </a:cubicBezTo>
                    <a:lnTo>
                      <a:pt x="341" y="1084"/>
                    </a:lnTo>
                    <a:lnTo>
                      <a:pt x="341" y="1084"/>
                    </a:lnTo>
                    <a:lnTo>
                      <a:pt x="341" y="1084"/>
                    </a:lnTo>
                    <a:lnTo>
                      <a:pt x="341" y="1084"/>
                    </a:lnTo>
                    <a:lnTo>
                      <a:pt x="341" y="1084"/>
                    </a:lnTo>
                    <a:lnTo>
                      <a:pt x="341" y="1084"/>
                    </a:lnTo>
                    <a:lnTo>
                      <a:pt x="341" y="1084"/>
                    </a:lnTo>
                    <a:lnTo>
                      <a:pt x="341" y="1116"/>
                    </a:lnTo>
                    <a:cubicBezTo>
                      <a:pt x="341" y="1116"/>
                      <a:pt x="372" y="1116"/>
                      <a:pt x="372" y="1147"/>
                    </a:cubicBezTo>
                    <a:lnTo>
                      <a:pt x="372" y="1177"/>
                    </a:lnTo>
                    <a:lnTo>
                      <a:pt x="372" y="1177"/>
                    </a:lnTo>
                    <a:lnTo>
                      <a:pt x="341" y="1177"/>
                    </a:lnTo>
                    <a:lnTo>
                      <a:pt x="341" y="1177"/>
                    </a:lnTo>
                    <a:lnTo>
                      <a:pt x="341" y="1208"/>
                    </a:lnTo>
                    <a:lnTo>
                      <a:pt x="341" y="1208"/>
                    </a:lnTo>
                    <a:cubicBezTo>
                      <a:pt x="341" y="1208"/>
                      <a:pt x="341" y="1240"/>
                      <a:pt x="309" y="1240"/>
                    </a:cubicBezTo>
                    <a:lnTo>
                      <a:pt x="309" y="1240"/>
                    </a:lnTo>
                    <a:lnTo>
                      <a:pt x="309" y="1240"/>
                    </a:lnTo>
                    <a:lnTo>
                      <a:pt x="309" y="1271"/>
                    </a:lnTo>
                    <a:lnTo>
                      <a:pt x="309" y="1271"/>
                    </a:lnTo>
                    <a:lnTo>
                      <a:pt x="309" y="1301"/>
                    </a:lnTo>
                    <a:lnTo>
                      <a:pt x="309" y="1301"/>
                    </a:lnTo>
                    <a:cubicBezTo>
                      <a:pt x="309" y="1332"/>
                      <a:pt x="309" y="1332"/>
                      <a:pt x="278" y="1364"/>
                    </a:cubicBezTo>
                    <a:lnTo>
                      <a:pt x="278" y="1364"/>
                    </a:lnTo>
                    <a:lnTo>
                      <a:pt x="278" y="1364"/>
                    </a:lnTo>
                    <a:lnTo>
                      <a:pt x="278" y="1364"/>
                    </a:lnTo>
                    <a:lnTo>
                      <a:pt x="278" y="1364"/>
                    </a:lnTo>
                    <a:lnTo>
                      <a:pt x="278" y="1364"/>
                    </a:lnTo>
                    <a:lnTo>
                      <a:pt x="278" y="1364"/>
                    </a:lnTo>
                    <a:cubicBezTo>
                      <a:pt x="278" y="1364"/>
                      <a:pt x="309" y="1364"/>
                      <a:pt x="309" y="1395"/>
                    </a:cubicBezTo>
                    <a:lnTo>
                      <a:pt x="309" y="1395"/>
                    </a:lnTo>
                    <a:lnTo>
                      <a:pt x="309" y="1395"/>
                    </a:lnTo>
                    <a:cubicBezTo>
                      <a:pt x="309" y="1395"/>
                      <a:pt x="309" y="1395"/>
                      <a:pt x="341" y="1395"/>
                    </a:cubicBezTo>
                    <a:cubicBezTo>
                      <a:pt x="341" y="1425"/>
                      <a:pt x="372" y="1425"/>
                      <a:pt x="372" y="1456"/>
                    </a:cubicBezTo>
                    <a:lnTo>
                      <a:pt x="372" y="1456"/>
                    </a:lnTo>
                    <a:lnTo>
                      <a:pt x="372" y="1456"/>
                    </a:lnTo>
                    <a:lnTo>
                      <a:pt x="372" y="1456"/>
                    </a:lnTo>
                    <a:lnTo>
                      <a:pt x="372" y="1456"/>
                    </a:lnTo>
                    <a:lnTo>
                      <a:pt x="402" y="1425"/>
                    </a:lnTo>
                    <a:lnTo>
                      <a:pt x="402" y="1425"/>
                    </a:lnTo>
                    <a:lnTo>
                      <a:pt x="402" y="1425"/>
                    </a:lnTo>
                    <a:cubicBezTo>
                      <a:pt x="433" y="1425"/>
                      <a:pt x="465" y="1425"/>
                      <a:pt x="465" y="1456"/>
                    </a:cubicBezTo>
                    <a:cubicBezTo>
                      <a:pt x="465" y="1456"/>
                      <a:pt x="465" y="1456"/>
                      <a:pt x="465" y="1488"/>
                    </a:cubicBezTo>
                    <a:cubicBezTo>
                      <a:pt x="496" y="1488"/>
                      <a:pt x="496" y="1488"/>
                      <a:pt x="496" y="1488"/>
                    </a:cubicBezTo>
                    <a:lnTo>
                      <a:pt x="496" y="1488"/>
                    </a:lnTo>
                    <a:cubicBezTo>
                      <a:pt x="526" y="1488"/>
                      <a:pt x="526" y="1488"/>
                      <a:pt x="526" y="1488"/>
                    </a:cubicBezTo>
                    <a:lnTo>
                      <a:pt x="526" y="1488"/>
                    </a:lnTo>
                    <a:lnTo>
                      <a:pt x="526" y="1488"/>
                    </a:lnTo>
                    <a:cubicBezTo>
                      <a:pt x="557" y="1488"/>
                      <a:pt x="557" y="1488"/>
                      <a:pt x="557" y="1488"/>
                    </a:cubicBezTo>
                    <a:lnTo>
                      <a:pt x="557" y="1488"/>
                    </a:lnTo>
                    <a:cubicBezTo>
                      <a:pt x="557" y="1488"/>
                      <a:pt x="557" y="1488"/>
                      <a:pt x="557" y="1519"/>
                    </a:cubicBezTo>
                    <a:cubicBezTo>
                      <a:pt x="589" y="1519"/>
                      <a:pt x="589" y="1519"/>
                      <a:pt x="589" y="1549"/>
                    </a:cubicBezTo>
                    <a:lnTo>
                      <a:pt x="589" y="1549"/>
                    </a:lnTo>
                    <a:lnTo>
                      <a:pt x="589" y="1549"/>
                    </a:lnTo>
                    <a:lnTo>
                      <a:pt x="589" y="1549"/>
                    </a:lnTo>
                    <a:lnTo>
                      <a:pt x="620" y="1549"/>
                    </a:lnTo>
                    <a:lnTo>
                      <a:pt x="620" y="1549"/>
                    </a:lnTo>
                    <a:lnTo>
                      <a:pt x="650" y="1549"/>
                    </a:lnTo>
                    <a:lnTo>
                      <a:pt x="650" y="1549"/>
                    </a:lnTo>
                    <a:cubicBezTo>
                      <a:pt x="650" y="1549"/>
                      <a:pt x="650" y="1549"/>
                      <a:pt x="650" y="1580"/>
                    </a:cubicBezTo>
                    <a:lnTo>
                      <a:pt x="681" y="1580"/>
                    </a:lnTo>
                    <a:lnTo>
                      <a:pt x="681" y="1580"/>
                    </a:lnTo>
                    <a:lnTo>
                      <a:pt x="681" y="1580"/>
                    </a:lnTo>
                    <a:lnTo>
                      <a:pt x="713" y="1580"/>
                    </a:lnTo>
                    <a:lnTo>
                      <a:pt x="713" y="1580"/>
                    </a:lnTo>
                    <a:lnTo>
                      <a:pt x="744" y="1580"/>
                    </a:lnTo>
                    <a:lnTo>
                      <a:pt x="744" y="1580"/>
                    </a:lnTo>
                    <a:lnTo>
                      <a:pt x="744" y="1580"/>
                    </a:lnTo>
                    <a:lnTo>
                      <a:pt x="744" y="1580"/>
                    </a:lnTo>
                    <a:cubicBezTo>
                      <a:pt x="774" y="1580"/>
                      <a:pt x="774" y="1580"/>
                      <a:pt x="774" y="1580"/>
                    </a:cubicBezTo>
                    <a:lnTo>
                      <a:pt x="774" y="1580"/>
                    </a:lnTo>
                    <a:cubicBezTo>
                      <a:pt x="805" y="1580"/>
                      <a:pt x="805" y="1580"/>
                      <a:pt x="805" y="1580"/>
                    </a:cubicBezTo>
                    <a:lnTo>
                      <a:pt x="805" y="1580"/>
                    </a:lnTo>
                    <a:lnTo>
                      <a:pt x="805" y="1580"/>
                    </a:lnTo>
                    <a:lnTo>
                      <a:pt x="805" y="1580"/>
                    </a:lnTo>
                    <a:cubicBezTo>
                      <a:pt x="805" y="1580"/>
                      <a:pt x="805" y="1580"/>
                      <a:pt x="837" y="1580"/>
                    </a:cubicBezTo>
                    <a:lnTo>
                      <a:pt x="837" y="1580"/>
                    </a:lnTo>
                    <a:lnTo>
                      <a:pt x="837" y="1580"/>
                    </a:lnTo>
                    <a:lnTo>
                      <a:pt x="837" y="1580"/>
                    </a:lnTo>
                    <a:cubicBezTo>
                      <a:pt x="837" y="1580"/>
                      <a:pt x="837" y="1549"/>
                      <a:pt x="868" y="1549"/>
                    </a:cubicBezTo>
                    <a:lnTo>
                      <a:pt x="868" y="1549"/>
                    </a:lnTo>
                    <a:cubicBezTo>
                      <a:pt x="898" y="1549"/>
                      <a:pt x="898" y="1580"/>
                      <a:pt x="898" y="1580"/>
                    </a:cubicBezTo>
                    <a:lnTo>
                      <a:pt x="898" y="1580"/>
                    </a:lnTo>
                    <a:lnTo>
                      <a:pt x="898" y="1580"/>
                    </a:lnTo>
                    <a:cubicBezTo>
                      <a:pt x="929" y="1580"/>
                      <a:pt x="929" y="1580"/>
                      <a:pt x="929" y="1580"/>
                    </a:cubicBezTo>
                    <a:lnTo>
                      <a:pt x="929" y="1580"/>
                    </a:lnTo>
                    <a:lnTo>
                      <a:pt x="929" y="1580"/>
                    </a:lnTo>
                    <a:lnTo>
                      <a:pt x="929" y="1580"/>
                    </a:lnTo>
                    <a:cubicBezTo>
                      <a:pt x="961" y="1580"/>
                      <a:pt x="961" y="1580"/>
                      <a:pt x="961" y="1580"/>
                    </a:cubicBezTo>
                    <a:lnTo>
                      <a:pt x="961" y="1580"/>
                    </a:lnTo>
                    <a:lnTo>
                      <a:pt x="961" y="1580"/>
                    </a:lnTo>
                    <a:lnTo>
                      <a:pt x="961" y="1580"/>
                    </a:lnTo>
                    <a:lnTo>
                      <a:pt x="961" y="1612"/>
                    </a:lnTo>
                    <a:cubicBezTo>
                      <a:pt x="992" y="1612"/>
                      <a:pt x="992" y="1612"/>
                      <a:pt x="992" y="1612"/>
                    </a:cubicBezTo>
                    <a:lnTo>
                      <a:pt x="992" y="1612"/>
                    </a:lnTo>
                    <a:cubicBezTo>
                      <a:pt x="992" y="1612"/>
                      <a:pt x="992" y="1612"/>
                      <a:pt x="992" y="1580"/>
                    </a:cubicBezTo>
                    <a:cubicBezTo>
                      <a:pt x="1022" y="1580"/>
                      <a:pt x="1022" y="1580"/>
                      <a:pt x="1022" y="1580"/>
                    </a:cubicBezTo>
                    <a:lnTo>
                      <a:pt x="1022" y="1580"/>
                    </a:lnTo>
                    <a:lnTo>
                      <a:pt x="1022" y="1580"/>
                    </a:lnTo>
                    <a:lnTo>
                      <a:pt x="1022" y="1580"/>
                    </a:lnTo>
                    <a:cubicBezTo>
                      <a:pt x="1022" y="1549"/>
                      <a:pt x="1053" y="1549"/>
                      <a:pt x="1053" y="1549"/>
                    </a:cubicBezTo>
                    <a:cubicBezTo>
                      <a:pt x="1053" y="1519"/>
                      <a:pt x="1085" y="1519"/>
                      <a:pt x="1085" y="1519"/>
                    </a:cubicBezTo>
                    <a:lnTo>
                      <a:pt x="1085" y="1519"/>
                    </a:lnTo>
                    <a:cubicBezTo>
                      <a:pt x="1085" y="1519"/>
                      <a:pt x="1085" y="1519"/>
                      <a:pt x="1116" y="1519"/>
                    </a:cubicBezTo>
                    <a:lnTo>
                      <a:pt x="1116" y="1519"/>
                    </a:lnTo>
                    <a:lnTo>
                      <a:pt x="1116" y="1488"/>
                    </a:lnTo>
                    <a:lnTo>
                      <a:pt x="1116" y="1488"/>
                    </a:lnTo>
                    <a:cubicBezTo>
                      <a:pt x="1146" y="1488"/>
                      <a:pt x="1146" y="1488"/>
                      <a:pt x="1146" y="1519"/>
                    </a:cubicBezTo>
                    <a:lnTo>
                      <a:pt x="1146" y="1519"/>
                    </a:lnTo>
                    <a:lnTo>
                      <a:pt x="1146" y="1519"/>
                    </a:lnTo>
                    <a:cubicBezTo>
                      <a:pt x="1177" y="1488"/>
                      <a:pt x="1177" y="1488"/>
                      <a:pt x="1209" y="1488"/>
                    </a:cubicBezTo>
                    <a:lnTo>
                      <a:pt x="1209" y="1488"/>
                    </a:lnTo>
                    <a:lnTo>
                      <a:pt x="1209" y="1488"/>
                    </a:lnTo>
                    <a:cubicBezTo>
                      <a:pt x="1209" y="1488"/>
                      <a:pt x="1209" y="1488"/>
                      <a:pt x="1240" y="1488"/>
                    </a:cubicBezTo>
                    <a:cubicBezTo>
                      <a:pt x="1240" y="1519"/>
                      <a:pt x="1270" y="1519"/>
                      <a:pt x="1270" y="1549"/>
                    </a:cubicBezTo>
                    <a:lnTo>
                      <a:pt x="1270" y="1549"/>
                    </a:lnTo>
                    <a:cubicBezTo>
                      <a:pt x="1270" y="1549"/>
                      <a:pt x="1270" y="1549"/>
                      <a:pt x="1240" y="1549"/>
                    </a:cubicBezTo>
                    <a:cubicBezTo>
                      <a:pt x="1270" y="1549"/>
                      <a:pt x="1270" y="1549"/>
                      <a:pt x="1270" y="1549"/>
                    </a:cubicBezTo>
                    <a:cubicBezTo>
                      <a:pt x="1270" y="1549"/>
                      <a:pt x="1270" y="1549"/>
                      <a:pt x="1301" y="1549"/>
                    </a:cubicBezTo>
                    <a:lnTo>
                      <a:pt x="1301" y="1549"/>
                    </a:lnTo>
                    <a:lnTo>
                      <a:pt x="1301" y="1549"/>
                    </a:lnTo>
                    <a:cubicBezTo>
                      <a:pt x="1332" y="1580"/>
                      <a:pt x="1332" y="1580"/>
                      <a:pt x="1332" y="1612"/>
                    </a:cubicBezTo>
                    <a:lnTo>
                      <a:pt x="1332" y="1612"/>
                    </a:lnTo>
                    <a:cubicBezTo>
                      <a:pt x="1364" y="1612"/>
                      <a:pt x="1364" y="1643"/>
                      <a:pt x="1364" y="1643"/>
                    </a:cubicBezTo>
                    <a:cubicBezTo>
                      <a:pt x="1394" y="1643"/>
                      <a:pt x="1394" y="1704"/>
                      <a:pt x="1394" y="1704"/>
                    </a:cubicBezTo>
                    <a:lnTo>
                      <a:pt x="1394" y="1704"/>
                    </a:lnTo>
                    <a:cubicBezTo>
                      <a:pt x="1394" y="1704"/>
                      <a:pt x="1394" y="1736"/>
                      <a:pt x="1364" y="1767"/>
                    </a:cubicBezTo>
                    <a:lnTo>
                      <a:pt x="1364" y="1767"/>
                    </a:lnTo>
                    <a:lnTo>
                      <a:pt x="1364" y="1767"/>
                    </a:lnTo>
                    <a:lnTo>
                      <a:pt x="1364" y="1797"/>
                    </a:lnTo>
                    <a:lnTo>
                      <a:pt x="1364" y="1797"/>
                    </a:lnTo>
                    <a:lnTo>
                      <a:pt x="1332" y="1797"/>
                    </a:lnTo>
                    <a:lnTo>
                      <a:pt x="1332" y="1797"/>
                    </a:lnTo>
                    <a:lnTo>
                      <a:pt x="1332" y="1828"/>
                    </a:lnTo>
                    <a:lnTo>
                      <a:pt x="1332" y="1828"/>
                    </a:lnTo>
                    <a:lnTo>
                      <a:pt x="1332" y="1828"/>
                    </a:lnTo>
                    <a:lnTo>
                      <a:pt x="1332" y="1828"/>
                    </a:lnTo>
                    <a:lnTo>
                      <a:pt x="1332" y="1828"/>
                    </a:lnTo>
                    <a:lnTo>
                      <a:pt x="1332" y="1828"/>
                    </a:lnTo>
                    <a:lnTo>
                      <a:pt x="1332" y="1828"/>
                    </a:lnTo>
                    <a:lnTo>
                      <a:pt x="1332" y="1828"/>
                    </a:lnTo>
                    <a:cubicBezTo>
                      <a:pt x="1332" y="1828"/>
                      <a:pt x="1332" y="1828"/>
                      <a:pt x="1364" y="1828"/>
                    </a:cubicBezTo>
                    <a:lnTo>
                      <a:pt x="1364" y="1828"/>
                    </a:lnTo>
                    <a:cubicBezTo>
                      <a:pt x="1364" y="1828"/>
                      <a:pt x="1394" y="1828"/>
                      <a:pt x="1394" y="1860"/>
                    </a:cubicBezTo>
                    <a:lnTo>
                      <a:pt x="1394" y="1890"/>
                    </a:lnTo>
                    <a:lnTo>
                      <a:pt x="1394" y="1890"/>
                    </a:lnTo>
                    <a:lnTo>
                      <a:pt x="1394" y="1890"/>
                    </a:lnTo>
                    <a:cubicBezTo>
                      <a:pt x="1394" y="1890"/>
                      <a:pt x="1394" y="1890"/>
                      <a:pt x="1425" y="1921"/>
                    </a:cubicBezTo>
                    <a:lnTo>
                      <a:pt x="1425" y="1921"/>
                    </a:lnTo>
                    <a:lnTo>
                      <a:pt x="1425" y="1921"/>
                    </a:lnTo>
                    <a:cubicBezTo>
                      <a:pt x="1425" y="1952"/>
                      <a:pt x="1425" y="1952"/>
                      <a:pt x="1425" y="1952"/>
                    </a:cubicBezTo>
                    <a:lnTo>
                      <a:pt x="1425" y="1952"/>
                    </a:lnTo>
                    <a:lnTo>
                      <a:pt x="1425" y="1952"/>
                    </a:lnTo>
                    <a:cubicBezTo>
                      <a:pt x="1425" y="1952"/>
                      <a:pt x="1425" y="1952"/>
                      <a:pt x="1394" y="1952"/>
                    </a:cubicBezTo>
                    <a:cubicBezTo>
                      <a:pt x="1425" y="1952"/>
                      <a:pt x="1425" y="1952"/>
                      <a:pt x="1425" y="1952"/>
                    </a:cubicBezTo>
                    <a:cubicBezTo>
                      <a:pt x="1425" y="1984"/>
                      <a:pt x="1425" y="1984"/>
                      <a:pt x="1425" y="1984"/>
                    </a:cubicBezTo>
                    <a:lnTo>
                      <a:pt x="1425" y="1984"/>
                    </a:lnTo>
                    <a:lnTo>
                      <a:pt x="1457" y="1984"/>
                    </a:lnTo>
                    <a:lnTo>
                      <a:pt x="1457" y="1984"/>
                    </a:lnTo>
                    <a:cubicBezTo>
                      <a:pt x="1457" y="1984"/>
                      <a:pt x="1457" y="1984"/>
                      <a:pt x="1457" y="2014"/>
                    </a:cubicBezTo>
                    <a:cubicBezTo>
                      <a:pt x="1457" y="1984"/>
                      <a:pt x="1457" y="1984"/>
                      <a:pt x="1457" y="1984"/>
                    </a:cubicBezTo>
                    <a:cubicBezTo>
                      <a:pt x="1457" y="1984"/>
                      <a:pt x="1457" y="1984"/>
                      <a:pt x="1487" y="1984"/>
                    </a:cubicBezTo>
                    <a:lnTo>
                      <a:pt x="1487" y="1984"/>
                    </a:lnTo>
                    <a:lnTo>
                      <a:pt x="1487" y="1984"/>
                    </a:lnTo>
                    <a:lnTo>
                      <a:pt x="1487" y="1984"/>
                    </a:lnTo>
                    <a:lnTo>
                      <a:pt x="1487" y="1984"/>
                    </a:lnTo>
                    <a:cubicBezTo>
                      <a:pt x="1487" y="1952"/>
                      <a:pt x="1487" y="1952"/>
                      <a:pt x="1518" y="1952"/>
                    </a:cubicBezTo>
                    <a:lnTo>
                      <a:pt x="1518" y="1952"/>
                    </a:lnTo>
                    <a:cubicBezTo>
                      <a:pt x="1518" y="1952"/>
                      <a:pt x="1518" y="1952"/>
                      <a:pt x="1549" y="1952"/>
                    </a:cubicBezTo>
                    <a:lnTo>
                      <a:pt x="1549" y="1952"/>
                    </a:lnTo>
                    <a:cubicBezTo>
                      <a:pt x="1549" y="1921"/>
                      <a:pt x="1549" y="1921"/>
                      <a:pt x="1581" y="1921"/>
                    </a:cubicBezTo>
                    <a:lnTo>
                      <a:pt x="1581" y="1921"/>
                    </a:lnTo>
                    <a:lnTo>
                      <a:pt x="1581" y="1921"/>
                    </a:lnTo>
                    <a:cubicBezTo>
                      <a:pt x="1611" y="1921"/>
                      <a:pt x="1611" y="1921"/>
                      <a:pt x="1611" y="1921"/>
                    </a:cubicBezTo>
                    <a:lnTo>
                      <a:pt x="1611" y="1921"/>
                    </a:lnTo>
                    <a:lnTo>
                      <a:pt x="1611" y="1921"/>
                    </a:lnTo>
                    <a:cubicBezTo>
                      <a:pt x="1642" y="1921"/>
                      <a:pt x="1642" y="1921"/>
                      <a:pt x="1642" y="1921"/>
                    </a:cubicBezTo>
                    <a:lnTo>
                      <a:pt x="1642" y="1921"/>
                    </a:lnTo>
                    <a:cubicBezTo>
                      <a:pt x="1673" y="1921"/>
                      <a:pt x="1673" y="1921"/>
                      <a:pt x="1673" y="1921"/>
                    </a:cubicBezTo>
                    <a:lnTo>
                      <a:pt x="1673" y="1921"/>
                    </a:lnTo>
                    <a:lnTo>
                      <a:pt x="1673" y="1921"/>
                    </a:lnTo>
                    <a:cubicBezTo>
                      <a:pt x="1673" y="1921"/>
                      <a:pt x="1673" y="1890"/>
                      <a:pt x="1705" y="1890"/>
                    </a:cubicBezTo>
                    <a:lnTo>
                      <a:pt x="1705" y="1890"/>
                    </a:lnTo>
                    <a:lnTo>
                      <a:pt x="1705" y="1890"/>
                    </a:lnTo>
                    <a:lnTo>
                      <a:pt x="1705" y="1890"/>
                    </a:lnTo>
                    <a:lnTo>
                      <a:pt x="1735" y="1890"/>
                    </a:lnTo>
                    <a:lnTo>
                      <a:pt x="1735" y="1890"/>
                    </a:lnTo>
                    <a:lnTo>
                      <a:pt x="1735" y="1890"/>
                    </a:lnTo>
                    <a:lnTo>
                      <a:pt x="1735" y="1890"/>
                    </a:lnTo>
                    <a:cubicBezTo>
                      <a:pt x="1735" y="1890"/>
                      <a:pt x="1766" y="1890"/>
                      <a:pt x="1766" y="1921"/>
                    </a:cubicBezTo>
                    <a:lnTo>
                      <a:pt x="1766" y="1921"/>
                    </a:lnTo>
                    <a:cubicBezTo>
                      <a:pt x="1766" y="1921"/>
                      <a:pt x="1766" y="1921"/>
                      <a:pt x="1797" y="1921"/>
                    </a:cubicBezTo>
                    <a:lnTo>
                      <a:pt x="1797" y="1921"/>
                    </a:lnTo>
                    <a:lnTo>
                      <a:pt x="1797" y="1921"/>
                    </a:lnTo>
                    <a:cubicBezTo>
                      <a:pt x="1829" y="1921"/>
                      <a:pt x="1829" y="1952"/>
                      <a:pt x="1829" y="1952"/>
                    </a:cubicBezTo>
                    <a:lnTo>
                      <a:pt x="1829" y="1952"/>
                    </a:lnTo>
                    <a:lnTo>
                      <a:pt x="1829" y="1952"/>
                    </a:lnTo>
                    <a:lnTo>
                      <a:pt x="1829" y="1952"/>
                    </a:lnTo>
                    <a:cubicBezTo>
                      <a:pt x="1829" y="1984"/>
                      <a:pt x="1829" y="1984"/>
                      <a:pt x="1829" y="1984"/>
                    </a:cubicBezTo>
                    <a:lnTo>
                      <a:pt x="1829" y="1984"/>
                    </a:lnTo>
                    <a:cubicBezTo>
                      <a:pt x="1829" y="1984"/>
                      <a:pt x="1859" y="1984"/>
                      <a:pt x="1859" y="2014"/>
                    </a:cubicBezTo>
                    <a:cubicBezTo>
                      <a:pt x="1890" y="2014"/>
                      <a:pt x="1890" y="2014"/>
                      <a:pt x="1890" y="2014"/>
                    </a:cubicBezTo>
                    <a:lnTo>
                      <a:pt x="1890" y="2014"/>
                    </a:lnTo>
                    <a:cubicBezTo>
                      <a:pt x="1890" y="1984"/>
                      <a:pt x="1921" y="1984"/>
                      <a:pt x="1921" y="1984"/>
                    </a:cubicBezTo>
                    <a:cubicBezTo>
                      <a:pt x="1921" y="1984"/>
                      <a:pt x="1921" y="2014"/>
                      <a:pt x="1953" y="2014"/>
                    </a:cubicBezTo>
                    <a:lnTo>
                      <a:pt x="1953" y="2014"/>
                    </a:lnTo>
                    <a:lnTo>
                      <a:pt x="1953" y="2014"/>
                    </a:lnTo>
                    <a:lnTo>
                      <a:pt x="1953" y="2014"/>
                    </a:lnTo>
                    <a:cubicBezTo>
                      <a:pt x="1983" y="2014"/>
                      <a:pt x="1983" y="2014"/>
                      <a:pt x="1983" y="2014"/>
                    </a:cubicBezTo>
                    <a:lnTo>
                      <a:pt x="1983" y="2045"/>
                    </a:lnTo>
                    <a:cubicBezTo>
                      <a:pt x="2014" y="2014"/>
                      <a:pt x="2014" y="2014"/>
                      <a:pt x="2045" y="2014"/>
                    </a:cubicBezTo>
                    <a:lnTo>
                      <a:pt x="2138" y="1984"/>
                    </a:lnTo>
                    <a:cubicBezTo>
                      <a:pt x="2138" y="1984"/>
                      <a:pt x="2169" y="1984"/>
                      <a:pt x="2169" y="1952"/>
                    </a:cubicBezTo>
                    <a:cubicBezTo>
                      <a:pt x="2169" y="1952"/>
                      <a:pt x="2169" y="1921"/>
                      <a:pt x="2201" y="1921"/>
                    </a:cubicBezTo>
                    <a:cubicBezTo>
                      <a:pt x="2201" y="1921"/>
                      <a:pt x="2201" y="1921"/>
                      <a:pt x="2231" y="1952"/>
                    </a:cubicBezTo>
                    <a:cubicBezTo>
                      <a:pt x="2231" y="1921"/>
                      <a:pt x="2262" y="1921"/>
                      <a:pt x="2262" y="1921"/>
                    </a:cubicBezTo>
                    <a:lnTo>
                      <a:pt x="2262" y="1921"/>
                    </a:lnTo>
                    <a:cubicBezTo>
                      <a:pt x="2293" y="1921"/>
                      <a:pt x="2293" y="1921"/>
                      <a:pt x="2293" y="1921"/>
                    </a:cubicBezTo>
                    <a:lnTo>
                      <a:pt x="2293" y="1921"/>
                    </a:lnTo>
                    <a:cubicBezTo>
                      <a:pt x="2325" y="1921"/>
                      <a:pt x="2325" y="1921"/>
                      <a:pt x="2325" y="1921"/>
                    </a:cubicBezTo>
                    <a:cubicBezTo>
                      <a:pt x="2325" y="1890"/>
                      <a:pt x="2325" y="1890"/>
                      <a:pt x="2355" y="1890"/>
                    </a:cubicBezTo>
                    <a:cubicBezTo>
                      <a:pt x="2355" y="1890"/>
                      <a:pt x="2355" y="1890"/>
                      <a:pt x="2355" y="1860"/>
                    </a:cubicBezTo>
                    <a:lnTo>
                      <a:pt x="2355" y="1860"/>
                    </a:lnTo>
                    <a:cubicBezTo>
                      <a:pt x="2386" y="1860"/>
                      <a:pt x="2386" y="1828"/>
                      <a:pt x="2386" y="1828"/>
                    </a:cubicBezTo>
                    <a:cubicBezTo>
                      <a:pt x="2417" y="1828"/>
                      <a:pt x="2417" y="1797"/>
                      <a:pt x="2417" y="1797"/>
                    </a:cubicBezTo>
                    <a:lnTo>
                      <a:pt x="2417" y="1797"/>
                    </a:lnTo>
                    <a:cubicBezTo>
                      <a:pt x="2449" y="1797"/>
                      <a:pt x="2449" y="1797"/>
                      <a:pt x="2449" y="1797"/>
                    </a:cubicBezTo>
                    <a:lnTo>
                      <a:pt x="2449" y="1797"/>
                    </a:lnTo>
                    <a:lnTo>
                      <a:pt x="2449" y="1797"/>
                    </a:lnTo>
                    <a:cubicBezTo>
                      <a:pt x="2449" y="1797"/>
                      <a:pt x="2479" y="1797"/>
                      <a:pt x="2479" y="1767"/>
                    </a:cubicBezTo>
                    <a:lnTo>
                      <a:pt x="2510" y="1736"/>
                    </a:lnTo>
                    <a:cubicBezTo>
                      <a:pt x="2510" y="1704"/>
                      <a:pt x="2510" y="1704"/>
                      <a:pt x="2510" y="1704"/>
                    </a:cubicBezTo>
                    <a:cubicBezTo>
                      <a:pt x="2510" y="1704"/>
                      <a:pt x="2510" y="1704"/>
                      <a:pt x="2510" y="1673"/>
                    </a:cubicBezTo>
                    <a:cubicBezTo>
                      <a:pt x="2541" y="1673"/>
                      <a:pt x="2541" y="1643"/>
                      <a:pt x="2541" y="1643"/>
                    </a:cubicBezTo>
                    <a:cubicBezTo>
                      <a:pt x="2541" y="1643"/>
                      <a:pt x="2541" y="1612"/>
                      <a:pt x="2573" y="1612"/>
                    </a:cubicBezTo>
                    <a:lnTo>
                      <a:pt x="2573" y="1612"/>
                    </a:lnTo>
                    <a:cubicBezTo>
                      <a:pt x="2573" y="1580"/>
                      <a:pt x="2603" y="1580"/>
                      <a:pt x="2603" y="1580"/>
                    </a:cubicBezTo>
                    <a:lnTo>
                      <a:pt x="2603" y="1580"/>
                    </a:lnTo>
                    <a:lnTo>
                      <a:pt x="2603" y="1580"/>
                    </a:lnTo>
                    <a:lnTo>
                      <a:pt x="2603" y="1549"/>
                    </a:lnTo>
                    <a:lnTo>
                      <a:pt x="2603" y="1549"/>
                    </a:lnTo>
                    <a:lnTo>
                      <a:pt x="2603" y="1549"/>
                    </a:lnTo>
                    <a:cubicBezTo>
                      <a:pt x="2603" y="1519"/>
                      <a:pt x="2603" y="1519"/>
                      <a:pt x="2603" y="1519"/>
                    </a:cubicBezTo>
                    <a:lnTo>
                      <a:pt x="2603" y="1519"/>
                    </a:lnTo>
                    <a:lnTo>
                      <a:pt x="2603" y="1519"/>
                    </a:lnTo>
                    <a:cubicBezTo>
                      <a:pt x="2573" y="1519"/>
                      <a:pt x="2573" y="1519"/>
                      <a:pt x="2573" y="1519"/>
                    </a:cubicBezTo>
                    <a:cubicBezTo>
                      <a:pt x="2479" y="1488"/>
                      <a:pt x="2479" y="1488"/>
                      <a:pt x="2479" y="1488"/>
                    </a:cubicBezTo>
                    <a:cubicBezTo>
                      <a:pt x="2541" y="1456"/>
                      <a:pt x="2541" y="1456"/>
                      <a:pt x="2541" y="1456"/>
                    </a:cubicBezTo>
                    <a:cubicBezTo>
                      <a:pt x="2541" y="1456"/>
                      <a:pt x="2573" y="1425"/>
                      <a:pt x="2603" y="1425"/>
                    </a:cubicBezTo>
                    <a:cubicBezTo>
                      <a:pt x="2573" y="1425"/>
                      <a:pt x="2573" y="1395"/>
                      <a:pt x="2573" y="1395"/>
                    </a:cubicBezTo>
                    <a:cubicBezTo>
                      <a:pt x="2541" y="1332"/>
                      <a:pt x="2541" y="1332"/>
                      <a:pt x="2541" y="1332"/>
                    </a:cubicBezTo>
                    <a:cubicBezTo>
                      <a:pt x="2573" y="1332"/>
                      <a:pt x="2573" y="1332"/>
                      <a:pt x="2573" y="1332"/>
                    </a:cubicBezTo>
                    <a:lnTo>
                      <a:pt x="2573" y="1332"/>
                    </a:lnTo>
                    <a:lnTo>
                      <a:pt x="2573" y="1332"/>
                    </a:lnTo>
                    <a:cubicBezTo>
                      <a:pt x="2541" y="1332"/>
                      <a:pt x="2573" y="1301"/>
                      <a:pt x="2573" y="1301"/>
                    </a:cubicBezTo>
                    <a:cubicBezTo>
                      <a:pt x="2573" y="1301"/>
                      <a:pt x="2573" y="1301"/>
                      <a:pt x="2573" y="1271"/>
                    </a:cubicBezTo>
                    <a:lnTo>
                      <a:pt x="2573" y="1271"/>
                    </a:lnTo>
                    <a:cubicBezTo>
                      <a:pt x="2573" y="1271"/>
                      <a:pt x="2541" y="1271"/>
                      <a:pt x="2541" y="1240"/>
                    </a:cubicBezTo>
                    <a:lnTo>
                      <a:pt x="2541" y="1240"/>
                    </a:lnTo>
                    <a:lnTo>
                      <a:pt x="2541" y="1240"/>
                    </a:lnTo>
                    <a:lnTo>
                      <a:pt x="2541" y="1240"/>
                    </a:lnTo>
                    <a:cubicBezTo>
                      <a:pt x="2510" y="1240"/>
                      <a:pt x="2510" y="1208"/>
                      <a:pt x="2479" y="1208"/>
                    </a:cubicBezTo>
                    <a:cubicBezTo>
                      <a:pt x="2479" y="1208"/>
                      <a:pt x="2479" y="1208"/>
                      <a:pt x="2449" y="1208"/>
                    </a:cubicBezTo>
                    <a:cubicBezTo>
                      <a:pt x="2449" y="1177"/>
                      <a:pt x="2479" y="1177"/>
                      <a:pt x="2479" y="1147"/>
                    </a:cubicBezTo>
                    <a:lnTo>
                      <a:pt x="2479" y="1147"/>
                    </a:lnTo>
                    <a:cubicBezTo>
                      <a:pt x="2479" y="1147"/>
                      <a:pt x="2479" y="1116"/>
                      <a:pt x="2510" y="1116"/>
                    </a:cubicBezTo>
                    <a:cubicBezTo>
                      <a:pt x="2510" y="1116"/>
                      <a:pt x="2510" y="1116"/>
                      <a:pt x="2510" y="1084"/>
                    </a:cubicBezTo>
                    <a:cubicBezTo>
                      <a:pt x="2541" y="1084"/>
                      <a:pt x="2541" y="1053"/>
                      <a:pt x="2541" y="1053"/>
                    </a:cubicBezTo>
                    <a:lnTo>
                      <a:pt x="2541" y="1053"/>
                    </a:lnTo>
                    <a:cubicBezTo>
                      <a:pt x="2541" y="1053"/>
                      <a:pt x="2541" y="1053"/>
                      <a:pt x="2510" y="1053"/>
                    </a:cubicBezTo>
                    <a:cubicBezTo>
                      <a:pt x="2510" y="1053"/>
                      <a:pt x="2510" y="1053"/>
                      <a:pt x="2479" y="1053"/>
                    </a:cubicBezTo>
                    <a:lnTo>
                      <a:pt x="2479" y="1053"/>
                    </a:lnTo>
                    <a:cubicBezTo>
                      <a:pt x="2479" y="1053"/>
                      <a:pt x="2449" y="1053"/>
                      <a:pt x="2449" y="1023"/>
                    </a:cubicBezTo>
                    <a:cubicBezTo>
                      <a:pt x="2449" y="1023"/>
                      <a:pt x="2449" y="992"/>
                      <a:pt x="2479" y="992"/>
                    </a:cubicBezTo>
                    <a:lnTo>
                      <a:pt x="2479" y="992"/>
                    </a:lnTo>
                    <a:lnTo>
                      <a:pt x="2479" y="992"/>
                    </a:lnTo>
                    <a:cubicBezTo>
                      <a:pt x="2479" y="992"/>
                      <a:pt x="2479" y="992"/>
                      <a:pt x="2449" y="992"/>
                    </a:cubicBezTo>
                    <a:lnTo>
                      <a:pt x="2449" y="992"/>
                    </a:lnTo>
                    <a:cubicBezTo>
                      <a:pt x="2417" y="992"/>
                      <a:pt x="2386" y="960"/>
                      <a:pt x="2386" y="960"/>
                    </a:cubicBezTo>
                    <a:cubicBezTo>
                      <a:pt x="2386" y="929"/>
                      <a:pt x="2386" y="929"/>
                      <a:pt x="2386" y="899"/>
                    </a:cubicBezTo>
                    <a:cubicBezTo>
                      <a:pt x="2386" y="899"/>
                      <a:pt x="2386" y="899"/>
                      <a:pt x="2417" y="899"/>
                    </a:cubicBezTo>
                    <a:lnTo>
                      <a:pt x="2417" y="899"/>
                    </a:lnTo>
                    <a:cubicBezTo>
                      <a:pt x="2417" y="868"/>
                      <a:pt x="2417" y="868"/>
                      <a:pt x="2417" y="868"/>
                    </a:cubicBezTo>
                    <a:lnTo>
                      <a:pt x="2449" y="868"/>
                    </a:lnTo>
                    <a:lnTo>
                      <a:pt x="2449" y="868"/>
                    </a:lnTo>
                    <a:cubicBezTo>
                      <a:pt x="2449" y="868"/>
                      <a:pt x="2449" y="868"/>
                      <a:pt x="2479" y="868"/>
                    </a:cubicBezTo>
                    <a:cubicBezTo>
                      <a:pt x="2479" y="836"/>
                      <a:pt x="2479" y="836"/>
                      <a:pt x="2510" y="836"/>
                    </a:cubicBezTo>
                    <a:cubicBezTo>
                      <a:pt x="2510" y="805"/>
                      <a:pt x="2541" y="805"/>
                      <a:pt x="2541" y="775"/>
                    </a:cubicBezTo>
                    <a:cubicBezTo>
                      <a:pt x="2573" y="744"/>
                      <a:pt x="2603" y="744"/>
                      <a:pt x="2603" y="744"/>
                    </a:cubicBezTo>
                    <a:lnTo>
                      <a:pt x="2603" y="744"/>
                    </a:lnTo>
                    <a:cubicBezTo>
                      <a:pt x="2634" y="744"/>
                      <a:pt x="2665" y="744"/>
                      <a:pt x="2665" y="775"/>
                    </a:cubicBezTo>
                    <a:cubicBezTo>
                      <a:pt x="2697" y="805"/>
                      <a:pt x="2697" y="805"/>
                      <a:pt x="2665" y="836"/>
                    </a:cubicBezTo>
                    <a:cubicBezTo>
                      <a:pt x="2665" y="836"/>
                      <a:pt x="2665" y="836"/>
                      <a:pt x="2665" y="868"/>
                    </a:cubicBezTo>
                    <a:cubicBezTo>
                      <a:pt x="2665" y="868"/>
                      <a:pt x="2665" y="868"/>
                      <a:pt x="2634" y="868"/>
                    </a:cubicBezTo>
                    <a:lnTo>
                      <a:pt x="2634" y="868"/>
                    </a:lnTo>
                    <a:lnTo>
                      <a:pt x="2665" y="868"/>
                    </a:lnTo>
                    <a:cubicBezTo>
                      <a:pt x="2665" y="868"/>
                      <a:pt x="2697" y="836"/>
                      <a:pt x="2727" y="836"/>
                    </a:cubicBezTo>
                    <a:cubicBezTo>
                      <a:pt x="2727" y="836"/>
                      <a:pt x="2727" y="836"/>
                      <a:pt x="2758" y="805"/>
                    </a:cubicBezTo>
                    <a:cubicBezTo>
                      <a:pt x="2758" y="805"/>
                      <a:pt x="2758" y="805"/>
                      <a:pt x="2789" y="805"/>
                    </a:cubicBezTo>
                    <a:lnTo>
                      <a:pt x="2789" y="805"/>
                    </a:lnTo>
                    <a:cubicBezTo>
                      <a:pt x="2789" y="775"/>
                      <a:pt x="2789" y="775"/>
                      <a:pt x="2821" y="77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09" name="Freeform 106"/>
              <p:cNvSpPr>
                <a:spLocks noChangeArrowheads="1"/>
              </p:cNvSpPr>
              <p:nvPr/>
            </p:nvSpPr>
            <p:spPr bwMode="auto">
              <a:xfrm>
                <a:off x="6291263" y="1712913"/>
                <a:ext cx="190500" cy="157162"/>
              </a:xfrm>
              <a:custGeom>
                <a:avLst/>
                <a:gdLst>
                  <a:gd name="T0" fmla="*/ 527 w 528"/>
                  <a:gd name="T1" fmla="*/ 31 h 436"/>
                  <a:gd name="T2" fmla="*/ 496 w 528"/>
                  <a:gd name="T3" fmla="*/ 0 h 436"/>
                  <a:gd name="T4" fmla="*/ 496 w 528"/>
                  <a:gd name="T5" fmla="*/ 0 h 436"/>
                  <a:gd name="T6" fmla="*/ 465 w 528"/>
                  <a:gd name="T7" fmla="*/ 0 h 436"/>
                  <a:gd name="T8" fmla="*/ 465 w 528"/>
                  <a:gd name="T9" fmla="*/ 31 h 436"/>
                  <a:gd name="T10" fmla="*/ 465 w 528"/>
                  <a:gd name="T11" fmla="*/ 31 h 436"/>
                  <a:gd name="T12" fmla="*/ 465 w 528"/>
                  <a:gd name="T13" fmla="*/ 94 h 436"/>
                  <a:gd name="T14" fmla="*/ 465 w 528"/>
                  <a:gd name="T15" fmla="*/ 94 h 436"/>
                  <a:gd name="T16" fmla="*/ 465 w 528"/>
                  <a:gd name="T17" fmla="*/ 124 h 436"/>
                  <a:gd name="T18" fmla="*/ 434 w 528"/>
                  <a:gd name="T19" fmla="*/ 187 h 436"/>
                  <a:gd name="T20" fmla="*/ 403 w 528"/>
                  <a:gd name="T21" fmla="*/ 187 h 436"/>
                  <a:gd name="T22" fmla="*/ 372 w 528"/>
                  <a:gd name="T23" fmla="*/ 218 h 436"/>
                  <a:gd name="T24" fmla="*/ 279 w 528"/>
                  <a:gd name="T25" fmla="*/ 279 h 436"/>
                  <a:gd name="T26" fmla="*/ 279 w 528"/>
                  <a:gd name="T27" fmla="*/ 248 h 436"/>
                  <a:gd name="T28" fmla="*/ 248 w 528"/>
                  <a:gd name="T29" fmla="*/ 279 h 436"/>
                  <a:gd name="T30" fmla="*/ 217 w 528"/>
                  <a:gd name="T31" fmla="*/ 342 h 436"/>
                  <a:gd name="T32" fmla="*/ 186 w 528"/>
                  <a:gd name="T33" fmla="*/ 342 h 436"/>
                  <a:gd name="T34" fmla="*/ 155 w 528"/>
                  <a:gd name="T35" fmla="*/ 342 h 436"/>
                  <a:gd name="T36" fmla="*/ 93 w 528"/>
                  <a:gd name="T37" fmla="*/ 342 h 436"/>
                  <a:gd name="T38" fmla="*/ 62 w 528"/>
                  <a:gd name="T39" fmla="*/ 342 h 436"/>
                  <a:gd name="T40" fmla="*/ 0 w 528"/>
                  <a:gd name="T41" fmla="*/ 403 h 436"/>
                  <a:gd name="T42" fmla="*/ 0 w 528"/>
                  <a:gd name="T43" fmla="*/ 403 h 436"/>
                  <a:gd name="T44" fmla="*/ 31 w 528"/>
                  <a:gd name="T45" fmla="*/ 403 h 436"/>
                  <a:gd name="T46" fmla="*/ 62 w 528"/>
                  <a:gd name="T47" fmla="*/ 403 h 436"/>
                  <a:gd name="T48" fmla="*/ 93 w 528"/>
                  <a:gd name="T49" fmla="*/ 372 h 436"/>
                  <a:gd name="T50" fmla="*/ 155 w 528"/>
                  <a:gd name="T51" fmla="*/ 342 h 436"/>
                  <a:gd name="T52" fmla="*/ 155 w 528"/>
                  <a:gd name="T53" fmla="*/ 342 h 436"/>
                  <a:gd name="T54" fmla="*/ 186 w 528"/>
                  <a:gd name="T55" fmla="*/ 342 h 436"/>
                  <a:gd name="T56" fmla="*/ 186 w 528"/>
                  <a:gd name="T57" fmla="*/ 403 h 436"/>
                  <a:gd name="T58" fmla="*/ 217 w 528"/>
                  <a:gd name="T59" fmla="*/ 435 h 436"/>
                  <a:gd name="T60" fmla="*/ 217 w 528"/>
                  <a:gd name="T61" fmla="*/ 403 h 436"/>
                  <a:gd name="T62" fmla="*/ 248 w 528"/>
                  <a:gd name="T63" fmla="*/ 372 h 436"/>
                  <a:gd name="T64" fmla="*/ 248 w 528"/>
                  <a:gd name="T65" fmla="*/ 342 h 436"/>
                  <a:gd name="T66" fmla="*/ 310 w 528"/>
                  <a:gd name="T67" fmla="*/ 372 h 436"/>
                  <a:gd name="T68" fmla="*/ 310 w 528"/>
                  <a:gd name="T69" fmla="*/ 372 h 436"/>
                  <a:gd name="T70" fmla="*/ 372 w 528"/>
                  <a:gd name="T71" fmla="*/ 342 h 436"/>
                  <a:gd name="T72" fmla="*/ 372 w 528"/>
                  <a:gd name="T73" fmla="*/ 342 h 436"/>
                  <a:gd name="T74" fmla="*/ 403 w 528"/>
                  <a:gd name="T75" fmla="*/ 311 h 436"/>
                  <a:gd name="T76" fmla="*/ 434 w 528"/>
                  <a:gd name="T77" fmla="*/ 311 h 436"/>
                  <a:gd name="T78" fmla="*/ 465 w 528"/>
                  <a:gd name="T79" fmla="*/ 311 h 436"/>
                  <a:gd name="T80" fmla="*/ 465 w 528"/>
                  <a:gd name="T81" fmla="*/ 248 h 436"/>
                  <a:gd name="T82" fmla="*/ 496 w 528"/>
                  <a:gd name="T83" fmla="*/ 218 h 436"/>
                  <a:gd name="T84" fmla="*/ 465 w 528"/>
                  <a:gd name="T85" fmla="*/ 187 h 436"/>
                  <a:gd name="T86" fmla="*/ 496 w 528"/>
                  <a:gd name="T87" fmla="*/ 124 h 436"/>
                  <a:gd name="T88" fmla="*/ 527 w 528"/>
                  <a:gd name="T89" fmla="*/ 94 h 436"/>
                  <a:gd name="T90" fmla="*/ 527 w 528"/>
                  <a:gd name="T91" fmla="*/ 94 h 436"/>
                  <a:gd name="T92" fmla="*/ 527 w 528"/>
                  <a:gd name="T93" fmla="*/ 6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8" h="436">
                    <a:moveTo>
                      <a:pt x="527" y="31"/>
                    </a:moveTo>
                    <a:lnTo>
                      <a:pt x="527" y="31"/>
                    </a:lnTo>
                    <a:lnTo>
                      <a:pt x="527" y="0"/>
                    </a:lnTo>
                    <a:lnTo>
                      <a:pt x="496" y="0"/>
                    </a:lnTo>
                    <a:lnTo>
                      <a:pt x="496" y="0"/>
                    </a:lnTo>
                    <a:lnTo>
                      <a:pt x="496" y="0"/>
                    </a:lnTo>
                    <a:cubicBezTo>
                      <a:pt x="496" y="0"/>
                      <a:pt x="496" y="0"/>
                      <a:pt x="465" y="0"/>
                    </a:cubicBezTo>
                    <a:lnTo>
                      <a:pt x="465" y="0"/>
                    </a:lnTo>
                    <a:lnTo>
                      <a:pt x="465" y="0"/>
                    </a:lnTo>
                    <a:lnTo>
                      <a:pt x="465" y="31"/>
                    </a:lnTo>
                    <a:lnTo>
                      <a:pt x="465" y="31"/>
                    </a:lnTo>
                    <a:lnTo>
                      <a:pt x="465" y="31"/>
                    </a:lnTo>
                    <a:cubicBezTo>
                      <a:pt x="465" y="31"/>
                      <a:pt x="465" y="31"/>
                      <a:pt x="465" y="63"/>
                    </a:cubicBezTo>
                    <a:cubicBezTo>
                      <a:pt x="465" y="63"/>
                      <a:pt x="465" y="63"/>
                      <a:pt x="465" y="94"/>
                    </a:cubicBezTo>
                    <a:lnTo>
                      <a:pt x="465" y="94"/>
                    </a:lnTo>
                    <a:lnTo>
                      <a:pt x="465" y="94"/>
                    </a:lnTo>
                    <a:cubicBezTo>
                      <a:pt x="465" y="94"/>
                      <a:pt x="465" y="94"/>
                      <a:pt x="465" y="124"/>
                    </a:cubicBezTo>
                    <a:lnTo>
                      <a:pt x="465" y="124"/>
                    </a:lnTo>
                    <a:lnTo>
                      <a:pt x="465" y="124"/>
                    </a:lnTo>
                    <a:cubicBezTo>
                      <a:pt x="465" y="124"/>
                      <a:pt x="434" y="155"/>
                      <a:pt x="434" y="187"/>
                    </a:cubicBezTo>
                    <a:lnTo>
                      <a:pt x="434" y="187"/>
                    </a:lnTo>
                    <a:cubicBezTo>
                      <a:pt x="403" y="187"/>
                      <a:pt x="403" y="187"/>
                      <a:pt x="403" y="187"/>
                    </a:cubicBezTo>
                    <a:lnTo>
                      <a:pt x="403" y="187"/>
                    </a:lnTo>
                    <a:cubicBezTo>
                      <a:pt x="403" y="187"/>
                      <a:pt x="403" y="218"/>
                      <a:pt x="372" y="218"/>
                    </a:cubicBezTo>
                    <a:lnTo>
                      <a:pt x="341" y="248"/>
                    </a:lnTo>
                    <a:cubicBezTo>
                      <a:pt x="341" y="248"/>
                      <a:pt x="310" y="279"/>
                      <a:pt x="279" y="279"/>
                    </a:cubicBezTo>
                    <a:lnTo>
                      <a:pt x="279" y="248"/>
                    </a:lnTo>
                    <a:lnTo>
                      <a:pt x="279" y="248"/>
                    </a:lnTo>
                    <a:cubicBezTo>
                      <a:pt x="279" y="279"/>
                      <a:pt x="279" y="279"/>
                      <a:pt x="248" y="279"/>
                    </a:cubicBezTo>
                    <a:lnTo>
                      <a:pt x="248" y="279"/>
                    </a:lnTo>
                    <a:lnTo>
                      <a:pt x="248" y="279"/>
                    </a:lnTo>
                    <a:cubicBezTo>
                      <a:pt x="248" y="311"/>
                      <a:pt x="248" y="342"/>
                      <a:pt x="217" y="342"/>
                    </a:cubicBezTo>
                    <a:lnTo>
                      <a:pt x="217" y="342"/>
                    </a:lnTo>
                    <a:cubicBezTo>
                      <a:pt x="217" y="342"/>
                      <a:pt x="217" y="342"/>
                      <a:pt x="186" y="342"/>
                    </a:cubicBezTo>
                    <a:lnTo>
                      <a:pt x="186" y="342"/>
                    </a:lnTo>
                    <a:lnTo>
                      <a:pt x="155" y="342"/>
                    </a:lnTo>
                    <a:lnTo>
                      <a:pt x="124" y="342"/>
                    </a:lnTo>
                    <a:cubicBezTo>
                      <a:pt x="93" y="342"/>
                      <a:pt x="93" y="342"/>
                      <a:pt x="93" y="342"/>
                    </a:cubicBezTo>
                    <a:cubicBezTo>
                      <a:pt x="62" y="342"/>
                      <a:pt x="62" y="342"/>
                      <a:pt x="62" y="342"/>
                    </a:cubicBezTo>
                    <a:lnTo>
                      <a:pt x="62" y="342"/>
                    </a:lnTo>
                    <a:cubicBezTo>
                      <a:pt x="31" y="372"/>
                      <a:pt x="31" y="372"/>
                      <a:pt x="0" y="372"/>
                    </a:cubicBezTo>
                    <a:lnTo>
                      <a:pt x="0" y="403"/>
                    </a:lnTo>
                    <a:lnTo>
                      <a:pt x="0" y="403"/>
                    </a:lnTo>
                    <a:lnTo>
                      <a:pt x="0" y="403"/>
                    </a:lnTo>
                    <a:lnTo>
                      <a:pt x="0" y="403"/>
                    </a:lnTo>
                    <a:lnTo>
                      <a:pt x="31" y="403"/>
                    </a:lnTo>
                    <a:lnTo>
                      <a:pt x="31" y="403"/>
                    </a:lnTo>
                    <a:lnTo>
                      <a:pt x="62" y="403"/>
                    </a:lnTo>
                    <a:cubicBezTo>
                      <a:pt x="62" y="372"/>
                      <a:pt x="62" y="372"/>
                      <a:pt x="93" y="372"/>
                    </a:cubicBezTo>
                    <a:lnTo>
                      <a:pt x="93" y="372"/>
                    </a:lnTo>
                    <a:lnTo>
                      <a:pt x="124" y="342"/>
                    </a:lnTo>
                    <a:lnTo>
                      <a:pt x="155" y="342"/>
                    </a:lnTo>
                    <a:lnTo>
                      <a:pt x="155" y="342"/>
                    </a:lnTo>
                    <a:lnTo>
                      <a:pt x="155" y="342"/>
                    </a:lnTo>
                    <a:lnTo>
                      <a:pt x="155" y="342"/>
                    </a:lnTo>
                    <a:lnTo>
                      <a:pt x="186" y="342"/>
                    </a:lnTo>
                    <a:cubicBezTo>
                      <a:pt x="186" y="342"/>
                      <a:pt x="186" y="342"/>
                      <a:pt x="217" y="372"/>
                    </a:cubicBezTo>
                    <a:cubicBezTo>
                      <a:pt x="217" y="372"/>
                      <a:pt x="217" y="403"/>
                      <a:pt x="186" y="403"/>
                    </a:cubicBezTo>
                    <a:lnTo>
                      <a:pt x="186" y="403"/>
                    </a:lnTo>
                    <a:cubicBezTo>
                      <a:pt x="186" y="435"/>
                      <a:pt x="186" y="435"/>
                      <a:pt x="217" y="435"/>
                    </a:cubicBezTo>
                    <a:lnTo>
                      <a:pt x="217" y="435"/>
                    </a:lnTo>
                    <a:cubicBezTo>
                      <a:pt x="217" y="435"/>
                      <a:pt x="217" y="435"/>
                      <a:pt x="217" y="403"/>
                    </a:cubicBezTo>
                    <a:cubicBezTo>
                      <a:pt x="217" y="403"/>
                      <a:pt x="217" y="403"/>
                      <a:pt x="248" y="403"/>
                    </a:cubicBezTo>
                    <a:cubicBezTo>
                      <a:pt x="248" y="372"/>
                      <a:pt x="248" y="372"/>
                      <a:pt x="248" y="372"/>
                    </a:cubicBezTo>
                    <a:cubicBezTo>
                      <a:pt x="248" y="342"/>
                      <a:pt x="248" y="342"/>
                      <a:pt x="248" y="342"/>
                    </a:cubicBezTo>
                    <a:lnTo>
                      <a:pt x="248" y="342"/>
                    </a:lnTo>
                    <a:cubicBezTo>
                      <a:pt x="279" y="342"/>
                      <a:pt x="279" y="342"/>
                      <a:pt x="310" y="372"/>
                    </a:cubicBezTo>
                    <a:lnTo>
                      <a:pt x="310" y="372"/>
                    </a:lnTo>
                    <a:lnTo>
                      <a:pt x="310" y="372"/>
                    </a:lnTo>
                    <a:lnTo>
                      <a:pt x="310" y="372"/>
                    </a:lnTo>
                    <a:cubicBezTo>
                      <a:pt x="341" y="342"/>
                      <a:pt x="341" y="342"/>
                      <a:pt x="341" y="342"/>
                    </a:cubicBezTo>
                    <a:lnTo>
                      <a:pt x="372" y="342"/>
                    </a:lnTo>
                    <a:lnTo>
                      <a:pt x="372" y="342"/>
                    </a:lnTo>
                    <a:lnTo>
                      <a:pt x="372" y="342"/>
                    </a:lnTo>
                    <a:lnTo>
                      <a:pt x="403" y="311"/>
                    </a:lnTo>
                    <a:lnTo>
                      <a:pt x="403" y="311"/>
                    </a:lnTo>
                    <a:cubicBezTo>
                      <a:pt x="403" y="311"/>
                      <a:pt x="403" y="311"/>
                      <a:pt x="434" y="311"/>
                    </a:cubicBezTo>
                    <a:lnTo>
                      <a:pt x="434" y="311"/>
                    </a:lnTo>
                    <a:lnTo>
                      <a:pt x="434" y="311"/>
                    </a:lnTo>
                    <a:cubicBezTo>
                      <a:pt x="465" y="311"/>
                      <a:pt x="465" y="311"/>
                      <a:pt x="465" y="311"/>
                    </a:cubicBezTo>
                    <a:lnTo>
                      <a:pt x="465" y="311"/>
                    </a:lnTo>
                    <a:cubicBezTo>
                      <a:pt x="465" y="311"/>
                      <a:pt x="465" y="279"/>
                      <a:pt x="465" y="248"/>
                    </a:cubicBezTo>
                    <a:cubicBezTo>
                      <a:pt x="465" y="248"/>
                      <a:pt x="465" y="248"/>
                      <a:pt x="465" y="218"/>
                    </a:cubicBezTo>
                    <a:lnTo>
                      <a:pt x="496" y="218"/>
                    </a:lnTo>
                    <a:lnTo>
                      <a:pt x="465" y="187"/>
                    </a:lnTo>
                    <a:lnTo>
                      <a:pt x="465" y="187"/>
                    </a:lnTo>
                    <a:lnTo>
                      <a:pt x="465" y="155"/>
                    </a:lnTo>
                    <a:lnTo>
                      <a:pt x="496" y="124"/>
                    </a:lnTo>
                    <a:lnTo>
                      <a:pt x="496" y="124"/>
                    </a:lnTo>
                    <a:cubicBezTo>
                      <a:pt x="527" y="94"/>
                      <a:pt x="527" y="94"/>
                      <a:pt x="527" y="94"/>
                    </a:cubicBezTo>
                    <a:lnTo>
                      <a:pt x="527" y="94"/>
                    </a:lnTo>
                    <a:lnTo>
                      <a:pt x="527" y="94"/>
                    </a:lnTo>
                    <a:lnTo>
                      <a:pt x="527" y="94"/>
                    </a:lnTo>
                    <a:cubicBezTo>
                      <a:pt x="527" y="63"/>
                      <a:pt x="527" y="63"/>
                      <a:pt x="527" y="63"/>
                    </a:cubicBezTo>
                    <a:cubicBezTo>
                      <a:pt x="527" y="31"/>
                      <a:pt x="527" y="31"/>
                      <a:pt x="527"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10" name="Freeform 107"/>
              <p:cNvSpPr>
                <a:spLocks noChangeArrowheads="1"/>
              </p:cNvSpPr>
              <p:nvPr/>
            </p:nvSpPr>
            <p:spPr bwMode="auto">
              <a:xfrm>
                <a:off x="6246813" y="1870075"/>
                <a:ext cx="33337" cy="55563"/>
              </a:xfrm>
              <a:custGeom>
                <a:avLst/>
                <a:gdLst>
                  <a:gd name="T0" fmla="*/ 61 w 93"/>
                  <a:gd name="T1" fmla="*/ 31 h 156"/>
                  <a:gd name="T2" fmla="*/ 61 w 93"/>
                  <a:gd name="T3" fmla="*/ 31 h 156"/>
                  <a:gd name="T4" fmla="*/ 61 w 93"/>
                  <a:gd name="T5" fmla="*/ 31 h 156"/>
                  <a:gd name="T6" fmla="*/ 61 w 93"/>
                  <a:gd name="T7" fmla="*/ 0 h 156"/>
                  <a:gd name="T8" fmla="*/ 61 w 93"/>
                  <a:gd name="T9" fmla="*/ 0 h 156"/>
                  <a:gd name="T10" fmla="*/ 61 w 93"/>
                  <a:gd name="T11" fmla="*/ 31 h 156"/>
                  <a:gd name="T12" fmla="*/ 30 w 93"/>
                  <a:gd name="T13" fmla="*/ 31 h 156"/>
                  <a:gd name="T14" fmla="*/ 0 w 93"/>
                  <a:gd name="T15" fmla="*/ 31 h 156"/>
                  <a:gd name="T16" fmla="*/ 0 w 93"/>
                  <a:gd name="T17" fmla="*/ 31 h 156"/>
                  <a:gd name="T18" fmla="*/ 0 w 93"/>
                  <a:gd name="T19" fmla="*/ 61 h 156"/>
                  <a:gd name="T20" fmla="*/ 30 w 93"/>
                  <a:gd name="T21" fmla="*/ 92 h 156"/>
                  <a:gd name="T22" fmla="*/ 30 w 93"/>
                  <a:gd name="T23" fmla="*/ 124 h 156"/>
                  <a:gd name="T24" fmla="*/ 61 w 93"/>
                  <a:gd name="T25" fmla="*/ 124 h 156"/>
                  <a:gd name="T26" fmla="*/ 61 w 93"/>
                  <a:gd name="T27" fmla="*/ 155 h 156"/>
                  <a:gd name="T28" fmla="*/ 61 w 93"/>
                  <a:gd name="T29" fmla="*/ 124 h 156"/>
                  <a:gd name="T30" fmla="*/ 92 w 93"/>
                  <a:gd name="T31" fmla="*/ 124 h 156"/>
                  <a:gd name="T32" fmla="*/ 92 w 93"/>
                  <a:gd name="T33" fmla="*/ 92 h 156"/>
                  <a:gd name="T34" fmla="*/ 92 w 93"/>
                  <a:gd name="T35" fmla="*/ 61 h 156"/>
                  <a:gd name="T36" fmla="*/ 92 w 93"/>
                  <a:gd name="T37" fmla="*/ 61 h 156"/>
                  <a:gd name="T38" fmla="*/ 92 w 93"/>
                  <a:gd name="T39" fmla="*/ 31 h 156"/>
                  <a:gd name="T40" fmla="*/ 61 w 93"/>
                  <a:gd name="T41" fmla="*/ 3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156">
                    <a:moveTo>
                      <a:pt x="61" y="31"/>
                    </a:moveTo>
                    <a:lnTo>
                      <a:pt x="61" y="31"/>
                    </a:lnTo>
                    <a:lnTo>
                      <a:pt x="61" y="31"/>
                    </a:lnTo>
                    <a:lnTo>
                      <a:pt x="61" y="0"/>
                    </a:lnTo>
                    <a:lnTo>
                      <a:pt x="61" y="0"/>
                    </a:lnTo>
                    <a:lnTo>
                      <a:pt x="61" y="31"/>
                    </a:lnTo>
                    <a:cubicBezTo>
                      <a:pt x="30" y="31"/>
                      <a:pt x="30" y="31"/>
                      <a:pt x="30" y="31"/>
                    </a:cubicBezTo>
                    <a:cubicBezTo>
                      <a:pt x="30" y="31"/>
                      <a:pt x="30" y="31"/>
                      <a:pt x="0" y="31"/>
                    </a:cubicBezTo>
                    <a:lnTo>
                      <a:pt x="0" y="31"/>
                    </a:lnTo>
                    <a:cubicBezTo>
                      <a:pt x="0" y="61"/>
                      <a:pt x="0" y="61"/>
                      <a:pt x="0" y="61"/>
                    </a:cubicBezTo>
                    <a:cubicBezTo>
                      <a:pt x="30" y="61"/>
                      <a:pt x="30" y="61"/>
                      <a:pt x="30" y="92"/>
                    </a:cubicBezTo>
                    <a:cubicBezTo>
                      <a:pt x="30" y="92"/>
                      <a:pt x="30" y="92"/>
                      <a:pt x="30" y="124"/>
                    </a:cubicBezTo>
                    <a:lnTo>
                      <a:pt x="61" y="124"/>
                    </a:lnTo>
                    <a:cubicBezTo>
                      <a:pt x="61" y="124"/>
                      <a:pt x="61" y="124"/>
                      <a:pt x="61" y="155"/>
                    </a:cubicBezTo>
                    <a:cubicBezTo>
                      <a:pt x="61" y="124"/>
                      <a:pt x="61" y="124"/>
                      <a:pt x="61" y="124"/>
                    </a:cubicBezTo>
                    <a:lnTo>
                      <a:pt x="92" y="124"/>
                    </a:lnTo>
                    <a:lnTo>
                      <a:pt x="92" y="92"/>
                    </a:lnTo>
                    <a:lnTo>
                      <a:pt x="92" y="61"/>
                    </a:lnTo>
                    <a:lnTo>
                      <a:pt x="92" y="61"/>
                    </a:lnTo>
                    <a:lnTo>
                      <a:pt x="92" y="31"/>
                    </a:lnTo>
                    <a:cubicBezTo>
                      <a:pt x="61" y="31"/>
                      <a:pt x="61" y="31"/>
                      <a:pt x="61"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11" name="Freeform 108"/>
              <p:cNvSpPr>
                <a:spLocks noChangeArrowheads="1"/>
              </p:cNvSpPr>
              <p:nvPr/>
            </p:nvSpPr>
            <p:spPr bwMode="auto">
              <a:xfrm>
                <a:off x="5419725" y="1457325"/>
                <a:ext cx="614363" cy="223838"/>
              </a:xfrm>
              <a:custGeom>
                <a:avLst/>
                <a:gdLst>
                  <a:gd name="T0" fmla="*/ 558 w 1706"/>
                  <a:gd name="T1" fmla="*/ 124 h 621"/>
                  <a:gd name="T2" fmla="*/ 496 w 1706"/>
                  <a:gd name="T3" fmla="*/ 156 h 621"/>
                  <a:gd name="T4" fmla="*/ 435 w 1706"/>
                  <a:gd name="T5" fmla="*/ 156 h 621"/>
                  <a:gd name="T6" fmla="*/ 372 w 1706"/>
                  <a:gd name="T7" fmla="*/ 156 h 621"/>
                  <a:gd name="T8" fmla="*/ 311 w 1706"/>
                  <a:gd name="T9" fmla="*/ 94 h 621"/>
                  <a:gd name="T10" fmla="*/ 248 w 1706"/>
                  <a:gd name="T11" fmla="*/ 94 h 621"/>
                  <a:gd name="T12" fmla="*/ 187 w 1706"/>
                  <a:gd name="T13" fmla="*/ 94 h 621"/>
                  <a:gd name="T14" fmla="*/ 94 w 1706"/>
                  <a:gd name="T15" fmla="*/ 124 h 621"/>
                  <a:gd name="T16" fmla="*/ 63 w 1706"/>
                  <a:gd name="T17" fmla="*/ 187 h 621"/>
                  <a:gd name="T18" fmla="*/ 0 w 1706"/>
                  <a:gd name="T19" fmla="*/ 187 h 621"/>
                  <a:gd name="T20" fmla="*/ 63 w 1706"/>
                  <a:gd name="T21" fmla="*/ 218 h 621"/>
                  <a:gd name="T22" fmla="*/ 124 w 1706"/>
                  <a:gd name="T23" fmla="*/ 248 h 621"/>
                  <a:gd name="T24" fmla="*/ 187 w 1706"/>
                  <a:gd name="T25" fmla="*/ 311 h 621"/>
                  <a:gd name="T26" fmla="*/ 155 w 1706"/>
                  <a:gd name="T27" fmla="*/ 404 h 621"/>
                  <a:gd name="T28" fmla="*/ 218 w 1706"/>
                  <a:gd name="T29" fmla="*/ 404 h 621"/>
                  <a:gd name="T30" fmla="*/ 279 w 1706"/>
                  <a:gd name="T31" fmla="*/ 404 h 621"/>
                  <a:gd name="T32" fmla="*/ 342 w 1706"/>
                  <a:gd name="T33" fmla="*/ 404 h 621"/>
                  <a:gd name="T34" fmla="*/ 403 w 1706"/>
                  <a:gd name="T35" fmla="*/ 435 h 621"/>
                  <a:gd name="T36" fmla="*/ 435 w 1706"/>
                  <a:gd name="T37" fmla="*/ 496 h 621"/>
                  <a:gd name="T38" fmla="*/ 466 w 1706"/>
                  <a:gd name="T39" fmla="*/ 559 h 621"/>
                  <a:gd name="T40" fmla="*/ 620 w 1706"/>
                  <a:gd name="T41" fmla="*/ 559 h 621"/>
                  <a:gd name="T42" fmla="*/ 713 w 1706"/>
                  <a:gd name="T43" fmla="*/ 559 h 621"/>
                  <a:gd name="T44" fmla="*/ 807 w 1706"/>
                  <a:gd name="T45" fmla="*/ 589 h 621"/>
                  <a:gd name="T46" fmla="*/ 837 w 1706"/>
                  <a:gd name="T47" fmla="*/ 620 h 621"/>
                  <a:gd name="T48" fmla="*/ 899 w 1706"/>
                  <a:gd name="T49" fmla="*/ 589 h 621"/>
                  <a:gd name="T50" fmla="*/ 992 w 1706"/>
                  <a:gd name="T51" fmla="*/ 589 h 621"/>
                  <a:gd name="T52" fmla="*/ 1147 w 1706"/>
                  <a:gd name="T53" fmla="*/ 559 h 621"/>
                  <a:gd name="T54" fmla="*/ 1209 w 1706"/>
                  <a:gd name="T55" fmla="*/ 559 h 621"/>
                  <a:gd name="T56" fmla="*/ 1271 w 1706"/>
                  <a:gd name="T57" fmla="*/ 496 h 621"/>
                  <a:gd name="T58" fmla="*/ 1271 w 1706"/>
                  <a:gd name="T59" fmla="*/ 466 h 621"/>
                  <a:gd name="T60" fmla="*/ 1364 w 1706"/>
                  <a:gd name="T61" fmla="*/ 404 h 621"/>
                  <a:gd name="T62" fmla="*/ 1427 w 1706"/>
                  <a:gd name="T63" fmla="*/ 404 h 621"/>
                  <a:gd name="T64" fmla="*/ 1488 w 1706"/>
                  <a:gd name="T65" fmla="*/ 372 h 621"/>
                  <a:gd name="T66" fmla="*/ 1519 w 1706"/>
                  <a:gd name="T67" fmla="*/ 372 h 621"/>
                  <a:gd name="T68" fmla="*/ 1551 w 1706"/>
                  <a:gd name="T69" fmla="*/ 342 h 621"/>
                  <a:gd name="T70" fmla="*/ 1612 w 1706"/>
                  <a:gd name="T71" fmla="*/ 311 h 621"/>
                  <a:gd name="T72" fmla="*/ 1675 w 1706"/>
                  <a:gd name="T73" fmla="*/ 280 h 621"/>
                  <a:gd name="T74" fmla="*/ 1705 w 1706"/>
                  <a:gd name="T75" fmla="*/ 280 h 621"/>
                  <a:gd name="T76" fmla="*/ 1643 w 1706"/>
                  <a:gd name="T77" fmla="*/ 280 h 621"/>
                  <a:gd name="T78" fmla="*/ 1581 w 1706"/>
                  <a:gd name="T79" fmla="*/ 280 h 621"/>
                  <a:gd name="T80" fmla="*/ 1551 w 1706"/>
                  <a:gd name="T81" fmla="*/ 280 h 621"/>
                  <a:gd name="T82" fmla="*/ 1551 w 1706"/>
                  <a:gd name="T83" fmla="*/ 280 h 621"/>
                  <a:gd name="T84" fmla="*/ 1488 w 1706"/>
                  <a:gd name="T85" fmla="*/ 218 h 621"/>
                  <a:gd name="T86" fmla="*/ 1519 w 1706"/>
                  <a:gd name="T87" fmla="*/ 156 h 621"/>
                  <a:gd name="T88" fmla="*/ 1457 w 1706"/>
                  <a:gd name="T89" fmla="*/ 124 h 621"/>
                  <a:gd name="T90" fmla="*/ 1364 w 1706"/>
                  <a:gd name="T91" fmla="*/ 156 h 621"/>
                  <a:gd name="T92" fmla="*/ 1271 w 1706"/>
                  <a:gd name="T93" fmla="*/ 187 h 621"/>
                  <a:gd name="T94" fmla="*/ 1209 w 1706"/>
                  <a:gd name="T95" fmla="*/ 187 h 621"/>
                  <a:gd name="T96" fmla="*/ 1085 w 1706"/>
                  <a:gd name="T97" fmla="*/ 156 h 621"/>
                  <a:gd name="T98" fmla="*/ 961 w 1706"/>
                  <a:gd name="T99" fmla="*/ 124 h 621"/>
                  <a:gd name="T100" fmla="*/ 868 w 1706"/>
                  <a:gd name="T101" fmla="*/ 124 h 621"/>
                  <a:gd name="T102" fmla="*/ 775 w 1706"/>
                  <a:gd name="T103" fmla="*/ 124 h 621"/>
                  <a:gd name="T104" fmla="*/ 744 w 1706"/>
                  <a:gd name="T105" fmla="*/ 63 h 621"/>
                  <a:gd name="T106" fmla="*/ 651 w 1706"/>
                  <a:gd name="T107" fmla="*/ 32 h 621"/>
                  <a:gd name="T108" fmla="*/ 558 w 1706"/>
                  <a:gd name="T109" fmla="*/ 63 h 621"/>
                  <a:gd name="T110" fmla="*/ 590 w 1706"/>
                  <a:gd name="T111" fmla="*/ 94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6" h="621">
                    <a:moveTo>
                      <a:pt x="558" y="124"/>
                    </a:moveTo>
                    <a:lnTo>
                      <a:pt x="558" y="124"/>
                    </a:lnTo>
                    <a:lnTo>
                      <a:pt x="558" y="124"/>
                    </a:lnTo>
                    <a:lnTo>
                      <a:pt x="558" y="124"/>
                    </a:lnTo>
                    <a:lnTo>
                      <a:pt x="558" y="124"/>
                    </a:lnTo>
                    <a:cubicBezTo>
                      <a:pt x="527" y="156"/>
                      <a:pt x="527" y="156"/>
                      <a:pt x="496" y="156"/>
                    </a:cubicBezTo>
                    <a:lnTo>
                      <a:pt x="496" y="156"/>
                    </a:lnTo>
                    <a:lnTo>
                      <a:pt x="496" y="156"/>
                    </a:lnTo>
                    <a:lnTo>
                      <a:pt x="466" y="156"/>
                    </a:lnTo>
                    <a:lnTo>
                      <a:pt x="466" y="156"/>
                    </a:lnTo>
                    <a:cubicBezTo>
                      <a:pt x="466" y="156"/>
                      <a:pt x="466" y="156"/>
                      <a:pt x="435" y="156"/>
                    </a:cubicBezTo>
                    <a:lnTo>
                      <a:pt x="435" y="156"/>
                    </a:lnTo>
                    <a:lnTo>
                      <a:pt x="403" y="156"/>
                    </a:lnTo>
                    <a:lnTo>
                      <a:pt x="403" y="156"/>
                    </a:lnTo>
                    <a:lnTo>
                      <a:pt x="372" y="156"/>
                    </a:lnTo>
                    <a:lnTo>
                      <a:pt x="372" y="156"/>
                    </a:lnTo>
                    <a:lnTo>
                      <a:pt x="372" y="156"/>
                    </a:lnTo>
                    <a:cubicBezTo>
                      <a:pt x="342" y="156"/>
                      <a:pt x="342" y="124"/>
                      <a:pt x="342" y="124"/>
                    </a:cubicBezTo>
                    <a:lnTo>
                      <a:pt x="342" y="124"/>
                    </a:lnTo>
                    <a:cubicBezTo>
                      <a:pt x="311" y="124"/>
                      <a:pt x="311" y="124"/>
                      <a:pt x="311" y="94"/>
                    </a:cubicBezTo>
                    <a:lnTo>
                      <a:pt x="311" y="94"/>
                    </a:lnTo>
                    <a:lnTo>
                      <a:pt x="311" y="94"/>
                    </a:lnTo>
                    <a:lnTo>
                      <a:pt x="311" y="94"/>
                    </a:lnTo>
                    <a:cubicBezTo>
                      <a:pt x="279" y="94"/>
                      <a:pt x="279" y="94"/>
                      <a:pt x="248" y="94"/>
                    </a:cubicBezTo>
                    <a:lnTo>
                      <a:pt x="248" y="94"/>
                    </a:lnTo>
                    <a:lnTo>
                      <a:pt x="248" y="94"/>
                    </a:lnTo>
                    <a:lnTo>
                      <a:pt x="218" y="94"/>
                    </a:lnTo>
                    <a:cubicBezTo>
                      <a:pt x="218" y="94"/>
                      <a:pt x="218" y="94"/>
                      <a:pt x="187" y="94"/>
                    </a:cubicBezTo>
                    <a:lnTo>
                      <a:pt x="187" y="94"/>
                    </a:lnTo>
                    <a:cubicBezTo>
                      <a:pt x="187" y="94"/>
                      <a:pt x="187" y="94"/>
                      <a:pt x="155" y="94"/>
                    </a:cubicBezTo>
                    <a:lnTo>
                      <a:pt x="155" y="124"/>
                    </a:lnTo>
                    <a:cubicBezTo>
                      <a:pt x="124" y="124"/>
                      <a:pt x="124" y="124"/>
                      <a:pt x="94" y="124"/>
                    </a:cubicBezTo>
                    <a:lnTo>
                      <a:pt x="94" y="156"/>
                    </a:lnTo>
                    <a:lnTo>
                      <a:pt x="94" y="156"/>
                    </a:lnTo>
                    <a:cubicBezTo>
                      <a:pt x="63" y="187"/>
                      <a:pt x="63" y="187"/>
                      <a:pt x="63" y="187"/>
                    </a:cubicBezTo>
                    <a:lnTo>
                      <a:pt x="63" y="187"/>
                    </a:lnTo>
                    <a:lnTo>
                      <a:pt x="63" y="187"/>
                    </a:lnTo>
                    <a:cubicBezTo>
                      <a:pt x="31" y="187"/>
                      <a:pt x="31" y="187"/>
                      <a:pt x="31" y="187"/>
                    </a:cubicBezTo>
                    <a:lnTo>
                      <a:pt x="0" y="187"/>
                    </a:lnTo>
                    <a:lnTo>
                      <a:pt x="0" y="187"/>
                    </a:lnTo>
                    <a:lnTo>
                      <a:pt x="0" y="187"/>
                    </a:lnTo>
                    <a:lnTo>
                      <a:pt x="0" y="187"/>
                    </a:lnTo>
                    <a:cubicBezTo>
                      <a:pt x="31" y="187"/>
                      <a:pt x="31" y="218"/>
                      <a:pt x="31" y="218"/>
                    </a:cubicBezTo>
                    <a:cubicBezTo>
                      <a:pt x="63" y="218"/>
                      <a:pt x="63" y="218"/>
                      <a:pt x="63" y="218"/>
                    </a:cubicBezTo>
                    <a:cubicBezTo>
                      <a:pt x="94" y="218"/>
                      <a:pt x="94" y="218"/>
                      <a:pt x="94" y="218"/>
                    </a:cubicBezTo>
                    <a:cubicBezTo>
                      <a:pt x="94" y="218"/>
                      <a:pt x="94" y="218"/>
                      <a:pt x="124" y="248"/>
                    </a:cubicBezTo>
                    <a:lnTo>
                      <a:pt x="124" y="248"/>
                    </a:lnTo>
                    <a:lnTo>
                      <a:pt x="124" y="248"/>
                    </a:lnTo>
                    <a:cubicBezTo>
                      <a:pt x="124" y="248"/>
                      <a:pt x="124" y="248"/>
                      <a:pt x="124" y="280"/>
                    </a:cubicBezTo>
                    <a:cubicBezTo>
                      <a:pt x="124" y="280"/>
                      <a:pt x="124" y="280"/>
                      <a:pt x="155" y="280"/>
                    </a:cubicBezTo>
                    <a:lnTo>
                      <a:pt x="155" y="280"/>
                    </a:lnTo>
                    <a:lnTo>
                      <a:pt x="187" y="311"/>
                    </a:lnTo>
                    <a:lnTo>
                      <a:pt x="187" y="342"/>
                    </a:lnTo>
                    <a:lnTo>
                      <a:pt x="187" y="342"/>
                    </a:lnTo>
                    <a:cubicBezTo>
                      <a:pt x="187" y="372"/>
                      <a:pt x="155" y="372"/>
                      <a:pt x="155" y="372"/>
                    </a:cubicBezTo>
                    <a:cubicBezTo>
                      <a:pt x="155" y="404"/>
                      <a:pt x="155" y="404"/>
                      <a:pt x="155" y="404"/>
                    </a:cubicBezTo>
                    <a:lnTo>
                      <a:pt x="155" y="404"/>
                    </a:lnTo>
                    <a:cubicBezTo>
                      <a:pt x="187" y="404"/>
                      <a:pt x="187" y="404"/>
                      <a:pt x="218" y="404"/>
                    </a:cubicBezTo>
                    <a:lnTo>
                      <a:pt x="218" y="404"/>
                    </a:lnTo>
                    <a:lnTo>
                      <a:pt x="218" y="404"/>
                    </a:lnTo>
                    <a:cubicBezTo>
                      <a:pt x="248" y="404"/>
                      <a:pt x="248" y="404"/>
                      <a:pt x="279" y="404"/>
                    </a:cubicBezTo>
                    <a:lnTo>
                      <a:pt x="279" y="404"/>
                    </a:lnTo>
                    <a:lnTo>
                      <a:pt x="279" y="404"/>
                    </a:lnTo>
                    <a:lnTo>
                      <a:pt x="279" y="404"/>
                    </a:lnTo>
                    <a:cubicBezTo>
                      <a:pt x="311" y="404"/>
                      <a:pt x="311" y="404"/>
                      <a:pt x="311" y="404"/>
                    </a:cubicBezTo>
                    <a:lnTo>
                      <a:pt x="311" y="404"/>
                    </a:lnTo>
                    <a:cubicBezTo>
                      <a:pt x="311" y="404"/>
                      <a:pt x="311" y="404"/>
                      <a:pt x="342" y="404"/>
                    </a:cubicBezTo>
                    <a:lnTo>
                      <a:pt x="342" y="404"/>
                    </a:lnTo>
                    <a:lnTo>
                      <a:pt x="342" y="435"/>
                    </a:lnTo>
                    <a:lnTo>
                      <a:pt x="342" y="435"/>
                    </a:lnTo>
                    <a:lnTo>
                      <a:pt x="372" y="435"/>
                    </a:lnTo>
                    <a:lnTo>
                      <a:pt x="403" y="435"/>
                    </a:lnTo>
                    <a:cubicBezTo>
                      <a:pt x="403" y="466"/>
                      <a:pt x="435" y="466"/>
                      <a:pt x="435" y="466"/>
                    </a:cubicBezTo>
                    <a:lnTo>
                      <a:pt x="435" y="466"/>
                    </a:lnTo>
                    <a:lnTo>
                      <a:pt x="435" y="496"/>
                    </a:lnTo>
                    <a:lnTo>
                      <a:pt x="435" y="496"/>
                    </a:lnTo>
                    <a:lnTo>
                      <a:pt x="435" y="496"/>
                    </a:lnTo>
                    <a:lnTo>
                      <a:pt x="435" y="528"/>
                    </a:lnTo>
                    <a:cubicBezTo>
                      <a:pt x="466" y="528"/>
                      <a:pt x="466" y="528"/>
                      <a:pt x="466" y="559"/>
                    </a:cubicBezTo>
                    <a:lnTo>
                      <a:pt x="466" y="559"/>
                    </a:lnTo>
                    <a:lnTo>
                      <a:pt x="466" y="559"/>
                    </a:lnTo>
                    <a:cubicBezTo>
                      <a:pt x="496" y="559"/>
                      <a:pt x="558" y="559"/>
                      <a:pt x="558" y="559"/>
                    </a:cubicBezTo>
                    <a:cubicBezTo>
                      <a:pt x="590" y="559"/>
                      <a:pt x="590" y="559"/>
                      <a:pt x="620" y="559"/>
                    </a:cubicBezTo>
                    <a:lnTo>
                      <a:pt x="620" y="559"/>
                    </a:lnTo>
                    <a:cubicBezTo>
                      <a:pt x="651" y="559"/>
                      <a:pt x="651" y="559"/>
                      <a:pt x="651" y="559"/>
                    </a:cubicBezTo>
                    <a:lnTo>
                      <a:pt x="683" y="559"/>
                    </a:lnTo>
                    <a:cubicBezTo>
                      <a:pt x="683" y="559"/>
                      <a:pt x="683" y="559"/>
                      <a:pt x="713" y="559"/>
                    </a:cubicBezTo>
                    <a:lnTo>
                      <a:pt x="713" y="559"/>
                    </a:lnTo>
                    <a:lnTo>
                      <a:pt x="744" y="559"/>
                    </a:lnTo>
                    <a:cubicBezTo>
                      <a:pt x="775" y="589"/>
                      <a:pt x="775" y="589"/>
                      <a:pt x="775" y="589"/>
                    </a:cubicBezTo>
                    <a:lnTo>
                      <a:pt x="775" y="589"/>
                    </a:lnTo>
                    <a:cubicBezTo>
                      <a:pt x="807" y="589"/>
                      <a:pt x="807" y="589"/>
                      <a:pt x="807" y="589"/>
                    </a:cubicBezTo>
                    <a:lnTo>
                      <a:pt x="807" y="589"/>
                    </a:lnTo>
                    <a:cubicBezTo>
                      <a:pt x="807" y="589"/>
                      <a:pt x="807" y="589"/>
                      <a:pt x="837" y="589"/>
                    </a:cubicBezTo>
                    <a:lnTo>
                      <a:pt x="837" y="620"/>
                    </a:lnTo>
                    <a:lnTo>
                      <a:pt x="837" y="620"/>
                    </a:lnTo>
                    <a:cubicBezTo>
                      <a:pt x="868" y="620"/>
                      <a:pt x="868" y="589"/>
                      <a:pt x="868" y="589"/>
                    </a:cubicBezTo>
                    <a:lnTo>
                      <a:pt x="868" y="589"/>
                    </a:lnTo>
                    <a:lnTo>
                      <a:pt x="868" y="589"/>
                    </a:lnTo>
                    <a:lnTo>
                      <a:pt x="899" y="589"/>
                    </a:lnTo>
                    <a:lnTo>
                      <a:pt x="899" y="589"/>
                    </a:lnTo>
                    <a:cubicBezTo>
                      <a:pt x="899" y="589"/>
                      <a:pt x="899" y="589"/>
                      <a:pt x="899" y="620"/>
                    </a:cubicBezTo>
                    <a:cubicBezTo>
                      <a:pt x="931" y="620"/>
                      <a:pt x="931" y="620"/>
                      <a:pt x="931" y="620"/>
                    </a:cubicBezTo>
                    <a:cubicBezTo>
                      <a:pt x="931" y="620"/>
                      <a:pt x="961" y="589"/>
                      <a:pt x="992" y="589"/>
                    </a:cubicBezTo>
                    <a:cubicBezTo>
                      <a:pt x="992" y="589"/>
                      <a:pt x="1023" y="559"/>
                      <a:pt x="1055" y="559"/>
                    </a:cubicBezTo>
                    <a:lnTo>
                      <a:pt x="1055" y="559"/>
                    </a:lnTo>
                    <a:lnTo>
                      <a:pt x="1085" y="559"/>
                    </a:lnTo>
                    <a:cubicBezTo>
                      <a:pt x="1116" y="559"/>
                      <a:pt x="1116" y="559"/>
                      <a:pt x="1147" y="559"/>
                    </a:cubicBezTo>
                    <a:lnTo>
                      <a:pt x="1147" y="559"/>
                    </a:lnTo>
                    <a:cubicBezTo>
                      <a:pt x="1179" y="559"/>
                      <a:pt x="1179" y="559"/>
                      <a:pt x="1209" y="559"/>
                    </a:cubicBezTo>
                    <a:lnTo>
                      <a:pt x="1209" y="559"/>
                    </a:lnTo>
                    <a:lnTo>
                      <a:pt x="1209" y="559"/>
                    </a:lnTo>
                    <a:cubicBezTo>
                      <a:pt x="1209" y="559"/>
                      <a:pt x="1209" y="528"/>
                      <a:pt x="1240" y="528"/>
                    </a:cubicBezTo>
                    <a:lnTo>
                      <a:pt x="1240" y="528"/>
                    </a:lnTo>
                    <a:cubicBezTo>
                      <a:pt x="1240" y="528"/>
                      <a:pt x="1240" y="528"/>
                      <a:pt x="1240" y="496"/>
                    </a:cubicBezTo>
                    <a:cubicBezTo>
                      <a:pt x="1271" y="496"/>
                      <a:pt x="1271" y="496"/>
                      <a:pt x="1271" y="496"/>
                    </a:cubicBezTo>
                    <a:lnTo>
                      <a:pt x="1271" y="496"/>
                    </a:lnTo>
                    <a:lnTo>
                      <a:pt x="1271" y="466"/>
                    </a:lnTo>
                    <a:lnTo>
                      <a:pt x="1271" y="466"/>
                    </a:lnTo>
                    <a:lnTo>
                      <a:pt x="1271" y="466"/>
                    </a:lnTo>
                    <a:cubicBezTo>
                      <a:pt x="1271" y="435"/>
                      <a:pt x="1271" y="435"/>
                      <a:pt x="1271" y="435"/>
                    </a:cubicBezTo>
                    <a:cubicBezTo>
                      <a:pt x="1271" y="404"/>
                      <a:pt x="1271" y="404"/>
                      <a:pt x="1303" y="404"/>
                    </a:cubicBezTo>
                    <a:lnTo>
                      <a:pt x="1303" y="404"/>
                    </a:lnTo>
                    <a:cubicBezTo>
                      <a:pt x="1333" y="404"/>
                      <a:pt x="1364" y="404"/>
                      <a:pt x="1364" y="404"/>
                    </a:cubicBezTo>
                    <a:cubicBezTo>
                      <a:pt x="1364" y="404"/>
                      <a:pt x="1364" y="404"/>
                      <a:pt x="1395" y="404"/>
                    </a:cubicBezTo>
                    <a:lnTo>
                      <a:pt x="1395" y="404"/>
                    </a:lnTo>
                    <a:lnTo>
                      <a:pt x="1395" y="404"/>
                    </a:lnTo>
                    <a:lnTo>
                      <a:pt x="1427" y="404"/>
                    </a:lnTo>
                    <a:lnTo>
                      <a:pt x="1427" y="404"/>
                    </a:lnTo>
                    <a:lnTo>
                      <a:pt x="1427" y="404"/>
                    </a:lnTo>
                    <a:lnTo>
                      <a:pt x="1427" y="404"/>
                    </a:lnTo>
                    <a:cubicBezTo>
                      <a:pt x="1427" y="404"/>
                      <a:pt x="1457" y="372"/>
                      <a:pt x="1488" y="372"/>
                    </a:cubicBezTo>
                    <a:lnTo>
                      <a:pt x="1488" y="372"/>
                    </a:lnTo>
                    <a:lnTo>
                      <a:pt x="1488" y="372"/>
                    </a:lnTo>
                    <a:cubicBezTo>
                      <a:pt x="1519" y="372"/>
                      <a:pt x="1519" y="372"/>
                      <a:pt x="1519" y="372"/>
                    </a:cubicBezTo>
                    <a:lnTo>
                      <a:pt x="1519" y="372"/>
                    </a:lnTo>
                    <a:lnTo>
                      <a:pt x="1519" y="372"/>
                    </a:lnTo>
                    <a:lnTo>
                      <a:pt x="1519" y="372"/>
                    </a:lnTo>
                    <a:lnTo>
                      <a:pt x="1551" y="372"/>
                    </a:lnTo>
                    <a:cubicBezTo>
                      <a:pt x="1551" y="342"/>
                      <a:pt x="1551" y="342"/>
                      <a:pt x="1551" y="342"/>
                    </a:cubicBezTo>
                    <a:cubicBezTo>
                      <a:pt x="1551" y="342"/>
                      <a:pt x="1551" y="311"/>
                      <a:pt x="1581" y="311"/>
                    </a:cubicBezTo>
                    <a:lnTo>
                      <a:pt x="1581" y="311"/>
                    </a:lnTo>
                    <a:cubicBezTo>
                      <a:pt x="1581" y="311"/>
                      <a:pt x="1581" y="311"/>
                      <a:pt x="1612" y="311"/>
                    </a:cubicBezTo>
                    <a:lnTo>
                      <a:pt x="1612" y="311"/>
                    </a:lnTo>
                    <a:lnTo>
                      <a:pt x="1612" y="311"/>
                    </a:lnTo>
                    <a:cubicBezTo>
                      <a:pt x="1643" y="280"/>
                      <a:pt x="1643" y="280"/>
                      <a:pt x="1643" y="280"/>
                    </a:cubicBezTo>
                    <a:lnTo>
                      <a:pt x="1675" y="280"/>
                    </a:lnTo>
                    <a:lnTo>
                      <a:pt x="1675" y="280"/>
                    </a:lnTo>
                    <a:lnTo>
                      <a:pt x="1675" y="280"/>
                    </a:lnTo>
                    <a:lnTo>
                      <a:pt x="1675" y="280"/>
                    </a:lnTo>
                    <a:lnTo>
                      <a:pt x="1705" y="280"/>
                    </a:lnTo>
                    <a:lnTo>
                      <a:pt x="1705" y="280"/>
                    </a:lnTo>
                    <a:lnTo>
                      <a:pt x="1675" y="280"/>
                    </a:lnTo>
                    <a:lnTo>
                      <a:pt x="1675" y="280"/>
                    </a:lnTo>
                    <a:lnTo>
                      <a:pt x="1675" y="280"/>
                    </a:lnTo>
                    <a:cubicBezTo>
                      <a:pt x="1643" y="280"/>
                      <a:pt x="1643" y="280"/>
                      <a:pt x="1643" y="280"/>
                    </a:cubicBezTo>
                    <a:lnTo>
                      <a:pt x="1643" y="280"/>
                    </a:lnTo>
                    <a:lnTo>
                      <a:pt x="1612" y="280"/>
                    </a:lnTo>
                    <a:lnTo>
                      <a:pt x="1612" y="280"/>
                    </a:lnTo>
                    <a:cubicBezTo>
                      <a:pt x="1612" y="280"/>
                      <a:pt x="1612" y="280"/>
                      <a:pt x="1581" y="280"/>
                    </a:cubicBezTo>
                    <a:lnTo>
                      <a:pt x="1581" y="280"/>
                    </a:lnTo>
                    <a:lnTo>
                      <a:pt x="1581" y="280"/>
                    </a:lnTo>
                    <a:cubicBezTo>
                      <a:pt x="1581" y="280"/>
                      <a:pt x="1581" y="280"/>
                      <a:pt x="1551" y="280"/>
                    </a:cubicBezTo>
                    <a:lnTo>
                      <a:pt x="1551" y="280"/>
                    </a:lnTo>
                    <a:lnTo>
                      <a:pt x="1551" y="280"/>
                    </a:lnTo>
                    <a:lnTo>
                      <a:pt x="1551" y="280"/>
                    </a:lnTo>
                    <a:lnTo>
                      <a:pt x="1551" y="280"/>
                    </a:lnTo>
                    <a:lnTo>
                      <a:pt x="1551" y="280"/>
                    </a:lnTo>
                    <a:cubicBezTo>
                      <a:pt x="1519" y="280"/>
                      <a:pt x="1488" y="280"/>
                      <a:pt x="1488" y="248"/>
                    </a:cubicBezTo>
                    <a:lnTo>
                      <a:pt x="1488" y="248"/>
                    </a:lnTo>
                    <a:lnTo>
                      <a:pt x="1488" y="248"/>
                    </a:lnTo>
                    <a:cubicBezTo>
                      <a:pt x="1488" y="218"/>
                      <a:pt x="1488" y="218"/>
                      <a:pt x="1488" y="218"/>
                    </a:cubicBezTo>
                    <a:lnTo>
                      <a:pt x="1488" y="218"/>
                    </a:lnTo>
                    <a:cubicBezTo>
                      <a:pt x="1488" y="187"/>
                      <a:pt x="1488" y="187"/>
                      <a:pt x="1488" y="187"/>
                    </a:cubicBezTo>
                    <a:lnTo>
                      <a:pt x="1519" y="187"/>
                    </a:lnTo>
                    <a:lnTo>
                      <a:pt x="1519" y="156"/>
                    </a:lnTo>
                    <a:lnTo>
                      <a:pt x="1519" y="156"/>
                    </a:lnTo>
                    <a:lnTo>
                      <a:pt x="1519" y="156"/>
                    </a:lnTo>
                    <a:cubicBezTo>
                      <a:pt x="1488" y="156"/>
                      <a:pt x="1488" y="124"/>
                      <a:pt x="1488" y="124"/>
                    </a:cubicBezTo>
                    <a:cubicBezTo>
                      <a:pt x="1488" y="124"/>
                      <a:pt x="1488" y="124"/>
                      <a:pt x="1457" y="124"/>
                    </a:cubicBezTo>
                    <a:lnTo>
                      <a:pt x="1457" y="124"/>
                    </a:lnTo>
                    <a:lnTo>
                      <a:pt x="1427" y="124"/>
                    </a:lnTo>
                    <a:lnTo>
                      <a:pt x="1395" y="124"/>
                    </a:lnTo>
                    <a:cubicBezTo>
                      <a:pt x="1395" y="156"/>
                      <a:pt x="1395" y="156"/>
                      <a:pt x="1364" y="156"/>
                    </a:cubicBezTo>
                    <a:cubicBezTo>
                      <a:pt x="1364" y="187"/>
                      <a:pt x="1364" y="187"/>
                      <a:pt x="1333" y="187"/>
                    </a:cubicBezTo>
                    <a:cubicBezTo>
                      <a:pt x="1333" y="187"/>
                      <a:pt x="1333" y="187"/>
                      <a:pt x="1303" y="187"/>
                    </a:cubicBezTo>
                    <a:lnTo>
                      <a:pt x="1303" y="187"/>
                    </a:lnTo>
                    <a:lnTo>
                      <a:pt x="1271" y="187"/>
                    </a:lnTo>
                    <a:lnTo>
                      <a:pt x="1240" y="187"/>
                    </a:lnTo>
                    <a:lnTo>
                      <a:pt x="1240" y="187"/>
                    </a:lnTo>
                    <a:lnTo>
                      <a:pt x="1209" y="187"/>
                    </a:lnTo>
                    <a:lnTo>
                      <a:pt x="1209" y="187"/>
                    </a:lnTo>
                    <a:cubicBezTo>
                      <a:pt x="1179" y="187"/>
                      <a:pt x="1179" y="187"/>
                      <a:pt x="1179" y="187"/>
                    </a:cubicBezTo>
                    <a:cubicBezTo>
                      <a:pt x="1147" y="187"/>
                      <a:pt x="1147" y="187"/>
                      <a:pt x="1147" y="187"/>
                    </a:cubicBezTo>
                    <a:cubicBezTo>
                      <a:pt x="1116" y="187"/>
                      <a:pt x="1085" y="156"/>
                      <a:pt x="1085" y="156"/>
                    </a:cubicBezTo>
                    <a:lnTo>
                      <a:pt x="1085" y="156"/>
                    </a:lnTo>
                    <a:cubicBezTo>
                      <a:pt x="1055" y="156"/>
                      <a:pt x="1055" y="156"/>
                      <a:pt x="1055" y="124"/>
                    </a:cubicBezTo>
                    <a:cubicBezTo>
                      <a:pt x="1023" y="124"/>
                      <a:pt x="992" y="124"/>
                      <a:pt x="961" y="124"/>
                    </a:cubicBezTo>
                    <a:lnTo>
                      <a:pt x="961" y="124"/>
                    </a:lnTo>
                    <a:lnTo>
                      <a:pt x="961" y="124"/>
                    </a:lnTo>
                    <a:lnTo>
                      <a:pt x="931" y="124"/>
                    </a:lnTo>
                    <a:lnTo>
                      <a:pt x="899" y="124"/>
                    </a:lnTo>
                    <a:lnTo>
                      <a:pt x="868" y="124"/>
                    </a:lnTo>
                    <a:lnTo>
                      <a:pt x="868" y="124"/>
                    </a:lnTo>
                    <a:lnTo>
                      <a:pt x="837" y="124"/>
                    </a:lnTo>
                    <a:lnTo>
                      <a:pt x="837" y="124"/>
                    </a:lnTo>
                    <a:cubicBezTo>
                      <a:pt x="807" y="124"/>
                      <a:pt x="807" y="124"/>
                      <a:pt x="807" y="124"/>
                    </a:cubicBezTo>
                    <a:cubicBezTo>
                      <a:pt x="775" y="124"/>
                      <a:pt x="775" y="124"/>
                      <a:pt x="775" y="124"/>
                    </a:cubicBezTo>
                    <a:lnTo>
                      <a:pt x="775" y="94"/>
                    </a:lnTo>
                    <a:lnTo>
                      <a:pt x="744" y="94"/>
                    </a:lnTo>
                    <a:lnTo>
                      <a:pt x="744" y="94"/>
                    </a:lnTo>
                    <a:lnTo>
                      <a:pt x="744" y="63"/>
                    </a:lnTo>
                    <a:lnTo>
                      <a:pt x="744" y="63"/>
                    </a:lnTo>
                    <a:lnTo>
                      <a:pt x="713" y="32"/>
                    </a:lnTo>
                    <a:cubicBezTo>
                      <a:pt x="683" y="32"/>
                      <a:pt x="683" y="32"/>
                      <a:pt x="651" y="32"/>
                    </a:cubicBezTo>
                    <a:lnTo>
                      <a:pt x="651" y="32"/>
                    </a:lnTo>
                    <a:cubicBezTo>
                      <a:pt x="620" y="32"/>
                      <a:pt x="620" y="32"/>
                      <a:pt x="590" y="0"/>
                    </a:cubicBezTo>
                    <a:cubicBezTo>
                      <a:pt x="590" y="32"/>
                      <a:pt x="590" y="32"/>
                      <a:pt x="558" y="32"/>
                    </a:cubicBezTo>
                    <a:cubicBezTo>
                      <a:pt x="558" y="32"/>
                      <a:pt x="558" y="32"/>
                      <a:pt x="558" y="63"/>
                    </a:cubicBezTo>
                    <a:lnTo>
                      <a:pt x="558" y="63"/>
                    </a:lnTo>
                    <a:lnTo>
                      <a:pt x="558" y="63"/>
                    </a:lnTo>
                    <a:lnTo>
                      <a:pt x="558" y="63"/>
                    </a:lnTo>
                    <a:lnTo>
                      <a:pt x="558" y="63"/>
                    </a:lnTo>
                    <a:cubicBezTo>
                      <a:pt x="558" y="63"/>
                      <a:pt x="590" y="63"/>
                      <a:pt x="590" y="94"/>
                    </a:cubicBezTo>
                    <a:lnTo>
                      <a:pt x="590" y="94"/>
                    </a:lnTo>
                    <a:lnTo>
                      <a:pt x="590" y="94"/>
                    </a:lnTo>
                    <a:cubicBezTo>
                      <a:pt x="590" y="94"/>
                      <a:pt x="590" y="94"/>
                      <a:pt x="558" y="124"/>
                    </a:cubicBezTo>
                  </a:path>
                </a:pathLst>
              </a:custGeom>
              <a:solidFill>
                <a:schemeClr val="accent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12" name="Freeform 109"/>
              <p:cNvSpPr>
                <a:spLocks noChangeArrowheads="1"/>
              </p:cNvSpPr>
              <p:nvPr/>
            </p:nvSpPr>
            <p:spPr bwMode="auto">
              <a:xfrm>
                <a:off x="4114800" y="798513"/>
                <a:ext cx="33338" cy="11112"/>
              </a:xfrm>
              <a:custGeom>
                <a:avLst/>
                <a:gdLst>
                  <a:gd name="T0" fmla="*/ 31 w 93"/>
                  <a:gd name="T1" fmla="*/ 31 h 32"/>
                  <a:gd name="T2" fmla="*/ 31 w 93"/>
                  <a:gd name="T3" fmla="*/ 31 h 32"/>
                  <a:gd name="T4" fmla="*/ 62 w 93"/>
                  <a:gd name="T5" fmla="*/ 31 h 32"/>
                  <a:gd name="T6" fmla="*/ 92 w 93"/>
                  <a:gd name="T7" fmla="*/ 0 h 32"/>
                  <a:gd name="T8" fmla="*/ 92 w 93"/>
                  <a:gd name="T9" fmla="*/ 0 h 32"/>
                  <a:gd name="T10" fmla="*/ 62 w 93"/>
                  <a:gd name="T11" fmla="*/ 31 h 32"/>
                  <a:gd name="T12" fmla="*/ 31 w 93"/>
                  <a:gd name="T13" fmla="*/ 31 h 32"/>
                  <a:gd name="T14" fmla="*/ 31 w 93"/>
                  <a:gd name="T15" fmla="*/ 31 h 32"/>
                  <a:gd name="T16" fmla="*/ 0 w 93"/>
                  <a:gd name="T17" fmla="*/ 31 h 32"/>
                  <a:gd name="T18" fmla="*/ 0 w 93"/>
                  <a:gd name="T19" fmla="*/ 31 h 32"/>
                  <a:gd name="T20" fmla="*/ 0 w 93"/>
                  <a:gd name="T21" fmla="*/ 31 h 32"/>
                  <a:gd name="T22" fmla="*/ 31 w 93"/>
                  <a:gd name="T23"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32">
                    <a:moveTo>
                      <a:pt x="31" y="31"/>
                    </a:moveTo>
                    <a:lnTo>
                      <a:pt x="31" y="31"/>
                    </a:lnTo>
                    <a:lnTo>
                      <a:pt x="62" y="31"/>
                    </a:lnTo>
                    <a:cubicBezTo>
                      <a:pt x="62" y="31"/>
                      <a:pt x="92" y="31"/>
                      <a:pt x="92" y="0"/>
                    </a:cubicBezTo>
                    <a:lnTo>
                      <a:pt x="92" y="0"/>
                    </a:lnTo>
                    <a:cubicBezTo>
                      <a:pt x="62" y="31"/>
                      <a:pt x="62" y="31"/>
                      <a:pt x="62" y="31"/>
                    </a:cubicBezTo>
                    <a:lnTo>
                      <a:pt x="31" y="31"/>
                    </a:lnTo>
                    <a:lnTo>
                      <a:pt x="31" y="31"/>
                    </a:lnTo>
                    <a:lnTo>
                      <a:pt x="0" y="31"/>
                    </a:lnTo>
                    <a:lnTo>
                      <a:pt x="0" y="31"/>
                    </a:lnTo>
                    <a:lnTo>
                      <a:pt x="0" y="31"/>
                    </a:lnTo>
                    <a:cubicBezTo>
                      <a:pt x="31" y="31"/>
                      <a:pt x="31" y="31"/>
                      <a:pt x="31"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13" name="Freeform 110"/>
              <p:cNvSpPr>
                <a:spLocks noChangeArrowheads="1"/>
              </p:cNvSpPr>
              <p:nvPr/>
            </p:nvSpPr>
            <p:spPr bwMode="auto">
              <a:xfrm>
                <a:off x="3779838" y="1189038"/>
                <a:ext cx="122237" cy="112712"/>
              </a:xfrm>
              <a:custGeom>
                <a:avLst/>
                <a:gdLst>
                  <a:gd name="T0" fmla="*/ 340 w 341"/>
                  <a:gd name="T1" fmla="*/ 187 h 312"/>
                  <a:gd name="T2" fmla="*/ 340 w 341"/>
                  <a:gd name="T3" fmla="*/ 187 h 312"/>
                  <a:gd name="T4" fmla="*/ 340 w 341"/>
                  <a:gd name="T5" fmla="*/ 187 h 312"/>
                  <a:gd name="T6" fmla="*/ 309 w 341"/>
                  <a:gd name="T7" fmla="*/ 156 h 312"/>
                  <a:gd name="T8" fmla="*/ 309 w 341"/>
                  <a:gd name="T9" fmla="*/ 156 h 312"/>
                  <a:gd name="T10" fmla="*/ 340 w 341"/>
                  <a:gd name="T11" fmla="*/ 94 h 312"/>
                  <a:gd name="T12" fmla="*/ 340 w 341"/>
                  <a:gd name="T13" fmla="*/ 94 h 312"/>
                  <a:gd name="T14" fmla="*/ 309 w 341"/>
                  <a:gd name="T15" fmla="*/ 63 h 312"/>
                  <a:gd name="T16" fmla="*/ 309 w 341"/>
                  <a:gd name="T17" fmla="*/ 32 h 312"/>
                  <a:gd name="T18" fmla="*/ 309 w 341"/>
                  <a:gd name="T19" fmla="*/ 0 h 312"/>
                  <a:gd name="T20" fmla="*/ 309 w 341"/>
                  <a:gd name="T21" fmla="*/ 0 h 312"/>
                  <a:gd name="T22" fmla="*/ 248 w 341"/>
                  <a:gd name="T23" fmla="*/ 32 h 312"/>
                  <a:gd name="T24" fmla="*/ 217 w 341"/>
                  <a:gd name="T25" fmla="*/ 0 h 312"/>
                  <a:gd name="T26" fmla="*/ 156 w 341"/>
                  <a:gd name="T27" fmla="*/ 32 h 312"/>
                  <a:gd name="T28" fmla="*/ 124 w 341"/>
                  <a:gd name="T29" fmla="*/ 32 h 312"/>
                  <a:gd name="T30" fmla="*/ 93 w 341"/>
                  <a:gd name="T31" fmla="*/ 63 h 312"/>
                  <a:gd name="T32" fmla="*/ 62 w 341"/>
                  <a:gd name="T33" fmla="*/ 63 h 312"/>
                  <a:gd name="T34" fmla="*/ 32 w 341"/>
                  <a:gd name="T35" fmla="*/ 94 h 312"/>
                  <a:gd name="T36" fmla="*/ 62 w 341"/>
                  <a:gd name="T37" fmla="*/ 94 h 312"/>
                  <a:gd name="T38" fmla="*/ 93 w 341"/>
                  <a:gd name="T39" fmla="*/ 94 h 312"/>
                  <a:gd name="T40" fmla="*/ 93 w 341"/>
                  <a:gd name="T41" fmla="*/ 156 h 312"/>
                  <a:gd name="T42" fmla="*/ 124 w 341"/>
                  <a:gd name="T43" fmla="*/ 156 h 312"/>
                  <a:gd name="T44" fmla="*/ 32 w 341"/>
                  <a:gd name="T45" fmla="*/ 248 h 312"/>
                  <a:gd name="T46" fmla="*/ 0 w 341"/>
                  <a:gd name="T47" fmla="*/ 248 h 312"/>
                  <a:gd name="T48" fmla="*/ 0 w 341"/>
                  <a:gd name="T49" fmla="*/ 280 h 312"/>
                  <a:gd name="T50" fmla="*/ 62 w 341"/>
                  <a:gd name="T51" fmla="*/ 311 h 312"/>
                  <a:gd name="T52" fmla="*/ 93 w 341"/>
                  <a:gd name="T53" fmla="*/ 311 h 312"/>
                  <a:gd name="T54" fmla="*/ 156 w 341"/>
                  <a:gd name="T55" fmla="*/ 280 h 312"/>
                  <a:gd name="T56" fmla="*/ 217 w 341"/>
                  <a:gd name="T57" fmla="*/ 248 h 312"/>
                  <a:gd name="T58" fmla="*/ 248 w 341"/>
                  <a:gd name="T59" fmla="*/ 218 h 312"/>
                  <a:gd name="T60" fmla="*/ 280 w 341"/>
                  <a:gd name="T61" fmla="*/ 218 h 312"/>
                  <a:gd name="T62" fmla="*/ 309 w 341"/>
                  <a:gd name="T63" fmla="*/ 218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312">
                    <a:moveTo>
                      <a:pt x="340" y="187"/>
                    </a:moveTo>
                    <a:lnTo>
                      <a:pt x="340" y="187"/>
                    </a:lnTo>
                    <a:lnTo>
                      <a:pt x="340" y="187"/>
                    </a:lnTo>
                    <a:lnTo>
                      <a:pt x="340" y="187"/>
                    </a:lnTo>
                    <a:lnTo>
                      <a:pt x="340" y="187"/>
                    </a:lnTo>
                    <a:lnTo>
                      <a:pt x="340" y="187"/>
                    </a:lnTo>
                    <a:cubicBezTo>
                      <a:pt x="340" y="187"/>
                      <a:pt x="309" y="187"/>
                      <a:pt x="309" y="156"/>
                    </a:cubicBezTo>
                    <a:lnTo>
                      <a:pt x="309" y="156"/>
                    </a:lnTo>
                    <a:lnTo>
                      <a:pt x="309" y="156"/>
                    </a:lnTo>
                    <a:lnTo>
                      <a:pt x="309" y="156"/>
                    </a:lnTo>
                    <a:cubicBezTo>
                      <a:pt x="340" y="124"/>
                      <a:pt x="340" y="124"/>
                      <a:pt x="340" y="124"/>
                    </a:cubicBezTo>
                    <a:cubicBezTo>
                      <a:pt x="340" y="124"/>
                      <a:pt x="309" y="124"/>
                      <a:pt x="340" y="94"/>
                    </a:cubicBezTo>
                    <a:lnTo>
                      <a:pt x="340" y="94"/>
                    </a:lnTo>
                    <a:lnTo>
                      <a:pt x="340" y="94"/>
                    </a:lnTo>
                    <a:cubicBezTo>
                      <a:pt x="309" y="63"/>
                      <a:pt x="309" y="63"/>
                      <a:pt x="309" y="63"/>
                    </a:cubicBezTo>
                    <a:lnTo>
                      <a:pt x="309" y="63"/>
                    </a:lnTo>
                    <a:lnTo>
                      <a:pt x="309" y="63"/>
                    </a:lnTo>
                    <a:cubicBezTo>
                      <a:pt x="309" y="32"/>
                      <a:pt x="309" y="32"/>
                      <a:pt x="309" y="32"/>
                    </a:cubicBezTo>
                    <a:lnTo>
                      <a:pt x="309" y="32"/>
                    </a:lnTo>
                    <a:lnTo>
                      <a:pt x="309" y="0"/>
                    </a:lnTo>
                    <a:lnTo>
                      <a:pt x="309" y="0"/>
                    </a:lnTo>
                    <a:lnTo>
                      <a:pt x="309" y="0"/>
                    </a:lnTo>
                    <a:cubicBezTo>
                      <a:pt x="309" y="0"/>
                      <a:pt x="309" y="0"/>
                      <a:pt x="280" y="32"/>
                    </a:cubicBezTo>
                    <a:lnTo>
                      <a:pt x="248" y="32"/>
                    </a:lnTo>
                    <a:cubicBezTo>
                      <a:pt x="248" y="32"/>
                      <a:pt x="217" y="32"/>
                      <a:pt x="217" y="0"/>
                    </a:cubicBezTo>
                    <a:lnTo>
                      <a:pt x="217" y="0"/>
                    </a:lnTo>
                    <a:cubicBezTo>
                      <a:pt x="186" y="0"/>
                      <a:pt x="186" y="0"/>
                      <a:pt x="186" y="0"/>
                    </a:cubicBezTo>
                    <a:cubicBezTo>
                      <a:pt x="186" y="0"/>
                      <a:pt x="186" y="32"/>
                      <a:pt x="156" y="32"/>
                    </a:cubicBezTo>
                    <a:lnTo>
                      <a:pt x="156" y="32"/>
                    </a:lnTo>
                    <a:lnTo>
                      <a:pt x="124" y="32"/>
                    </a:lnTo>
                    <a:lnTo>
                      <a:pt x="124" y="32"/>
                    </a:lnTo>
                    <a:cubicBezTo>
                      <a:pt x="124" y="32"/>
                      <a:pt x="124" y="63"/>
                      <a:pt x="93" y="63"/>
                    </a:cubicBezTo>
                    <a:lnTo>
                      <a:pt x="62" y="63"/>
                    </a:lnTo>
                    <a:lnTo>
                      <a:pt x="62" y="63"/>
                    </a:lnTo>
                    <a:cubicBezTo>
                      <a:pt x="62" y="94"/>
                      <a:pt x="32" y="94"/>
                      <a:pt x="32" y="94"/>
                    </a:cubicBezTo>
                    <a:lnTo>
                      <a:pt x="32" y="94"/>
                    </a:lnTo>
                    <a:cubicBezTo>
                      <a:pt x="62" y="94"/>
                      <a:pt x="62" y="94"/>
                      <a:pt x="62" y="94"/>
                    </a:cubicBezTo>
                    <a:lnTo>
                      <a:pt x="62" y="94"/>
                    </a:lnTo>
                    <a:lnTo>
                      <a:pt x="62" y="94"/>
                    </a:lnTo>
                    <a:lnTo>
                      <a:pt x="93" y="94"/>
                    </a:lnTo>
                    <a:cubicBezTo>
                      <a:pt x="93" y="94"/>
                      <a:pt x="93" y="94"/>
                      <a:pt x="93" y="124"/>
                    </a:cubicBezTo>
                    <a:cubicBezTo>
                      <a:pt x="124" y="124"/>
                      <a:pt x="93" y="156"/>
                      <a:pt x="93" y="156"/>
                    </a:cubicBezTo>
                    <a:cubicBezTo>
                      <a:pt x="93" y="156"/>
                      <a:pt x="93" y="156"/>
                      <a:pt x="62" y="156"/>
                    </a:cubicBezTo>
                    <a:cubicBezTo>
                      <a:pt x="124" y="156"/>
                      <a:pt x="124" y="156"/>
                      <a:pt x="124" y="156"/>
                    </a:cubicBezTo>
                    <a:cubicBezTo>
                      <a:pt x="62" y="218"/>
                      <a:pt x="62" y="218"/>
                      <a:pt x="62" y="218"/>
                    </a:cubicBezTo>
                    <a:cubicBezTo>
                      <a:pt x="62" y="218"/>
                      <a:pt x="62" y="218"/>
                      <a:pt x="32" y="248"/>
                    </a:cubicBezTo>
                    <a:lnTo>
                      <a:pt x="0" y="248"/>
                    </a:lnTo>
                    <a:lnTo>
                      <a:pt x="0" y="248"/>
                    </a:lnTo>
                    <a:lnTo>
                      <a:pt x="0" y="280"/>
                    </a:lnTo>
                    <a:lnTo>
                      <a:pt x="0" y="280"/>
                    </a:lnTo>
                    <a:cubicBezTo>
                      <a:pt x="0" y="280"/>
                      <a:pt x="32" y="280"/>
                      <a:pt x="32" y="311"/>
                    </a:cubicBezTo>
                    <a:cubicBezTo>
                      <a:pt x="32" y="311"/>
                      <a:pt x="32" y="311"/>
                      <a:pt x="62" y="311"/>
                    </a:cubicBezTo>
                    <a:lnTo>
                      <a:pt x="62" y="311"/>
                    </a:lnTo>
                    <a:lnTo>
                      <a:pt x="93" y="311"/>
                    </a:lnTo>
                    <a:cubicBezTo>
                      <a:pt x="124" y="311"/>
                      <a:pt x="124" y="311"/>
                      <a:pt x="156" y="280"/>
                    </a:cubicBezTo>
                    <a:lnTo>
                      <a:pt x="156" y="280"/>
                    </a:lnTo>
                    <a:cubicBezTo>
                      <a:pt x="186" y="248"/>
                      <a:pt x="186" y="248"/>
                      <a:pt x="217" y="248"/>
                    </a:cubicBezTo>
                    <a:lnTo>
                      <a:pt x="217" y="248"/>
                    </a:lnTo>
                    <a:lnTo>
                      <a:pt x="217" y="248"/>
                    </a:lnTo>
                    <a:cubicBezTo>
                      <a:pt x="217" y="248"/>
                      <a:pt x="217" y="218"/>
                      <a:pt x="248" y="218"/>
                    </a:cubicBezTo>
                    <a:cubicBezTo>
                      <a:pt x="248" y="187"/>
                      <a:pt x="248" y="187"/>
                      <a:pt x="248" y="187"/>
                    </a:cubicBezTo>
                    <a:cubicBezTo>
                      <a:pt x="280" y="187"/>
                      <a:pt x="280" y="187"/>
                      <a:pt x="280" y="218"/>
                    </a:cubicBezTo>
                    <a:cubicBezTo>
                      <a:pt x="309" y="218"/>
                      <a:pt x="309" y="218"/>
                      <a:pt x="309" y="218"/>
                    </a:cubicBezTo>
                    <a:lnTo>
                      <a:pt x="309" y="218"/>
                    </a:lnTo>
                    <a:cubicBezTo>
                      <a:pt x="309" y="187"/>
                      <a:pt x="309" y="187"/>
                      <a:pt x="340" y="187"/>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14" name="Freeform 111"/>
              <p:cNvSpPr>
                <a:spLocks noChangeArrowheads="1"/>
              </p:cNvSpPr>
              <p:nvPr/>
            </p:nvSpPr>
            <p:spPr bwMode="auto">
              <a:xfrm>
                <a:off x="4092575" y="1033463"/>
                <a:ext cx="77788" cy="22225"/>
              </a:xfrm>
              <a:custGeom>
                <a:avLst/>
                <a:gdLst>
                  <a:gd name="T0" fmla="*/ 31 w 218"/>
                  <a:gd name="T1" fmla="*/ 31 h 63"/>
                  <a:gd name="T2" fmla="*/ 31 w 218"/>
                  <a:gd name="T3" fmla="*/ 31 h 63"/>
                  <a:gd name="T4" fmla="*/ 62 w 218"/>
                  <a:gd name="T5" fmla="*/ 62 h 63"/>
                  <a:gd name="T6" fmla="*/ 93 w 218"/>
                  <a:gd name="T7" fmla="*/ 62 h 63"/>
                  <a:gd name="T8" fmla="*/ 124 w 218"/>
                  <a:gd name="T9" fmla="*/ 62 h 63"/>
                  <a:gd name="T10" fmla="*/ 124 w 218"/>
                  <a:gd name="T11" fmla="*/ 62 h 63"/>
                  <a:gd name="T12" fmla="*/ 186 w 218"/>
                  <a:gd name="T13" fmla="*/ 62 h 63"/>
                  <a:gd name="T14" fmla="*/ 186 w 218"/>
                  <a:gd name="T15" fmla="*/ 62 h 63"/>
                  <a:gd name="T16" fmla="*/ 186 w 218"/>
                  <a:gd name="T17" fmla="*/ 62 h 63"/>
                  <a:gd name="T18" fmla="*/ 186 w 218"/>
                  <a:gd name="T19" fmla="*/ 62 h 63"/>
                  <a:gd name="T20" fmla="*/ 217 w 218"/>
                  <a:gd name="T21" fmla="*/ 62 h 63"/>
                  <a:gd name="T22" fmla="*/ 217 w 218"/>
                  <a:gd name="T23" fmla="*/ 62 h 63"/>
                  <a:gd name="T24" fmla="*/ 217 w 218"/>
                  <a:gd name="T25" fmla="*/ 31 h 63"/>
                  <a:gd name="T26" fmla="*/ 217 w 218"/>
                  <a:gd name="T27" fmla="*/ 0 h 63"/>
                  <a:gd name="T28" fmla="*/ 217 w 218"/>
                  <a:gd name="T29" fmla="*/ 0 h 63"/>
                  <a:gd name="T30" fmla="*/ 217 w 218"/>
                  <a:gd name="T31" fmla="*/ 31 h 63"/>
                  <a:gd name="T32" fmla="*/ 186 w 218"/>
                  <a:gd name="T33" fmla="*/ 0 h 63"/>
                  <a:gd name="T34" fmla="*/ 186 w 218"/>
                  <a:gd name="T35" fmla="*/ 0 h 63"/>
                  <a:gd name="T36" fmla="*/ 124 w 218"/>
                  <a:gd name="T37" fmla="*/ 0 h 63"/>
                  <a:gd name="T38" fmla="*/ 124 w 218"/>
                  <a:gd name="T39" fmla="*/ 0 h 63"/>
                  <a:gd name="T40" fmla="*/ 93 w 218"/>
                  <a:gd name="T41" fmla="*/ 0 h 63"/>
                  <a:gd name="T42" fmla="*/ 93 w 218"/>
                  <a:gd name="T43" fmla="*/ 0 h 63"/>
                  <a:gd name="T44" fmla="*/ 62 w 218"/>
                  <a:gd name="T45" fmla="*/ 0 h 63"/>
                  <a:gd name="T46" fmla="*/ 31 w 218"/>
                  <a:gd name="T47" fmla="*/ 0 h 63"/>
                  <a:gd name="T48" fmla="*/ 0 w 218"/>
                  <a:gd name="T49" fmla="*/ 0 h 63"/>
                  <a:gd name="T50" fmla="*/ 0 w 218"/>
                  <a:gd name="T51" fmla="*/ 31 h 63"/>
                  <a:gd name="T52" fmla="*/ 0 w 218"/>
                  <a:gd name="T53" fmla="*/ 31 h 63"/>
                  <a:gd name="T54" fmla="*/ 0 w 218"/>
                  <a:gd name="T55" fmla="*/ 31 h 63"/>
                  <a:gd name="T56" fmla="*/ 31 w 218"/>
                  <a:gd name="T5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8" h="63">
                    <a:moveTo>
                      <a:pt x="31" y="31"/>
                    </a:moveTo>
                    <a:lnTo>
                      <a:pt x="31" y="31"/>
                    </a:lnTo>
                    <a:lnTo>
                      <a:pt x="62" y="62"/>
                    </a:lnTo>
                    <a:lnTo>
                      <a:pt x="93" y="62"/>
                    </a:lnTo>
                    <a:cubicBezTo>
                      <a:pt x="93" y="62"/>
                      <a:pt x="93" y="62"/>
                      <a:pt x="124" y="62"/>
                    </a:cubicBezTo>
                    <a:lnTo>
                      <a:pt x="124" y="62"/>
                    </a:lnTo>
                    <a:cubicBezTo>
                      <a:pt x="154" y="62"/>
                      <a:pt x="154" y="62"/>
                      <a:pt x="186" y="62"/>
                    </a:cubicBezTo>
                    <a:lnTo>
                      <a:pt x="186" y="62"/>
                    </a:lnTo>
                    <a:lnTo>
                      <a:pt x="186" y="62"/>
                    </a:lnTo>
                    <a:lnTo>
                      <a:pt x="186" y="62"/>
                    </a:lnTo>
                    <a:cubicBezTo>
                      <a:pt x="186" y="62"/>
                      <a:pt x="186" y="62"/>
                      <a:pt x="217" y="62"/>
                    </a:cubicBezTo>
                    <a:lnTo>
                      <a:pt x="217" y="62"/>
                    </a:lnTo>
                    <a:cubicBezTo>
                      <a:pt x="217" y="31"/>
                      <a:pt x="217" y="31"/>
                      <a:pt x="217" y="31"/>
                    </a:cubicBezTo>
                    <a:lnTo>
                      <a:pt x="217" y="0"/>
                    </a:lnTo>
                    <a:lnTo>
                      <a:pt x="217" y="0"/>
                    </a:lnTo>
                    <a:lnTo>
                      <a:pt x="217" y="31"/>
                    </a:lnTo>
                    <a:cubicBezTo>
                      <a:pt x="186" y="31"/>
                      <a:pt x="186" y="0"/>
                      <a:pt x="186" y="0"/>
                    </a:cubicBezTo>
                    <a:lnTo>
                      <a:pt x="186" y="0"/>
                    </a:lnTo>
                    <a:cubicBezTo>
                      <a:pt x="154" y="0"/>
                      <a:pt x="154" y="0"/>
                      <a:pt x="124" y="0"/>
                    </a:cubicBezTo>
                    <a:lnTo>
                      <a:pt x="124" y="0"/>
                    </a:lnTo>
                    <a:lnTo>
                      <a:pt x="93" y="0"/>
                    </a:lnTo>
                    <a:lnTo>
                      <a:pt x="93" y="0"/>
                    </a:lnTo>
                    <a:lnTo>
                      <a:pt x="62" y="0"/>
                    </a:lnTo>
                    <a:cubicBezTo>
                      <a:pt x="31" y="0"/>
                      <a:pt x="31" y="0"/>
                      <a:pt x="31" y="0"/>
                    </a:cubicBezTo>
                    <a:lnTo>
                      <a:pt x="0" y="0"/>
                    </a:lnTo>
                    <a:cubicBezTo>
                      <a:pt x="0" y="0"/>
                      <a:pt x="0" y="0"/>
                      <a:pt x="0" y="31"/>
                    </a:cubicBezTo>
                    <a:lnTo>
                      <a:pt x="0" y="31"/>
                    </a:lnTo>
                    <a:lnTo>
                      <a:pt x="0" y="31"/>
                    </a:lnTo>
                    <a:lnTo>
                      <a:pt x="31" y="3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15" name="Freeform 112"/>
              <p:cNvSpPr>
                <a:spLocks noChangeArrowheads="1"/>
              </p:cNvSpPr>
              <p:nvPr/>
            </p:nvSpPr>
            <p:spPr bwMode="auto">
              <a:xfrm>
                <a:off x="4192588" y="1022350"/>
                <a:ext cx="77787" cy="22225"/>
              </a:xfrm>
              <a:custGeom>
                <a:avLst/>
                <a:gdLst>
                  <a:gd name="T0" fmla="*/ 31 w 218"/>
                  <a:gd name="T1" fmla="*/ 31 h 63"/>
                  <a:gd name="T2" fmla="*/ 31 w 218"/>
                  <a:gd name="T3" fmla="*/ 31 h 63"/>
                  <a:gd name="T4" fmla="*/ 31 w 218"/>
                  <a:gd name="T5" fmla="*/ 31 h 63"/>
                  <a:gd name="T6" fmla="*/ 62 w 218"/>
                  <a:gd name="T7" fmla="*/ 0 h 63"/>
                  <a:gd name="T8" fmla="*/ 62 w 218"/>
                  <a:gd name="T9" fmla="*/ 0 h 63"/>
                  <a:gd name="T10" fmla="*/ 93 w 218"/>
                  <a:gd name="T11" fmla="*/ 0 h 63"/>
                  <a:gd name="T12" fmla="*/ 124 w 218"/>
                  <a:gd name="T13" fmla="*/ 31 h 63"/>
                  <a:gd name="T14" fmla="*/ 155 w 218"/>
                  <a:gd name="T15" fmla="*/ 31 h 63"/>
                  <a:gd name="T16" fmla="*/ 155 w 218"/>
                  <a:gd name="T17" fmla="*/ 31 h 63"/>
                  <a:gd name="T18" fmla="*/ 155 w 218"/>
                  <a:gd name="T19" fmla="*/ 62 h 63"/>
                  <a:gd name="T20" fmla="*/ 186 w 218"/>
                  <a:gd name="T21" fmla="*/ 31 h 63"/>
                  <a:gd name="T22" fmla="*/ 186 w 218"/>
                  <a:gd name="T23" fmla="*/ 31 h 63"/>
                  <a:gd name="T24" fmla="*/ 217 w 218"/>
                  <a:gd name="T25" fmla="*/ 31 h 63"/>
                  <a:gd name="T26" fmla="*/ 217 w 218"/>
                  <a:gd name="T27" fmla="*/ 31 h 63"/>
                  <a:gd name="T28" fmla="*/ 217 w 218"/>
                  <a:gd name="T29" fmla="*/ 31 h 63"/>
                  <a:gd name="T30" fmla="*/ 217 w 218"/>
                  <a:gd name="T31" fmla="*/ 31 h 63"/>
                  <a:gd name="T32" fmla="*/ 186 w 218"/>
                  <a:gd name="T33" fmla="*/ 31 h 63"/>
                  <a:gd name="T34" fmla="*/ 155 w 218"/>
                  <a:gd name="T35" fmla="*/ 0 h 63"/>
                  <a:gd name="T36" fmla="*/ 62 w 218"/>
                  <a:gd name="T37" fmla="*/ 0 h 63"/>
                  <a:gd name="T38" fmla="*/ 62 w 218"/>
                  <a:gd name="T39" fmla="*/ 0 h 63"/>
                  <a:gd name="T40" fmla="*/ 31 w 218"/>
                  <a:gd name="T41" fmla="*/ 0 h 63"/>
                  <a:gd name="T42" fmla="*/ 0 w 218"/>
                  <a:gd name="T43" fmla="*/ 0 h 63"/>
                  <a:gd name="T44" fmla="*/ 31 w 218"/>
                  <a:gd name="T45" fmla="*/ 0 h 63"/>
                  <a:gd name="T46" fmla="*/ 31 w 218"/>
                  <a:gd name="T4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63">
                    <a:moveTo>
                      <a:pt x="31" y="31"/>
                    </a:moveTo>
                    <a:lnTo>
                      <a:pt x="31" y="31"/>
                    </a:lnTo>
                    <a:lnTo>
                      <a:pt x="31" y="31"/>
                    </a:lnTo>
                    <a:lnTo>
                      <a:pt x="62" y="0"/>
                    </a:lnTo>
                    <a:lnTo>
                      <a:pt x="62" y="0"/>
                    </a:lnTo>
                    <a:cubicBezTo>
                      <a:pt x="62" y="0"/>
                      <a:pt x="62" y="0"/>
                      <a:pt x="93" y="0"/>
                    </a:cubicBezTo>
                    <a:cubicBezTo>
                      <a:pt x="93" y="0"/>
                      <a:pt x="124" y="0"/>
                      <a:pt x="124" y="31"/>
                    </a:cubicBezTo>
                    <a:cubicBezTo>
                      <a:pt x="124" y="31"/>
                      <a:pt x="124" y="31"/>
                      <a:pt x="155" y="31"/>
                    </a:cubicBezTo>
                    <a:lnTo>
                      <a:pt x="155" y="31"/>
                    </a:lnTo>
                    <a:cubicBezTo>
                      <a:pt x="155" y="31"/>
                      <a:pt x="155" y="31"/>
                      <a:pt x="155" y="62"/>
                    </a:cubicBezTo>
                    <a:cubicBezTo>
                      <a:pt x="155" y="31"/>
                      <a:pt x="186" y="31"/>
                      <a:pt x="186" y="31"/>
                    </a:cubicBezTo>
                    <a:lnTo>
                      <a:pt x="186" y="31"/>
                    </a:lnTo>
                    <a:cubicBezTo>
                      <a:pt x="217" y="31"/>
                      <a:pt x="217" y="31"/>
                      <a:pt x="217" y="31"/>
                    </a:cubicBezTo>
                    <a:lnTo>
                      <a:pt x="217" y="31"/>
                    </a:lnTo>
                    <a:lnTo>
                      <a:pt x="217" y="31"/>
                    </a:lnTo>
                    <a:lnTo>
                      <a:pt x="217" y="31"/>
                    </a:lnTo>
                    <a:cubicBezTo>
                      <a:pt x="217" y="31"/>
                      <a:pt x="217" y="31"/>
                      <a:pt x="186" y="31"/>
                    </a:cubicBezTo>
                    <a:lnTo>
                      <a:pt x="155" y="0"/>
                    </a:lnTo>
                    <a:cubicBezTo>
                      <a:pt x="124" y="0"/>
                      <a:pt x="93" y="0"/>
                      <a:pt x="62" y="0"/>
                    </a:cubicBezTo>
                    <a:lnTo>
                      <a:pt x="62" y="0"/>
                    </a:lnTo>
                    <a:cubicBezTo>
                      <a:pt x="31" y="0"/>
                      <a:pt x="31" y="0"/>
                      <a:pt x="31" y="0"/>
                    </a:cubicBezTo>
                    <a:lnTo>
                      <a:pt x="0" y="0"/>
                    </a:lnTo>
                    <a:lnTo>
                      <a:pt x="31" y="0"/>
                    </a:lnTo>
                    <a:cubicBezTo>
                      <a:pt x="31" y="0"/>
                      <a:pt x="31" y="0"/>
                      <a:pt x="31"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16" name="Freeform 113"/>
              <p:cNvSpPr>
                <a:spLocks noChangeArrowheads="1"/>
              </p:cNvSpPr>
              <p:nvPr/>
            </p:nvSpPr>
            <p:spPr bwMode="auto">
              <a:xfrm>
                <a:off x="3890963" y="1111250"/>
                <a:ext cx="77787" cy="66675"/>
              </a:xfrm>
              <a:custGeom>
                <a:avLst/>
                <a:gdLst>
                  <a:gd name="T0" fmla="*/ 31 w 218"/>
                  <a:gd name="T1" fmla="*/ 186 h 187"/>
                  <a:gd name="T2" fmla="*/ 31 w 218"/>
                  <a:gd name="T3" fmla="*/ 186 h 187"/>
                  <a:gd name="T4" fmla="*/ 62 w 218"/>
                  <a:gd name="T5" fmla="*/ 155 h 187"/>
                  <a:gd name="T6" fmla="*/ 62 w 218"/>
                  <a:gd name="T7" fmla="*/ 155 h 187"/>
                  <a:gd name="T8" fmla="*/ 62 w 218"/>
                  <a:gd name="T9" fmla="*/ 155 h 187"/>
                  <a:gd name="T10" fmla="*/ 93 w 218"/>
                  <a:gd name="T11" fmla="*/ 155 h 187"/>
                  <a:gd name="T12" fmla="*/ 93 w 218"/>
                  <a:gd name="T13" fmla="*/ 155 h 187"/>
                  <a:gd name="T14" fmla="*/ 93 w 218"/>
                  <a:gd name="T15" fmla="*/ 155 h 187"/>
                  <a:gd name="T16" fmla="*/ 93 w 218"/>
                  <a:gd name="T17" fmla="*/ 124 h 187"/>
                  <a:gd name="T18" fmla="*/ 93 w 218"/>
                  <a:gd name="T19" fmla="*/ 124 h 187"/>
                  <a:gd name="T20" fmla="*/ 124 w 218"/>
                  <a:gd name="T21" fmla="*/ 93 h 187"/>
                  <a:gd name="T22" fmla="*/ 124 w 218"/>
                  <a:gd name="T23" fmla="*/ 93 h 187"/>
                  <a:gd name="T24" fmla="*/ 124 w 218"/>
                  <a:gd name="T25" fmla="*/ 93 h 187"/>
                  <a:gd name="T26" fmla="*/ 124 w 218"/>
                  <a:gd name="T27" fmla="*/ 93 h 187"/>
                  <a:gd name="T28" fmla="*/ 124 w 218"/>
                  <a:gd name="T29" fmla="*/ 93 h 187"/>
                  <a:gd name="T30" fmla="*/ 155 w 218"/>
                  <a:gd name="T31" fmla="*/ 62 h 187"/>
                  <a:gd name="T32" fmla="*/ 155 w 218"/>
                  <a:gd name="T33" fmla="*/ 62 h 187"/>
                  <a:gd name="T34" fmla="*/ 155 w 218"/>
                  <a:gd name="T35" fmla="*/ 31 h 187"/>
                  <a:gd name="T36" fmla="*/ 186 w 218"/>
                  <a:gd name="T37" fmla="*/ 0 h 187"/>
                  <a:gd name="T38" fmla="*/ 186 w 218"/>
                  <a:gd name="T39" fmla="*/ 0 h 187"/>
                  <a:gd name="T40" fmla="*/ 186 w 218"/>
                  <a:gd name="T41" fmla="*/ 0 h 187"/>
                  <a:gd name="T42" fmla="*/ 186 w 218"/>
                  <a:gd name="T43" fmla="*/ 0 h 187"/>
                  <a:gd name="T44" fmla="*/ 186 w 218"/>
                  <a:gd name="T45" fmla="*/ 0 h 187"/>
                  <a:gd name="T46" fmla="*/ 217 w 218"/>
                  <a:gd name="T47" fmla="*/ 0 h 187"/>
                  <a:gd name="T48" fmla="*/ 217 w 218"/>
                  <a:gd name="T49" fmla="*/ 0 h 187"/>
                  <a:gd name="T50" fmla="*/ 217 w 218"/>
                  <a:gd name="T51" fmla="*/ 0 h 187"/>
                  <a:gd name="T52" fmla="*/ 186 w 218"/>
                  <a:gd name="T53" fmla="*/ 0 h 187"/>
                  <a:gd name="T54" fmla="*/ 186 w 218"/>
                  <a:gd name="T55" fmla="*/ 0 h 187"/>
                  <a:gd name="T56" fmla="*/ 186 w 218"/>
                  <a:gd name="T57" fmla="*/ 0 h 187"/>
                  <a:gd name="T58" fmla="*/ 155 w 218"/>
                  <a:gd name="T59" fmla="*/ 0 h 187"/>
                  <a:gd name="T60" fmla="*/ 155 w 218"/>
                  <a:gd name="T61" fmla="*/ 0 h 187"/>
                  <a:gd name="T62" fmla="*/ 155 w 218"/>
                  <a:gd name="T63" fmla="*/ 0 h 187"/>
                  <a:gd name="T64" fmla="*/ 124 w 218"/>
                  <a:gd name="T65" fmla="*/ 0 h 187"/>
                  <a:gd name="T66" fmla="*/ 124 w 218"/>
                  <a:gd name="T67" fmla="*/ 31 h 187"/>
                  <a:gd name="T68" fmla="*/ 93 w 218"/>
                  <a:gd name="T69" fmla="*/ 93 h 187"/>
                  <a:gd name="T70" fmla="*/ 62 w 218"/>
                  <a:gd name="T71" fmla="*/ 93 h 187"/>
                  <a:gd name="T72" fmla="*/ 62 w 218"/>
                  <a:gd name="T73" fmla="*/ 93 h 187"/>
                  <a:gd name="T74" fmla="*/ 62 w 218"/>
                  <a:gd name="T75" fmla="*/ 93 h 187"/>
                  <a:gd name="T76" fmla="*/ 31 w 218"/>
                  <a:gd name="T77" fmla="*/ 124 h 187"/>
                  <a:gd name="T78" fmla="*/ 0 w 218"/>
                  <a:gd name="T79" fmla="*/ 155 h 187"/>
                  <a:gd name="T80" fmla="*/ 31 w 218"/>
                  <a:gd name="T81" fmla="*/ 18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87">
                    <a:moveTo>
                      <a:pt x="31" y="186"/>
                    </a:moveTo>
                    <a:lnTo>
                      <a:pt x="31" y="186"/>
                    </a:lnTo>
                    <a:cubicBezTo>
                      <a:pt x="31" y="155"/>
                      <a:pt x="62" y="155"/>
                      <a:pt x="62" y="155"/>
                    </a:cubicBezTo>
                    <a:lnTo>
                      <a:pt x="62" y="155"/>
                    </a:lnTo>
                    <a:lnTo>
                      <a:pt x="62" y="155"/>
                    </a:lnTo>
                    <a:cubicBezTo>
                      <a:pt x="93" y="155"/>
                      <a:pt x="93" y="155"/>
                      <a:pt x="93" y="155"/>
                    </a:cubicBezTo>
                    <a:lnTo>
                      <a:pt x="93" y="155"/>
                    </a:lnTo>
                    <a:lnTo>
                      <a:pt x="93" y="155"/>
                    </a:lnTo>
                    <a:cubicBezTo>
                      <a:pt x="93" y="124"/>
                      <a:pt x="93" y="124"/>
                      <a:pt x="93" y="124"/>
                    </a:cubicBezTo>
                    <a:lnTo>
                      <a:pt x="93" y="124"/>
                    </a:lnTo>
                    <a:lnTo>
                      <a:pt x="124" y="93"/>
                    </a:lnTo>
                    <a:lnTo>
                      <a:pt x="124" y="93"/>
                    </a:lnTo>
                    <a:lnTo>
                      <a:pt x="124" y="93"/>
                    </a:lnTo>
                    <a:lnTo>
                      <a:pt x="124" y="93"/>
                    </a:lnTo>
                    <a:lnTo>
                      <a:pt x="124" y="93"/>
                    </a:lnTo>
                    <a:lnTo>
                      <a:pt x="155" y="62"/>
                    </a:lnTo>
                    <a:lnTo>
                      <a:pt x="155" y="62"/>
                    </a:lnTo>
                    <a:lnTo>
                      <a:pt x="155" y="31"/>
                    </a:lnTo>
                    <a:cubicBezTo>
                      <a:pt x="155" y="31"/>
                      <a:pt x="155" y="0"/>
                      <a:pt x="186" y="0"/>
                    </a:cubicBezTo>
                    <a:lnTo>
                      <a:pt x="186" y="0"/>
                    </a:lnTo>
                    <a:lnTo>
                      <a:pt x="186" y="0"/>
                    </a:lnTo>
                    <a:lnTo>
                      <a:pt x="186" y="0"/>
                    </a:lnTo>
                    <a:lnTo>
                      <a:pt x="186" y="0"/>
                    </a:lnTo>
                    <a:lnTo>
                      <a:pt x="217" y="0"/>
                    </a:lnTo>
                    <a:lnTo>
                      <a:pt x="217" y="0"/>
                    </a:lnTo>
                    <a:lnTo>
                      <a:pt x="217" y="0"/>
                    </a:lnTo>
                    <a:lnTo>
                      <a:pt x="186" y="0"/>
                    </a:lnTo>
                    <a:lnTo>
                      <a:pt x="186" y="0"/>
                    </a:lnTo>
                    <a:lnTo>
                      <a:pt x="186" y="0"/>
                    </a:lnTo>
                    <a:cubicBezTo>
                      <a:pt x="155" y="0"/>
                      <a:pt x="155" y="0"/>
                      <a:pt x="155" y="0"/>
                    </a:cubicBezTo>
                    <a:lnTo>
                      <a:pt x="155" y="0"/>
                    </a:lnTo>
                    <a:lnTo>
                      <a:pt x="155" y="0"/>
                    </a:lnTo>
                    <a:cubicBezTo>
                      <a:pt x="124" y="0"/>
                      <a:pt x="124" y="0"/>
                      <a:pt x="124" y="0"/>
                    </a:cubicBezTo>
                    <a:lnTo>
                      <a:pt x="124" y="31"/>
                    </a:lnTo>
                    <a:cubicBezTo>
                      <a:pt x="124" y="62"/>
                      <a:pt x="93" y="93"/>
                      <a:pt x="93" y="93"/>
                    </a:cubicBezTo>
                    <a:cubicBezTo>
                      <a:pt x="93" y="93"/>
                      <a:pt x="93" y="93"/>
                      <a:pt x="62" y="93"/>
                    </a:cubicBezTo>
                    <a:lnTo>
                      <a:pt x="62" y="93"/>
                    </a:lnTo>
                    <a:lnTo>
                      <a:pt x="62" y="93"/>
                    </a:lnTo>
                    <a:cubicBezTo>
                      <a:pt x="62" y="124"/>
                      <a:pt x="62" y="124"/>
                      <a:pt x="31" y="124"/>
                    </a:cubicBezTo>
                    <a:cubicBezTo>
                      <a:pt x="31" y="155"/>
                      <a:pt x="31" y="155"/>
                      <a:pt x="0" y="155"/>
                    </a:cubicBezTo>
                    <a:cubicBezTo>
                      <a:pt x="0" y="155"/>
                      <a:pt x="31" y="155"/>
                      <a:pt x="31" y="186"/>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17" name="Freeform 114"/>
              <p:cNvSpPr>
                <a:spLocks noChangeArrowheads="1"/>
              </p:cNvSpPr>
              <p:nvPr/>
            </p:nvSpPr>
            <p:spPr bwMode="auto">
              <a:xfrm>
                <a:off x="4025900" y="1033463"/>
                <a:ext cx="44450" cy="33337"/>
              </a:xfrm>
              <a:custGeom>
                <a:avLst/>
                <a:gdLst>
                  <a:gd name="T0" fmla="*/ 31 w 125"/>
                  <a:gd name="T1" fmla="*/ 62 h 94"/>
                  <a:gd name="T2" fmla="*/ 31 w 125"/>
                  <a:gd name="T3" fmla="*/ 62 h 94"/>
                  <a:gd name="T4" fmla="*/ 62 w 125"/>
                  <a:gd name="T5" fmla="*/ 62 h 94"/>
                  <a:gd name="T6" fmla="*/ 93 w 125"/>
                  <a:gd name="T7" fmla="*/ 93 h 94"/>
                  <a:gd name="T8" fmla="*/ 93 w 125"/>
                  <a:gd name="T9" fmla="*/ 93 h 94"/>
                  <a:gd name="T10" fmla="*/ 93 w 125"/>
                  <a:gd name="T11" fmla="*/ 93 h 94"/>
                  <a:gd name="T12" fmla="*/ 93 w 125"/>
                  <a:gd name="T13" fmla="*/ 93 h 94"/>
                  <a:gd name="T14" fmla="*/ 124 w 125"/>
                  <a:gd name="T15" fmla="*/ 62 h 94"/>
                  <a:gd name="T16" fmla="*/ 124 w 125"/>
                  <a:gd name="T17" fmla="*/ 62 h 94"/>
                  <a:gd name="T18" fmla="*/ 93 w 125"/>
                  <a:gd name="T19" fmla="*/ 31 h 94"/>
                  <a:gd name="T20" fmla="*/ 93 w 125"/>
                  <a:gd name="T21" fmla="*/ 31 h 94"/>
                  <a:gd name="T22" fmla="*/ 93 w 125"/>
                  <a:gd name="T23" fmla="*/ 31 h 94"/>
                  <a:gd name="T24" fmla="*/ 93 w 125"/>
                  <a:gd name="T25" fmla="*/ 0 h 94"/>
                  <a:gd name="T26" fmla="*/ 93 w 125"/>
                  <a:gd name="T27" fmla="*/ 0 h 94"/>
                  <a:gd name="T28" fmla="*/ 62 w 125"/>
                  <a:gd name="T29" fmla="*/ 31 h 94"/>
                  <a:gd name="T30" fmla="*/ 62 w 125"/>
                  <a:gd name="T31" fmla="*/ 31 h 94"/>
                  <a:gd name="T32" fmla="*/ 31 w 125"/>
                  <a:gd name="T33" fmla="*/ 62 h 94"/>
                  <a:gd name="T34" fmla="*/ 0 w 125"/>
                  <a:gd name="T35" fmla="*/ 62 h 94"/>
                  <a:gd name="T36" fmla="*/ 0 w 125"/>
                  <a:gd name="T37" fmla="*/ 62 h 94"/>
                  <a:gd name="T38" fmla="*/ 0 w 125"/>
                  <a:gd name="T39" fmla="*/ 62 h 94"/>
                  <a:gd name="T40" fmla="*/ 0 w 125"/>
                  <a:gd name="T41" fmla="*/ 62 h 94"/>
                  <a:gd name="T42" fmla="*/ 31 w 125"/>
                  <a:gd name="T43" fmla="*/ 6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94">
                    <a:moveTo>
                      <a:pt x="31" y="62"/>
                    </a:moveTo>
                    <a:lnTo>
                      <a:pt x="31" y="62"/>
                    </a:lnTo>
                    <a:cubicBezTo>
                      <a:pt x="31" y="62"/>
                      <a:pt x="31" y="62"/>
                      <a:pt x="62" y="62"/>
                    </a:cubicBezTo>
                    <a:cubicBezTo>
                      <a:pt x="62" y="62"/>
                      <a:pt x="62" y="93"/>
                      <a:pt x="93" y="93"/>
                    </a:cubicBezTo>
                    <a:lnTo>
                      <a:pt x="93" y="93"/>
                    </a:lnTo>
                    <a:lnTo>
                      <a:pt x="93" y="93"/>
                    </a:lnTo>
                    <a:lnTo>
                      <a:pt x="93" y="93"/>
                    </a:lnTo>
                    <a:cubicBezTo>
                      <a:pt x="124" y="62"/>
                      <a:pt x="124" y="62"/>
                      <a:pt x="124" y="62"/>
                    </a:cubicBezTo>
                    <a:lnTo>
                      <a:pt x="124" y="62"/>
                    </a:lnTo>
                    <a:cubicBezTo>
                      <a:pt x="93" y="62"/>
                      <a:pt x="93" y="62"/>
                      <a:pt x="93" y="31"/>
                    </a:cubicBezTo>
                    <a:lnTo>
                      <a:pt x="93" y="31"/>
                    </a:lnTo>
                    <a:lnTo>
                      <a:pt x="93" y="31"/>
                    </a:lnTo>
                    <a:cubicBezTo>
                      <a:pt x="93" y="0"/>
                      <a:pt x="93" y="0"/>
                      <a:pt x="93" y="0"/>
                    </a:cubicBezTo>
                    <a:lnTo>
                      <a:pt x="93" y="0"/>
                    </a:lnTo>
                    <a:cubicBezTo>
                      <a:pt x="62" y="31"/>
                      <a:pt x="62" y="31"/>
                      <a:pt x="62" y="31"/>
                    </a:cubicBezTo>
                    <a:lnTo>
                      <a:pt x="62" y="31"/>
                    </a:lnTo>
                    <a:cubicBezTo>
                      <a:pt x="62" y="31"/>
                      <a:pt x="62" y="31"/>
                      <a:pt x="31" y="62"/>
                    </a:cubicBezTo>
                    <a:cubicBezTo>
                      <a:pt x="31" y="62"/>
                      <a:pt x="31" y="62"/>
                      <a:pt x="0" y="62"/>
                    </a:cubicBezTo>
                    <a:lnTo>
                      <a:pt x="0" y="62"/>
                    </a:lnTo>
                    <a:lnTo>
                      <a:pt x="0" y="62"/>
                    </a:lnTo>
                    <a:lnTo>
                      <a:pt x="0" y="62"/>
                    </a:lnTo>
                    <a:lnTo>
                      <a:pt x="31" y="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18" name="Freeform 115"/>
              <p:cNvSpPr>
                <a:spLocks noChangeArrowheads="1"/>
              </p:cNvSpPr>
              <p:nvPr/>
            </p:nvSpPr>
            <p:spPr bwMode="auto">
              <a:xfrm>
                <a:off x="5521325" y="787400"/>
                <a:ext cx="112713" cy="44450"/>
              </a:xfrm>
              <a:custGeom>
                <a:avLst/>
                <a:gdLst>
                  <a:gd name="T0" fmla="*/ 279 w 312"/>
                  <a:gd name="T1" fmla="*/ 62 h 125"/>
                  <a:gd name="T2" fmla="*/ 279 w 312"/>
                  <a:gd name="T3" fmla="*/ 62 h 125"/>
                  <a:gd name="T4" fmla="*/ 279 w 312"/>
                  <a:gd name="T5" fmla="*/ 62 h 125"/>
                  <a:gd name="T6" fmla="*/ 279 w 312"/>
                  <a:gd name="T7" fmla="*/ 93 h 125"/>
                  <a:gd name="T8" fmla="*/ 248 w 312"/>
                  <a:gd name="T9" fmla="*/ 93 h 125"/>
                  <a:gd name="T10" fmla="*/ 217 w 312"/>
                  <a:gd name="T11" fmla="*/ 62 h 125"/>
                  <a:gd name="T12" fmla="*/ 217 w 312"/>
                  <a:gd name="T13" fmla="*/ 31 h 125"/>
                  <a:gd name="T14" fmla="*/ 217 w 312"/>
                  <a:gd name="T15" fmla="*/ 0 h 125"/>
                  <a:gd name="T16" fmla="*/ 217 w 312"/>
                  <a:gd name="T17" fmla="*/ 0 h 125"/>
                  <a:gd name="T18" fmla="*/ 156 w 312"/>
                  <a:gd name="T19" fmla="*/ 0 h 125"/>
                  <a:gd name="T20" fmla="*/ 124 w 312"/>
                  <a:gd name="T21" fmla="*/ 0 h 125"/>
                  <a:gd name="T22" fmla="*/ 124 w 312"/>
                  <a:gd name="T23" fmla="*/ 0 h 125"/>
                  <a:gd name="T24" fmla="*/ 93 w 312"/>
                  <a:gd name="T25" fmla="*/ 0 h 125"/>
                  <a:gd name="T26" fmla="*/ 93 w 312"/>
                  <a:gd name="T27" fmla="*/ 0 h 125"/>
                  <a:gd name="T28" fmla="*/ 32 w 312"/>
                  <a:gd name="T29" fmla="*/ 0 h 125"/>
                  <a:gd name="T30" fmla="*/ 32 w 312"/>
                  <a:gd name="T31" fmla="*/ 0 h 125"/>
                  <a:gd name="T32" fmla="*/ 0 w 312"/>
                  <a:gd name="T33" fmla="*/ 0 h 125"/>
                  <a:gd name="T34" fmla="*/ 0 w 312"/>
                  <a:gd name="T35" fmla="*/ 0 h 125"/>
                  <a:gd name="T36" fmla="*/ 0 w 312"/>
                  <a:gd name="T37" fmla="*/ 31 h 125"/>
                  <a:gd name="T38" fmla="*/ 0 w 312"/>
                  <a:gd name="T39" fmla="*/ 31 h 125"/>
                  <a:gd name="T40" fmla="*/ 32 w 312"/>
                  <a:gd name="T41" fmla="*/ 31 h 125"/>
                  <a:gd name="T42" fmla="*/ 32 w 312"/>
                  <a:gd name="T43" fmla="*/ 31 h 125"/>
                  <a:gd name="T44" fmla="*/ 32 w 312"/>
                  <a:gd name="T45" fmla="*/ 31 h 125"/>
                  <a:gd name="T46" fmla="*/ 63 w 312"/>
                  <a:gd name="T47" fmla="*/ 31 h 125"/>
                  <a:gd name="T48" fmla="*/ 93 w 312"/>
                  <a:gd name="T49" fmla="*/ 0 h 125"/>
                  <a:gd name="T50" fmla="*/ 93 w 312"/>
                  <a:gd name="T51" fmla="*/ 0 h 125"/>
                  <a:gd name="T52" fmla="*/ 124 w 312"/>
                  <a:gd name="T53" fmla="*/ 31 h 125"/>
                  <a:gd name="T54" fmla="*/ 93 w 312"/>
                  <a:gd name="T55" fmla="*/ 93 h 125"/>
                  <a:gd name="T56" fmla="*/ 156 w 312"/>
                  <a:gd name="T57" fmla="*/ 93 h 125"/>
                  <a:gd name="T58" fmla="*/ 156 w 312"/>
                  <a:gd name="T59" fmla="*/ 93 h 125"/>
                  <a:gd name="T60" fmla="*/ 156 w 312"/>
                  <a:gd name="T61" fmla="*/ 93 h 125"/>
                  <a:gd name="T62" fmla="*/ 217 w 312"/>
                  <a:gd name="T63" fmla="*/ 93 h 125"/>
                  <a:gd name="T64" fmla="*/ 248 w 312"/>
                  <a:gd name="T65" fmla="*/ 93 h 125"/>
                  <a:gd name="T66" fmla="*/ 248 w 312"/>
                  <a:gd name="T67" fmla="*/ 93 h 125"/>
                  <a:gd name="T68" fmla="*/ 248 w 312"/>
                  <a:gd name="T69" fmla="*/ 93 h 125"/>
                  <a:gd name="T70" fmla="*/ 279 w 312"/>
                  <a:gd name="T71" fmla="*/ 93 h 125"/>
                  <a:gd name="T72" fmla="*/ 279 w 312"/>
                  <a:gd name="T73" fmla="*/ 93 h 125"/>
                  <a:gd name="T74" fmla="*/ 279 w 312"/>
                  <a:gd name="T75" fmla="*/ 124 h 125"/>
                  <a:gd name="T76" fmla="*/ 311 w 312"/>
                  <a:gd name="T77" fmla="*/ 93 h 125"/>
                  <a:gd name="T78" fmla="*/ 311 w 312"/>
                  <a:gd name="T79" fmla="*/ 93 h 125"/>
                  <a:gd name="T80" fmla="*/ 279 w 312"/>
                  <a:gd name="T81" fmla="*/ 6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2" h="125">
                    <a:moveTo>
                      <a:pt x="279" y="62"/>
                    </a:moveTo>
                    <a:lnTo>
                      <a:pt x="279" y="62"/>
                    </a:lnTo>
                    <a:lnTo>
                      <a:pt x="279" y="62"/>
                    </a:lnTo>
                    <a:cubicBezTo>
                      <a:pt x="279" y="62"/>
                      <a:pt x="279" y="62"/>
                      <a:pt x="279" y="93"/>
                    </a:cubicBezTo>
                    <a:cubicBezTo>
                      <a:pt x="248" y="93"/>
                      <a:pt x="248" y="93"/>
                      <a:pt x="248" y="93"/>
                    </a:cubicBezTo>
                    <a:lnTo>
                      <a:pt x="217" y="62"/>
                    </a:lnTo>
                    <a:lnTo>
                      <a:pt x="217" y="31"/>
                    </a:lnTo>
                    <a:lnTo>
                      <a:pt x="217" y="0"/>
                    </a:lnTo>
                    <a:lnTo>
                      <a:pt x="217" y="0"/>
                    </a:lnTo>
                    <a:cubicBezTo>
                      <a:pt x="187" y="0"/>
                      <a:pt x="187" y="0"/>
                      <a:pt x="156" y="0"/>
                    </a:cubicBezTo>
                    <a:cubicBezTo>
                      <a:pt x="156" y="0"/>
                      <a:pt x="156" y="0"/>
                      <a:pt x="124" y="0"/>
                    </a:cubicBezTo>
                    <a:lnTo>
                      <a:pt x="124" y="0"/>
                    </a:lnTo>
                    <a:cubicBezTo>
                      <a:pt x="124" y="0"/>
                      <a:pt x="124" y="0"/>
                      <a:pt x="93" y="0"/>
                    </a:cubicBezTo>
                    <a:lnTo>
                      <a:pt x="93" y="0"/>
                    </a:lnTo>
                    <a:cubicBezTo>
                      <a:pt x="93" y="0"/>
                      <a:pt x="63" y="0"/>
                      <a:pt x="32" y="0"/>
                    </a:cubicBezTo>
                    <a:lnTo>
                      <a:pt x="32" y="0"/>
                    </a:lnTo>
                    <a:lnTo>
                      <a:pt x="0" y="0"/>
                    </a:lnTo>
                    <a:lnTo>
                      <a:pt x="0" y="0"/>
                    </a:lnTo>
                    <a:lnTo>
                      <a:pt x="0" y="31"/>
                    </a:lnTo>
                    <a:lnTo>
                      <a:pt x="0" y="31"/>
                    </a:lnTo>
                    <a:cubicBezTo>
                      <a:pt x="32" y="31"/>
                      <a:pt x="32" y="31"/>
                      <a:pt x="32" y="31"/>
                    </a:cubicBezTo>
                    <a:lnTo>
                      <a:pt x="32" y="31"/>
                    </a:lnTo>
                    <a:lnTo>
                      <a:pt x="32" y="31"/>
                    </a:lnTo>
                    <a:lnTo>
                      <a:pt x="63" y="31"/>
                    </a:lnTo>
                    <a:cubicBezTo>
                      <a:pt x="63" y="0"/>
                      <a:pt x="63" y="0"/>
                      <a:pt x="93" y="0"/>
                    </a:cubicBezTo>
                    <a:lnTo>
                      <a:pt x="93" y="0"/>
                    </a:lnTo>
                    <a:lnTo>
                      <a:pt x="124" y="31"/>
                    </a:lnTo>
                    <a:cubicBezTo>
                      <a:pt x="124" y="62"/>
                      <a:pt x="93" y="62"/>
                      <a:pt x="93" y="93"/>
                    </a:cubicBezTo>
                    <a:cubicBezTo>
                      <a:pt x="93" y="93"/>
                      <a:pt x="124" y="93"/>
                      <a:pt x="156" y="93"/>
                    </a:cubicBezTo>
                    <a:lnTo>
                      <a:pt x="156" y="93"/>
                    </a:lnTo>
                    <a:lnTo>
                      <a:pt x="156" y="93"/>
                    </a:lnTo>
                    <a:cubicBezTo>
                      <a:pt x="187" y="93"/>
                      <a:pt x="217" y="93"/>
                      <a:pt x="217" y="93"/>
                    </a:cubicBezTo>
                    <a:lnTo>
                      <a:pt x="248" y="93"/>
                    </a:lnTo>
                    <a:lnTo>
                      <a:pt x="248" y="93"/>
                    </a:lnTo>
                    <a:lnTo>
                      <a:pt x="248" y="93"/>
                    </a:lnTo>
                    <a:cubicBezTo>
                      <a:pt x="279" y="93"/>
                      <a:pt x="279" y="93"/>
                      <a:pt x="279" y="93"/>
                    </a:cubicBezTo>
                    <a:lnTo>
                      <a:pt x="279" y="93"/>
                    </a:lnTo>
                    <a:lnTo>
                      <a:pt x="279" y="124"/>
                    </a:lnTo>
                    <a:cubicBezTo>
                      <a:pt x="279" y="93"/>
                      <a:pt x="279" y="93"/>
                      <a:pt x="311" y="93"/>
                    </a:cubicBezTo>
                    <a:lnTo>
                      <a:pt x="311" y="93"/>
                    </a:lnTo>
                    <a:lnTo>
                      <a:pt x="279" y="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19" name="Freeform 116"/>
              <p:cNvSpPr>
                <a:spLocks noChangeArrowheads="1"/>
              </p:cNvSpPr>
              <p:nvPr/>
            </p:nvSpPr>
            <p:spPr bwMode="auto">
              <a:xfrm>
                <a:off x="6402388" y="898525"/>
                <a:ext cx="134937" cy="22225"/>
              </a:xfrm>
              <a:custGeom>
                <a:avLst/>
                <a:gdLst>
                  <a:gd name="T0" fmla="*/ 217 w 373"/>
                  <a:gd name="T1" fmla="*/ 31 h 63"/>
                  <a:gd name="T2" fmla="*/ 217 w 373"/>
                  <a:gd name="T3" fmla="*/ 31 h 63"/>
                  <a:gd name="T4" fmla="*/ 217 w 373"/>
                  <a:gd name="T5" fmla="*/ 31 h 63"/>
                  <a:gd name="T6" fmla="*/ 248 w 373"/>
                  <a:gd name="T7" fmla="*/ 31 h 63"/>
                  <a:gd name="T8" fmla="*/ 248 w 373"/>
                  <a:gd name="T9" fmla="*/ 31 h 63"/>
                  <a:gd name="T10" fmla="*/ 279 w 373"/>
                  <a:gd name="T11" fmla="*/ 31 h 63"/>
                  <a:gd name="T12" fmla="*/ 279 w 373"/>
                  <a:gd name="T13" fmla="*/ 31 h 63"/>
                  <a:gd name="T14" fmla="*/ 310 w 373"/>
                  <a:gd name="T15" fmla="*/ 31 h 63"/>
                  <a:gd name="T16" fmla="*/ 372 w 373"/>
                  <a:gd name="T17" fmla="*/ 31 h 63"/>
                  <a:gd name="T18" fmla="*/ 372 w 373"/>
                  <a:gd name="T19" fmla="*/ 31 h 63"/>
                  <a:gd name="T20" fmla="*/ 341 w 373"/>
                  <a:gd name="T21" fmla="*/ 31 h 63"/>
                  <a:gd name="T22" fmla="*/ 310 w 373"/>
                  <a:gd name="T23" fmla="*/ 31 h 63"/>
                  <a:gd name="T24" fmla="*/ 310 w 373"/>
                  <a:gd name="T25" fmla="*/ 31 h 63"/>
                  <a:gd name="T26" fmla="*/ 279 w 373"/>
                  <a:gd name="T27" fmla="*/ 31 h 63"/>
                  <a:gd name="T28" fmla="*/ 248 w 373"/>
                  <a:gd name="T29" fmla="*/ 31 h 63"/>
                  <a:gd name="T30" fmla="*/ 217 w 373"/>
                  <a:gd name="T31" fmla="*/ 0 h 63"/>
                  <a:gd name="T32" fmla="*/ 217 w 373"/>
                  <a:gd name="T33" fmla="*/ 0 h 63"/>
                  <a:gd name="T34" fmla="*/ 217 w 373"/>
                  <a:gd name="T35" fmla="*/ 31 h 63"/>
                  <a:gd name="T36" fmla="*/ 155 w 373"/>
                  <a:gd name="T37" fmla="*/ 31 h 63"/>
                  <a:gd name="T38" fmla="*/ 124 w 373"/>
                  <a:gd name="T39" fmla="*/ 31 h 63"/>
                  <a:gd name="T40" fmla="*/ 93 w 373"/>
                  <a:gd name="T41" fmla="*/ 31 h 63"/>
                  <a:gd name="T42" fmla="*/ 93 w 373"/>
                  <a:gd name="T43" fmla="*/ 0 h 63"/>
                  <a:gd name="T44" fmla="*/ 62 w 373"/>
                  <a:gd name="T45" fmla="*/ 0 h 63"/>
                  <a:gd name="T46" fmla="*/ 31 w 373"/>
                  <a:gd name="T47" fmla="*/ 0 h 63"/>
                  <a:gd name="T48" fmla="*/ 0 w 373"/>
                  <a:gd name="T49" fmla="*/ 31 h 63"/>
                  <a:gd name="T50" fmla="*/ 0 w 373"/>
                  <a:gd name="T51" fmla="*/ 31 h 63"/>
                  <a:gd name="T52" fmla="*/ 0 w 373"/>
                  <a:gd name="T53" fmla="*/ 31 h 63"/>
                  <a:gd name="T54" fmla="*/ 31 w 373"/>
                  <a:gd name="T55" fmla="*/ 62 h 63"/>
                  <a:gd name="T56" fmla="*/ 31 w 373"/>
                  <a:gd name="T57" fmla="*/ 31 h 63"/>
                  <a:gd name="T58" fmla="*/ 62 w 373"/>
                  <a:gd name="T59" fmla="*/ 31 h 63"/>
                  <a:gd name="T60" fmla="*/ 62 w 373"/>
                  <a:gd name="T61" fmla="*/ 31 h 63"/>
                  <a:gd name="T62" fmla="*/ 62 w 373"/>
                  <a:gd name="T63" fmla="*/ 31 h 63"/>
                  <a:gd name="T64" fmla="*/ 62 w 373"/>
                  <a:gd name="T65" fmla="*/ 31 h 63"/>
                  <a:gd name="T66" fmla="*/ 93 w 373"/>
                  <a:gd name="T67" fmla="*/ 31 h 63"/>
                  <a:gd name="T68" fmla="*/ 124 w 373"/>
                  <a:gd name="T69" fmla="*/ 31 h 63"/>
                  <a:gd name="T70" fmla="*/ 124 w 373"/>
                  <a:gd name="T71" fmla="*/ 31 h 63"/>
                  <a:gd name="T72" fmla="*/ 186 w 373"/>
                  <a:gd name="T73" fmla="*/ 31 h 63"/>
                  <a:gd name="T74" fmla="*/ 217 w 373"/>
                  <a:gd name="T75"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3" h="63">
                    <a:moveTo>
                      <a:pt x="217" y="31"/>
                    </a:moveTo>
                    <a:lnTo>
                      <a:pt x="217" y="31"/>
                    </a:lnTo>
                    <a:lnTo>
                      <a:pt x="217" y="31"/>
                    </a:lnTo>
                    <a:cubicBezTo>
                      <a:pt x="248" y="31"/>
                      <a:pt x="248" y="31"/>
                      <a:pt x="248" y="31"/>
                    </a:cubicBezTo>
                    <a:lnTo>
                      <a:pt x="248" y="31"/>
                    </a:lnTo>
                    <a:lnTo>
                      <a:pt x="279" y="31"/>
                    </a:lnTo>
                    <a:lnTo>
                      <a:pt x="279" y="31"/>
                    </a:lnTo>
                    <a:cubicBezTo>
                      <a:pt x="310" y="31"/>
                      <a:pt x="310" y="31"/>
                      <a:pt x="310" y="31"/>
                    </a:cubicBezTo>
                    <a:cubicBezTo>
                      <a:pt x="341" y="31"/>
                      <a:pt x="341" y="31"/>
                      <a:pt x="372" y="31"/>
                    </a:cubicBezTo>
                    <a:lnTo>
                      <a:pt x="372" y="31"/>
                    </a:lnTo>
                    <a:cubicBezTo>
                      <a:pt x="341" y="31"/>
                      <a:pt x="341" y="31"/>
                      <a:pt x="341" y="31"/>
                    </a:cubicBezTo>
                    <a:lnTo>
                      <a:pt x="310" y="31"/>
                    </a:lnTo>
                    <a:lnTo>
                      <a:pt x="310" y="31"/>
                    </a:lnTo>
                    <a:lnTo>
                      <a:pt x="279" y="31"/>
                    </a:lnTo>
                    <a:lnTo>
                      <a:pt x="248" y="31"/>
                    </a:lnTo>
                    <a:lnTo>
                      <a:pt x="217" y="0"/>
                    </a:lnTo>
                    <a:lnTo>
                      <a:pt x="217" y="0"/>
                    </a:lnTo>
                    <a:lnTo>
                      <a:pt x="217" y="31"/>
                    </a:lnTo>
                    <a:cubicBezTo>
                      <a:pt x="186" y="31"/>
                      <a:pt x="186" y="31"/>
                      <a:pt x="155" y="31"/>
                    </a:cubicBezTo>
                    <a:cubicBezTo>
                      <a:pt x="155" y="31"/>
                      <a:pt x="155" y="31"/>
                      <a:pt x="124" y="31"/>
                    </a:cubicBezTo>
                    <a:cubicBezTo>
                      <a:pt x="124" y="31"/>
                      <a:pt x="124" y="31"/>
                      <a:pt x="93" y="31"/>
                    </a:cubicBezTo>
                    <a:cubicBezTo>
                      <a:pt x="93" y="0"/>
                      <a:pt x="93" y="0"/>
                      <a:pt x="93" y="0"/>
                    </a:cubicBezTo>
                    <a:lnTo>
                      <a:pt x="62" y="0"/>
                    </a:lnTo>
                    <a:cubicBezTo>
                      <a:pt x="62" y="0"/>
                      <a:pt x="62" y="0"/>
                      <a:pt x="31" y="0"/>
                    </a:cubicBezTo>
                    <a:cubicBezTo>
                      <a:pt x="31" y="0"/>
                      <a:pt x="31" y="0"/>
                      <a:pt x="0" y="31"/>
                    </a:cubicBezTo>
                    <a:lnTo>
                      <a:pt x="0" y="31"/>
                    </a:lnTo>
                    <a:lnTo>
                      <a:pt x="0" y="31"/>
                    </a:lnTo>
                    <a:cubicBezTo>
                      <a:pt x="0" y="31"/>
                      <a:pt x="31" y="31"/>
                      <a:pt x="31" y="62"/>
                    </a:cubicBezTo>
                    <a:lnTo>
                      <a:pt x="31" y="31"/>
                    </a:lnTo>
                    <a:cubicBezTo>
                      <a:pt x="31" y="31"/>
                      <a:pt x="31" y="31"/>
                      <a:pt x="62" y="31"/>
                    </a:cubicBezTo>
                    <a:lnTo>
                      <a:pt x="62" y="31"/>
                    </a:lnTo>
                    <a:lnTo>
                      <a:pt x="62" y="31"/>
                    </a:lnTo>
                    <a:lnTo>
                      <a:pt x="62" y="31"/>
                    </a:lnTo>
                    <a:cubicBezTo>
                      <a:pt x="93" y="31"/>
                      <a:pt x="93" y="31"/>
                      <a:pt x="93" y="31"/>
                    </a:cubicBezTo>
                    <a:lnTo>
                      <a:pt x="124" y="31"/>
                    </a:lnTo>
                    <a:lnTo>
                      <a:pt x="124" y="31"/>
                    </a:lnTo>
                    <a:cubicBezTo>
                      <a:pt x="155" y="31"/>
                      <a:pt x="186" y="31"/>
                      <a:pt x="186" y="31"/>
                    </a:cubicBezTo>
                    <a:cubicBezTo>
                      <a:pt x="186" y="31"/>
                      <a:pt x="186" y="31"/>
                      <a:pt x="217"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20" name="Freeform 117"/>
              <p:cNvSpPr>
                <a:spLocks noChangeArrowheads="1"/>
              </p:cNvSpPr>
              <p:nvPr/>
            </p:nvSpPr>
            <p:spPr bwMode="auto">
              <a:xfrm>
                <a:off x="4795838" y="909638"/>
                <a:ext cx="66675" cy="33337"/>
              </a:xfrm>
              <a:custGeom>
                <a:avLst/>
                <a:gdLst>
                  <a:gd name="T0" fmla="*/ 30 w 187"/>
                  <a:gd name="T1" fmla="*/ 93 h 94"/>
                  <a:gd name="T2" fmla="*/ 30 w 187"/>
                  <a:gd name="T3" fmla="*/ 93 h 94"/>
                  <a:gd name="T4" fmla="*/ 30 w 187"/>
                  <a:gd name="T5" fmla="*/ 93 h 94"/>
                  <a:gd name="T6" fmla="*/ 62 w 187"/>
                  <a:gd name="T7" fmla="*/ 62 h 94"/>
                  <a:gd name="T8" fmla="*/ 62 w 187"/>
                  <a:gd name="T9" fmla="*/ 62 h 94"/>
                  <a:gd name="T10" fmla="*/ 93 w 187"/>
                  <a:gd name="T11" fmla="*/ 31 h 94"/>
                  <a:gd name="T12" fmla="*/ 93 w 187"/>
                  <a:gd name="T13" fmla="*/ 31 h 94"/>
                  <a:gd name="T14" fmla="*/ 93 w 187"/>
                  <a:gd name="T15" fmla="*/ 31 h 94"/>
                  <a:gd name="T16" fmla="*/ 124 w 187"/>
                  <a:gd name="T17" fmla="*/ 31 h 94"/>
                  <a:gd name="T18" fmla="*/ 154 w 187"/>
                  <a:gd name="T19" fmla="*/ 31 h 94"/>
                  <a:gd name="T20" fmla="*/ 154 w 187"/>
                  <a:gd name="T21" fmla="*/ 31 h 94"/>
                  <a:gd name="T22" fmla="*/ 186 w 187"/>
                  <a:gd name="T23" fmla="*/ 0 h 94"/>
                  <a:gd name="T24" fmla="*/ 186 w 187"/>
                  <a:gd name="T25" fmla="*/ 0 h 94"/>
                  <a:gd name="T26" fmla="*/ 154 w 187"/>
                  <a:gd name="T27" fmla="*/ 0 h 94"/>
                  <a:gd name="T28" fmla="*/ 154 w 187"/>
                  <a:gd name="T29" fmla="*/ 0 h 94"/>
                  <a:gd name="T30" fmla="*/ 154 w 187"/>
                  <a:gd name="T31" fmla="*/ 0 h 94"/>
                  <a:gd name="T32" fmla="*/ 124 w 187"/>
                  <a:gd name="T33" fmla="*/ 0 h 94"/>
                  <a:gd name="T34" fmla="*/ 124 w 187"/>
                  <a:gd name="T35" fmla="*/ 0 h 94"/>
                  <a:gd name="T36" fmla="*/ 93 w 187"/>
                  <a:gd name="T37" fmla="*/ 0 h 94"/>
                  <a:gd name="T38" fmla="*/ 93 w 187"/>
                  <a:gd name="T39" fmla="*/ 0 h 94"/>
                  <a:gd name="T40" fmla="*/ 62 w 187"/>
                  <a:gd name="T41" fmla="*/ 0 h 94"/>
                  <a:gd name="T42" fmla="*/ 62 w 187"/>
                  <a:gd name="T43" fmla="*/ 0 h 94"/>
                  <a:gd name="T44" fmla="*/ 30 w 187"/>
                  <a:gd name="T45" fmla="*/ 31 h 94"/>
                  <a:gd name="T46" fmla="*/ 30 w 187"/>
                  <a:gd name="T47" fmla="*/ 31 h 94"/>
                  <a:gd name="T48" fmla="*/ 0 w 187"/>
                  <a:gd name="T49" fmla="*/ 62 h 94"/>
                  <a:gd name="T50" fmla="*/ 0 w 187"/>
                  <a:gd name="T51" fmla="*/ 62 h 94"/>
                  <a:gd name="T52" fmla="*/ 0 w 187"/>
                  <a:gd name="T53" fmla="*/ 62 h 94"/>
                  <a:gd name="T54" fmla="*/ 0 w 187"/>
                  <a:gd name="T55" fmla="*/ 62 h 94"/>
                  <a:gd name="T56" fmla="*/ 30 w 187"/>
                  <a:gd name="T5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7" h="94">
                    <a:moveTo>
                      <a:pt x="30" y="93"/>
                    </a:moveTo>
                    <a:lnTo>
                      <a:pt x="30" y="93"/>
                    </a:lnTo>
                    <a:lnTo>
                      <a:pt x="30" y="93"/>
                    </a:lnTo>
                    <a:cubicBezTo>
                      <a:pt x="30" y="62"/>
                      <a:pt x="30" y="62"/>
                      <a:pt x="62" y="62"/>
                    </a:cubicBezTo>
                    <a:lnTo>
                      <a:pt x="62" y="62"/>
                    </a:lnTo>
                    <a:cubicBezTo>
                      <a:pt x="62" y="62"/>
                      <a:pt x="62" y="31"/>
                      <a:pt x="93" y="31"/>
                    </a:cubicBezTo>
                    <a:lnTo>
                      <a:pt x="93" y="31"/>
                    </a:lnTo>
                    <a:lnTo>
                      <a:pt x="93" y="31"/>
                    </a:lnTo>
                    <a:cubicBezTo>
                      <a:pt x="93" y="31"/>
                      <a:pt x="93" y="31"/>
                      <a:pt x="124" y="31"/>
                    </a:cubicBezTo>
                    <a:cubicBezTo>
                      <a:pt x="124" y="0"/>
                      <a:pt x="154" y="31"/>
                      <a:pt x="154" y="31"/>
                    </a:cubicBezTo>
                    <a:lnTo>
                      <a:pt x="154" y="31"/>
                    </a:lnTo>
                    <a:cubicBezTo>
                      <a:pt x="154" y="31"/>
                      <a:pt x="154" y="0"/>
                      <a:pt x="186" y="0"/>
                    </a:cubicBezTo>
                    <a:lnTo>
                      <a:pt x="186" y="0"/>
                    </a:lnTo>
                    <a:cubicBezTo>
                      <a:pt x="154" y="0"/>
                      <a:pt x="154" y="0"/>
                      <a:pt x="154" y="0"/>
                    </a:cubicBezTo>
                    <a:lnTo>
                      <a:pt x="154" y="0"/>
                    </a:lnTo>
                    <a:lnTo>
                      <a:pt x="154" y="0"/>
                    </a:lnTo>
                    <a:lnTo>
                      <a:pt x="124" y="0"/>
                    </a:lnTo>
                    <a:lnTo>
                      <a:pt x="124" y="0"/>
                    </a:lnTo>
                    <a:cubicBezTo>
                      <a:pt x="124" y="0"/>
                      <a:pt x="124" y="0"/>
                      <a:pt x="93" y="0"/>
                    </a:cubicBezTo>
                    <a:lnTo>
                      <a:pt x="93" y="0"/>
                    </a:lnTo>
                    <a:lnTo>
                      <a:pt x="62" y="0"/>
                    </a:lnTo>
                    <a:lnTo>
                      <a:pt x="62" y="0"/>
                    </a:lnTo>
                    <a:cubicBezTo>
                      <a:pt x="62" y="31"/>
                      <a:pt x="62" y="31"/>
                      <a:pt x="30" y="31"/>
                    </a:cubicBezTo>
                    <a:lnTo>
                      <a:pt x="30" y="31"/>
                    </a:lnTo>
                    <a:lnTo>
                      <a:pt x="0" y="62"/>
                    </a:lnTo>
                    <a:lnTo>
                      <a:pt x="0" y="62"/>
                    </a:lnTo>
                    <a:lnTo>
                      <a:pt x="0" y="62"/>
                    </a:lnTo>
                    <a:lnTo>
                      <a:pt x="0" y="62"/>
                    </a:lnTo>
                    <a:lnTo>
                      <a:pt x="30" y="93"/>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21" name="Freeform 118"/>
              <p:cNvSpPr>
                <a:spLocks noChangeArrowheads="1"/>
              </p:cNvSpPr>
              <p:nvPr/>
            </p:nvSpPr>
            <p:spPr bwMode="auto">
              <a:xfrm>
                <a:off x="4716463" y="965200"/>
                <a:ext cx="57150" cy="44450"/>
              </a:xfrm>
              <a:custGeom>
                <a:avLst/>
                <a:gdLst>
                  <a:gd name="T0" fmla="*/ 63 w 157"/>
                  <a:gd name="T1" fmla="*/ 93 h 125"/>
                  <a:gd name="T2" fmla="*/ 63 w 157"/>
                  <a:gd name="T3" fmla="*/ 93 h 125"/>
                  <a:gd name="T4" fmla="*/ 63 w 157"/>
                  <a:gd name="T5" fmla="*/ 124 h 125"/>
                  <a:gd name="T6" fmla="*/ 63 w 157"/>
                  <a:gd name="T7" fmla="*/ 124 h 125"/>
                  <a:gd name="T8" fmla="*/ 63 w 157"/>
                  <a:gd name="T9" fmla="*/ 124 h 125"/>
                  <a:gd name="T10" fmla="*/ 63 w 157"/>
                  <a:gd name="T11" fmla="*/ 124 h 125"/>
                  <a:gd name="T12" fmla="*/ 94 w 157"/>
                  <a:gd name="T13" fmla="*/ 124 h 125"/>
                  <a:gd name="T14" fmla="*/ 156 w 157"/>
                  <a:gd name="T15" fmla="*/ 124 h 125"/>
                  <a:gd name="T16" fmla="*/ 156 w 157"/>
                  <a:gd name="T17" fmla="*/ 124 h 125"/>
                  <a:gd name="T18" fmla="*/ 156 w 157"/>
                  <a:gd name="T19" fmla="*/ 124 h 125"/>
                  <a:gd name="T20" fmla="*/ 156 w 157"/>
                  <a:gd name="T21" fmla="*/ 124 h 125"/>
                  <a:gd name="T22" fmla="*/ 94 w 157"/>
                  <a:gd name="T23" fmla="*/ 62 h 125"/>
                  <a:gd name="T24" fmla="*/ 94 w 157"/>
                  <a:gd name="T25" fmla="*/ 31 h 125"/>
                  <a:gd name="T26" fmla="*/ 94 w 157"/>
                  <a:gd name="T27" fmla="*/ 31 h 125"/>
                  <a:gd name="T28" fmla="*/ 94 w 157"/>
                  <a:gd name="T29" fmla="*/ 0 h 125"/>
                  <a:gd name="T30" fmla="*/ 94 w 157"/>
                  <a:gd name="T31" fmla="*/ 0 h 125"/>
                  <a:gd name="T32" fmla="*/ 63 w 157"/>
                  <a:gd name="T33" fmla="*/ 0 h 125"/>
                  <a:gd name="T34" fmla="*/ 63 w 157"/>
                  <a:gd name="T35" fmla="*/ 0 h 125"/>
                  <a:gd name="T36" fmla="*/ 63 w 157"/>
                  <a:gd name="T37" fmla="*/ 0 h 125"/>
                  <a:gd name="T38" fmla="*/ 32 w 157"/>
                  <a:gd name="T39" fmla="*/ 31 h 125"/>
                  <a:gd name="T40" fmla="*/ 0 w 157"/>
                  <a:gd name="T41" fmla="*/ 62 h 125"/>
                  <a:gd name="T42" fmla="*/ 0 w 157"/>
                  <a:gd name="T43" fmla="*/ 62 h 125"/>
                  <a:gd name="T44" fmla="*/ 63 w 157"/>
                  <a:gd name="T4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25">
                    <a:moveTo>
                      <a:pt x="63" y="93"/>
                    </a:moveTo>
                    <a:lnTo>
                      <a:pt x="63" y="93"/>
                    </a:lnTo>
                    <a:lnTo>
                      <a:pt x="63" y="124"/>
                    </a:lnTo>
                    <a:lnTo>
                      <a:pt x="63" y="124"/>
                    </a:lnTo>
                    <a:lnTo>
                      <a:pt x="63" y="124"/>
                    </a:lnTo>
                    <a:lnTo>
                      <a:pt x="63" y="124"/>
                    </a:lnTo>
                    <a:cubicBezTo>
                      <a:pt x="94" y="124"/>
                      <a:pt x="94" y="124"/>
                      <a:pt x="94" y="124"/>
                    </a:cubicBezTo>
                    <a:cubicBezTo>
                      <a:pt x="124" y="124"/>
                      <a:pt x="124" y="124"/>
                      <a:pt x="156" y="124"/>
                    </a:cubicBezTo>
                    <a:lnTo>
                      <a:pt x="156" y="124"/>
                    </a:lnTo>
                    <a:lnTo>
                      <a:pt x="156" y="124"/>
                    </a:lnTo>
                    <a:lnTo>
                      <a:pt x="156" y="124"/>
                    </a:lnTo>
                    <a:cubicBezTo>
                      <a:pt x="124" y="124"/>
                      <a:pt x="124" y="93"/>
                      <a:pt x="94" y="62"/>
                    </a:cubicBezTo>
                    <a:lnTo>
                      <a:pt x="94" y="31"/>
                    </a:lnTo>
                    <a:lnTo>
                      <a:pt x="94" y="31"/>
                    </a:lnTo>
                    <a:lnTo>
                      <a:pt x="94" y="0"/>
                    </a:lnTo>
                    <a:lnTo>
                      <a:pt x="94" y="0"/>
                    </a:lnTo>
                    <a:cubicBezTo>
                      <a:pt x="94" y="0"/>
                      <a:pt x="94" y="0"/>
                      <a:pt x="63" y="0"/>
                    </a:cubicBezTo>
                    <a:lnTo>
                      <a:pt x="63" y="0"/>
                    </a:lnTo>
                    <a:lnTo>
                      <a:pt x="63" y="0"/>
                    </a:lnTo>
                    <a:lnTo>
                      <a:pt x="32" y="31"/>
                    </a:lnTo>
                    <a:cubicBezTo>
                      <a:pt x="32" y="31"/>
                      <a:pt x="32" y="62"/>
                      <a:pt x="0" y="62"/>
                    </a:cubicBezTo>
                    <a:lnTo>
                      <a:pt x="0" y="62"/>
                    </a:lnTo>
                    <a:cubicBezTo>
                      <a:pt x="32" y="62"/>
                      <a:pt x="32" y="62"/>
                      <a:pt x="63" y="9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22" name="Freeform 119"/>
              <p:cNvSpPr>
                <a:spLocks noChangeArrowheads="1"/>
              </p:cNvSpPr>
              <p:nvPr/>
            </p:nvSpPr>
            <p:spPr bwMode="auto">
              <a:xfrm>
                <a:off x="6178550" y="1781175"/>
                <a:ext cx="55563" cy="66675"/>
              </a:xfrm>
              <a:custGeom>
                <a:avLst/>
                <a:gdLst>
                  <a:gd name="T0" fmla="*/ 93 w 156"/>
                  <a:gd name="T1" fmla="*/ 0 h 186"/>
                  <a:gd name="T2" fmla="*/ 93 w 156"/>
                  <a:gd name="T3" fmla="*/ 0 h 186"/>
                  <a:gd name="T4" fmla="*/ 93 w 156"/>
                  <a:gd name="T5" fmla="*/ 0 h 186"/>
                  <a:gd name="T6" fmla="*/ 93 w 156"/>
                  <a:gd name="T7" fmla="*/ 0 h 186"/>
                  <a:gd name="T8" fmla="*/ 62 w 156"/>
                  <a:gd name="T9" fmla="*/ 0 h 186"/>
                  <a:gd name="T10" fmla="*/ 62 w 156"/>
                  <a:gd name="T11" fmla="*/ 0 h 186"/>
                  <a:gd name="T12" fmla="*/ 62 w 156"/>
                  <a:gd name="T13" fmla="*/ 0 h 186"/>
                  <a:gd name="T14" fmla="*/ 62 w 156"/>
                  <a:gd name="T15" fmla="*/ 0 h 186"/>
                  <a:gd name="T16" fmla="*/ 31 w 156"/>
                  <a:gd name="T17" fmla="*/ 0 h 186"/>
                  <a:gd name="T18" fmla="*/ 62 w 156"/>
                  <a:gd name="T19" fmla="*/ 31 h 186"/>
                  <a:gd name="T20" fmla="*/ 62 w 156"/>
                  <a:gd name="T21" fmla="*/ 92 h 186"/>
                  <a:gd name="T22" fmla="*/ 31 w 156"/>
                  <a:gd name="T23" fmla="*/ 92 h 186"/>
                  <a:gd name="T24" fmla="*/ 31 w 156"/>
                  <a:gd name="T25" fmla="*/ 155 h 186"/>
                  <a:gd name="T26" fmla="*/ 0 w 156"/>
                  <a:gd name="T27" fmla="*/ 185 h 186"/>
                  <a:gd name="T28" fmla="*/ 31 w 156"/>
                  <a:gd name="T29" fmla="*/ 185 h 186"/>
                  <a:gd name="T30" fmla="*/ 62 w 156"/>
                  <a:gd name="T31" fmla="*/ 155 h 186"/>
                  <a:gd name="T32" fmla="*/ 62 w 156"/>
                  <a:gd name="T33" fmla="*/ 155 h 186"/>
                  <a:gd name="T34" fmla="*/ 93 w 156"/>
                  <a:gd name="T35" fmla="*/ 124 h 186"/>
                  <a:gd name="T36" fmla="*/ 93 w 156"/>
                  <a:gd name="T37" fmla="*/ 124 h 186"/>
                  <a:gd name="T38" fmla="*/ 124 w 156"/>
                  <a:gd name="T39" fmla="*/ 124 h 186"/>
                  <a:gd name="T40" fmla="*/ 155 w 156"/>
                  <a:gd name="T41" fmla="*/ 124 h 186"/>
                  <a:gd name="T42" fmla="*/ 155 w 156"/>
                  <a:gd name="T43" fmla="*/ 124 h 186"/>
                  <a:gd name="T44" fmla="*/ 155 w 156"/>
                  <a:gd name="T45" fmla="*/ 61 h 186"/>
                  <a:gd name="T46" fmla="*/ 124 w 156"/>
                  <a:gd name="T47" fmla="*/ 0 h 186"/>
                  <a:gd name="T48" fmla="*/ 93 w 156"/>
                  <a:gd name="T4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186">
                    <a:moveTo>
                      <a:pt x="93" y="0"/>
                    </a:moveTo>
                    <a:lnTo>
                      <a:pt x="93" y="0"/>
                    </a:lnTo>
                    <a:lnTo>
                      <a:pt x="93" y="0"/>
                    </a:lnTo>
                    <a:lnTo>
                      <a:pt x="93" y="0"/>
                    </a:lnTo>
                    <a:cubicBezTo>
                      <a:pt x="93" y="0"/>
                      <a:pt x="93" y="0"/>
                      <a:pt x="62" y="0"/>
                    </a:cubicBezTo>
                    <a:lnTo>
                      <a:pt x="62" y="0"/>
                    </a:lnTo>
                    <a:lnTo>
                      <a:pt x="62" y="0"/>
                    </a:lnTo>
                    <a:lnTo>
                      <a:pt x="62" y="0"/>
                    </a:lnTo>
                    <a:lnTo>
                      <a:pt x="31" y="0"/>
                    </a:lnTo>
                    <a:cubicBezTo>
                      <a:pt x="62" y="0"/>
                      <a:pt x="62" y="31"/>
                      <a:pt x="62" y="31"/>
                    </a:cubicBezTo>
                    <a:cubicBezTo>
                      <a:pt x="62" y="61"/>
                      <a:pt x="62" y="61"/>
                      <a:pt x="62" y="92"/>
                    </a:cubicBezTo>
                    <a:cubicBezTo>
                      <a:pt x="31" y="92"/>
                      <a:pt x="31" y="92"/>
                      <a:pt x="31" y="92"/>
                    </a:cubicBezTo>
                    <a:cubicBezTo>
                      <a:pt x="31" y="124"/>
                      <a:pt x="31" y="124"/>
                      <a:pt x="31" y="155"/>
                    </a:cubicBezTo>
                    <a:cubicBezTo>
                      <a:pt x="31" y="155"/>
                      <a:pt x="31" y="185"/>
                      <a:pt x="0" y="185"/>
                    </a:cubicBezTo>
                    <a:cubicBezTo>
                      <a:pt x="31" y="185"/>
                      <a:pt x="31" y="185"/>
                      <a:pt x="31" y="185"/>
                    </a:cubicBezTo>
                    <a:cubicBezTo>
                      <a:pt x="62" y="155"/>
                      <a:pt x="62" y="155"/>
                      <a:pt x="62" y="155"/>
                    </a:cubicBezTo>
                    <a:lnTo>
                      <a:pt x="62" y="155"/>
                    </a:lnTo>
                    <a:lnTo>
                      <a:pt x="93" y="124"/>
                    </a:lnTo>
                    <a:lnTo>
                      <a:pt x="93" y="124"/>
                    </a:lnTo>
                    <a:cubicBezTo>
                      <a:pt x="124" y="124"/>
                      <a:pt x="124" y="124"/>
                      <a:pt x="124" y="124"/>
                    </a:cubicBezTo>
                    <a:cubicBezTo>
                      <a:pt x="124" y="124"/>
                      <a:pt x="124" y="124"/>
                      <a:pt x="155" y="124"/>
                    </a:cubicBezTo>
                    <a:lnTo>
                      <a:pt x="155" y="124"/>
                    </a:lnTo>
                    <a:cubicBezTo>
                      <a:pt x="155" y="124"/>
                      <a:pt x="155" y="92"/>
                      <a:pt x="155" y="61"/>
                    </a:cubicBezTo>
                    <a:cubicBezTo>
                      <a:pt x="155" y="31"/>
                      <a:pt x="124" y="31"/>
                      <a:pt x="124" y="0"/>
                    </a:cubicBezTo>
                    <a:cubicBezTo>
                      <a:pt x="124" y="0"/>
                      <a:pt x="124" y="0"/>
                      <a:pt x="9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23" name="Freeform 120"/>
              <p:cNvSpPr>
                <a:spLocks noChangeArrowheads="1"/>
              </p:cNvSpPr>
              <p:nvPr/>
            </p:nvSpPr>
            <p:spPr bwMode="auto">
              <a:xfrm>
                <a:off x="6134100" y="2438400"/>
                <a:ext cx="33338" cy="66675"/>
              </a:xfrm>
              <a:custGeom>
                <a:avLst/>
                <a:gdLst>
                  <a:gd name="T0" fmla="*/ 93 w 94"/>
                  <a:gd name="T1" fmla="*/ 32 h 187"/>
                  <a:gd name="T2" fmla="*/ 93 w 94"/>
                  <a:gd name="T3" fmla="*/ 32 h 187"/>
                  <a:gd name="T4" fmla="*/ 63 w 94"/>
                  <a:gd name="T5" fmla="*/ 32 h 187"/>
                  <a:gd name="T6" fmla="*/ 31 w 94"/>
                  <a:gd name="T7" fmla="*/ 62 h 187"/>
                  <a:gd name="T8" fmla="*/ 31 w 94"/>
                  <a:gd name="T9" fmla="*/ 62 h 187"/>
                  <a:gd name="T10" fmla="*/ 0 w 94"/>
                  <a:gd name="T11" fmla="*/ 93 h 187"/>
                  <a:gd name="T12" fmla="*/ 0 w 94"/>
                  <a:gd name="T13" fmla="*/ 93 h 187"/>
                  <a:gd name="T14" fmla="*/ 0 w 94"/>
                  <a:gd name="T15" fmla="*/ 93 h 187"/>
                  <a:gd name="T16" fmla="*/ 0 w 94"/>
                  <a:gd name="T17" fmla="*/ 156 h 187"/>
                  <a:gd name="T18" fmla="*/ 0 w 94"/>
                  <a:gd name="T19" fmla="*/ 156 h 187"/>
                  <a:gd name="T20" fmla="*/ 0 w 94"/>
                  <a:gd name="T21" fmla="*/ 156 h 187"/>
                  <a:gd name="T22" fmla="*/ 0 w 94"/>
                  <a:gd name="T23" fmla="*/ 186 h 187"/>
                  <a:gd name="T24" fmla="*/ 0 w 94"/>
                  <a:gd name="T25" fmla="*/ 186 h 187"/>
                  <a:gd name="T26" fmla="*/ 0 w 94"/>
                  <a:gd name="T27" fmla="*/ 186 h 187"/>
                  <a:gd name="T28" fmla="*/ 31 w 94"/>
                  <a:gd name="T29" fmla="*/ 186 h 187"/>
                  <a:gd name="T30" fmla="*/ 63 w 94"/>
                  <a:gd name="T31" fmla="*/ 186 h 187"/>
                  <a:gd name="T32" fmla="*/ 63 w 94"/>
                  <a:gd name="T33" fmla="*/ 186 h 187"/>
                  <a:gd name="T34" fmla="*/ 31 w 94"/>
                  <a:gd name="T35" fmla="*/ 156 h 187"/>
                  <a:gd name="T36" fmla="*/ 63 w 94"/>
                  <a:gd name="T37" fmla="*/ 124 h 187"/>
                  <a:gd name="T38" fmla="*/ 93 w 94"/>
                  <a:gd name="T39" fmla="*/ 124 h 187"/>
                  <a:gd name="T40" fmla="*/ 93 w 94"/>
                  <a:gd name="T41" fmla="*/ 124 h 187"/>
                  <a:gd name="T42" fmla="*/ 93 w 94"/>
                  <a:gd name="T43" fmla="*/ 124 h 187"/>
                  <a:gd name="T44" fmla="*/ 93 w 94"/>
                  <a:gd name="T45" fmla="*/ 124 h 187"/>
                  <a:gd name="T46" fmla="*/ 93 w 94"/>
                  <a:gd name="T47" fmla="*/ 124 h 187"/>
                  <a:gd name="T48" fmla="*/ 93 w 94"/>
                  <a:gd name="T49" fmla="*/ 93 h 187"/>
                  <a:gd name="T50" fmla="*/ 93 w 94"/>
                  <a:gd name="T51" fmla="*/ 62 h 187"/>
                  <a:gd name="T52" fmla="*/ 93 w 94"/>
                  <a:gd name="T53" fmla="*/ 32 h 187"/>
                  <a:gd name="T54" fmla="*/ 93 w 94"/>
                  <a:gd name="T55" fmla="*/ 32 h 187"/>
                  <a:gd name="T56" fmla="*/ 93 w 94"/>
                  <a:gd name="T57" fmla="*/ 32 h 187"/>
                  <a:gd name="T58" fmla="*/ 93 w 94"/>
                  <a:gd name="T59" fmla="*/ 32 h 187"/>
                  <a:gd name="T60" fmla="*/ 93 w 94"/>
                  <a:gd name="T61" fmla="*/ 32 h 187"/>
                  <a:gd name="T62" fmla="*/ 93 w 94"/>
                  <a:gd name="T63" fmla="*/ 0 h 187"/>
                  <a:gd name="T64" fmla="*/ 93 w 94"/>
                  <a:gd name="T65" fmla="*/ 3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187">
                    <a:moveTo>
                      <a:pt x="93" y="32"/>
                    </a:moveTo>
                    <a:lnTo>
                      <a:pt x="93" y="32"/>
                    </a:lnTo>
                    <a:cubicBezTo>
                      <a:pt x="63" y="32"/>
                      <a:pt x="63" y="32"/>
                      <a:pt x="63" y="32"/>
                    </a:cubicBezTo>
                    <a:cubicBezTo>
                      <a:pt x="63" y="32"/>
                      <a:pt x="63" y="32"/>
                      <a:pt x="31" y="62"/>
                    </a:cubicBezTo>
                    <a:lnTo>
                      <a:pt x="31" y="62"/>
                    </a:lnTo>
                    <a:cubicBezTo>
                      <a:pt x="31" y="93"/>
                      <a:pt x="0" y="93"/>
                      <a:pt x="0" y="93"/>
                    </a:cubicBezTo>
                    <a:lnTo>
                      <a:pt x="0" y="93"/>
                    </a:lnTo>
                    <a:lnTo>
                      <a:pt x="0" y="93"/>
                    </a:lnTo>
                    <a:cubicBezTo>
                      <a:pt x="31" y="124"/>
                      <a:pt x="31" y="124"/>
                      <a:pt x="0" y="156"/>
                    </a:cubicBezTo>
                    <a:lnTo>
                      <a:pt x="0" y="156"/>
                    </a:lnTo>
                    <a:lnTo>
                      <a:pt x="0" y="156"/>
                    </a:lnTo>
                    <a:lnTo>
                      <a:pt x="0" y="186"/>
                    </a:lnTo>
                    <a:lnTo>
                      <a:pt x="0" y="186"/>
                    </a:lnTo>
                    <a:lnTo>
                      <a:pt x="0" y="186"/>
                    </a:lnTo>
                    <a:lnTo>
                      <a:pt x="31" y="186"/>
                    </a:lnTo>
                    <a:lnTo>
                      <a:pt x="63" y="186"/>
                    </a:lnTo>
                    <a:lnTo>
                      <a:pt x="63" y="186"/>
                    </a:lnTo>
                    <a:cubicBezTo>
                      <a:pt x="31" y="186"/>
                      <a:pt x="31" y="156"/>
                      <a:pt x="31" y="156"/>
                    </a:cubicBezTo>
                    <a:cubicBezTo>
                      <a:pt x="63" y="124"/>
                      <a:pt x="63" y="124"/>
                      <a:pt x="63" y="124"/>
                    </a:cubicBezTo>
                    <a:cubicBezTo>
                      <a:pt x="63" y="124"/>
                      <a:pt x="63" y="124"/>
                      <a:pt x="93" y="124"/>
                    </a:cubicBezTo>
                    <a:lnTo>
                      <a:pt x="93" y="124"/>
                    </a:lnTo>
                    <a:lnTo>
                      <a:pt x="93" y="124"/>
                    </a:lnTo>
                    <a:lnTo>
                      <a:pt x="93" y="124"/>
                    </a:lnTo>
                    <a:lnTo>
                      <a:pt x="93" y="124"/>
                    </a:lnTo>
                    <a:cubicBezTo>
                      <a:pt x="93" y="93"/>
                      <a:pt x="93" y="93"/>
                      <a:pt x="93" y="93"/>
                    </a:cubicBezTo>
                    <a:lnTo>
                      <a:pt x="93" y="62"/>
                    </a:lnTo>
                    <a:cubicBezTo>
                      <a:pt x="93" y="62"/>
                      <a:pt x="93" y="62"/>
                      <a:pt x="93" y="32"/>
                    </a:cubicBezTo>
                    <a:lnTo>
                      <a:pt x="93" y="32"/>
                    </a:lnTo>
                    <a:lnTo>
                      <a:pt x="93" y="32"/>
                    </a:lnTo>
                    <a:lnTo>
                      <a:pt x="93" y="32"/>
                    </a:lnTo>
                    <a:lnTo>
                      <a:pt x="93" y="32"/>
                    </a:lnTo>
                    <a:lnTo>
                      <a:pt x="93" y="0"/>
                    </a:lnTo>
                    <a:lnTo>
                      <a:pt x="93" y="3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24" name="Freeform 121"/>
              <p:cNvSpPr>
                <a:spLocks noChangeArrowheads="1"/>
              </p:cNvSpPr>
              <p:nvPr/>
            </p:nvSpPr>
            <p:spPr bwMode="auto">
              <a:xfrm>
                <a:off x="6034088" y="2684463"/>
                <a:ext cx="34925" cy="55562"/>
              </a:xfrm>
              <a:custGeom>
                <a:avLst/>
                <a:gdLst>
                  <a:gd name="T0" fmla="*/ 62 w 95"/>
                  <a:gd name="T1" fmla="*/ 0 h 156"/>
                  <a:gd name="T2" fmla="*/ 62 w 95"/>
                  <a:gd name="T3" fmla="*/ 0 h 156"/>
                  <a:gd name="T4" fmla="*/ 31 w 95"/>
                  <a:gd name="T5" fmla="*/ 0 h 156"/>
                  <a:gd name="T6" fmla="*/ 31 w 95"/>
                  <a:gd name="T7" fmla="*/ 0 h 156"/>
                  <a:gd name="T8" fmla="*/ 31 w 95"/>
                  <a:gd name="T9" fmla="*/ 0 h 156"/>
                  <a:gd name="T10" fmla="*/ 31 w 95"/>
                  <a:gd name="T11" fmla="*/ 31 h 156"/>
                  <a:gd name="T12" fmla="*/ 31 w 95"/>
                  <a:gd name="T13" fmla="*/ 31 h 156"/>
                  <a:gd name="T14" fmla="*/ 31 w 95"/>
                  <a:gd name="T15" fmla="*/ 62 h 156"/>
                  <a:gd name="T16" fmla="*/ 31 w 95"/>
                  <a:gd name="T17" fmla="*/ 93 h 156"/>
                  <a:gd name="T18" fmla="*/ 0 w 95"/>
                  <a:gd name="T19" fmla="*/ 93 h 156"/>
                  <a:gd name="T20" fmla="*/ 0 w 95"/>
                  <a:gd name="T21" fmla="*/ 93 h 156"/>
                  <a:gd name="T22" fmla="*/ 0 w 95"/>
                  <a:gd name="T23" fmla="*/ 93 h 156"/>
                  <a:gd name="T24" fmla="*/ 31 w 95"/>
                  <a:gd name="T25" fmla="*/ 124 h 156"/>
                  <a:gd name="T26" fmla="*/ 31 w 95"/>
                  <a:gd name="T27" fmla="*/ 155 h 156"/>
                  <a:gd name="T28" fmla="*/ 31 w 95"/>
                  <a:gd name="T29" fmla="*/ 155 h 156"/>
                  <a:gd name="T30" fmla="*/ 31 w 95"/>
                  <a:gd name="T31" fmla="*/ 155 h 156"/>
                  <a:gd name="T32" fmla="*/ 31 w 95"/>
                  <a:gd name="T33" fmla="*/ 155 h 156"/>
                  <a:gd name="T34" fmla="*/ 31 w 95"/>
                  <a:gd name="T35" fmla="*/ 124 h 156"/>
                  <a:gd name="T36" fmla="*/ 31 w 95"/>
                  <a:gd name="T37" fmla="*/ 124 h 156"/>
                  <a:gd name="T38" fmla="*/ 31 w 95"/>
                  <a:gd name="T39" fmla="*/ 93 h 156"/>
                  <a:gd name="T40" fmla="*/ 62 w 95"/>
                  <a:gd name="T41" fmla="*/ 62 h 156"/>
                  <a:gd name="T42" fmla="*/ 62 w 95"/>
                  <a:gd name="T43" fmla="*/ 62 h 156"/>
                  <a:gd name="T44" fmla="*/ 94 w 95"/>
                  <a:gd name="T45" fmla="*/ 62 h 156"/>
                  <a:gd name="T46" fmla="*/ 94 w 95"/>
                  <a:gd name="T47" fmla="*/ 62 h 156"/>
                  <a:gd name="T48" fmla="*/ 94 w 95"/>
                  <a:gd name="T49" fmla="*/ 31 h 156"/>
                  <a:gd name="T50" fmla="*/ 94 w 95"/>
                  <a:gd name="T51" fmla="*/ 31 h 156"/>
                  <a:gd name="T52" fmla="*/ 94 w 95"/>
                  <a:gd name="T53" fmla="*/ 31 h 156"/>
                  <a:gd name="T54" fmla="*/ 62 w 95"/>
                  <a:gd name="T5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 h="156">
                    <a:moveTo>
                      <a:pt x="62" y="0"/>
                    </a:moveTo>
                    <a:lnTo>
                      <a:pt x="62" y="0"/>
                    </a:lnTo>
                    <a:cubicBezTo>
                      <a:pt x="31" y="0"/>
                      <a:pt x="31" y="0"/>
                      <a:pt x="31" y="0"/>
                    </a:cubicBezTo>
                    <a:lnTo>
                      <a:pt x="31" y="0"/>
                    </a:lnTo>
                    <a:lnTo>
                      <a:pt x="31" y="0"/>
                    </a:lnTo>
                    <a:lnTo>
                      <a:pt x="31" y="31"/>
                    </a:lnTo>
                    <a:lnTo>
                      <a:pt x="31" y="31"/>
                    </a:lnTo>
                    <a:cubicBezTo>
                      <a:pt x="31" y="62"/>
                      <a:pt x="31" y="62"/>
                      <a:pt x="31" y="62"/>
                    </a:cubicBezTo>
                    <a:cubicBezTo>
                      <a:pt x="31" y="62"/>
                      <a:pt x="31" y="62"/>
                      <a:pt x="31" y="93"/>
                    </a:cubicBezTo>
                    <a:lnTo>
                      <a:pt x="0" y="93"/>
                    </a:lnTo>
                    <a:lnTo>
                      <a:pt x="0" y="93"/>
                    </a:lnTo>
                    <a:lnTo>
                      <a:pt x="0" y="93"/>
                    </a:lnTo>
                    <a:cubicBezTo>
                      <a:pt x="31" y="93"/>
                      <a:pt x="31" y="124"/>
                      <a:pt x="31" y="124"/>
                    </a:cubicBezTo>
                    <a:cubicBezTo>
                      <a:pt x="31" y="124"/>
                      <a:pt x="31" y="124"/>
                      <a:pt x="31" y="155"/>
                    </a:cubicBezTo>
                    <a:lnTo>
                      <a:pt x="31" y="155"/>
                    </a:lnTo>
                    <a:lnTo>
                      <a:pt x="31" y="155"/>
                    </a:lnTo>
                    <a:lnTo>
                      <a:pt x="31" y="155"/>
                    </a:lnTo>
                    <a:cubicBezTo>
                      <a:pt x="31" y="155"/>
                      <a:pt x="31" y="155"/>
                      <a:pt x="31" y="124"/>
                    </a:cubicBezTo>
                    <a:lnTo>
                      <a:pt x="31" y="124"/>
                    </a:lnTo>
                    <a:cubicBezTo>
                      <a:pt x="31" y="124"/>
                      <a:pt x="31" y="124"/>
                      <a:pt x="31" y="93"/>
                    </a:cubicBezTo>
                    <a:lnTo>
                      <a:pt x="62" y="62"/>
                    </a:lnTo>
                    <a:lnTo>
                      <a:pt x="62" y="62"/>
                    </a:lnTo>
                    <a:lnTo>
                      <a:pt x="94" y="62"/>
                    </a:lnTo>
                    <a:lnTo>
                      <a:pt x="94" y="62"/>
                    </a:lnTo>
                    <a:cubicBezTo>
                      <a:pt x="94" y="31"/>
                      <a:pt x="94" y="31"/>
                      <a:pt x="94" y="31"/>
                    </a:cubicBezTo>
                    <a:lnTo>
                      <a:pt x="94" y="31"/>
                    </a:lnTo>
                    <a:lnTo>
                      <a:pt x="94" y="31"/>
                    </a:lnTo>
                    <a:cubicBezTo>
                      <a:pt x="62" y="31"/>
                      <a:pt x="62" y="31"/>
                      <a:pt x="62"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25" name="Freeform 122"/>
              <p:cNvSpPr>
                <a:spLocks noChangeArrowheads="1"/>
              </p:cNvSpPr>
              <p:nvPr/>
            </p:nvSpPr>
            <p:spPr bwMode="auto">
              <a:xfrm>
                <a:off x="6280150" y="2673350"/>
                <a:ext cx="44450" cy="22225"/>
              </a:xfrm>
              <a:custGeom>
                <a:avLst/>
                <a:gdLst>
                  <a:gd name="T0" fmla="*/ 31 w 125"/>
                  <a:gd name="T1" fmla="*/ 62 h 63"/>
                  <a:gd name="T2" fmla="*/ 31 w 125"/>
                  <a:gd name="T3" fmla="*/ 62 h 63"/>
                  <a:gd name="T4" fmla="*/ 31 w 125"/>
                  <a:gd name="T5" fmla="*/ 62 h 63"/>
                  <a:gd name="T6" fmla="*/ 31 w 125"/>
                  <a:gd name="T7" fmla="*/ 62 h 63"/>
                  <a:gd name="T8" fmla="*/ 62 w 125"/>
                  <a:gd name="T9" fmla="*/ 62 h 63"/>
                  <a:gd name="T10" fmla="*/ 62 w 125"/>
                  <a:gd name="T11" fmla="*/ 62 h 63"/>
                  <a:gd name="T12" fmla="*/ 62 w 125"/>
                  <a:gd name="T13" fmla="*/ 62 h 63"/>
                  <a:gd name="T14" fmla="*/ 124 w 125"/>
                  <a:gd name="T15" fmla="*/ 62 h 63"/>
                  <a:gd name="T16" fmla="*/ 124 w 125"/>
                  <a:gd name="T17" fmla="*/ 62 h 63"/>
                  <a:gd name="T18" fmla="*/ 124 w 125"/>
                  <a:gd name="T19" fmla="*/ 31 h 63"/>
                  <a:gd name="T20" fmla="*/ 124 w 125"/>
                  <a:gd name="T21" fmla="*/ 31 h 63"/>
                  <a:gd name="T22" fmla="*/ 124 w 125"/>
                  <a:gd name="T23" fmla="*/ 31 h 63"/>
                  <a:gd name="T24" fmla="*/ 124 w 125"/>
                  <a:gd name="T25" fmla="*/ 0 h 63"/>
                  <a:gd name="T26" fmla="*/ 124 w 125"/>
                  <a:gd name="T27" fmla="*/ 0 h 63"/>
                  <a:gd name="T28" fmla="*/ 124 w 125"/>
                  <a:gd name="T29" fmla="*/ 0 h 63"/>
                  <a:gd name="T30" fmla="*/ 62 w 125"/>
                  <a:gd name="T31" fmla="*/ 0 h 63"/>
                  <a:gd name="T32" fmla="*/ 62 w 125"/>
                  <a:gd name="T33" fmla="*/ 0 h 63"/>
                  <a:gd name="T34" fmla="*/ 62 w 125"/>
                  <a:gd name="T35" fmla="*/ 0 h 63"/>
                  <a:gd name="T36" fmla="*/ 62 w 125"/>
                  <a:gd name="T37" fmla="*/ 0 h 63"/>
                  <a:gd name="T38" fmla="*/ 31 w 125"/>
                  <a:gd name="T39" fmla="*/ 0 h 63"/>
                  <a:gd name="T40" fmla="*/ 0 w 125"/>
                  <a:gd name="T41" fmla="*/ 0 h 63"/>
                  <a:gd name="T42" fmla="*/ 0 w 125"/>
                  <a:gd name="T43" fmla="*/ 0 h 63"/>
                  <a:gd name="T44" fmla="*/ 31 w 125"/>
                  <a:gd name="T45"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63">
                    <a:moveTo>
                      <a:pt x="31" y="62"/>
                    </a:moveTo>
                    <a:lnTo>
                      <a:pt x="31" y="62"/>
                    </a:lnTo>
                    <a:lnTo>
                      <a:pt x="31" y="62"/>
                    </a:lnTo>
                    <a:lnTo>
                      <a:pt x="31" y="62"/>
                    </a:lnTo>
                    <a:lnTo>
                      <a:pt x="62" y="62"/>
                    </a:lnTo>
                    <a:lnTo>
                      <a:pt x="62" y="62"/>
                    </a:lnTo>
                    <a:lnTo>
                      <a:pt x="62" y="62"/>
                    </a:lnTo>
                    <a:cubicBezTo>
                      <a:pt x="93" y="62"/>
                      <a:pt x="93" y="62"/>
                      <a:pt x="124" y="62"/>
                    </a:cubicBezTo>
                    <a:lnTo>
                      <a:pt x="124" y="62"/>
                    </a:lnTo>
                    <a:cubicBezTo>
                      <a:pt x="124" y="62"/>
                      <a:pt x="124" y="62"/>
                      <a:pt x="124" y="31"/>
                    </a:cubicBezTo>
                    <a:lnTo>
                      <a:pt x="124" y="31"/>
                    </a:lnTo>
                    <a:lnTo>
                      <a:pt x="124" y="31"/>
                    </a:lnTo>
                    <a:lnTo>
                      <a:pt x="124" y="0"/>
                    </a:lnTo>
                    <a:lnTo>
                      <a:pt x="124" y="0"/>
                    </a:lnTo>
                    <a:lnTo>
                      <a:pt x="124" y="0"/>
                    </a:lnTo>
                    <a:cubicBezTo>
                      <a:pt x="93" y="0"/>
                      <a:pt x="93" y="0"/>
                      <a:pt x="62" y="0"/>
                    </a:cubicBezTo>
                    <a:lnTo>
                      <a:pt x="62" y="0"/>
                    </a:lnTo>
                    <a:lnTo>
                      <a:pt x="62" y="0"/>
                    </a:lnTo>
                    <a:lnTo>
                      <a:pt x="62" y="0"/>
                    </a:lnTo>
                    <a:cubicBezTo>
                      <a:pt x="31" y="0"/>
                      <a:pt x="31" y="0"/>
                      <a:pt x="31" y="0"/>
                    </a:cubicBezTo>
                    <a:lnTo>
                      <a:pt x="0" y="0"/>
                    </a:lnTo>
                    <a:lnTo>
                      <a:pt x="0" y="0"/>
                    </a:lnTo>
                    <a:cubicBezTo>
                      <a:pt x="31" y="31"/>
                      <a:pt x="31" y="31"/>
                      <a:pt x="31" y="6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26" name="Freeform 123"/>
              <p:cNvSpPr>
                <a:spLocks noChangeArrowheads="1"/>
              </p:cNvSpPr>
              <p:nvPr/>
            </p:nvSpPr>
            <p:spPr bwMode="auto">
              <a:xfrm>
                <a:off x="6313488" y="2695575"/>
                <a:ext cx="146050" cy="146050"/>
              </a:xfrm>
              <a:custGeom>
                <a:avLst/>
                <a:gdLst>
                  <a:gd name="T0" fmla="*/ 31 w 404"/>
                  <a:gd name="T1" fmla="*/ 62 h 404"/>
                  <a:gd name="T2" fmla="*/ 0 w 404"/>
                  <a:gd name="T3" fmla="*/ 62 h 404"/>
                  <a:gd name="T4" fmla="*/ 0 w 404"/>
                  <a:gd name="T5" fmla="*/ 124 h 404"/>
                  <a:gd name="T6" fmla="*/ 31 w 404"/>
                  <a:gd name="T7" fmla="*/ 93 h 404"/>
                  <a:gd name="T8" fmla="*/ 62 w 404"/>
                  <a:gd name="T9" fmla="*/ 124 h 404"/>
                  <a:gd name="T10" fmla="*/ 62 w 404"/>
                  <a:gd name="T11" fmla="*/ 124 h 404"/>
                  <a:gd name="T12" fmla="*/ 93 w 404"/>
                  <a:gd name="T13" fmla="*/ 124 h 404"/>
                  <a:gd name="T14" fmla="*/ 124 w 404"/>
                  <a:gd name="T15" fmla="*/ 155 h 404"/>
                  <a:gd name="T16" fmla="*/ 155 w 404"/>
                  <a:gd name="T17" fmla="*/ 155 h 404"/>
                  <a:gd name="T18" fmla="*/ 186 w 404"/>
                  <a:gd name="T19" fmla="*/ 155 h 404"/>
                  <a:gd name="T20" fmla="*/ 248 w 404"/>
                  <a:gd name="T21" fmla="*/ 186 h 404"/>
                  <a:gd name="T22" fmla="*/ 279 w 404"/>
                  <a:gd name="T23" fmla="*/ 217 h 404"/>
                  <a:gd name="T24" fmla="*/ 279 w 404"/>
                  <a:gd name="T25" fmla="*/ 248 h 404"/>
                  <a:gd name="T26" fmla="*/ 310 w 404"/>
                  <a:gd name="T27" fmla="*/ 310 h 404"/>
                  <a:gd name="T28" fmla="*/ 310 w 404"/>
                  <a:gd name="T29" fmla="*/ 341 h 404"/>
                  <a:gd name="T30" fmla="*/ 279 w 404"/>
                  <a:gd name="T31" fmla="*/ 372 h 404"/>
                  <a:gd name="T32" fmla="*/ 279 w 404"/>
                  <a:gd name="T33" fmla="*/ 403 h 404"/>
                  <a:gd name="T34" fmla="*/ 310 w 404"/>
                  <a:gd name="T35" fmla="*/ 403 h 404"/>
                  <a:gd name="T36" fmla="*/ 310 w 404"/>
                  <a:gd name="T37" fmla="*/ 403 h 404"/>
                  <a:gd name="T38" fmla="*/ 341 w 404"/>
                  <a:gd name="T39" fmla="*/ 372 h 404"/>
                  <a:gd name="T40" fmla="*/ 403 w 404"/>
                  <a:gd name="T41" fmla="*/ 403 h 404"/>
                  <a:gd name="T42" fmla="*/ 403 w 404"/>
                  <a:gd name="T43" fmla="*/ 341 h 404"/>
                  <a:gd name="T44" fmla="*/ 403 w 404"/>
                  <a:gd name="T45" fmla="*/ 310 h 404"/>
                  <a:gd name="T46" fmla="*/ 403 w 404"/>
                  <a:gd name="T47" fmla="*/ 310 h 404"/>
                  <a:gd name="T48" fmla="*/ 403 w 404"/>
                  <a:gd name="T49" fmla="*/ 279 h 404"/>
                  <a:gd name="T50" fmla="*/ 403 w 404"/>
                  <a:gd name="T51" fmla="*/ 279 h 404"/>
                  <a:gd name="T52" fmla="*/ 372 w 404"/>
                  <a:gd name="T53" fmla="*/ 62 h 404"/>
                  <a:gd name="T54" fmla="*/ 372 w 404"/>
                  <a:gd name="T55" fmla="*/ 62 h 404"/>
                  <a:gd name="T56" fmla="*/ 341 w 404"/>
                  <a:gd name="T57" fmla="*/ 62 h 404"/>
                  <a:gd name="T58" fmla="*/ 310 w 404"/>
                  <a:gd name="T59" fmla="*/ 31 h 404"/>
                  <a:gd name="T60" fmla="*/ 248 w 404"/>
                  <a:gd name="T61" fmla="*/ 0 h 404"/>
                  <a:gd name="T62" fmla="*/ 217 w 404"/>
                  <a:gd name="T63" fmla="*/ 62 h 404"/>
                  <a:gd name="T64" fmla="*/ 186 w 404"/>
                  <a:gd name="T65" fmla="*/ 62 h 404"/>
                  <a:gd name="T66" fmla="*/ 186 w 404"/>
                  <a:gd name="T67" fmla="*/ 93 h 404"/>
                  <a:gd name="T68" fmla="*/ 93 w 404"/>
                  <a:gd name="T69" fmla="*/ 124 h 404"/>
                  <a:gd name="T70" fmla="*/ 62 w 404"/>
                  <a:gd name="T71" fmla="*/ 93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4" h="404">
                    <a:moveTo>
                      <a:pt x="31" y="62"/>
                    </a:moveTo>
                    <a:lnTo>
                      <a:pt x="31" y="62"/>
                    </a:lnTo>
                    <a:cubicBezTo>
                      <a:pt x="0" y="62"/>
                      <a:pt x="0" y="62"/>
                      <a:pt x="0" y="62"/>
                    </a:cubicBezTo>
                    <a:lnTo>
                      <a:pt x="0" y="62"/>
                    </a:lnTo>
                    <a:cubicBezTo>
                      <a:pt x="0" y="62"/>
                      <a:pt x="0" y="62"/>
                      <a:pt x="0" y="93"/>
                    </a:cubicBezTo>
                    <a:cubicBezTo>
                      <a:pt x="0" y="93"/>
                      <a:pt x="0" y="93"/>
                      <a:pt x="0" y="124"/>
                    </a:cubicBezTo>
                    <a:lnTo>
                      <a:pt x="0" y="124"/>
                    </a:lnTo>
                    <a:cubicBezTo>
                      <a:pt x="0" y="93"/>
                      <a:pt x="31" y="93"/>
                      <a:pt x="31" y="93"/>
                    </a:cubicBezTo>
                    <a:lnTo>
                      <a:pt x="31" y="93"/>
                    </a:lnTo>
                    <a:cubicBezTo>
                      <a:pt x="31" y="93"/>
                      <a:pt x="62" y="93"/>
                      <a:pt x="62" y="124"/>
                    </a:cubicBezTo>
                    <a:lnTo>
                      <a:pt x="62" y="124"/>
                    </a:lnTo>
                    <a:lnTo>
                      <a:pt x="62" y="124"/>
                    </a:lnTo>
                    <a:lnTo>
                      <a:pt x="62" y="124"/>
                    </a:lnTo>
                    <a:cubicBezTo>
                      <a:pt x="93" y="124"/>
                      <a:pt x="93" y="124"/>
                      <a:pt x="93" y="124"/>
                    </a:cubicBezTo>
                    <a:lnTo>
                      <a:pt x="124" y="124"/>
                    </a:lnTo>
                    <a:cubicBezTo>
                      <a:pt x="124" y="155"/>
                      <a:pt x="124" y="155"/>
                      <a:pt x="124" y="155"/>
                    </a:cubicBezTo>
                    <a:lnTo>
                      <a:pt x="124" y="155"/>
                    </a:lnTo>
                    <a:cubicBezTo>
                      <a:pt x="124" y="155"/>
                      <a:pt x="124" y="155"/>
                      <a:pt x="155" y="155"/>
                    </a:cubicBezTo>
                    <a:lnTo>
                      <a:pt x="186" y="155"/>
                    </a:lnTo>
                    <a:lnTo>
                      <a:pt x="186" y="155"/>
                    </a:lnTo>
                    <a:cubicBezTo>
                      <a:pt x="186" y="155"/>
                      <a:pt x="186" y="155"/>
                      <a:pt x="217" y="155"/>
                    </a:cubicBezTo>
                    <a:cubicBezTo>
                      <a:pt x="217" y="155"/>
                      <a:pt x="217" y="155"/>
                      <a:pt x="248" y="186"/>
                    </a:cubicBezTo>
                    <a:cubicBezTo>
                      <a:pt x="248" y="217"/>
                      <a:pt x="248" y="217"/>
                      <a:pt x="248" y="217"/>
                    </a:cubicBezTo>
                    <a:cubicBezTo>
                      <a:pt x="279" y="217"/>
                      <a:pt x="279" y="217"/>
                      <a:pt x="279" y="217"/>
                    </a:cubicBezTo>
                    <a:cubicBezTo>
                      <a:pt x="279" y="248"/>
                      <a:pt x="279" y="248"/>
                      <a:pt x="279" y="248"/>
                    </a:cubicBezTo>
                    <a:lnTo>
                      <a:pt x="279" y="248"/>
                    </a:lnTo>
                    <a:cubicBezTo>
                      <a:pt x="310" y="248"/>
                      <a:pt x="310" y="248"/>
                      <a:pt x="310" y="279"/>
                    </a:cubicBezTo>
                    <a:cubicBezTo>
                      <a:pt x="310" y="279"/>
                      <a:pt x="310" y="279"/>
                      <a:pt x="310" y="310"/>
                    </a:cubicBezTo>
                    <a:lnTo>
                      <a:pt x="310" y="310"/>
                    </a:lnTo>
                    <a:cubicBezTo>
                      <a:pt x="341" y="341"/>
                      <a:pt x="341" y="341"/>
                      <a:pt x="310" y="341"/>
                    </a:cubicBezTo>
                    <a:cubicBezTo>
                      <a:pt x="310" y="372"/>
                      <a:pt x="310" y="372"/>
                      <a:pt x="279" y="372"/>
                    </a:cubicBezTo>
                    <a:lnTo>
                      <a:pt x="279" y="372"/>
                    </a:lnTo>
                    <a:cubicBezTo>
                      <a:pt x="279" y="403"/>
                      <a:pt x="279" y="403"/>
                      <a:pt x="279" y="403"/>
                    </a:cubicBezTo>
                    <a:lnTo>
                      <a:pt x="279" y="403"/>
                    </a:lnTo>
                    <a:cubicBezTo>
                      <a:pt x="279" y="403"/>
                      <a:pt x="279" y="403"/>
                      <a:pt x="310" y="403"/>
                    </a:cubicBezTo>
                    <a:lnTo>
                      <a:pt x="310" y="403"/>
                    </a:lnTo>
                    <a:lnTo>
                      <a:pt x="310" y="403"/>
                    </a:lnTo>
                    <a:lnTo>
                      <a:pt x="310" y="403"/>
                    </a:lnTo>
                    <a:cubicBezTo>
                      <a:pt x="310" y="372"/>
                      <a:pt x="310" y="372"/>
                      <a:pt x="341" y="372"/>
                    </a:cubicBezTo>
                    <a:lnTo>
                      <a:pt x="341" y="372"/>
                    </a:lnTo>
                    <a:lnTo>
                      <a:pt x="372" y="372"/>
                    </a:lnTo>
                    <a:cubicBezTo>
                      <a:pt x="372" y="372"/>
                      <a:pt x="403" y="372"/>
                      <a:pt x="403" y="403"/>
                    </a:cubicBezTo>
                    <a:lnTo>
                      <a:pt x="403" y="403"/>
                    </a:lnTo>
                    <a:cubicBezTo>
                      <a:pt x="403" y="341"/>
                      <a:pt x="403" y="341"/>
                      <a:pt x="403" y="341"/>
                    </a:cubicBezTo>
                    <a:lnTo>
                      <a:pt x="403" y="341"/>
                    </a:lnTo>
                    <a:cubicBezTo>
                      <a:pt x="403" y="341"/>
                      <a:pt x="403" y="341"/>
                      <a:pt x="403" y="310"/>
                    </a:cubicBezTo>
                    <a:lnTo>
                      <a:pt x="403" y="310"/>
                    </a:lnTo>
                    <a:lnTo>
                      <a:pt x="403" y="310"/>
                    </a:lnTo>
                    <a:lnTo>
                      <a:pt x="403" y="279"/>
                    </a:lnTo>
                    <a:lnTo>
                      <a:pt x="403" y="279"/>
                    </a:lnTo>
                    <a:lnTo>
                      <a:pt x="403" y="279"/>
                    </a:lnTo>
                    <a:lnTo>
                      <a:pt x="403" y="279"/>
                    </a:lnTo>
                    <a:cubicBezTo>
                      <a:pt x="403" y="62"/>
                      <a:pt x="403" y="62"/>
                      <a:pt x="403" y="62"/>
                    </a:cubicBezTo>
                    <a:cubicBezTo>
                      <a:pt x="403" y="62"/>
                      <a:pt x="403" y="62"/>
                      <a:pt x="372" y="62"/>
                    </a:cubicBezTo>
                    <a:lnTo>
                      <a:pt x="372" y="62"/>
                    </a:lnTo>
                    <a:lnTo>
                      <a:pt x="372" y="62"/>
                    </a:lnTo>
                    <a:cubicBezTo>
                      <a:pt x="341" y="62"/>
                      <a:pt x="341" y="62"/>
                      <a:pt x="341" y="62"/>
                    </a:cubicBezTo>
                    <a:lnTo>
                      <a:pt x="341" y="62"/>
                    </a:lnTo>
                    <a:cubicBezTo>
                      <a:pt x="310" y="62"/>
                      <a:pt x="310" y="31"/>
                      <a:pt x="310" y="31"/>
                    </a:cubicBezTo>
                    <a:lnTo>
                      <a:pt x="310" y="31"/>
                    </a:lnTo>
                    <a:cubicBezTo>
                      <a:pt x="279" y="0"/>
                      <a:pt x="279" y="0"/>
                      <a:pt x="279" y="0"/>
                    </a:cubicBezTo>
                    <a:lnTo>
                      <a:pt x="248" y="0"/>
                    </a:lnTo>
                    <a:lnTo>
                      <a:pt x="248" y="0"/>
                    </a:lnTo>
                    <a:cubicBezTo>
                      <a:pt x="248" y="31"/>
                      <a:pt x="217" y="62"/>
                      <a:pt x="217" y="62"/>
                    </a:cubicBezTo>
                    <a:lnTo>
                      <a:pt x="186" y="62"/>
                    </a:lnTo>
                    <a:lnTo>
                      <a:pt x="186" y="62"/>
                    </a:lnTo>
                    <a:lnTo>
                      <a:pt x="186" y="62"/>
                    </a:lnTo>
                    <a:cubicBezTo>
                      <a:pt x="186" y="62"/>
                      <a:pt x="186" y="62"/>
                      <a:pt x="186" y="93"/>
                    </a:cubicBezTo>
                    <a:cubicBezTo>
                      <a:pt x="155" y="93"/>
                      <a:pt x="124" y="124"/>
                      <a:pt x="124" y="124"/>
                    </a:cubicBezTo>
                    <a:lnTo>
                      <a:pt x="93" y="124"/>
                    </a:lnTo>
                    <a:lnTo>
                      <a:pt x="62" y="93"/>
                    </a:lnTo>
                    <a:lnTo>
                      <a:pt x="62" y="93"/>
                    </a:lnTo>
                    <a:lnTo>
                      <a:pt x="31" y="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27" name="Freeform 124"/>
              <p:cNvSpPr>
                <a:spLocks noChangeArrowheads="1"/>
              </p:cNvSpPr>
              <p:nvPr/>
            </p:nvSpPr>
            <p:spPr bwMode="auto">
              <a:xfrm>
                <a:off x="5610225" y="2192338"/>
                <a:ext cx="146050" cy="168275"/>
              </a:xfrm>
              <a:custGeom>
                <a:avLst/>
                <a:gdLst>
                  <a:gd name="T0" fmla="*/ 310 w 405"/>
                  <a:gd name="T1" fmla="*/ 309 h 466"/>
                  <a:gd name="T2" fmla="*/ 341 w 405"/>
                  <a:gd name="T3" fmla="*/ 341 h 466"/>
                  <a:gd name="T4" fmla="*/ 404 w 405"/>
                  <a:gd name="T5" fmla="*/ 341 h 466"/>
                  <a:gd name="T6" fmla="*/ 404 w 405"/>
                  <a:gd name="T7" fmla="*/ 309 h 466"/>
                  <a:gd name="T8" fmla="*/ 404 w 405"/>
                  <a:gd name="T9" fmla="*/ 279 h 466"/>
                  <a:gd name="T10" fmla="*/ 404 w 405"/>
                  <a:gd name="T11" fmla="*/ 248 h 466"/>
                  <a:gd name="T12" fmla="*/ 372 w 405"/>
                  <a:gd name="T13" fmla="*/ 218 h 466"/>
                  <a:gd name="T14" fmla="*/ 372 w 405"/>
                  <a:gd name="T15" fmla="*/ 186 h 466"/>
                  <a:gd name="T16" fmla="*/ 341 w 405"/>
                  <a:gd name="T17" fmla="*/ 155 h 466"/>
                  <a:gd name="T18" fmla="*/ 310 w 405"/>
                  <a:gd name="T19" fmla="*/ 124 h 466"/>
                  <a:gd name="T20" fmla="*/ 310 w 405"/>
                  <a:gd name="T21" fmla="*/ 124 h 466"/>
                  <a:gd name="T22" fmla="*/ 280 w 405"/>
                  <a:gd name="T23" fmla="*/ 155 h 466"/>
                  <a:gd name="T24" fmla="*/ 280 w 405"/>
                  <a:gd name="T25" fmla="*/ 155 h 466"/>
                  <a:gd name="T26" fmla="*/ 248 w 405"/>
                  <a:gd name="T27" fmla="*/ 124 h 466"/>
                  <a:gd name="T28" fmla="*/ 217 w 405"/>
                  <a:gd name="T29" fmla="*/ 155 h 466"/>
                  <a:gd name="T30" fmla="*/ 186 w 405"/>
                  <a:gd name="T31" fmla="*/ 186 h 466"/>
                  <a:gd name="T32" fmla="*/ 186 w 405"/>
                  <a:gd name="T33" fmla="*/ 186 h 466"/>
                  <a:gd name="T34" fmla="*/ 156 w 405"/>
                  <a:gd name="T35" fmla="*/ 155 h 466"/>
                  <a:gd name="T36" fmla="*/ 156 w 405"/>
                  <a:gd name="T37" fmla="*/ 94 h 466"/>
                  <a:gd name="T38" fmla="*/ 156 w 405"/>
                  <a:gd name="T39" fmla="*/ 94 h 466"/>
                  <a:gd name="T40" fmla="*/ 156 w 405"/>
                  <a:gd name="T41" fmla="*/ 62 h 466"/>
                  <a:gd name="T42" fmla="*/ 156 w 405"/>
                  <a:gd name="T43" fmla="*/ 62 h 466"/>
                  <a:gd name="T44" fmla="*/ 156 w 405"/>
                  <a:gd name="T45" fmla="*/ 31 h 466"/>
                  <a:gd name="T46" fmla="*/ 124 w 405"/>
                  <a:gd name="T47" fmla="*/ 0 h 466"/>
                  <a:gd name="T48" fmla="*/ 124 w 405"/>
                  <a:gd name="T49" fmla="*/ 0 h 466"/>
                  <a:gd name="T50" fmla="*/ 124 w 405"/>
                  <a:gd name="T51" fmla="*/ 0 h 466"/>
                  <a:gd name="T52" fmla="*/ 93 w 405"/>
                  <a:gd name="T53" fmla="*/ 0 h 466"/>
                  <a:gd name="T54" fmla="*/ 31 w 405"/>
                  <a:gd name="T55" fmla="*/ 31 h 466"/>
                  <a:gd name="T56" fmla="*/ 31 w 405"/>
                  <a:gd name="T57" fmla="*/ 31 h 466"/>
                  <a:gd name="T58" fmla="*/ 31 w 405"/>
                  <a:gd name="T59" fmla="*/ 31 h 466"/>
                  <a:gd name="T60" fmla="*/ 31 w 405"/>
                  <a:gd name="T61" fmla="*/ 62 h 466"/>
                  <a:gd name="T62" fmla="*/ 0 w 405"/>
                  <a:gd name="T63" fmla="*/ 124 h 466"/>
                  <a:gd name="T64" fmla="*/ 31 w 405"/>
                  <a:gd name="T65" fmla="*/ 124 h 466"/>
                  <a:gd name="T66" fmla="*/ 31 w 405"/>
                  <a:gd name="T67" fmla="*/ 155 h 466"/>
                  <a:gd name="T68" fmla="*/ 63 w 405"/>
                  <a:gd name="T69" fmla="*/ 186 h 466"/>
                  <a:gd name="T70" fmla="*/ 93 w 405"/>
                  <a:gd name="T71" fmla="*/ 248 h 466"/>
                  <a:gd name="T72" fmla="*/ 63 w 405"/>
                  <a:gd name="T73" fmla="*/ 248 h 466"/>
                  <a:gd name="T74" fmla="*/ 63 w 405"/>
                  <a:gd name="T75" fmla="*/ 309 h 466"/>
                  <a:gd name="T76" fmla="*/ 63 w 405"/>
                  <a:gd name="T77" fmla="*/ 341 h 466"/>
                  <a:gd name="T78" fmla="*/ 93 w 405"/>
                  <a:gd name="T79" fmla="*/ 433 h 466"/>
                  <a:gd name="T80" fmla="*/ 93 w 405"/>
                  <a:gd name="T81" fmla="*/ 433 h 466"/>
                  <a:gd name="T82" fmla="*/ 124 w 405"/>
                  <a:gd name="T83" fmla="*/ 465 h 466"/>
                  <a:gd name="T84" fmla="*/ 93 w 405"/>
                  <a:gd name="T85" fmla="*/ 433 h 466"/>
                  <a:gd name="T86" fmla="*/ 186 w 405"/>
                  <a:gd name="T87" fmla="*/ 402 h 466"/>
                  <a:gd name="T88" fmla="*/ 186 w 405"/>
                  <a:gd name="T89" fmla="*/ 433 h 466"/>
                  <a:gd name="T90" fmla="*/ 248 w 405"/>
                  <a:gd name="T91" fmla="*/ 433 h 466"/>
                  <a:gd name="T92" fmla="*/ 248 w 405"/>
                  <a:gd name="T93" fmla="*/ 402 h 466"/>
                  <a:gd name="T94" fmla="*/ 310 w 405"/>
                  <a:gd name="T95" fmla="*/ 30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5" h="466">
                    <a:moveTo>
                      <a:pt x="310" y="309"/>
                    </a:moveTo>
                    <a:lnTo>
                      <a:pt x="310" y="309"/>
                    </a:lnTo>
                    <a:lnTo>
                      <a:pt x="341" y="309"/>
                    </a:lnTo>
                    <a:cubicBezTo>
                      <a:pt x="341" y="341"/>
                      <a:pt x="341" y="341"/>
                      <a:pt x="341" y="341"/>
                    </a:cubicBezTo>
                    <a:cubicBezTo>
                      <a:pt x="372" y="309"/>
                      <a:pt x="372" y="309"/>
                      <a:pt x="372" y="309"/>
                    </a:cubicBezTo>
                    <a:cubicBezTo>
                      <a:pt x="372" y="309"/>
                      <a:pt x="404" y="309"/>
                      <a:pt x="404" y="341"/>
                    </a:cubicBezTo>
                    <a:cubicBezTo>
                      <a:pt x="404" y="309"/>
                      <a:pt x="404" y="309"/>
                      <a:pt x="404" y="309"/>
                    </a:cubicBezTo>
                    <a:lnTo>
                      <a:pt x="404" y="309"/>
                    </a:lnTo>
                    <a:lnTo>
                      <a:pt x="404" y="279"/>
                    </a:lnTo>
                    <a:lnTo>
                      <a:pt x="404" y="279"/>
                    </a:lnTo>
                    <a:cubicBezTo>
                      <a:pt x="404" y="279"/>
                      <a:pt x="404" y="279"/>
                      <a:pt x="404" y="248"/>
                    </a:cubicBezTo>
                    <a:lnTo>
                      <a:pt x="404" y="248"/>
                    </a:lnTo>
                    <a:lnTo>
                      <a:pt x="404" y="248"/>
                    </a:lnTo>
                    <a:cubicBezTo>
                      <a:pt x="372" y="248"/>
                      <a:pt x="372" y="218"/>
                      <a:pt x="372" y="218"/>
                    </a:cubicBezTo>
                    <a:lnTo>
                      <a:pt x="372" y="186"/>
                    </a:lnTo>
                    <a:lnTo>
                      <a:pt x="372" y="186"/>
                    </a:lnTo>
                    <a:lnTo>
                      <a:pt x="372" y="155"/>
                    </a:lnTo>
                    <a:lnTo>
                      <a:pt x="341" y="155"/>
                    </a:lnTo>
                    <a:lnTo>
                      <a:pt x="341" y="124"/>
                    </a:lnTo>
                    <a:cubicBezTo>
                      <a:pt x="341" y="124"/>
                      <a:pt x="341" y="124"/>
                      <a:pt x="310" y="124"/>
                    </a:cubicBezTo>
                    <a:lnTo>
                      <a:pt x="310" y="124"/>
                    </a:lnTo>
                    <a:lnTo>
                      <a:pt x="310" y="124"/>
                    </a:lnTo>
                    <a:lnTo>
                      <a:pt x="310" y="124"/>
                    </a:lnTo>
                    <a:lnTo>
                      <a:pt x="280" y="155"/>
                    </a:lnTo>
                    <a:lnTo>
                      <a:pt x="280" y="155"/>
                    </a:lnTo>
                    <a:lnTo>
                      <a:pt x="280" y="155"/>
                    </a:lnTo>
                    <a:lnTo>
                      <a:pt x="280" y="155"/>
                    </a:lnTo>
                    <a:cubicBezTo>
                      <a:pt x="248" y="155"/>
                      <a:pt x="248" y="155"/>
                      <a:pt x="248" y="124"/>
                    </a:cubicBezTo>
                    <a:cubicBezTo>
                      <a:pt x="248" y="124"/>
                      <a:pt x="248" y="124"/>
                      <a:pt x="217" y="124"/>
                    </a:cubicBezTo>
                    <a:lnTo>
                      <a:pt x="217" y="155"/>
                    </a:lnTo>
                    <a:lnTo>
                      <a:pt x="217" y="155"/>
                    </a:lnTo>
                    <a:cubicBezTo>
                      <a:pt x="217" y="155"/>
                      <a:pt x="217" y="186"/>
                      <a:pt x="186" y="186"/>
                    </a:cubicBezTo>
                    <a:lnTo>
                      <a:pt x="186" y="186"/>
                    </a:lnTo>
                    <a:lnTo>
                      <a:pt x="186" y="186"/>
                    </a:lnTo>
                    <a:lnTo>
                      <a:pt x="186" y="186"/>
                    </a:lnTo>
                    <a:cubicBezTo>
                      <a:pt x="156" y="186"/>
                      <a:pt x="156" y="155"/>
                      <a:pt x="156" y="155"/>
                    </a:cubicBezTo>
                    <a:cubicBezTo>
                      <a:pt x="156" y="124"/>
                      <a:pt x="156" y="124"/>
                      <a:pt x="156" y="124"/>
                    </a:cubicBezTo>
                    <a:cubicBezTo>
                      <a:pt x="156" y="124"/>
                      <a:pt x="156" y="124"/>
                      <a:pt x="156" y="94"/>
                    </a:cubicBezTo>
                    <a:lnTo>
                      <a:pt x="156" y="94"/>
                    </a:lnTo>
                    <a:lnTo>
                      <a:pt x="156" y="94"/>
                    </a:lnTo>
                    <a:cubicBezTo>
                      <a:pt x="156" y="94"/>
                      <a:pt x="156" y="94"/>
                      <a:pt x="156" y="62"/>
                    </a:cubicBezTo>
                    <a:lnTo>
                      <a:pt x="156" y="62"/>
                    </a:lnTo>
                    <a:lnTo>
                      <a:pt x="156" y="62"/>
                    </a:lnTo>
                    <a:lnTo>
                      <a:pt x="156" y="62"/>
                    </a:lnTo>
                    <a:lnTo>
                      <a:pt x="156" y="62"/>
                    </a:lnTo>
                    <a:cubicBezTo>
                      <a:pt x="156" y="62"/>
                      <a:pt x="156" y="62"/>
                      <a:pt x="156" y="31"/>
                    </a:cubicBezTo>
                    <a:cubicBezTo>
                      <a:pt x="124" y="31"/>
                      <a:pt x="124" y="31"/>
                      <a:pt x="124" y="31"/>
                    </a:cubicBezTo>
                    <a:cubicBezTo>
                      <a:pt x="124" y="0"/>
                      <a:pt x="124" y="0"/>
                      <a:pt x="124" y="0"/>
                    </a:cubicBezTo>
                    <a:lnTo>
                      <a:pt x="124" y="0"/>
                    </a:lnTo>
                    <a:lnTo>
                      <a:pt x="124" y="0"/>
                    </a:lnTo>
                    <a:lnTo>
                      <a:pt x="124" y="0"/>
                    </a:lnTo>
                    <a:lnTo>
                      <a:pt x="124" y="0"/>
                    </a:lnTo>
                    <a:cubicBezTo>
                      <a:pt x="93" y="0"/>
                      <a:pt x="93" y="0"/>
                      <a:pt x="93" y="0"/>
                    </a:cubicBezTo>
                    <a:lnTo>
                      <a:pt x="93" y="0"/>
                    </a:lnTo>
                    <a:cubicBezTo>
                      <a:pt x="93" y="31"/>
                      <a:pt x="63" y="31"/>
                      <a:pt x="63" y="31"/>
                    </a:cubicBezTo>
                    <a:cubicBezTo>
                      <a:pt x="63" y="31"/>
                      <a:pt x="63" y="31"/>
                      <a:pt x="31" y="31"/>
                    </a:cubicBezTo>
                    <a:lnTo>
                      <a:pt x="31" y="31"/>
                    </a:lnTo>
                    <a:lnTo>
                      <a:pt x="31" y="31"/>
                    </a:lnTo>
                    <a:lnTo>
                      <a:pt x="31" y="31"/>
                    </a:lnTo>
                    <a:lnTo>
                      <a:pt x="31" y="31"/>
                    </a:lnTo>
                    <a:cubicBezTo>
                      <a:pt x="31" y="62"/>
                      <a:pt x="31" y="62"/>
                      <a:pt x="31" y="62"/>
                    </a:cubicBezTo>
                    <a:lnTo>
                      <a:pt x="31" y="62"/>
                    </a:lnTo>
                    <a:cubicBezTo>
                      <a:pt x="31" y="94"/>
                      <a:pt x="31" y="94"/>
                      <a:pt x="0" y="94"/>
                    </a:cubicBezTo>
                    <a:cubicBezTo>
                      <a:pt x="0" y="94"/>
                      <a:pt x="0" y="94"/>
                      <a:pt x="0" y="124"/>
                    </a:cubicBezTo>
                    <a:lnTo>
                      <a:pt x="0" y="124"/>
                    </a:lnTo>
                    <a:cubicBezTo>
                      <a:pt x="31" y="124"/>
                      <a:pt x="31" y="124"/>
                      <a:pt x="31" y="124"/>
                    </a:cubicBezTo>
                    <a:lnTo>
                      <a:pt x="31" y="124"/>
                    </a:lnTo>
                    <a:cubicBezTo>
                      <a:pt x="31" y="124"/>
                      <a:pt x="31" y="124"/>
                      <a:pt x="31" y="155"/>
                    </a:cubicBezTo>
                    <a:cubicBezTo>
                      <a:pt x="63" y="155"/>
                      <a:pt x="63" y="186"/>
                      <a:pt x="63" y="186"/>
                    </a:cubicBezTo>
                    <a:lnTo>
                      <a:pt x="63" y="186"/>
                    </a:lnTo>
                    <a:lnTo>
                      <a:pt x="63" y="218"/>
                    </a:lnTo>
                    <a:cubicBezTo>
                      <a:pt x="63" y="218"/>
                      <a:pt x="93" y="218"/>
                      <a:pt x="93" y="248"/>
                    </a:cubicBezTo>
                    <a:lnTo>
                      <a:pt x="93" y="248"/>
                    </a:lnTo>
                    <a:cubicBezTo>
                      <a:pt x="93" y="248"/>
                      <a:pt x="93" y="248"/>
                      <a:pt x="63" y="248"/>
                    </a:cubicBezTo>
                    <a:cubicBezTo>
                      <a:pt x="63" y="279"/>
                      <a:pt x="63" y="279"/>
                      <a:pt x="63" y="279"/>
                    </a:cubicBezTo>
                    <a:lnTo>
                      <a:pt x="63" y="309"/>
                    </a:lnTo>
                    <a:lnTo>
                      <a:pt x="63" y="341"/>
                    </a:lnTo>
                    <a:lnTo>
                      <a:pt x="63" y="341"/>
                    </a:lnTo>
                    <a:cubicBezTo>
                      <a:pt x="93" y="341"/>
                      <a:pt x="93" y="402"/>
                      <a:pt x="93" y="433"/>
                    </a:cubicBezTo>
                    <a:lnTo>
                      <a:pt x="93" y="433"/>
                    </a:lnTo>
                    <a:lnTo>
                      <a:pt x="93" y="433"/>
                    </a:lnTo>
                    <a:lnTo>
                      <a:pt x="93" y="433"/>
                    </a:lnTo>
                    <a:cubicBezTo>
                      <a:pt x="93" y="465"/>
                      <a:pt x="93" y="465"/>
                      <a:pt x="93" y="465"/>
                    </a:cubicBezTo>
                    <a:cubicBezTo>
                      <a:pt x="93" y="465"/>
                      <a:pt x="93" y="465"/>
                      <a:pt x="124" y="465"/>
                    </a:cubicBezTo>
                    <a:cubicBezTo>
                      <a:pt x="124" y="465"/>
                      <a:pt x="93" y="465"/>
                      <a:pt x="93" y="433"/>
                    </a:cubicBezTo>
                    <a:lnTo>
                      <a:pt x="93" y="433"/>
                    </a:lnTo>
                    <a:cubicBezTo>
                      <a:pt x="93" y="433"/>
                      <a:pt x="124" y="371"/>
                      <a:pt x="156" y="371"/>
                    </a:cubicBezTo>
                    <a:cubicBezTo>
                      <a:pt x="156" y="371"/>
                      <a:pt x="186" y="371"/>
                      <a:pt x="186" y="402"/>
                    </a:cubicBezTo>
                    <a:lnTo>
                      <a:pt x="186" y="402"/>
                    </a:lnTo>
                    <a:cubicBezTo>
                      <a:pt x="217" y="402"/>
                      <a:pt x="186" y="433"/>
                      <a:pt x="186" y="433"/>
                    </a:cubicBezTo>
                    <a:cubicBezTo>
                      <a:pt x="217" y="433"/>
                      <a:pt x="217" y="433"/>
                      <a:pt x="217" y="433"/>
                    </a:cubicBezTo>
                    <a:cubicBezTo>
                      <a:pt x="217" y="433"/>
                      <a:pt x="217" y="433"/>
                      <a:pt x="248" y="433"/>
                    </a:cubicBezTo>
                    <a:cubicBezTo>
                      <a:pt x="248" y="433"/>
                      <a:pt x="248" y="433"/>
                      <a:pt x="248" y="402"/>
                    </a:cubicBezTo>
                    <a:lnTo>
                      <a:pt x="248" y="402"/>
                    </a:lnTo>
                    <a:cubicBezTo>
                      <a:pt x="248" y="371"/>
                      <a:pt x="248" y="371"/>
                      <a:pt x="280" y="341"/>
                    </a:cubicBezTo>
                    <a:lnTo>
                      <a:pt x="310" y="309"/>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28" name="Freeform 125"/>
              <p:cNvSpPr>
                <a:spLocks noChangeArrowheads="1"/>
              </p:cNvSpPr>
              <p:nvPr/>
            </p:nvSpPr>
            <p:spPr bwMode="auto">
              <a:xfrm>
                <a:off x="5665788" y="2527300"/>
                <a:ext cx="55562" cy="77788"/>
              </a:xfrm>
              <a:custGeom>
                <a:avLst/>
                <a:gdLst>
                  <a:gd name="T0" fmla="*/ 61 w 155"/>
                  <a:gd name="T1" fmla="*/ 0 h 218"/>
                  <a:gd name="T2" fmla="*/ 61 w 155"/>
                  <a:gd name="T3" fmla="*/ 0 h 218"/>
                  <a:gd name="T4" fmla="*/ 61 w 155"/>
                  <a:gd name="T5" fmla="*/ 0 h 218"/>
                  <a:gd name="T6" fmla="*/ 61 w 155"/>
                  <a:gd name="T7" fmla="*/ 0 h 218"/>
                  <a:gd name="T8" fmla="*/ 61 w 155"/>
                  <a:gd name="T9" fmla="*/ 0 h 218"/>
                  <a:gd name="T10" fmla="*/ 61 w 155"/>
                  <a:gd name="T11" fmla="*/ 0 h 218"/>
                  <a:gd name="T12" fmla="*/ 30 w 155"/>
                  <a:gd name="T13" fmla="*/ 31 h 218"/>
                  <a:gd name="T14" fmla="*/ 30 w 155"/>
                  <a:gd name="T15" fmla="*/ 31 h 218"/>
                  <a:gd name="T16" fmla="*/ 30 w 155"/>
                  <a:gd name="T17" fmla="*/ 31 h 218"/>
                  <a:gd name="T18" fmla="*/ 0 w 155"/>
                  <a:gd name="T19" fmla="*/ 0 h 218"/>
                  <a:gd name="T20" fmla="*/ 30 w 155"/>
                  <a:gd name="T21" fmla="*/ 62 h 218"/>
                  <a:gd name="T22" fmla="*/ 30 w 155"/>
                  <a:gd name="T23" fmla="*/ 62 h 218"/>
                  <a:gd name="T24" fmla="*/ 30 w 155"/>
                  <a:gd name="T25" fmla="*/ 62 h 218"/>
                  <a:gd name="T26" fmla="*/ 61 w 155"/>
                  <a:gd name="T27" fmla="*/ 93 h 218"/>
                  <a:gd name="T28" fmla="*/ 61 w 155"/>
                  <a:gd name="T29" fmla="*/ 155 h 218"/>
                  <a:gd name="T30" fmla="*/ 61 w 155"/>
                  <a:gd name="T31" fmla="*/ 155 h 218"/>
                  <a:gd name="T32" fmla="*/ 92 w 155"/>
                  <a:gd name="T33" fmla="*/ 155 h 218"/>
                  <a:gd name="T34" fmla="*/ 92 w 155"/>
                  <a:gd name="T35" fmla="*/ 186 h 218"/>
                  <a:gd name="T36" fmla="*/ 124 w 155"/>
                  <a:gd name="T37" fmla="*/ 217 h 218"/>
                  <a:gd name="T38" fmla="*/ 154 w 155"/>
                  <a:gd name="T39" fmla="*/ 217 h 218"/>
                  <a:gd name="T40" fmla="*/ 154 w 155"/>
                  <a:gd name="T41" fmla="*/ 217 h 218"/>
                  <a:gd name="T42" fmla="*/ 154 w 155"/>
                  <a:gd name="T43" fmla="*/ 186 h 218"/>
                  <a:gd name="T44" fmla="*/ 154 w 155"/>
                  <a:gd name="T45" fmla="*/ 186 h 218"/>
                  <a:gd name="T46" fmla="*/ 124 w 155"/>
                  <a:gd name="T47" fmla="*/ 155 h 218"/>
                  <a:gd name="T48" fmla="*/ 124 w 155"/>
                  <a:gd name="T49" fmla="*/ 93 h 218"/>
                  <a:gd name="T50" fmla="*/ 124 w 155"/>
                  <a:gd name="T51" fmla="*/ 31 h 218"/>
                  <a:gd name="T52" fmla="*/ 92 w 155"/>
                  <a:gd name="T53" fmla="*/ 0 h 218"/>
                  <a:gd name="T54" fmla="*/ 92 w 155"/>
                  <a:gd name="T55" fmla="*/ 0 h 218"/>
                  <a:gd name="T56" fmla="*/ 61 w 155"/>
                  <a:gd name="T5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5" h="218">
                    <a:moveTo>
                      <a:pt x="61" y="0"/>
                    </a:moveTo>
                    <a:lnTo>
                      <a:pt x="61" y="0"/>
                    </a:lnTo>
                    <a:lnTo>
                      <a:pt x="61" y="0"/>
                    </a:lnTo>
                    <a:lnTo>
                      <a:pt x="61" y="0"/>
                    </a:lnTo>
                    <a:lnTo>
                      <a:pt x="61" y="0"/>
                    </a:lnTo>
                    <a:lnTo>
                      <a:pt x="61" y="0"/>
                    </a:lnTo>
                    <a:cubicBezTo>
                      <a:pt x="61" y="31"/>
                      <a:pt x="30" y="31"/>
                      <a:pt x="30" y="31"/>
                    </a:cubicBezTo>
                    <a:lnTo>
                      <a:pt x="30" y="31"/>
                    </a:lnTo>
                    <a:lnTo>
                      <a:pt x="30" y="31"/>
                    </a:lnTo>
                    <a:cubicBezTo>
                      <a:pt x="30" y="31"/>
                      <a:pt x="30" y="31"/>
                      <a:pt x="0" y="0"/>
                    </a:cubicBezTo>
                    <a:cubicBezTo>
                      <a:pt x="30" y="31"/>
                      <a:pt x="30" y="31"/>
                      <a:pt x="30" y="62"/>
                    </a:cubicBezTo>
                    <a:lnTo>
                      <a:pt x="30" y="62"/>
                    </a:lnTo>
                    <a:lnTo>
                      <a:pt x="30" y="62"/>
                    </a:lnTo>
                    <a:cubicBezTo>
                      <a:pt x="30" y="62"/>
                      <a:pt x="30" y="93"/>
                      <a:pt x="61" y="93"/>
                    </a:cubicBezTo>
                    <a:cubicBezTo>
                      <a:pt x="61" y="93"/>
                      <a:pt x="61" y="124"/>
                      <a:pt x="61" y="155"/>
                    </a:cubicBezTo>
                    <a:lnTo>
                      <a:pt x="61" y="155"/>
                    </a:lnTo>
                    <a:cubicBezTo>
                      <a:pt x="61" y="155"/>
                      <a:pt x="61" y="155"/>
                      <a:pt x="92" y="155"/>
                    </a:cubicBezTo>
                    <a:cubicBezTo>
                      <a:pt x="92" y="186"/>
                      <a:pt x="92" y="186"/>
                      <a:pt x="92" y="186"/>
                    </a:cubicBezTo>
                    <a:cubicBezTo>
                      <a:pt x="124" y="186"/>
                      <a:pt x="124" y="186"/>
                      <a:pt x="124" y="217"/>
                    </a:cubicBezTo>
                    <a:cubicBezTo>
                      <a:pt x="154" y="217"/>
                      <a:pt x="154" y="217"/>
                      <a:pt x="154" y="217"/>
                    </a:cubicBezTo>
                    <a:lnTo>
                      <a:pt x="154" y="217"/>
                    </a:lnTo>
                    <a:cubicBezTo>
                      <a:pt x="154" y="186"/>
                      <a:pt x="154" y="186"/>
                      <a:pt x="154" y="186"/>
                    </a:cubicBezTo>
                    <a:lnTo>
                      <a:pt x="154" y="186"/>
                    </a:lnTo>
                    <a:cubicBezTo>
                      <a:pt x="154" y="186"/>
                      <a:pt x="154" y="186"/>
                      <a:pt x="124" y="155"/>
                    </a:cubicBezTo>
                    <a:cubicBezTo>
                      <a:pt x="124" y="155"/>
                      <a:pt x="124" y="124"/>
                      <a:pt x="124" y="93"/>
                    </a:cubicBezTo>
                    <a:cubicBezTo>
                      <a:pt x="124" y="62"/>
                      <a:pt x="124" y="62"/>
                      <a:pt x="124" y="31"/>
                    </a:cubicBezTo>
                    <a:cubicBezTo>
                      <a:pt x="124" y="31"/>
                      <a:pt x="124" y="0"/>
                      <a:pt x="92" y="0"/>
                    </a:cubicBezTo>
                    <a:lnTo>
                      <a:pt x="92" y="0"/>
                    </a:lnTo>
                    <a:cubicBezTo>
                      <a:pt x="92" y="0"/>
                      <a:pt x="92" y="0"/>
                      <a:pt x="61"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29" name="Freeform 126"/>
              <p:cNvSpPr>
                <a:spLocks noChangeArrowheads="1"/>
              </p:cNvSpPr>
              <p:nvPr/>
            </p:nvSpPr>
            <p:spPr bwMode="auto">
              <a:xfrm>
                <a:off x="5754688" y="2238375"/>
                <a:ext cx="44450" cy="66675"/>
              </a:xfrm>
              <a:custGeom>
                <a:avLst/>
                <a:gdLst>
                  <a:gd name="T0" fmla="*/ 0 w 125"/>
                  <a:gd name="T1" fmla="*/ 62 h 186"/>
                  <a:gd name="T2" fmla="*/ 0 w 125"/>
                  <a:gd name="T3" fmla="*/ 62 h 186"/>
                  <a:gd name="T4" fmla="*/ 0 w 125"/>
                  <a:gd name="T5" fmla="*/ 94 h 186"/>
                  <a:gd name="T6" fmla="*/ 0 w 125"/>
                  <a:gd name="T7" fmla="*/ 94 h 186"/>
                  <a:gd name="T8" fmla="*/ 30 w 125"/>
                  <a:gd name="T9" fmla="*/ 94 h 186"/>
                  <a:gd name="T10" fmla="*/ 30 w 125"/>
                  <a:gd name="T11" fmla="*/ 94 h 186"/>
                  <a:gd name="T12" fmla="*/ 61 w 125"/>
                  <a:gd name="T13" fmla="*/ 124 h 186"/>
                  <a:gd name="T14" fmla="*/ 61 w 125"/>
                  <a:gd name="T15" fmla="*/ 124 h 186"/>
                  <a:gd name="T16" fmla="*/ 61 w 125"/>
                  <a:gd name="T17" fmla="*/ 155 h 186"/>
                  <a:gd name="T18" fmla="*/ 61 w 125"/>
                  <a:gd name="T19" fmla="*/ 185 h 186"/>
                  <a:gd name="T20" fmla="*/ 61 w 125"/>
                  <a:gd name="T21" fmla="*/ 185 h 186"/>
                  <a:gd name="T22" fmla="*/ 61 w 125"/>
                  <a:gd name="T23" fmla="*/ 185 h 186"/>
                  <a:gd name="T24" fmla="*/ 61 w 125"/>
                  <a:gd name="T25" fmla="*/ 185 h 186"/>
                  <a:gd name="T26" fmla="*/ 92 w 125"/>
                  <a:gd name="T27" fmla="*/ 185 h 186"/>
                  <a:gd name="T28" fmla="*/ 92 w 125"/>
                  <a:gd name="T29" fmla="*/ 185 h 186"/>
                  <a:gd name="T30" fmla="*/ 92 w 125"/>
                  <a:gd name="T31" fmla="*/ 185 h 186"/>
                  <a:gd name="T32" fmla="*/ 92 w 125"/>
                  <a:gd name="T33" fmla="*/ 185 h 186"/>
                  <a:gd name="T34" fmla="*/ 124 w 125"/>
                  <a:gd name="T35" fmla="*/ 185 h 186"/>
                  <a:gd name="T36" fmla="*/ 124 w 125"/>
                  <a:gd name="T37" fmla="*/ 185 h 186"/>
                  <a:gd name="T38" fmla="*/ 124 w 125"/>
                  <a:gd name="T39" fmla="*/ 185 h 186"/>
                  <a:gd name="T40" fmla="*/ 92 w 125"/>
                  <a:gd name="T41" fmla="*/ 155 h 186"/>
                  <a:gd name="T42" fmla="*/ 92 w 125"/>
                  <a:gd name="T43" fmla="*/ 155 h 186"/>
                  <a:gd name="T44" fmla="*/ 92 w 125"/>
                  <a:gd name="T45" fmla="*/ 124 h 186"/>
                  <a:gd name="T46" fmla="*/ 92 w 125"/>
                  <a:gd name="T47" fmla="*/ 124 h 186"/>
                  <a:gd name="T48" fmla="*/ 61 w 125"/>
                  <a:gd name="T49" fmla="*/ 94 h 186"/>
                  <a:gd name="T50" fmla="*/ 30 w 125"/>
                  <a:gd name="T51" fmla="*/ 62 h 186"/>
                  <a:gd name="T52" fmla="*/ 0 w 125"/>
                  <a:gd name="T53" fmla="*/ 0 h 186"/>
                  <a:gd name="T54" fmla="*/ 0 w 125"/>
                  <a:gd name="T55" fmla="*/ 0 h 186"/>
                  <a:gd name="T56" fmla="*/ 0 w 125"/>
                  <a:gd name="T57" fmla="*/ 0 h 186"/>
                  <a:gd name="T58" fmla="*/ 0 w 125"/>
                  <a:gd name="T59" fmla="*/ 0 h 186"/>
                  <a:gd name="T60" fmla="*/ 0 w 125"/>
                  <a:gd name="T61" fmla="*/ 0 h 186"/>
                  <a:gd name="T62" fmla="*/ 0 w 125"/>
                  <a:gd name="T63" fmla="*/ 0 h 186"/>
                  <a:gd name="T64" fmla="*/ 0 w 125"/>
                  <a:gd name="T65" fmla="*/ 0 h 186"/>
                  <a:gd name="T66" fmla="*/ 0 w 125"/>
                  <a:gd name="T67" fmla="*/ 6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 h="186">
                    <a:moveTo>
                      <a:pt x="0" y="62"/>
                    </a:moveTo>
                    <a:lnTo>
                      <a:pt x="0" y="62"/>
                    </a:lnTo>
                    <a:cubicBezTo>
                      <a:pt x="0" y="62"/>
                      <a:pt x="0" y="62"/>
                      <a:pt x="0" y="94"/>
                    </a:cubicBezTo>
                    <a:lnTo>
                      <a:pt x="0" y="94"/>
                    </a:lnTo>
                    <a:cubicBezTo>
                      <a:pt x="30" y="94"/>
                      <a:pt x="30" y="94"/>
                      <a:pt x="30" y="94"/>
                    </a:cubicBezTo>
                    <a:lnTo>
                      <a:pt x="30" y="94"/>
                    </a:lnTo>
                    <a:cubicBezTo>
                      <a:pt x="30" y="94"/>
                      <a:pt x="61" y="94"/>
                      <a:pt x="61" y="124"/>
                    </a:cubicBezTo>
                    <a:lnTo>
                      <a:pt x="61" y="124"/>
                    </a:lnTo>
                    <a:cubicBezTo>
                      <a:pt x="61" y="124"/>
                      <a:pt x="61" y="124"/>
                      <a:pt x="61" y="155"/>
                    </a:cubicBezTo>
                    <a:cubicBezTo>
                      <a:pt x="61" y="155"/>
                      <a:pt x="61" y="155"/>
                      <a:pt x="61" y="185"/>
                    </a:cubicBezTo>
                    <a:lnTo>
                      <a:pt x="61" y="185"/>
                    </a:lnTo>
                    <a:lnTo>
                      <a:pt x="61" y="185"/>
                    </a:lnTo>
                    <a:lnTo>
                      <a:pt x="61" y="185"/>
                    </a:lnTo>
                    <a:cubicBezTo>
                      <a:pt x="92" y="185"/>
                      <a:pt x="92" y="185"/>
                      <a:pt x="92" y="185"/>
                    </a:cubicBezTo>
                    <a:lnTo>
                      <a:pt x="92" y="185"/>
                    </a:lnTo>
                    <a:lnTo>
                      <a:pt x="92" y="185"/>
                    </a:lnTo>
                    <a:lnTo>
                      <a:pt x="92" y="185"/>
                    </a:lnTo>
                    <a:cubicBezTo>
                      <a:pt x="92" y="185"/>
                      <a:pt x="92" y="185"/>
                      <a:pt x="124" y="185"/>
                    </a:cubicBezTo>
                    <a:lnTo>
                      <a:pt x="124" y="185"/>
                    </a:lnTo>
                    <a:lnTo>
                      <a:pt x="124" y="185"/>
                    </a:lnTo>
                    <a:lnTo>
                      <a:pt x="92" y="155"/>
                    </a:lnTo>
                    <a:lnTo>
                      <a:pt x="92" y="155"/>
                    </a:lnTo>
                    <a:lnTo>
                      <a:pt x="92" y="124"/>
                    </a:lnTo>
                    <a:lnTo>
                      <a:pt x="92" y="124"/>
                    </a:lnTo>
                    <a:cubicBezTo>
                      <a:pt x="92" y="124"/>
                      <a:pt x="61" y="124"/>
                      <a:pt x="61" y="94"/>
                    </a:cubicBezTo>
                    <a:lnTo>
                      <a:pt x="30" y="62"/>
                    </a:lnTo>
                    <a:cubicBezTo>
                      <a:pt x="30" y="31"/>
                      <a:pt x="0" y="31"/>
                      <a:pt x="0" y="0"/>
                    </a:cubicBezTo>
                    <a:lnTo>
                      <a:pt x="0" y="0"/>
                    </a:lnTo>
                    <a:lnTo>
                      <a:pt x="0" y="0"/>
                    </a:lnTo>
                    <a:lnTo>
                      <a:pt x="0" y="0"/>
                    </a:lnTo>
                    <a:lnTo>
                      <a:pt x="0" y="0"/>
                    </a:lnTo>
                    <a:lnTo>
                      <a:pt x="0" y="0"/>
                    </a:lnTo>
                    <a:lnTo>
                      <a:pt x="0" y="0"/>
                    </a:lnTo>
                    <a:lnTo>
                      <a:pt x="0" y="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30" name="Freeform 127"/>
              <p:cNvSpPr>
                <a:spLocks noChangeArrowheads="1"/>
              </p:cNvSpPr>
              <p:nvPr/>
            </p:nvSpPr>
            <p:spPr bwMode="auto">
              <a:xfrm>
                <a:off x="5676900" y="2147888"/>
                <a:ext cx="66675" cy="79375"/>
              </a:xfrm>
              <a:custGeom>
                <a:avLst/>
                <a:gdLst>
                  <a:gd name="T0" fmla="*/ 31 w 187"/>
                  <a:gd name="T1" fmla="*/ 62 h 219"/>
                  <a:gd name="T2" fmla="*/ 31 w 187"/>
                  <a:gd name="T3" fmla="*/ 62 h 219"/>
                  <a:gd name="T4" fmla="*/ 31 w 187"/>
                  <a:gd name="T5" fmla="*/ 62 h 219"/>
                  <a:gd name="T6" fmla="*/ 0 w 187"/>
                  <a:gd name="T7" fmla="*/ 62 h 219"/>
                  <a:gd name="T8" fmla="*/ 0 w 187"/>
                  <a:gd name="T9" fmla="*/ 62 h 219"/>
                  <a:gd name="T10" fmla="*/ 0 w 187"/>
                  <a:gd name="T11" fmla="*/ 62 h 219"/>
                  <a:gd name="T12" fmla="*/ 0 w 187"/>
                  <a:gd name="T13" fmla="*/ 62 h 219"/>
                  <a:gd name="T14" fmla="*/ 0 w 187"/>
                  <a:gd name="T15" fmla="*/ 62 h 219"/>
                  <a:gd name="T16" fmla="*/ 0 w 187"/>
                  <a:gd name="T17" fmla="*/ 62 h 219"/>
                  <a:gd name="T18" fmla="*/ 0 w 187"/>
                  <a:gd name="T19" fmla="*/ 94 h 219"/>
                  <a:gd name="T20" fmla="*/ 0 w 187"/>
                  <a:gd name="T21" fmla="*/ 94 h 219"/>
                  <a:gd name="T22" fmla="*/ 0 w 187"/>
                  <a:gd name="T23" fmla="*/ 94 h 219"/>
                  <a:gd name="T24" fmla="*/ 0 w 187"/>
                  <a:gd name="T25" fmla="*/ 94 h 219"/>
                  <a:gd name="T26" fmla="*/ 31 w 187"/>
                  <a:gd name="T27" fmla="*/ 124 h 219"/>
                  <a:gd name="T28" fmla="*/ 31 w 187"/>
                  <a:gd name="T29" fmla="*/ 124 h 219"/>
                  <a:gd name="T30" fmla="*/ 31 w 187"/>
                  <a:gd name="T31" fmla="*/ 155 h 219"/>
                  <a:gd name="T32" fmla="*/ 31 w 187"/>
                  <a:gd name="T33" fmla="*/ 155 h 219"/>
                  <a:gd name="T34" fmla="*/ 31 w 187"/>
                  <a:gd name="T35" fmla="*/ 155 h 219"/>
                  <a:gd name="T36" fmla="*/ 31 w 187"/>
                  <a:gd name="T37" fmla="*/ 155 h 219"/>
                  <a:gd name="T38" fmla="*/ 31 w 187"/>
                  <a:gd name="T39" fmla="*/ 186 h 219"/>
                  <a:gd name="T40" fmla="*/ 31 w 187"/>
                  <a:gd name="T41" fmla="*/ 186 h 219"/>
                  <a:gd name="T42" fmla="*/ 31 w 187"/>
                  <a:gd name="T43" fmla="*/ 186 h 219"/>
                  <a:gd name="T44" fmla="*/ 31 w 187"/>
                  <a:gd name="T45" fmla="*/ 186 h 219"/>
                  <a:gd name="T46" fmla="*/ 31 w 187"/>
                  <a:gd name="T47" fmla="*/ 218 h 219"/>
                  <a:gd name="T48" fmla="*/ 62 w 187"/>
                  <a:gd name="T49" fmla="*/ 186 h 219"/>
                  <a:gd name="T50" fmla="*/ 94 w 187"/>
                  <a:gd name="T51" fmla="*/ 218 h 219"/>
                  <a:gd name="T52" fmla="*/ 94 w 187"/>
                  <a:gd name="T53" fmla="*/ 218 h 219"/>
                  <a:gd name="T54" fmla="*/ 94 w 187"/>
                  <a:gd name="T55" fmla="*/ 218 h 219"/>
                  <a:gd name="T56" fmla="*/ 94 w 187"/>
                  <a:gd name="T57" fmla="*/ 218 h 219"/>
                  <a:gd name="T58" fmla="*/ 94 w 187"/>
                  <a:gd name="T59" fmla="*/ 186 h 219"/>
                  <a:gd name="T60" fmla="*/ 94 w 187"/>
                  <a:gd name="T61" fmla="*/ 186 h 219"/>
                  <a:gd name="T62" fmla="*/ 124 w 187"/>
                  <a:gd name="T63" fmla="*/ 186 h 219"/>
                  <a:gd name="T64" fmla="*/ 155 w 187"/>
                  <a:gd name="T65" fmla="*/ 186 h 219"/>
                  <a:gd name="T66" fmla="*/ 124 w 187"/>
                  <a:gd name="T67" fmla="*/ 155 h 219"/>
                  <a:gd name="T68" fmla="*/ 124 w 187"/>
                  <a:gd name="T69" fmla="*/ 124 h 219"/>
                  <a:gd name="T70" fmla="*/ 155 w 187"/>
                  <a:gd name="T71" fmla="*/ 124 h 219"/>
                  <a:gd name="T72" fmla="*/ 155 w 187"/>
                  <a:gd name="T73" fmla="*/ 94 h 219"/>
                  <a:gd name="T74" fmla="*/ 155 w 187"/>
                  <a:gd name="T75" fmla="*/ 94 h 219"/>
                  <a:gd name="T76" fmla="*/ 186 w 187"/>
                  <a:gd name="T77" fmla="*/ 94 h 219"/>
                  <a:gd name="T78" fmla="*/ 186 w 187"/>
                  <a:gd name="T79" fmla="*/ 94 h 219"/>
                  <a:gd name="T80" fmla="*/ 186 w 187"/>
                  <a:gd name="T81" fmla="*/ 94 h 219"/>
                  <a:gd name="T82" fmla="*/ 186 w 187"/>
                  <a:gd name="T83" fmla="*/ 94 h 219"/>
                  <a:gd name="T84" fmla="*/ 186 w 187"/>
                  <a:gd name="T85" fmla="*/ 94 h 219"/>
                  <a:gd name="T86" fmla="*/ 186 w 187"/>
                  <a:gd name="T87" fmla="*/ 94 h 219"/>
                  <a:gd name="T88" fmla="*/ 155 w 187"/>
                  <a:gd name="T89" fmla="*/ 94 h 219"/>
                  <a:gd name="T90" fmla="*/ 155 w 187"/>
                  <a:gd name="T91" fmla="*/ 94 h 219"/>
                  <a:gd name="T92" fmla="*/ 155 w 187"/>
                  <a:gd name="T93" fmla="*/ 94 h 219"/>
                  <a:gd name="T94" fmla="*/ 124 w 187"/>
                  <a:gd name="T95" fmla="*/ 94 h 219"/>
                  <a:gd name="T96" fmla="*/ 124 w 187"/>
                  <a:gd name="T97" fmla="*/ 94 h 219"/>
                  <a:gd name="T98" fmla="*/ 124 w 187"/>
                  <a:gd name="T99" fmla="*/ 94 h 219"/>
                  <a:gd name="T100" fmla="*/ 124 w 187"/>
                  <a:gd name="T101" fmla="*/ 94 h 219"/>
                  <a:gd name="T102" fmla="*/ 62 w 187"/>
                  <a:gd name="T103" fmla="*/ 62 h 219"/>
                  <a:gd name="T104" fmla="*/ 62 w 187"/>
                  <a:gd name="T105" fmla="*/ 31 h 219"/>
                  <a:gd name="T106" fmla="*/ 62 w 187"/>
                  <a:gd name="T107" fmla="*/ 31 h 219"/>
                  <a:gd name="T108" fmla="*/ 62 w 187"/>
                  <a:gd name="T109" fmla="*/ 31 h 219"/>
                  <a:gd name="T110" fmla="*/ 62 w 187"/>
                  <a:gd name="T111" fmla="*/ 31 h 219"/>
                  <a:gd name="T112" fmla="*/ 62 w 187"/>
                  <a:gd name="T113" fmla="*/ 31 h 219"/>
                  <a:gd name="T114" fmla="*/ 62 w 187"/>
                  <a:gd name="T115" fmla="*/ 0 h 219"/>
                  <a:gd name="T116" fmla="*/ 62 w 187"/>
                  <a:gd name="T117" fmla="*/ 31 h 219"/>
                  <a:gd name="T118" fmla="*/ 31 w 187"/>
                  <a:gd name="T119" fmla="*/ 6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7" h="219">
                    <a:moveTo>
                      <a:pt x="31" y="62"/>
                    </a:moveTo>
                    <a:lnTo>
                      <a:pt x="31" y="62"/>
                    </a:lnTo>
                    <a:lnTo>
                      <a:pt x="31" y="62"/>
                    </a:lnTo>
                    <a:lnTo>
                      <a:pt x="0" y="62"/>
                    </a:lnTo>
                    <a:lnTo>
                      <a:pt x="0" y="62"/>
                    </a:lnTo>
                    <a:lnTo>
                      <a:pt x="0" y="62"/>
                    </a:lnTo>
                    <a:lnTo>
                      <a:pt x="0" y="62"/>
                    </a:lnTo>
                    <a:lnTo>
                      <a:pt x="0" y="62"/>
                    </a:lnTo>
                    <a:lnTo>
                      <a:pt x="0" y="62"/>
                    </a:lnTo>
                    <a:cubicBezTo>
                      <a:pt x="0" y="94"/>
                      <a:pt x="0" y="94"/>
                      <a:pt x="0" y="94"/>
                    </a:cubicBezTo>
                    <a:lnTo>
                      <a:pt x="0" y="94"/>
                    </a:lnTo>
                    <a:lnTo>
                      <a:pt x="0" y="94"/>
                    </a:lnTo>
                    <a:lnTo>
                      <a:pt x="0" y="94"/>
                    </a:lnTo>
                    <a:cubicBezTo>
                      <a:pt x="31" y="124"/>
                      <a:pt x="31" y="124"/>
                      <a:pt x="31" y="124"/>
                    </a:cubicBezTo>
                    <a:lnTo>
                      <a:pt x="31" y="124"/>
                    </a:lnTo>
                    <a:cubicBezTo>
                      <a:pt x="31" y="155"/>
                      <a:pt x="31" y="155"/>
                      <a:pt x="31" y="155"/>
                    </a:cubicBezTo>
                    <a:lnTo>
                      <a:pt x="31" y="155"/>
                    </a:lnTo>
                    <a:lnTo>
                      <a:pt x="31" y="155"/>
                    </a:lnTo>
                    <a:lnTo>
                      <a:pt x="31" y="155"/>
                    </a:lnTo>
                    <a:lnTo>
                      <a:pt x="31" y="186"/>
                    </a:lnTo>
                    <a:lnTo>
                      <a:pt x="31" y="186"/>
                    </a:lnTo>
                    <a:lnTo>
                      <a:pt x="31" y="186"/>
                    </a:lnTo>
                    <a:lnTo>
                      <a:pt x="31" y="186"/>
                    </a:lnTo>
                    <a:cubicBezTo>
                      <a:pt x="31" y="186"/>
                      <a:pt x="31" y="186"/>
                      <a:pt x="31" y="218"/>
                    </a:cubicBezTo>
                    <a:cubicBezTo>
                      <a:pt x="31" y="186"/>
                      <a:pt x="62" y="186"/>
                      <a:pt x="62" y="186"/>
                    </a:cubicBezTo>
                    <a:cubicBezTo>
                      <a:pt x="62" y="186"/>
                      <a:pt x="62" y="186"/>
                      <a:pt x="94" y="218"/>
                    </a:cubicBezTo>
                    <a:lnTo>
                      <a:pt x="94" y="218"/>
                    </a:lnTo>
                    <a:lnTo>
                      <a:pt x="94" y="218"/>
                    </a:lnTo>
                    <a:lnTo>
                      <a:pt x="94" y="218"/>
                    </a:lnTo>
                    <a:cubicBezTo>
                      <a:pt x="94" y="186"/>
                      <a:pt x="94" y="186"/>
                      <a:pt x="94" y="186"/>
                    </a:cubicBezTo>
                    <a:lnTo>
                      <a:pt x="94" y="186"/>
                    </a:lnTo>
                    <a:cubicBezTo>
                      <a:pt x="124" y="186"/>
                      <a:pt x="124" y="186"/>
                      <a:pt x="124" y="186"/>
                    </a:cubicBezTo>
                    <a:lnTo>
                      <a:pt x="155" y="186"/>
                    </a:lnTo>
                    <a:cubicBezTo>
                      <a:pt x="124" y="155"/>
                      <a:pt x="124" y="155"/>
                      <a:pt x="124" y="155"/>
                    </a:cubicBezTo>
                    <a:lnTo>
                      <a:pt x="124" y="124"/>
                    </a:lnTo>
                    <a:lnTo>
                      <a:pt x="155" y="124"/>
                    </a:lnTo>
                    <a:cubicBezTo>
                      <a:pt x="155" y="94"/>
                      <a:pt x="155" y="94"/>
                      <a:pt x="155" y="94"/>
                    </a:cubicBezTo>
                    <a:lnTo>
                      <a:pt x="155" y="94"/>
                    </a:lnTo>
                    <a:cubicBezTo>
                      <a:pt x="155" y="94"/>
                      <a:pt x="155" y="94"/>
                      <a:pt x="186" y="94"/>
                    </a:cubicBezTo>
                    <a:lnTo>
                      <a:pt x="186" y="94"/>
                    </a:lnTo>
                    <a:lnTo>
                      <a:pt x="186" y="94"/>
                    </a:lnTo>
                    <a:lnTo>
                      <a:pt x="186" y="94"/>
                    </a:lnTo>
                    <a:lnTo>
                      <a:pt x="186" y="94"/>
                    </a:lnTo>
                    <a:lnTo>
                      <a:pt x="186" y="94"/>
                    </a:lnTo>
                    <a:lnTo>
                      <a:pt x="155" y="94"/>
                    </a:lnTo>
                    <a:lnTo>
                      <a:pt x="155" y="94"/>
                    </a:lnTo>
                    <a:lnTo>
                      <a:pt x="155" y="94"/>
                    </a:lnTo>
                    <a:lnTo>
                      <a:pt x="124" y="94"/>
                    </a:lnTo>
                    <a:lnTo>
                      <a:pt x="124" y="94"/>
                    </a:lnTo>
                    <a:lnTo>
                      <a:pt x="124" y="94"/>
                    </a:lnTo>
                    <a:lnTo>
                      <a:pt x="124" y="94"/>
                    </a:lnTo>
                    <a:cubicBezTo>
                      <a:pt x="94" y="94"/>
                      <a:pt x="94" y="62"/>
                      <a:pt x="62" y="62"/>
                    </a:cubicBezTo>
                    <a:lnTo>
                      <a:pt x="62" y="31"/>
                    </a:lnTo>
                    <a:lnTo>
                      <a:pt x="62" y="31"/>
                    </a:lnTo>
                    <a:lnTo>
                      <a:pt x="62" y="31"/>
                    </a:lnTo>
                    <a:lnTo>
                      <a:pt x="62" y="31"/>
                    </a:lnTo>
                    <a:lnTo>
                      <a:pt x="62" y="31"/>
                    </a:lnTo>
                    <a:cubicBezTo>
                      <a:pt x="62" y="31"/>
                      <a:pt x="62" y="31"/>
                      <a:pt x="62" y="0"/>
                    </a:cubicBezTo>
                    <a:cubicBezTo>
                      <a:pt x="62" y="31"/>
                      <a:pt x="62" y="31"/>
                      <a:pt x="62" y="31"/>
                    </a:cubicBezTo>
                    <a:cubicBezTo>
                      <a:pt x="62" y="31"/>
                      <a:pt x="62" y="62"/>
                      <a:pt x="31" y="6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31" name="Freeform 128"/>
              <p:cNvSpPr>
                <a:spLocks noChangeArrowheads="1"/>
              </p:cNvSpPr>
              <p:nvPr/>
            </p:nvSpPr>
            <p:spPr bwMode="auto">
              <a:xfrm>
                <a:off x="5967413" y="2505075"/>
                <a:ext cx="57150" cy="44450"/>
              </a:xfrm>
              <a:custGeom>
                <a:avLst/>
                <a:gdLst>
                  <a:gd name="T0" fmla="*/ 0 w 157"/>
                  <a:gd name="T1" fmla="*/ 93 h 125"/>
                  <a:gd name="T2" fmla="*/ 0 w 157"/>
                  <a:gd name="T3" fmla="*/ 93 h 125"/>
                  <a:gd name="T4" fmla="*/ 0 w 157"/>
                  <a:gd name="T5" fmla="*/ 93 h 125"/>
                  <a:gd name="T6" fmla="*/ 93 w 157"/>
                  <a:gd name="T7" fmla="*/ 124 h 125"/>
                  <a:gd name="T8" fmla="*/ 93 w 157"/>
                  <a:gd name="T9" fmla="*/ 93 h 125"/>
                  <a:gd name="T10" fmla="*/ 124 w 157"/>
                  <a:gd name="T11" fmla="*/ 93 h 125"/>
                  <a:gd name="T12" fmla="*/ 124 w 157"/>
                  <a:gd name="T13" fmla="*/ 93 h 125"/>
                  <a:gd name="T14" fmla="*/ 156 w 157"/>
                  <a:gd name="T15" fmla="*/ 62 h 125"/>
                  <a:gd name="T16" fmla="*/ 156 w 157"/>
                  <a:gd name="T17" fmla="*/ 62 h 125"/>
                  <a:gd name="T18" fmla="*/ 124 w 157"/>
                  <a:gd name="T19" fmla="*/ 62 h 125"/>
                  <a:gd name="T20" fmla="*/ 124 w 157"/>
                  <a:gd name="T21" fmla="*/ 31 h 125"/>
                  <a:gd name="T22" fmla="*/ 124 w 157"/>
                  <a:gd name="T23" fmla="*/ 31 h 125"/>
                  <a:gd name="T24" fmla="*/ 124 w 157"/>
                  <a:gd name="T25" fmla="*/ 62 h 125"/>
                  <a:gd name="T26" fmla="*/ 93 w 157"/>
                  <a:gd name="T27" fmla="*/ 31 h 125"/>
                  <a:gd name="T28" fmla="*/ 93 w 157"/>
                  <a:gd name="T29" fmla="*/ 0 h 125"/>
                  <a:gd name="T30" fmla="*/ 93 w 157"/>
                  <a:gd name="T31" fmla="*/ 0 h 125"/>
                  <a:gd name="T32" fmla="*/ 62 w 157"/>
                  <a:gd name="T33" fmla="*/ 0 h 125"/>
                  <a:gd name="T34" fmla="*/ 62 w 157"/>
                  <a:gd name="T35" fmla="*/ 0 h 125"/>
                  <a:gd name="T36" fmla="*/ 62 w 157"/>
                  <a:gd name="T37" fmla="*/ 0 h 125"/>
                  <a:gd name="T38" fmla="*/ 0 w 157"/>
                  <a:gd name="T39" fmla="*/ 62 h 125"/>
                  <a:gd name="T40" fmla="*/ 0 w 157"/>
                  <a:gd name="T41"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125">
                    <a:moveTo>
                      <a:pt x="0" y="93"/>
                    </a:moveTo>
                    <a:lnTo>
                      <a:pt x="0" y="93"/>
                    </a:lnTo>
                    <a:lnTo>
                      <a:pt x="0" y="93"/>
                    </a:lnTo>
                    <a:cubicBezTo>
                      <a:pt x="32" y="93"/>
                      <a:pt x="62" y="93"/>
                      <a:pt x="93" y="124"/>
                    </a:cubicBezTo>
                    <a:cubicBezTo>
                      <a:pt x="93" y="93"/>
                      <a:pt x="93" y="93"/>
                      <a:pt x="93" y="93"/>
                    </a:cubicBezTo>
                    <a:cubicBezTo>
                      <a:pt x="93" y="93"/>
                      <a:pt x="93" y="93"/>
                      <a:pt x="124" y="93"/>
                    </a:cubicBezTo>
                    <a:lnTo>
                      <a:pt x="124" y="93"/>
                    </a:lnTo>
                    <a:cubicBezTo>
                      <a:pt x="124" y="93"/>
                      <a:pt x="124" y="62"/>
                      <a:pt x="156" y="62"/>
                    </a:cubicBezTo>
                    <a:lnTo>
                      <a:pt x="156" y="62"/>
                    </a:lnTo>
                    <a:cubicBezTo>
                      <a:pt x="124" y="62"/>
                      <a:pt x="124" y="62"/>
                      <a:pt x="124" y="62"/>
                    </a:cubicBezTo>
                    <a:cubicBezTo>
                      <a:pt x="124" y="62"/>
                      <a:pt x="124" y="62"/>
                      <a:pt x="124" y="31"/>
                    </a:cubicBezTo>
                    <a:lnTo>
                      <a:pt x="124" y="31"/>
                    </a:lnTo>
                    <a:cubicBezTo>
                      <a:pt x="124" y="62"/>
                      <a:pt x="124" y="62"/>
                      <a:pt x="124" y="62"/>
                    </a:cubicBezTo>
                    <a:cubicBezTo>
                      <a:pt x="93" y="62"/>
                      <a:pt x="93" y="31"/>
                      <a:pt x="93" y="31"/>
                    </a:cubicBezTo>
                    <a:cubicBezTo>
                      <a:pt x="93" y="31"/>
                      <a:pt x="93" y="31"/>
                      <a:pt x="93" y="0"/>
                    </a:cubicBezTo>
                    <a:lnTo>
                      <a:pt x="93" y="0"/>
                    </a:lnTo>
                    <a:cubicBezTo>
                      <a:pt x="62" y="0"/>
                      <a:pt x="62" y="0"/>
                      <a:pt x="62" y="0"/>
                    </a:cubicBezTo>
                    <a:lnTo>
                      <a:pt x="62" y="0"/>
                    </a:lnTo>
                    <a:lnTo>
                      <a:pt x="62" y="0"/>
                    </a:lnTo>
                    <a:cubicBezTo>
                      <a:pt x="32" y="31"/>
                      <a:pt x="32" y="62"/>
                      <a:pt x="0" y="62"/>
                    </a:cubicBezTo>
                    <a:lnTo>
                      <a:pt x="0" y="93"/>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32" name="Freeform 129"/>
              <p:cNvSpPr>
                <a:spLocks noChangeArrowheads="1"/>
              </p:cNvSpPr>
              <p:nvPr/>
            </p:nvSpPr>
            <p:spPr bwMode="auto">
              <a:xfrm>
                <a:off x="5878513" y="2560638"/>
                <a:ext cx="77787" cy="55562"/>
              </a:xfrm>
              <a:custGeom>
                <a:avLst/>
                <a:gdLst>
                  <a:gd name="T0" fmla="*/ 0 w 218"/>
                  <a:gd name="T1" fmla="*/ 155 h 156"/>
                  <a:gd name="T2" fmla="*/ 0 w 218"/>
                  <a:gd name="T3" fmla="*/ 155 h 156"/>
                  <a:gd name="T4" fmla="*/ 0 w 218"/>
                  <a:gd name="T5" fmla="*/ 155 h 156"/>
                  <a:gd name="T6" fmla="*/ 62 w 218"/>
                  <a:gd name="T7" fmla="*/ 124 h 156"/>
                  <a:gd name="T8" fmla="*/ 62 w 218"/>
                  <a:gd name="T9" fmla="*/ 124 h 156"/>
                  <a:gd name="T10" fmla="*/ 62 w 218"/>
                  <a:gd name="T11" fmla="*/ 124 h 156"/>
                  <a:gd name="T12" fmla="*/ 62 w 218"/>
                  <a:gd name="T13" fmla="*/ 124 h 156"/>
                  <a:gd name="T14" fmla="*/ 93 w 218"/>
                  <a:gd name="T15" fmla="*/ 155 h 156"/>
                  <a:gd name="T16" fmla="*/ 124 w 218"/>
                  <a:gd name="T17" fmla="*/ 155 h 156"/>
                  <a:gd name="T18" fmla="*/ 124 w 218"/>
                  <a:gd name="T19" fmla="*/ 155 h 156"/>
                  <a:gd name="T20" fmla="*/ 124 w 218"/>
                  <a:gd name="T21" fmla="*/ 155 h 156"/>
                  <a:gd name="T22" fmla="*/ 124 w 218"/>
                  <a:gd name="T23" fmla="*/ 155 h 156"/>
                  <a:gd name="T24" fmla="*/ 156 w 218"/>
                  <a:gd name="T25" fmla="*/ 124 h 156"/>
                  <a:gd name="T26" fmla="*/ 156 w 218"/>
                  <a:gd name="T27" fmla="*/ 124 h 156"/>
                  <a:gd name="T28" fmla="*/ 156 w 218"/>
                  <a:gd name="T29" fmla="*/ 93 h 156"/>
                  <a:gd name="T30" fmla="*/ 186 w 218"/>
                  <a:gd name="T31" fmla="*/ 93 h 156"/>
                  <a:gd name="T32" fmla="*/ 186 w 218"/>
                  <a:gd name="T33" fmla="*/ 62 h 156"/>
                  <a:gd name="T34" fmla="*/ 186 w 218"/>
                  <a:gd name="T35" fmla="*/ 31 h 156"/>
                  <a:gd name="T36" fmla="*/ 186 w 218"/>
                  <a:gd name="T37" fmla="*/ 31 h 156"/>
                  <a:gd name="T38" fmla="*/ 186 w 218"/>
                  <a:gd name="T39" fmla="*/ 31 h 156"/>
                  <a:gd name="T40" fmla="*/ 217 w 218"/>
                  <a:gd name="T41" fmla="*/ 0 h 156"/>
                  <a:gd name="T42" fmla="*/ 217 w 218"/>
                  <a:gd name="T43" fmla="*/ 0 h 156"/>
                  <a:gd name="T44" fmla="*/ 186 w 218"/>
                  <a:gd name="T45" fmla="*/ 31 h 156"/>
                  <a:gd name="T46" fmla="*/ 156 w 218"/>
                  <a:gd name="T47" fmla="*/ 31 h 156"/>
                  <a:gd name="T48" fmla="*/ 156 w 218"/>
                  <a:gd name="T49" fmla="*/ 31 h 156"/>
                  <a:gd name="T50" fmla="*/ 156 w 218"/>
                  <a:gd name="T51" fmla="*/ 0 h 156"/>
                  <a:gd name="T52" fmla="*/ 124 w 218"/>
                  <a:gd name="T53" fmla="*/ 31 h 156"/>
                  <a:gd name="T54" fmla="*/ 124 w 218"/>
                  <a:gd name="T55" fmla="*/ 31 h 156"/>
                  <a:gd name="T56" fmla="*/ 93 w 218"/>
                  <a:gd name="T57" fmla="*/ 62 h 156"/>
                  <a:gd name="T58" fmla="*/ 93 w 218"/>
                  <a:gd name="T59" fmla="*/ 93 h 156"/>
                  <a:gd name="T60" fmla="*/ 32 w 218"/>
                  <a:gd name="T61" fmla="*/ 93 h 156"/>
                  <a:gd name="T62" fmla="*/ 32 w 218"/>
                  <a:gd name="T63" fmla="*/ 93 h 156"/>
                  <a:gd name="T64" fmla="*/ 0 w 218"/>
                  <a:gd name="T65"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8" h="156">
                    <a:moveTo>
                      <a:pt x="0" y="155"/>
                    </a:moveTo>
                    <a:lnTo>
                      <a:pt x="0" y="155"/>
                    </a:lnTo>
                    <a:lnTo>
                      <a:pt x="0" y="155"/>
                    </a:lnTo>
                    <a:cubicBezTo>
                      <a:pt x="32" y="155"/>
                      <a:pt x="32" y="124"/>
                      <a:pt x="62" y="124"/>
                    </a:cubicBezTo>
                    <a:lnTo>
                      <a:pt x="62" y="124"/>
                    </a:lnTo>
                    <a:lnTo>
                      <a:pt x="62" y="124"/>
                    </a:lnTo>
                    <a:lnTo>
                      <a:pt x="62" y="124"/>
                    </a:lnTo>
                    <a:cubicBezTo>
                      <a:pt x="62" y="124"/>
                      <a:pt x="93" y="124"/>
                      <a:pt x="93" y="155"/>
                    </a:cubicBezTo>
                    <a:cubicBezTo>
                      <a:pt x="124" y="155"/>
                      <a:pt x="124" y="155"/>
                      <a:pt x="124" y="155"/>
                    </a:cubicBezTo>
                    <a:lnTo>
                      <a:pt x="124" y="155"/>
                    </a:lnTo>
                    <a:lnTo>
                      <a:pt x="124" y="155"/>
                    </a:lnTo>
                    <a:lnTo>
                      <a:pt x="124" y="155"/>
                    </a:lnTo>
                    <a:cubicBezTo>
                      <a:pt x="124" y="155"/>
                      <a:pt x="124" y="124"/>
                      <a:pt x="156" y="124"/>
                    </a:cubicBezTo>
                    <a:lnTo>
                      <a:pt x="156" y="124"/>
                    </a:lnTo>
                    <a:cubicBezTo>
                      <a:pt x="156" y="124"/>
                      <a:pt x="156" y="124"/>
                      <a:pt x="156" y="93"/>
                    </a:cubicBezTo>
                    <a:cubicBezTo>
                      <a:pt x="186" y="93"/>
                      <a:pt x="186" y="93"/>
                      <a:pt x="186" y="93"/>
                    </a:cubicBezTo>
                    <a:cubicBezTo>
                      <a:pt x="186" y="93"/>
                      <a:pt x="186" y="93"/>
                      <a:pt x="186" y="62"/>
                    </a:cubicBezTo>
                    <a:lnTo>
                      <a:pt x="186" y="31"/>
                    </a:lnTo>
                    <a:lnTo>
                      <a:pt x="186" y="31"/>
                    </a:lnTo>
                    <a:lnTo>
                      <a:pt x="186" y="31"/>
                    </a:lnTo>
                    <a:cubicBezTo>
                      <a:pt x="186" y="31"/>
                      <a:pt x="186" y="0"/>
                      <a:pt x="217" y="0"/>
                    </a:cubicBezTo>
                    <a:lnTo>
                      <a:pt x="217" y="0"/>
                    </a:lnTo>
                    <a:cubicBezTo>
                      <a:pt x="186" y="31"/>
                      <a:pt x="186" y="31"/>
                      <a:pt x="186" y="31"/>
                    </a:cubicBezTo>
                    <a:lnTo>
                      <a:pt x="156" y="31"/>
                    </a:lnTo>
                    <a:lnTo>
                      <a:pt x="156" y="31"/>
                    </a:lnTo>
                    <a:lnTo>
                      <a:pt x="156" y="0"/>
                    </a:lnTo>
                    <a:cubicBezTo>
                      <a:pt x="156" y="31"/>
                      <a:pt x="124" y="31"/>
                      <a:pt x="124" y="31"/>
                    </a:cubicBezTo>
                    <a:lnTo>
                      <a:pt x="124" y="31"/>
                    </a:lnTo>
                    <a:cubicBezTo>
                      <a:pt x="124" y="62"/>
                      <a:pt x="124" y="62"/>
                      <a:pt x="93" y="62"/>
                    </a:cubicBezTo>
                    <a:lnTo>
                      <a:pt x="93" y="93"/>
                    </a:lnTo>
                    <a:cubicBezTo>
                      <a:pt x="62" y="93"/>
                      <a:pt x="32" y="93"/>
                      <a:pt x="32" y="93"/>
                    </a:cubicBezTo>
                    <a:lnTo>
                      <a:pt x="32" y="93"/>
                    </a:lnTo>
                    <a:cubicBezTo>
                      <a:pt x="32" y="124"/>
                      <a:pt x="0" y="124"/>
                      <a:pt x="0" y="1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33" name="Freeform 130"/>
              <p:cNvSpPr>
                <a:spLocks noChangeArrowheads="1"/>
              </p:cNvSpPr>
              <p:nvPr/>
            </p:nvSpPr>
            <p:spPr bwMode="auto">
              <a:xfrm>
                <a:off x="5710238" y="2125663"/>
                <a:ext cx="88900" cy="77787"/>
              </a:xfrm>
              <a:custGeom>
                <a:avLst/>
                <a:gdLst>
                  <a:gd name="T0" fmla="*/ 216 w 249"/>
                  <a:gd name="T1" fmla="*/ 93 h 218"/>
                  <a:gd name="T2" fmla="*/ 216 w 249"/>
                  <a:gd name="T3" fmla="*/ 93 h 218"/>
                  <a:gd name="T4" fmla="*/ 216 w 249"/>
                  <a:gd name="T5" fmla="*/ 93 h 218"/>
                  <a:gd name="T6" fmla="*/ 185 w 249"/>
                  <a:gd name="T7" fmla="*/ 62 h 218"/>
                  <a:gd name="T8" fmla="*/ 185 w 249"/>
                  <a:gd name="T9" fmla="*/ 32 h 218"/>
                  <a:gd name="T10" fmla="*/ 185 w 249"/>
                  <a:gd name="T11" fmla="*/ 32 h 218"/>
                  <a:gd name="T12" fmla="*/ 185 w 249"/>
                  <a:gd name="T13" fmla="*/ 32 h 218"/>
                  <a:gd name="T14" fmla="*/ 185 w 249"/>
                  <a:gd name="T15" fmla="*/ 32 h 218"/>
                  <a:gd name="T16" fmla="*/ 185 w 249"/>
                  <a:gd name="T17" fmla="*/ 32 h 218"/>
                  <a:gd name="T18" fmla="*/ 154 w 249"/>
                  <a:gd name="T19" fmla="*/ 32 h 218"/>
                  <a:gd name="T20" fmla="*/ 154 w 249"/>
                  <a:gd name="T21" fmla="*/ 32 h 218"/>
                  <a:gd name="T22" fmla="*/ 124 w 249"/>
                  <a:gd name="T23" fmla="*/ 0 h 218"/>
                  <a:gd name="T24" fmla="*/ 124 w 249"/>
                  <a:gd name="T25" fmla="*/ 0 h 218"/>
                  <a:gd name="T26" fmla="*/ 124 w 249"/>
                  <a:gd name="T27" fmla="*/ 0 h 218"/>
                  <a:gd name="T28" fmla="*/ 124 w 249"/>
                  <a:gd name="T29" fmla="*/ 0 h 218"/>
                  <a:gd name="T30" fmla="*/ 124 w 249"/>
                  <a:gd name="T31" fmla="*/ 0 h 218"/>
                  <a:gd name="T32" fmla="*/ 124 w 249"/>
                  <a:gd name="T33" fmla="*/ 0 h 218"/>
                  <a:gd name="T34" fmla="*/ 124 w 249"/>
                  <a:gd name="T35" fmla="*/ 0 h 218"/>
                  <a:gd name="T36" fmla="*/ 124 w 249"/>
                  <a:gd name="T37" fmla="*/ 32 h 218"/>
                  <a:gd name="T38" fmla="*/ 124 w 249"/>
                  <a:gd name="T39" fmla="*/ 32 h 218"/>
                  <a:gd name="T40" fmla="*/ 92 w 249"/>
                  <a:gd name="T41" fmla="*/ 32 h 218"/>
                  <a:gd name="T42" fmla="*/ 92 w 249"/>
                  <a:gd name="T43" fmla="*/ 32 h 218"/>
                  <a:gd name="T44" fmla="*/ 92 w 249"/>
                  <a:gd name="T45" fmla="*/ 32 h 218"/>
                  <a:gd name="T46" fmla="*/ 61 w 249"/>
                  <a:gd name="T47" fmla="*/ 32 h 218"/>
                  <a:gd name="T48" fmla="*/ 30 w 249"/>
                  <a:gd name="T49" fmla="*/ 32 h 218"/>
                  <a:gd name="T50" fmla="*/ 30 w 249"/>
                  <a:gd name="T51" fmla="*/ 32 h 218"/>
                  <a:gd name="T52" fmla="*/ 30 w 249"/>
                  <a:gd name="T53" fmla="*/ 32 h 218"/>
                  <a:gd name="T54" fmla="*/ 30 w 249"/>
                  <a:gd name="T55" fmla="*/ 32 h 218"/>
                  <a:gd name="T56" fmla="*/ 30 w 249"/>
                  <a:gd name="T57" fmla="*/ 32 h 218"/>
                  <a:gd name="T58" fmla="*/ 0 w 249"/>
                  <a:gd name="T59" fmla="*/ 32 h 218"/>
                  <a:gd name="T60" fmla="*/ 30 w 249"/>
                  <a:gd name="T61" fmla="*/ 32 h 218"/>
                  <a:gd name="T62" fmla="*/ 30 w 249"/>
                  <a:gd name="T63" fmla="*/ 32 h 218"/>
                  <a:gd name="T64" fmla="*/ 30 w 249"/>
                  <a:gd name="T65" fmla="*/ 93 h 218"/>
                  <a:gd name="T66" fmla="*/ 30 w 249"/>
                  <a:gd name="T67" fmla="*/ 93 h 218"/>
                  <a:gd name="T68" fmla="*/ 30 w 249"/>
                  <a:gd name="T69" fmla="*/ 93 h 218"/>
                  <a:gd name="T70" fmla="*/ 61 w 249"/>
                  <a:gd name="T71" fmla="*/ 93 h 218"/>
                  <a:gd name="T72" fmla="*/ 61 w 249"/>
                  <a:gd name="T73" fmla="*/ 62 h 218"/>
                  <a:gd name="T74" fmla="*/ 61 w 249"/>
                  <a:gd name="T75" fmla="*/ 62 h 218"/>
                  <a:gd name="T76" fmla="*/ 92 w 249"/>
                  <a:gd name="T77" fmla="*/ 93 h 218"/>
                  <a:gd name="T78" fmla="*/ 92 w 249"/>
                  <a:gd name="T79" fmla="*/ 93 h 218"/>
                  <a:gd name="T80" fmla="*/ 92 w 249"/>
                  <a:gd name="T81" fmla="*/ 93 h 218"/>
                  <a:gd name="T82" fmla="*/ 124 w 249"/>
                  <a:gd name="T83" fmla="*/ 93 h 218"/>
                  <a:gd name="T84" fmla="*/ 124 w 249"/>
                  <a:gd name="T85" fmla="*/ 156 h 218"/>
                  <a:gd name="T86" fmla="*/ 124 w 249"/>
                  <a:gd name="T87" fmla="*/ 156 h 218"/>
                  <a:gd name="T88" fmla="*/ 124 w 249"/>
                  <a:gd name="T89" fmla="*/ 156 h 218"/>
                  <a:gd name="T90" fmla="*/ 154 w 249"/>
                  <a:gd name="T91" fmla="*/ 186 h 218"/>
                  <a:gd name="T92" fmla="*/ 154 w 249"/>
                  <a:gd name="T93" fmla="*/ 186 h 218"/>
                  <a:gd name="T94" fmla="*/ 154 w 249"/>
                  <a:gd name="T95" fmla="*/ 186 h 218"/>
                  <a:gd name="T96" fmla="*/ 124 w 249"/>
                  <a:gd name="T97" fmla="*/ 186 h 218"/>
                  <a:gd name="T98" fmla="*/ 124 w 249"/>
                  <a:gd name="T99" fmla="*/ 186 h 218"/>
                  <a:gd name="T100" fmla="*/ 124 w 249"/>
                  <a:gd name="T101" fmla="*/ 217 h 218"/>
                  <a:gd name="T102" fmla="*/ 124 w 249"/>
                  <a:gd name="T103" fmla="*/ 217 h 218"/>
                  <a:gd name="T104" fmla="*/ 124 w 249"/>
                  <a:gd name="T105" fmla="*/ 217 h 218"/>
                  <a:gd name="T106" fmla="*/ 124 w 249"/>
                  <a:gd name="T107" fmla="*/ 217 h 218"/>
                  <a:gd name="T108" fmla="*/ 124 w 249"/>
                  <a:gd name="T109" fmla="*/ 217 h 218"/>
                  <a:gd name="T110" fmla="*/ 154 w 249"/>
                  <a:gd name="T111" fmla="*/ 186 h 218"/>
                  <a:gd name="T112" fmla="*/ 154 w 249"/>
                  <a:gd name="T113" fmla="*/ 186 h 218"/>
                  <a:gd name="T114" fmla="*/ 185 w 249"/>
                  <a:gd name="T115" fmla="*/ 156 h 218"/>
                  <a:gd name="T116" fmla="*/ 216 w 249"/>
                  <a:gd name="T117" fmla="*/ 156 h 218"/>
                  <a:gd name="T118" fmla="*/ 216 w 249"/>
                  <a:gd name="T119" fmla="*/ 124 h 218"/>
                  <a:gd name="T120" fmla="*/ 216 w 249"/>
                  <a:gd name="T121" fmla="*/ 124 h 218"/>
                  <a:gd name="T122" fmla="*/ 248 w 249"/>
                  <a:gd name="T123" fmla="*/ 93 h 218"/>
                  <a:gd name="T124" fmla="*/ 216 w 249"/>
                  <a:gd name="T125" fmla="*/ 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9" h="218">
                    <a:moveTo>
                      <a:pt x="216" y="93"/>
                    </a:moveTo>
                    <a:lnTo>
                      <a:pt x="216" y="93"/>
                    </a:lnTo>
                    <a:lnTo>
                      <a:pt x="216" y="93"/>
                    </a:lnTo>
                    <a:cubicBezTo>
                      <a:pt x="185" y="62"/>
                      <a:pt x="185" y="62"/>
                      <a:pt x="185" y="62"/>
                    </a:cubicBezTo>
                    <a:lnTo>
                      <a:pt x="185" y="32"/>
                    </a:lnTo>
                    <a:lnTo>
                      <a:pt x="185" y="32"/>
                    </a:lnTo>
                    <a:lnTo>
                      <a:pt x="185" y="32"/>
                    </a:lnTo>
                    <a:lnTo>
                      <a:pt x="185" y="32"/>
                    </a:lnTo>
                    <a:lnTo>
                      <a:pt x="185" y="32"/>
                    </a:lnTo>
                    <a:lnTo>
                      <a:pt x="154" y="32"/>
                    </a:lnTo>
                    <a:lnTo>
                      <a:pt x="154" y="32"/>
                    </a:lnTo>
                    <a:cubicBezTo>
                      <a:pt x="154" y="32"/>
                      <a:pt x="154" y="0"/>
                      <a:pt x="124" y="0"/>
                    </a:cubicBezTo>
                    <a:lnTo>
                      <a:pt x="124" y="0"/>
                    </a:lnTo>
                    <a:lnTo>
                      <a:pt x="124" y="0"/>
                    </a:lnTo>
                    <a:lnTo>
                      <a:pt x="124" y="0"/>
                    </a:lnTo>
                    <a:lnTo>
                      <a:pt x="124" y="0"/>
                    </a:lnTo>
                    <a:lnTo>
                      <a:pt x="124" y="0"/>
                    </a:lnTo>
                    <a:lnTo>
                      <a:pt x="124" y="0"/>
                    </a:lnTo>
                    <a:cubicBezTo>
                      <a:pt x="124" y="0"/>
                      <a:pt x="124" y="0"/>
                      <a:pt x="124" y="32"/>
                    </a:cubicBezTo>
                    <a:lnTo>
                      <a:pt x="124" y="32"/>
                    </a:lnTo>
                    <a:lnTo>
                      <a:pt x="92" y="32"/>
                    </a:lnTo>
                    <a:lnTo>
                      <a:pt x="92" y="32"/>
                    </a:lnTo>
                    <a:lnTo>
                      <a:pt x="92" y="32"/>
                    </a:lnTo>
                    <a:cubicBezTo>
                      <a:pt x="92" y="32"/>
                      <a:pt x="92" y="32"/>
                      <a:pt x="61" y="32"/>
                    </a:cubicBezTo>
                    <a:cubicBezTo>
                      <a:pt x="61" y="32"/>
                      <a:pt x="61" y="32"/>
                      <a:pt x="30" y="32"/>
                    </a:cubicBezTo>
                    <a:lnTo>
                      <a:pt x="30" y="32"/>
                    </a:lnTo>
                    <a:lnTo>
                      <a:pt x="30" y="32"/>
                    </a:lnTo>
                    <a:lnTo>
                      <a:pt x="30" y="32"/>
                    </a:lnTo>
                    <a:lnTo>
                      <a:pt x="30" y="32"/>
                    </a:lnTo>
                    <a:cubicBezTo>
                      <a:pt x="30" y="32"/>
                      <a:pt x="30" y="32"/>
                      <a:pt x="0" y="32"/>
                    </a:cubicBezTo>
                    <a:cubicBezTo>
                      <a:pt x="0" y="32"/>
                      <a:pt x="0" y="32"/>
                      <a:pt x="30" y="32"/>
                    </a:cubicBezTo>
                    <a:lnTo>
                      <a:pt x="30" y="32"/>
                    </a:lnTo>
                    <a:cubicBezTo>
                      <a:pt x="30" y="62"/>
                      <a:pt x="30" y="62"/>
                      <a:pt x="30" y="93"/>
                    </a:cubicBezTo>
                    <a:lnTo>
                      <a:pt x="30" y="93"/>
                    </a:lnTo>
                    <a:lnTo>
                      <a:pt x="30" y="93"/>
                    </a:lnTo>
                    <a:cubicBezTo>
                      <a:pt x="30" y="93"/>
                      <a:pt x="30" y="93"/>
                      <a:pt x="61" y="93"/>
                    </a:cubicBezTo>
                    <a:lnTo>
                      <a:pt x="61" y="62"/>
                    </a:lnTo>
                    <a:lnTo>
                      <a:pt x="61" y="62"/>
                    </a:lnTo>
                    <a:cubicBezTo>
                      <a:pt x="92" y="93"/>
                      <a:pt x="92" y="93"/>
                      <a:pt x="92" y="93"/>
                    </a:cubicBezTo>
                    <a:lnTo>
                      <a:pt x="92" y="93"/>
                    </a:lnTo>
                    <a:lnTo>
                      <a:pt x="92" y="93"/>
                    </a:lnTo>
                    <a:lnTo>
                      <a:pt x="124" y="93"/>
                    </a:lnTo>
                    <a:cubicBezTo>
                      <a:pt x="124" y="124"/>
                      <a:pt x="124" y="124"/>
                      <a:pt x="124" y="156"/>
                    </a:cubicBezTo>
                    <a:lnTo>
                      <a:pt x="124" y="156"/>
                    </a:lnTo>
                    <a:lnTo>
                      <a:pt x="124" y="156"/>
                    </a:lnTo>
                    <a:cubicBezTo>
                      <a:pt x="154" y="156"/>
                      <a:pt x="154" y="156"/>
                      <a:pt x="154" y="186"/>
                    </a:cubicBezTo>
                    <a:lnTo>
                      <a:pt x="154" y="186"/>
                    </a:lnTo>
                    <a:lnTo>
                      <a:pt x="154" y="186"/>
                    </a:lnTo>
                    <a:lnTo>
                      <a:pt x="124" y="186"/>
                    </a:lnTo>
                    <a:lnTo>
                      <a:pt x="124" y="186"/>
                    </a:lnTo>
                    <a:lnTo>
                      <a:pt x="124" y="217"/>
                    </a:lnTo>
                    <a:lnTo>
                      <a:pt x="124" y="217"/>
                    </a:lnTo>
                    <a:lnTo>
                      <a:pt x="124" y="217"/>
                    </a:lnTo>
                    <a:lnTo>
                      <a:pt x="124" y="217"/>
                    </a:lnTo>
                    <a:lnTo>
                      <a:pt x="124" y="217"/>
                    </a:lnTo>
                    <a:lnTo>
                      <a:pt x="154" y="186"/>
                    </a:lnTo>
                    <a:lnTo>
                      <a:pt x="154" y="186"/>
                    </a:lnTo>
                    <a:cubicBezTo>
                      <a:pt x="154" y="156"/>
                      <a:pt x="185" y="156"/>
                      <a:pt x="185" y="156"/>
                    </a:cubicBezTo>
                    <a:cubicBezTo>
                      <a:pt x="185" y="156"/>
                      <a:pt x="185" y="156"/>
                      <a:pt x="216" y="156"/>
                    </a:cubicBezTo>
                    <a:cubicBezTo>
                      <a:pt x="216" y="124"/>
                      <a:pt x="216" y="124"/>
                      <a:pt x="216" y="124"/>
                    </a:cubicBezTo>
                    <a:lnTo>
                      <a:pt x="216" y="124"/>
                    </a:lnTo>
                    <a:cubicBezTo>
                      <a:pt x="216" y="93"/>
                      <a:pt x="216" y="93"/>
                      <a:pt x="248" y="93"/>
                    </a:cubicBezTo>
                    <a:cubicBezTo>
                      <a:pt x="248" y="93"/>
                      <a:pt x="248" y="93"/>
                      <a:pt x="216" y="9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34" name="Freeform 131"/>
              <p:cNvSpPr>
                <a:spLocks noChangeArrowheads="1"/>
              </p:cNvSpPr>
              <p:nvPr/>
            </p:nvSpPr>
            <p:spPr bwMode="auto">
              <a:xfrm>
                <a:off x="5776913" y="2282825"/>
                <a:ext cx="55562" cy="133350"/>
              </a:xfrm>
              <a:custGeom>
                <a:avLst/>
                <a:gdLst>
                  <a:gd name="T0" fmla="*/ 63 w 156"/>
                  <a:gd name="T1" fmla="*/ 278 h 372"/>
                  <a:gd name="T2" fmla="*/ 63 w 156"/>
                  <a:gd name="T3" fmla="*/ 278 h 372"/>
                  <a:gd name="T4" fmla="*/ 63 w 156"/>
                  <a:gd name="T5" fmla="*/ 278 h 372"/>
                  <a:gd name="T6" fmla="*/ 63 w 156"/>
                  <a:gd name="T7" fmla="*/ 278 h 372"/>
                  <a:gd name="T8" fmla="*/ 31 w 156"/>
                  <a:gd name="T9" fmla="*/ 309 h 372"/>
                  <a:gd name="T10" fmla="*/ 31 w 156"/>
                  <a:gd name="T11" fmla="*/ 309 h 372"/>
                  <a:gd name="T12" fmla="*/ 31 w 156"/>
                  <a:gd name="T13" fmla="*/ 309 h 372"/>
                  <a:gd name="T14" fmla="*/ 31 w 156"/>
                  <a:gd name="T15" fmla="*/ 309 h 372"/>
                  <a:gd name="T16" fmla="*/ 31 w 156"/>
                  <a:gd name="T17" fmla="*/ 309 h 372"/>
                  <a:gd name="T18" fmla="*/ 0 w 156"/>
                  <a:gd name="T19" fmla="*/ 341 h 372"/>
                  <a:gd name="T20" fmla="*/ 0 w 156"/>
                  <a:gd name="T21" fmla="*/ 341 h 372"/>
                  <a:gd name="T22" fmla="*/ 0 w 156"/>
                  <a:gd name="T23" fmla="*/ 341 h 372"/>
                  <a:gd name="T24" fmla="*/ 0 w 156"/>
                  <a:gd name="T25" fmla="*/ 341 h 372"/>
                  <a:gd name="T26" fmla="*/ 31 w 156"/>
                  <a:gd name="T27" fmla="*/ 371 h 372"/>
                  <a:gd name="T28" fmla="*/ 31 w 156"/>
                  <a:gd name="T29" fmla="*/ 371 h 372"/>
                  <a:gd name="T30" fmla="*/ 93 w 156"/>
                  <a:gd name="T31" fmla="*/ 341 h 372"/>
                  <a:gd name="T32" fmla="*/ 93 w 156"/>
                  <a:gd name="T33" fmla="*/ 341 h 372"/>
                  <a:gd name="T34" fmla="*/ 93 w 156"/>
                  <a:gd name="T35" fmla="*/ 309 h 372"/>
                  <a:gd name="T36" fmla="*/ 93 w 156"/>
                  <a:gd name="T37" fmla="*/ 309 h 372"/>
                  <a:gd name="T38" fmla="*/ 155 w 156"/>
                  <a:gd name="T39" fmla="*/ 247 h 372"/>
                  <a:gd name="T40" fmla="*/ 155 w 156"/>
                  <a:gd name="T41" fmla="*/ 247 h 372"/>
                  <a:gd name="T42" fmla="*/ 155 w 156"/>
                  <a:gd name="T43" fmla="*/ 217 h 372"/>
                  <a:gd name="T44" fmla="*/ 155 w 156"/>
                  <a:gd name="T45" fmla="*/ 185 h 372"/>
                  <a:gd name="T46" fmla="*/ 155 w 156"/>
                  <a:gd name="T47" fmla="*/ 154 h 372"/>
                  <a:gd name="T48" fmla="*/ 155 w 156"/>
                  <a:gd name="T49" fmla="*/ 154 h 372"/>
                  <a:gd name="T50" fmla="*/ 155 w 156"/>
                  <a:gd name="T51" fmla="*/ 123 h 372"/>
                  <a:gd name="T52" fmla="*/ 155 w 156"/>
                  <a:gd name="T53" fmla="*/ 123 h 372"/>
                  <a:gd name="T54" fmla="*/ 124 w 156"/>
                  <a:gd name="T55" fmla="*/ 31 h 372"/>
                  <a:gd name="T56" fmla="*/ 124 w 156"/>
                  <a:gd name="T57" fmla="*/ 31 h 372"/>
                  <a:gd name="T58" fmla="*/ 93 w 156"/>
                  <a:gd name="T59" fmla="*/ 31 h 372"/>
                  <a:gd name="T60" fmla="*/ 93 w 156"/>
                  <a:gd name="T61" fmla="*/ 0 h 372"/>
                  <a:gd name="T62" fmla="*/ 93 w 156"/>
                  <a:gd name="T63" fmla="*/ 31 h 372"/>
                  <a:gd name="T64" fmla="*/ 93 w 156"/>
                  <a:gd name="T65" fmla="*/ 31 h 372"/>
                  <a:gd name="T66" fmla="*/ 93 w 156"/>
                  <a:gd name="T67" fmla="*/ 31 h 372"/>
                  <a:gd name="T68" fmla="*/ 93 w 156"/>
                  <a:gd name="T69" fmla="*/ 31 h 372"/>
                  <a:gd name="T70" fmla="*/ 93 w 156"/>
                  <a:gd name="T71" fmla="*/ 31 h 372"/>
                  <a:gd name="T72" fmla="*/ 93 w 156"/>
                  <a:gd name="T73" fmla="*/ 61 h 372"/>
                  <a:gd name="T74" fmla="*/ 93 w 156"/>
                  <a:gd name="T75" fmla="*/ 93 h 372"/>
                  <a:gd name="T76" fmla="*/ 93 w 156"/>
                  <a:gd name="T77" fmla="*/ 93 h 372"/>
                  <a:gd name="T78" fmla="*/ 93 w 156"/>
                  <a:gd name="T79" fmla="*/ 93 h 372"/>
                  <a:gd name="T80" fmla="*/ 93 w 156"/>
                  <a:gd name="T81" fmla="*/ 93 h 372"/>
                  <a:gd name="T82" fmla="*/ 93 w 156"/>
                  <a:gd name="T83" fmla="*/ 123 h 372"/>
                  <a:gd name="T84" fmla="*/ 93 w 156"/>
                  <a:gd name="T85" fmla="*/ 154 h 372"/>
                  <a:gd name="T86" fmla="*/ 93 w 156"/>
                  <a:gd name="T87" fmla="*/ 185 h 372"/>
                  <a:gd name="T88" fmla="*/ 93 w 156"/>
                  <a:gd name="T89" fmla="*/ 217 h 372"/>
                  <a:gd name="T90" fmla="*/ 93 w 156"/>
                  <a:gd name="T91" fmla="*/ 247 h 372"/>
                  <a:gd name="T92" fmla="*/ 93 w 156"/>
                  <a:gd name="T93" fmla="*/ 278 h 372"/>
                  <a:gd name="T94" fmla="*/ 93 w 156"/>
                  <a:gd name="T95" fmla="*/ 278 h 372"/>
                  <a:gd name="T96" fmla="*/ 63 w 156"/>
                  <a:gd name="T97" fmla="*/ 27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6" h="372">
                    <a:moveTo>
                      <a:pt x="63" y="278"/>
                    </a:moveTo>
                    <a:lnTo>
                      <a:pt x="63" y="278"/>
                    </a:lnTo>
                    <a:lnTo>
                      <a:pt x="63" y="278"/>
                    </a:lnTo>
                    <a:lnTo>
                      <a:pt x="63" y="278"/>
                    </a:lnTo>
                    <a:cubicBezTo>
                      <a:pt x="31" y="278"/>
                      <a:pt x="31" y="309"/>
                      <a:pt x="31" y="309"/>
                    </a:cubicBezTo>
                    <a:lnTo>
                      <a:pt x="31" y="309"/>
                    </a:lnTo>
                    <a:lnTo>
                      <a:pt x="31" y="309"/>
                    </a:lnTo>
                    <a:lnTo>
                      <a:pt x="31" y="309"/>
                    </a:lnTo>
                    <a:lnTo>
                      <a:pt x="31" y="309"/>
                    </a:lnTo>
                    <a:cubicBezTo>
                      <a:pt x="31" y="341"/>
                      <a:pt x="31" y="341"/>
                      <a:pt x="0" y="341"/>
                    </a:cubicBezTo>
                    <a:lnTo>
                      <a:pt x="0" y="341"/>
                    </a:lnTo>
                    <a:lnTo>
                      <a:pt x="0" y="341"/>
                    </a:lnTo>
                    <a:lnTo>
                      <a:pt x="0" y="341"/>
                    </a:lnTo>
                    <a:lnTo>
                      <a:pt x="31" y="371"/>
                    </a:lnTo>
                    <a:lnTo>
                      <a:pt x="31" y="371"/>
                    </a:lnTo>
                    <a:cubicBezTo>
                      <a:pt x="31" y="341"/>
                      <a:pt x="63" y="341"/>
                      <a:pt x="93" y="341"/>
                    </a:cubicBezTo>
                    <a:lnTo>
                      <a:pt x="93" y="341"/>
                    </a:lnTo>
                    <a:cubicBezTo>
                      <a:pt x="93" y="309"/>
                      <a:pt x="93" y="309"/>
                      <a:pt x="93" y="309"/>
                    </a:cubicBezTo>
                    <a:lnTo>
                      <a:pt x="93" y="309"/>
                    </a:lnTo>
                    <a:cubicBezTo>
                      <a:pt x="93" y="309"/>
                      <a:pt x="124" y="278"/>
                      <a:pt x="155" y="247"/>
                    </a:cubicBezTo>
                    <a:lnTo>
                      <a:pt x="155" y="247"/>
                    </a:lnTo>
                    <a:lnTo>
                      <a:pt x="155" y="217"/>
                    </a:lnTo>
                    <a:cubicBezTo>
                      <a:pt x="155" y="185"/>
                      <a:pt x="155" y="185"/>
                      <a:pt x="155" y="185"/>
                    </a:cubicBezTo>
                    <a:cubicBezTo>
                      <a:pt x="155" y="185"/>
                      <a:pt x="155" y="185"/>
                      <a:pt x="155" y="154"/>
                    </a:cubicBezTo>
                    <a:lnTo>
                      <a:pt x="155" y="154"/>
                    </a:lnTo>
                    <a:lnTo>
                      <a:pt x="155" y="123"/>
                    </a:lnTo>
                    <a:lnTo>
                      <a:pt x="155" y="123"/>
                    </a:lnTo>
                    <a:cubicBezTo>
                      <a:pt x="124" y="93"/>
                      <a:pt x="124" y="61"/>
                      <a:pt x="124" y="31"/>
                    </a:cubicBezTo>
                    <a:lnTo>
                      <a:pt x="124" y="31"/>
                    </a:lnTo>
                    <a:cubicBezTo>
                      <a:pt x="124" y="31"/>
                      <a:pt x="124" y="31"/>
                      <a:pt x="93" y="31"/>
                    </a:cubicBezTo>
                    <a:cubicBezTo>
                      <a:pt x="93" y="0"/>
                      <a:pt x="93" y="0"/>
                      <a:pt x="93" y="0"/>
                    </a:cubicBezTo>
                    <a:lnTo>
                      <a:pt x="93" y="31"/>
                    </a:lnTo>
                    <a:lnTo>
                      <a:pt x="93" y="31"/>
                    </a:lnTo>
                    <a:lnTo>
                      <a:pt x="93" y="31"/>
                    </a:lnTo>
                    <a:lnTo>
                      <a:pt x="93" y="31"/>
                    </a:lnTo>
                    <a:lnTo>
                      <a:pt x="93" y="31"/>
                    </a:lnTo>
                    <a:lnTo>
                      <a:pt x="93" y="61"/>
                    </a:lnTo>
                    <a:cubicBezTo>
                      <a:pt x="93" y="61"/>
                      <a:pt x="93" y="61"/>
                      <a:pt x="93" y="93"/>
                    </a:cubicBezTo>
                    <a:lnTo>
                      <a:pt x="93" y="93"/>
                    </a:lnTo>
                    <a:lnTo>
                      <a:pt x="93" y="93"/>
                    </a:lnTo>
                    <a:lnTo>
                      <a:pt x="93" y="93"/>
                    </a:lnTo>
                    <a:cubicBezTo>
                      <a:pt x="93" y="93"/>
                      <a:pt x="93" y="93"/>
                      <a:pt x="93" y="123"/>
                    </a:cubicBezTo>
                    <a:cubicBezTo>
                      <a:pt x="93" y="123"/>
                      <a:pt x="93" y="123"/>
                      <a:pt x="93" y="154"/>
                    </a:cubicBezTo>
                    <a:cubicBezTo>
                      <a:pt x="93" y="185"/>
                      <a:pt x="93" y="185"/>
                      <a:pt x="93" y="185"/>
                    </a:cubicBezTo>
                    <a:lnTo>
                      <a:pt x="93" y="217"/>
                    </a:lnTo>
                    <a:cubicBezTo>
                      <a:pt x="93" y="217"/>
                      <a:pt x="93" y="217"/>
                      <a:pt x="93" y="247"/>
                    </a:cubicBezTo>
                    <a:cubicBezTo>
                      <a:pt x="93" y="247"/>
                      <a:pt x="93" y="247"/>
                      <a:pt x="93" y="278"/>
                    </a:cubicBezTo>
                    <a:lnTo>
                      <a:pt x="93" y="278"/>
                    </a:lnTo>
                    <a:lnTo>
                      <a:pt x="63" y="278"/>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35" name="Freeform 132"/>
              <p:cNvSpPr>
                <a:spLocks noChangeArrowheads="1"/>
              </p:cNvSpPr>
              <p:nvPr/>
            </p:nvSpPr>
            <p:spPr bwMode="auto">
              <a:xfrm>
                <a:off x="5710238" y="2327275"/>
                <a:ext cx="88900" cy="79375"/>
              </a:xfrm>
              <a:custGeom>
                <a:avLst/>
                <a:gdLst>
                  <a:gd name="T0" fmla="*/ 154 w 249"/>
                  <a:gd name="T1" fmla="*/ 155 h 219"/>
                  <a:gd name="T2" fmla="*/ 154 w 249"/>
                  <a:gd name="T3" fmla="*/ 155 h 219"/>
                  <a:gd name="T4" fmla="*/ 154 w 249"/>
                  <a:gd name="T5" fmla="*/ 155 h 219"/>
                  <a:gd name="T6" fmla="*/ 154 w 249"/>
                  <a:gd name="T7" fmla="*/ 155 h 219"/>
                  <a:gd name="T8" fmla="*/ 154 w 249"/>
                  <a:gd name="T9" fmla="*/ 155 h 219"/>
                  <a:gd name="T10" fmla="*/ 154 w 249"/>
                  <a:gd name="T11" fmla="*/ 155 h 219"/>
                  <a:gd name="T12" fmla="*/ 154 w 249"/>
                  <a:gd name="T13" fmla="*/ 124 h 219"/>
                  <a:gd name="T14" fmla="*/ 154 w 249"/>
                  <a:gd name="T15" fmla="*/ 124 h 219"/>
                  <a:gd name="T16" fmla="*/ 154 w 249"/>
                  <a:gd name="T17" fmla="*/ 124 h 219"/>
                  <a:gd name="T18" fmla="*/ 185 w 249"/>
                  <a:gd name="T19" fmla="*/ 124 h 219"/>
                  <a:gd name="T20" fmla="*/ 185 w 249"/>
                  <a:gd name="T21" fmla="*/ 124 h 219"/>
                  <a:gd name="T22" fmla="*/ 216 w 249"/>
                  <a:gd name="T23" fmla="*/ 124 h 219"/>
                  <a:gd name="T24" fmla="*/ 216 w 249"/>
                  <a:gd name="T25" fmla="*/ 124 h 219"/>
                  <a:gd name="T26" fmla="*/ 248 w 249"/>
                  <a:gd name="T27" fmla="*/ 94 h 219"/>
                  <a:gd name="T28" fmla="*/ 248 w 249"/>
                  <a:gd name="T29" fmla="*/ 94 h 219"/>
                  <a:gd name="T30" fmla="*/ 248 w 249"/>
                  <a:gd name="T31" fmla="*/ 94 h 219"/>
                  <a:gd name="T32" fmla="*/ 248 w 249"/>
                  <a:gd name="T33" fmla="*/ 62 h 219"/>
                  <a:gd name="T34" fmla="*/ 248 w 249"/>
                  <a:gd name="T35" fmla="*/ 31 h 219"/>
                  <a:gd name="T36" fmla="*/ 248 w 249"/>
                  <a:gd name="T37" fmla="*/ 0 h 219"/>
                  <a:gd name="T38" fmla="*/ 248 w 249"/>
                  <a:gd name="T39" fmla="*/ 0 h 219"/>
                  <a:gd name="T40" fmla="*/ 248 w 249"/>
                  <a:gd name="T41" fmla="*/ 0 h 219"/>
                  <a:gd name="T42" fmla="*/ 248 w 249"/>
                  <a:gd name="T43" fmla="*/ 0 h 219"/>
                  <a:gd name="T44" fmla="*/ 216 w 249"/>
                  <a:gd name="T45" fmla="*/ 0 h 219"/>
                  <a:gd name="T46" fmla="*/ 216 w 249"/>
                  <a:gd name="T47" fmla="*/ 0 h 219"/>
                  <a:gd name="T48" fmla="*/ 216 w 249"/>
                  <a:gd name="T49" fmla="*/ 0 h 219"/>
                  <a:gd name="T50" fmla="*/ 216 w 249"/>
                  <a:gd name="T51" fmla="*/ 0 h 219"/>
                  <a:gd name="T52" fmla="*/ 216 w 249"/>
                  <a:gd name="T53" fmla="*/ 0 h 219"/>
                  <a:gd name="T54" fmla="*/ 185 w 249"/>
                  <a:gd name="T55" fmla="*/ 0 h 219"/>
                  <a:gd name="T56" fmla="*/ 185 w 249"/>
                  <a:gd name="T57" fmla="*/ 31 h 219"/>
                  <a:gd name="T58" fmla="*/ 154 w 249"/>
                  <a:gd name="T59" fmla="*/ 31 h 219"/>
                  <a:gd name="T60" fmla="*/ 154 w 249"/>
                  <a:gd name="T61" fmla="*/ 31 h 219"/>
                  <a:gd name="T62" fmla="*/ 124 w 249"/>
                  <a:gd name="T63" fmla="*/ 31 h 219"/>
                  <a:gd name="T64" fmla="*/ 124 w 249"/>
                  <a:gd name="T65" fmla="*/ 0 h 219"/>
                  <a:gd name="T66" fmla="*/ 124 w 249"/>
                  <a:gd name="T67" fmla="*/ 0 h 219"/>
                  <a:gd name="T68" fmla="*/ 92 w 249"/>
                  <a:gd name="T69" fmla="*/ 0 h 219"/>
                  <a:gd name="T70" fmla="*/ 92 w 249"/>
                  <a:gd name="T71" fmla="*/ 0 h 219"/>
                  <a:gd name="T72" fmla="*/ 92 w 249"/>
                  <a:gd name="T73" fmla="*/ 0 h 219"/>
                  <a:gd name="T74" fmla="*/ 61 w 249"/>
                  <a:gd name="T75" fmla="*/ 0 h 219"/>
                  <a:gd name="T76" fmla="*/ 30 w 249"/>
                  <a:gd name="T77" fmla="*/ 0 h 219"/>
                  <a:gd name="T78" fmla="*/ 30 w 249"/>
                  <a:gd name="T79" fmla="*/ 0 h 219"/>
                  <a:gd name="T80" fmla="*/ 30 w 249"/>
                  <a:gd name="T81" fmla="*/ 0 h 219"/>
                  <a:gd name="T82" fmla="*/ 0 w 249"/>
                  <a:gd name="T83" fmla="*/ 31 h 219"/>
                  <a:gd name="T84" fmla="*/ 0 w 249"/>
                  <a:gd name="T85" fmla="*/ 62 h 219"/>
                  <a:gd name="T86" fmla="*/ 30 w 249"/>
                  <a:gd name="T87" fmla="*/ 124 h 219"/>
                  <a:gd name="T88" fmla="*/ 30 w 249"/>
                  <a:gd name="T89" fmla="*/ 124 h 219"/>
                  <a:gd name="T90" fmla="*/ 30 w 249"/>
                  <a:gd name="T91" fmla="*/ 155 h 219"/>
                  <a:gd name="T92" fmla="*/ 61 w 249"/>
                  <a:gd name="T93" fmla="*/ 186 h 219"/>
                  <a:gd name="T94" fmla="*/ 92 w 249"/>
                  <a:gd name="T95" fmla="*/ 218 h 219"/>
                  <a:gd name="T96" fmla="*/ 92 w 249"/>
                  <a:gd name="T97" fmla="*/ 186 h 219"/>
                  <a:gd name="T98" fmla="*/ 124 w 249"/>
                  <a:gd name="T99" fmla="*/ 186 h 219"/>
                  <a:gd name="T100" fmla="*/ 154 w 249"/>
                  <a:gd name="T101" fmla="*/ 15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9" h="219">
                    <a:moveTo>
                      <a:pt x="154" y="155"/>
                    </a:moveTo>
                    <a:lnTo>
                      <a:pt x="154" y="155"/>
                    </a:lnTo>
                    <a:lnTo>
                      <a:pt x="154" y="155"/>
                    </a:lnTo>
                    <a:lnTo>
                      <a:pt x="154" y="155"/>
                    </a:lnTo>
                    <a:lnTo>
                      <a:pt x="154" y="155"/>
                    </a:lnTo>
                    <a:lnTo>
                      <a:pt x="154" y="155"/>
                    </a:lnTo>
                    <a:lnTo>
                      <a:pt x="154" y="124"/>
                    </a:lnTo>
                    <a:lnTo>
                      <a:pt x="154" y="124"/>
                    </a:lnTo>
                    <a:lnTo>
                      <a:pt x="154" y="124"/>
                    </a:lnTo>
                    <a:cubicBezTo>
                      <a:pt x="185" y="124"/>
                      <a:pt x="185" y="124"/>
                      <a:pt x="185" y="124"/>
                    </a:cubicBezTo>
                    <a:lnTo>
                      <a:pt x="185" y="124"/>
                    </a:lnTo>
                    <a:cubicBezTo>
                      <a:pt x="216" y="124"/>
                      <a:pt x="216" y="124"/>
                      <a:pt x="216" y="124"/>
                    </a:cubicBezTo>
                    <a:lnTo>
                      <a:pt x="216" y="124"/>
                    </a:lnTo>
                    <a:cubicBezTo>
                      <a:pt x="216" y="94"/>
                      <a:pt x="216" y="94"/>
                      <a:pt x="248" y="94"/>
                    </a:cubicBezTo>
                    <a:lnTo>
                      <a:pt x="248" y="94"/>
                    </a:lnTo>
                    <a:lnTo>
                      <a:pt x="248" y="94"/>
                    </a:lnTo>
                    <a:cubicBezTo>
                      <a:pt x="248" y="94"/>
                      <a:pt x="248" y="94"/>
                      <a:pt x="248" y="62"/>
                    </a:cubicBezTo>
                    <a:cubicBezTo>
                      <a:pt x="248" y="62"/>
                      <a:pt x="248" y="62"/>
                      <a:pt x="248" y="31"/>
                    </a:cubicBezTo>
                    <a:lnTo>
                      <a:pt x="248" y="0"/>
                    </a:lnTo>
                    <a:lnTo>
                      <a:pt x="248" y="0"/>
                    </a:lnTo>
                    <a:lnTo>
                      <a:pt x="248" y="0"/>
                    </a:lnTo>
                    <a:lnTo>
                      <a:pt x="248" y="0"/>
                    </a:lnTo>
                    <a:cubicBezTo>
                      <a:pt x="216" y="0"/>
                      <a:pt x="216" y="0"/>
                      <a:pt x="216" y="0"/>
                    </a:cubicBezTo>
                    <a:lnTo>
                      <a:pt x="216" y="0"/>
                    </a:lnTo>
                    <a:lnTo>
                      <a:pt x="216" y="0"/>
                    </a:lnTo>
                    <a:lnTo>
                      <a:pt x="216" y="0"/>
                    </a:lnTo>
                    <a:lnTo>
                      <a:pt x="216" y="0"/>
                    </a:lnTo>
                    <a:cubicBezTo>
                      <a:pt x="216" y="0"/>
                      <a:pt x="216" y="0"/>
                      <a:pt x="185" y="0"/>
                    </a:cubicBezTo>
                    <a:lnTo>
                      <a:pt x="185" y="31"/>
                    </a:lnTo>
                    <a:cubicBezTo>
                      <a:pt x="185" y="31"/>
                      <a:pt x="185" y="31"/>
                      <a:pt x="154" y="31"/>
                    </a:cubicBezTo>
                    <a:lnTo>
                      <a:pt x="154" y="31"/>
                    </a:lnTo>
                    <a:cubicBezTo>
                      <a:pt x="154" y="31"/>
                      <a:pt x="154" y="31"/>
                      <a:pt x="124" y="31"/>
                    </a:cubicBezTo>
                    <a:cubicBezTo>
                      <a:pt x="124" y="31"/>
                      <a:pt x="124" y="31"/>
                      <a:pt x="124" y="0"/>
                    </a:cubicBezTo>
                    <a:lnTo>
                      <a:pt x="124" y="0"/>
                    </a:lnTo>
                    <a:cubicBezTo>
                      <a:pt x="92" y="0"/>
                      <a:pt x="92" y="0"/>
                      <a:pt x="92" y="0"/>
                    </a:cubicBezTo>
                    <a:lnTo>
                      <a:pt x="92" y="0"/>
                    </a:lnTo>
                    <a:lnTo>
                      <a:pt x="92" y="0"/>
                    </a:lnTo>
                    <a:cubicBezTo>
                      <a:pt x="92" y="0"/>
                      <a:pt x="92" y="0"/>
                      <a:pt x="61" y="0"/>
                    </a:cubicBezTo>
                    <a:cubicBezTo>
                      <a:pt x="61" y="0"/>
                      <a:pt x="61" y="0"/>
                      <a:pt x="30" y="0"/>
                    </a:cubicBezTo>
                    <a:lnTo>
                      <a:pt x="30" y="0"/>
                    </a:lnTo>
                    <a:lnTo>
                      <a:pt x="30" y="0"/>
                    </a:lnTo>
                    <a:cubicBezTo>
                      <a:pt x="0" y="31"/>
                      <a:pt x="0" y="31"/>
                      <a:pt x="0" y="31"/>
                    </a:cubicBezTo>
                    <a:cubicBezTo>
                      <a:pt x="0" y="62"/>
                      <a:pt x="0" y="62"/>
                      <a:pt x="0" y="62"/>
                    </a:cubicBezTo>
                    <a:cubicBezTo>
                      <a:pt x="0" y="94"/>
                      <a:pt x="30" y="124"/>
                      <a:pt x="30" y="124"/>
                    </a:cubicBezTo>
                    <a:lnTo>
                      <a:pt x="30" y="124"/>
                    </a:lnTo>
                    <a:cubicBezTo>
                      <a:pt x="30" y="155"/>
                      <a:pt x="30" y="155"/>
                      <a:pt x="30" y="155"/>
                    </a:cubicBezTo>
                    <a:cubicBezTo>
                      <a:pt x="30" y="155"/>
                      <a:pt x="30" y="186"/>
                      <a:pt x="61" y="186"/>
                    </a:cubicBezTo>
                    <a:cubicBezTo>
                      <a:pt x="61" y="186"/>
                      <a:pt x="61" y="186"/>
                      <a:pt x="92" y="218"/>
                    </a:cubicBezTo>
                    <a:cubicBezTo>
                      <a:pt x="92" y="186"/>
                      <a:pt x="92" y="186"/>
                      <a:pt x="92" y="186"/>
                    </a:cubicBezTo>
                    <a:cubicBezTo>
                      <a:pt x="92" y="186"/>
                      <a:pt x="92" y="186"/>
                      <a:pt x="124" y="186"/>
                    </a:cubicBezTo>
                    <a:cubicBezTo>
                      <a:pt x="124" y="186"/>
                      <a:pt x="124" y="155"/>
                      <a:pt x="154" y="15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36" name="Freeform 133"/>
              <p:cNvSpPr>
                <a:spLocks noChangeArrowheads="1"/>
              </p:cNvSpPr>
              <p:nvPr/>
            </p:nvSpPr>
            <p:spPr bwMode="auto">
              <a:xfrm>
                <a:off x="5832475" y="2560638"/>
                <a:ext cx="168275" cy="179387"/>
              </a:xfrm>
              <a:custGeom>
                <a:avLst/>
                <a:gdLst>
                  <a:gd name="T0" fmla="*/ 32 w 466"/>
                  <a:gd name="T1" fmla="*/ 310 h 497"/>
                  <a:gd name="T2" fmla="*/ 62 w 466"/>
                  <a:gd name="T3" fmla="*/ 341 h 497"/>
                  <a:gd name="T4" fmla="*/ 62 w 466"/>
                  <a:gd name="T5" fmla="*/ 372 h 497"/>
                  <a:gd name="T6" fmla="*/ 62 w 466"/>
                  <a:gd name="T7" fmla="*/ 403 h 497"/>
                  <a:gd name="T8" fmla="*/ 62 w 466"/>
                  <a:gd name="T9" fmla="*/ 434 h 497"/>
                  <a:gd name="T10" fmla="*/ 93 w 466"/>
                  <a:gd name="T11" fmla="*/ 434 h 497"/>
                  <a:gd name="T12" fmla="*/ 124 w 466"/>
                  <a:gd name="T13" fmla="*/ 434 h 497"/>
                  <a:gd name="T14" fmla="*/ 156 w 466"/>
                  <a:gd name="T15" fmla="*/ 434 h 497"/>
                  <a:gd name="T16" fmla="*/ 217 w 466"/>
                  <a:gd name="T17" fmla="*/ 434 h 497"/>
                  <a:gd name="T18" fmla="*/ 248 w 466"/>
                  <a:gd name="T19" fmla="*/ 434 h 497"/>
                  <a:gd name="T20" fmla="*/ 248 w 466"/>
                  <a:gd name="T21" fmla="*/ 434 h 497"/>
                  <a:gd name="T22" fmla="*/ 280 w 466"/>
                  <a:gd name="T23" fmla="*/ 434 h 497"/>
                  <a:gd name="T24" fmla="*/ 310 w 466"/>
                  <a:gd name="T25" fmla="*/ 465 h 497"/>
                  <a:gd name="T26" fmla="*/ 310 w 466"/>
                  <a:gd name="T27" fmla="*/ 496 h 497"/>
                  <a:gd name="T28" fmla="*/ 372 w 466"/>
                  <a:gd name="T29" fmla="*/ 465 h 497"/>
                  <a:gd name="T30" fmla="*/ 372 w 466"/>
                  <a:gd name="T31" fmla="*/ 403 h 497"/>
                  <a:gd name="T32" fmla="*/ 372 w 466"/>
                  <a:gd name="T33" fmla="*/ 403 h 497"/>
                  <a:gd name="T34" fmla="*/ 434 w 466"/>
                  <a:gd name="T35" fmla="*/ 310 h 497"/>
                  <a:gd name="T36" fmla="*/ 434 w 466"/>
                  <a:gd name="T37" fmla="*/ 279 h 497"/>
                  <a:gd name="T38" fmla="*/ 434 w 466"/>
                  <a:gd name="T39" fmla="*/ 217 h 497"/>
                  <a:gd name="T40" fmla="*/ 465 w 466"/>
                  <a:gd name="T41" fmla="*/ 155 h 497"/>
                  <a:gd name="T42" fmla="*/ 465 w 466"/>
                  <a:gd name="T43" fmla="*/ 124 h 497"/>
                  <a:gd name="T44" fmla="*/ 465 w 466"/>
                  <a:gd name="T45" fmla="*/ 93 h 497"/>
                  <a:gd name="T46" fmla="*/ 434 w 466"/>
                  <a:gd name="T47" fmla="*/ 0 h 497"/>
                  <a:gd name="T48" fmla="*/ 372 w 466"/>
                  <a:gd name="T49" fmla="*/ 0 h 497"/>
                  <a:gd name="T50" fmla="*/ 372 w 466"/>
                  <a:gd name="T51" fmla="*/ 31 h 497"/>
                  <a:gd name="T52" fmla="*/ 372 w 466"/>
                  <a:gd name="T53" fmla="*/ 62 h 497"/>
                  <a:gd name="T54" fmla="*/ 372 w 466"/>
                  <a:gd name="T55" fmla="*/ 93 h 497"/>
                  <a:gd name="T56" fmla="*/ 341 w 466"/>
                  <a:gd name="T57" fmla="*/ 124 h 497"/>
                  <a:gd name="T58" fmla="*/ 341 w 466"/>
                  <a:gd name="T59" fmla="*/ 155 h 497"/>
                  <a:gd name="T60" fmla="*/ 341 w 466"/>
                  <a:gd name="T61" fmla="*/ 155 h 497"/>
                  <a:gd name="T62" fmla="*/ 310 w 466"/>
                  <a:gd name="T63" fmla="*/ 186 h 497"/>
                  <a:gd name="T64" fmla="*/ 248 w 466"/>
                  <a:gd name="T65" fmla="*/ 217 h 497"/>
                  <a:gd name="T66" fmla="*/ 186 w 466"/>
                  <a:gd name="T67" fmla="*/ 186 h 497"/>
                  <a:gd name="T68" fmla="*/ 186 w 466"/>
                  <a:gd name="T69" fmla="*/ 186 h 497"/>
                  <a:gd name="T70" fmla="*/ 124 w 466"/>
                  <a:gd name="T71" fmla="*/ 217 h 497"/>
                  <a:gd name="T72" fmla="*/ 124 w 466"/>
                  <a:gd name="T73" fmla="*/ 217 h 497"/>
                  <a:gd name="T74" fmla="*/ 93 w 466"/>
                  <a:gd name="T75" fmla="*/ 217 h 497"/>
                  <a:gd name="T76" fmla="*/ 62 w 466"/>
                  <a:gd name="T77" fmla="*/ 217 h 497"/>
                  <a:gd name="T78" fmla="*/ 62 w 466"/>
                  <a:gd name="T79" fmla="*/ 217 h 497"/>
                  <a:gd name="T80" fmla="*/ 32 w 466"/>
                  <a:gd name="T81" fmla="*/ 186 h 497"/>
                  <a:gd name="T82" fmla="*/ 0 w 466"/>
                  <a:gd name="T83" fmla="*/ 186 h 497"/>
                  <a:gd name="T84" fmla="*/ 0 w 466"/>
                  <a:gd name="T85" fmla="*/ 217 h 497"/>
                  <a:gd name="T86" fmla="*/ 32 w 466"/>
                  <a:gd name="T87" fmla="*/ 279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6" h="497">
                    <a:moveTo>
                      <a:pt x="32" y="310"/>
                    </a:moveTo>
                    <a:lnTo>
                      <a:pt x="32" y="310"/>
                    </a:lnTo>
                    <a:cubicBezTo>
                      <a:pt x="32" y="310"/>
                      <a:pt x="62" y="310"/>
                      <a:pt x="62" y="341"/>
                    </a:cubicBezTo>
                    <a:lnTo>
                      <a:pt x="62" y="341"/>
                    </a:lnTo>
                    <a:lnTo>
                      <a:pt x="62" y="372"/>
                    </a:lnTo>
                    <a:lnTo>
                      <a:pt x="62" y="372"/>
                    </a:lnTo>
                    <a:lnTo>
                      <a:pt x="62" y="403"/>
                    </a:lnTo>
                    <a:lnTo>
                      <a:pt x="62" y="403"/>
                    </a:lnTo>
                    <a:cubicBezTo>
                      <a:pt x="62" y="434"/>
                      <a:pt x="62" y="434"/>
                      <a:pt x="62" y="434"/>
                    </a:cubicBezTo>
                    <a:lnTo>
                      <a:pt x="62" y="434"/>
                    </a:lnTo>
                    <a:cubicBezTo>
                      <a:pt x="93" y="434"/>
                      <a:pt x="93" y="434"/>
                      <a:pt x="93" y="434"/>
                    </a:cubicBezTo>
                    <a:lnTo>
                      <a:pt x="93" y="434"/>
                    </a:lnTo>
                    <a:lnTo>
                      <a:pt x="93" y="434"/>
                    </a:lnTo>
                    <a:cubicBezTo>
                      <a:pt x="124" y="434"/>
                      <a:pt x="124" y="434"/>
                      <a:pt x="124" y="434"/>
                    </a:cubicBezTo>
                    <a:cubicBezTo>
                      <a:pt x="124" y="403"/>
                      <a:pt x="124" y="403"/>
                      <a:pt x="124" y="403"/>
                    </a:cubicBezTo>
                    <a:cubicBezTo>
                      <a:pt x="156" y="403"/>
                      <a:pt x="156" y="434"/>
                      <a:pt x="156" y="434"/>
                    </a:cubicBezTo>
                    <a:lnTo>
                      <a:pt x="156" y="434"/>
                    </a:lnTo>
                    <a:cubicBezTo>
                      <a:pt x="186" y="434"/>
                      <a:pt x="186" y="434"/>
                      <a:pt x="217" y="434"/>
                    </a:cubicBezTo>
                    <a:lnTo>
                      <a:pt x="217" y="434"/>
                    </a:lnTo>
                    <a:cubicBezTo>
                      <a:pt x="217" y="434"/>
                      <a:pt x="217" y="434"/>
                      <a:pt x="248" y="434"/>
                    </a:cubicBezTo>
                    <a:lnTo>
                      <a:pt x="248" y="434"/>
                    </a:lnTo>
                    <a:lnTo>
                      <a:pt x="248" y="434"/>
                    </a:lnTo>
                    <a:lnTo>
                      <a:pt x="248" y="434"/>
                    </a:lnTo>
                    <a:cubicBezTo>
                      <a:pt x="280" y="434"/>
                      <a:pt x="280" y="434"/>
                      <a:pt x="280" y="434"/>
                    </a:cubicBezTo>
                    <a:cubicBezTo>
                      <a:pt x="280" y="434"/>
                      <a:pt x="280" y="465"/>
                      <a:pt x="310" y="465"/>
                    </a:cubicBezTo>
                    <a:lnTo>
                      <a:pt x="310" y="465"/>
                    </a:lnTo>
                    <a:cubicBezTo>
                      <a:pt x="310" y="465"/>
                      <a:pt x="310" y="465"/>
                      <a:pt x="310" y="496"/>
                    </a:cubicBezTo>
                    <a:lnTo>
                      <a:pt x="310" y="496"/>
                    </a:lnTo>
                    <a:lnTo>
                      <a:pt x="341" y="465"/>
                    </a:lnTo>
                    <a:cubicBezTo>
                      <a:pt x="341" y="465"/>
                      <a:pt x="341" y="465"/>
                      <a:pt x="372" y="465"/>
                    </a:cubicBezTo>
                    <a:lnTo>
                      <a:pt x="372" y="434"/>
                    </a:lnTo>
                    <a:cubicBezTo>
                      <a:pt x="372" y="434"/>
                      <a:pt x="372" y="434"/>
                      <a:pt x="372" y="403"/>
                    </a:cubicBezTo>
                    <a:lnTo>
                      <a:pt x="372" y="403"/>
                    </a:lnTo>
                    <a:lnTo>
                      <a:pt x="372" y="403"/>
                    </a:lnTo>
                    <a:lnTo>
                      <a:pt x="372" y="403"/>
                    </a:lnTo>
                    <a:cubicBezTo>
                      <a:pt x="372" y="372"/>
                      <a:pt x="404" y="310"/>
                      <a:pt x="434" y="310"/>
                    </a:cubicBezTo>
                    <a:lnTo>
                      <a:pt x="434" y="310"/>
                    </a:lnTo>
                    <a:cubicBezTo>
                      <a:pt x="434" y="279"/>
                      <a:pt x="434" y="279"/>
                      <a:pt x="434" y="279"/>
                    </a:cubicBezTo>
                    <a:lnTo>
                      <a:pt x="434" y="279"/>
                    </a:lnTo>
                    <a:cubicBezTo>
                      <a:pt x="434" y="248"/>
                      <a:pt x="434" y="217"/>
                      <a:pt x="434" y="217"/>
                    </a:cubicBezTo>
                    <a:cubicBezTo>
                      <a:pt x="465" y="217"/>
                      <a:pt x="465" y="217"/>
                      <a:pt x="465" y="186"/>
                    </a:cubicBezTo>
                    <a:lnTo>
                      <a:pt x="465" y="155"/>
                    </a:lnTo>
                    <a:lnTo>
                      <a:pt x="465" y="155"/>
                    </a:lnTo>
                    <a:cubicBezTo>
                      <a:pt x="465" y="124"/>
                      <a:pt x="465" y="124"/>
                      <a:pt x="465" y="124"/>
                    </a:cubicBezTo>
                    <a:cubicBezTo>
                      <a:pt x="465" y="93"/>
                      <a:pt x="465" y="93"/>
                      <a:pt x="465" y="93"/>
                    </a:cubicBezTo>
                    <a:lnTo>
                      <a:pt x="465" y="93"/>
                    </a:lnTo>
                    <a:cubicBezTo>
                      <a:pt x="434" y="93"/>
                      <a:pt x="434" y="62"/>
                      <a:pt x="434" y="31"/>
                    </a:cubicBezTo>
                    <a:cubicBezTo>
                      <a:pt x="434" y="31"/>
                      <a:pt x="434" y="31"/>
                      <a:pt x="434" y="0"/>
                    </a:cubicBezTo>
                    <a:lnTo>
                      <a:pt x="434" y="0"/>
                    </a:lnTo>
                    <a:cubicBezTo>
                      <a:pt x="434" y="0"/>
                      <a:pt x="404" y="0"/>
                      <a:pt x="372" y="0"/>
                    </a:cubicBezTo>
                    <a:cubicBezTo>
                      <a:pt x="372" y="0"/>
                      <a:pt x="372" y="0"/>
                      <a:pt x="372" y="31"/>
                    </a:cubicBezTo>
                    <a:lnTo>
                      <a:pt x="372" y="31"/>
                    </a:lnTo>
                    <a:cubicBezTo>
                      <a:pt x="372" y="31"/>
                      <a:pt x="372" y="31"/>
                      <a:pt x="372" y="62"/>
                    </a:cubicBezTo>
                    <a:lnTo>
                      <a:pt x="372" y="62"/>
                    </a:lnTo>
                    <a:lnTo>
                      <a:pt x="372" y="62"/>
                    </a:lnTo>
                    <a:lnTo>
                      <a:pt x="372" y="93"/>
                    </a:lnTo>
                    <a:cubicBezTo>
                      <a:pt x="341" y="93"/>
                      <a:pt x="341" y="93"/>
                      <a:pt x="341" y="93"/>
                    </a:cubicBezTo>
                    <a:lnTo>
                      <a:pt x="341" y="124"/>
                    </a:lnTo>
                    <a:lnTo>
                      <a:pt x="341" y="124"/>
                    </a:lnTo>
                    <a:cubicBezTo>
                      <a:pt x="341" y="155"/>
                      <a:pt x="341" y="155"/>
                      <a:pt x="341" y="155"/>
                    </a:cubicBezTo>
                    <a:lnTo>
                      <a:pt x="341" y="155"/>
                    </a:lnTo>
                    <a:lnTo>
                      <a:pt x="341" y="155"/>
                    </a:lnTo>
                    <a:cubicBezTo>
                      <a:pt x="310" y="186"/>
                      <a:pt x="310" y="186"/>
                      <a:pt x="310" y="186"/>
                    </a:cubicBezTo>
                    <a:lnTo>
                      <a:pt x="310" y="186"/>
                    </a:lnTo>
                    <a:cubicBezTo>
                      <a:pt x="280" y="186"/>
                      <a:pt x="280" y="186"/>
                      <a:pt x="280" y="186"/>
                    </a:cubicBezTo>
                    <a:cubicBezTo>
                      <a:pt x="280" y="186"/>
                      <a:pt x="248" y="186"/>
                      <a:pt x="248" y="217"/>
                    </a:cubicBezTo>
                    <a:lnTo>
                      <a:pt x="248" y="217"/>
                    </a:lnTo>
                    <a:cubicBezTo>
                      <a:pt x="217" y="217"/>
                      <a:pt x="217" y="186"/>
                      <a:pt x="186" y="186"/>
                    </a:cubicBezTo>
                    <a:lnTo>
                      <a:pt x="186" y="186"/>
                    </a:lnTo>
                    <a:lnTo>
                      <a:pt x="186" y="186"/>
                    </a:lnTo>
                    <a:cubicBezTo>
                      <a:pt x="186" y="186"/>
                      <a:pt x="156" y="186"/>
                      <a:pt x="156" y="217"/>
                    </a:cubicBezTo>
                    <a:cubicBezTo>
                      <a:pt x="156" y="217"/>
                      <a:pt x="156" y="217"/>
                      <a:pt x="124" y="217"/>
                    </a:cubicBezTo>
                    <a:lnTo>
                      <a:pt x="124" y="217"/>
                    </a:lnTo>
                    <a:lnTo>
                      <a:pt x="124" y="217"/>
                    </a:lnTo>
                    <a:cubicBezTo>
                      <a:pt x="124" y="217"/>
                      <a:pt x="124" y="217"/>
                      <a:pt x="93" y="217"/>
                    </a:cubicBezTo>
                    <a:lnTo>
                      <a:pt x="93" y="217"/>
                    </a:lnTo>
                    <a:lnTo>
                      <a:pt x="93" y="217"/>
                    </a:lnTo>
                    <a:cubicBezTo>
                      <a:pt x="93" y="217"/>
                      <a:pt x="93" y="217"/>
                      <a:pt x="62" y="217"/>
                    </a:cubicBezTo>
                    <a:lnTo>
                      <a:pt x="62" y="217"/>
                    </a:lnTo>
                    <a:lnTo>
                      <a:pt x="62" y="217"/>
                    </a:lnTo>
                    <a:lnTo>
                      <a:pt x="32" y="217"/>
                    </a:lnTo>
                    <a:cubicBezTo>
                      <a:pt x="32" y="186"/>
                      <a:pt x="32" y="186"/>
                      <a:pt x="32" y="186"/>
                    </a:cubicBezTo>
                    <a:cubicBezTo>
                      <a:pt x="32" y="186"/>
                      <a:pt x="32" y="186"/>
                      <a:pt x="0" y="186"/>
                    </a:cubicBezTo>
                    <a:lnTo>
                      <a:pt x="0" y="186"/>
                    </a:lnTo>
                    <a:lnTo>
                      <a:pt x="0" y="186"/>
                    </a:lnTo>
                    <a:lnTo>
                      <a:pt x="0" y="217"/>
                    </a:lnTo>
                    <a:lnTo>
                      <a:pt x="0" y="217"/>
                    </a:lnTo>
                    <a:cubicBezTo>
                      <a:pt x="32" y="217"/>
                      <a:pt x="32" y="279"/>
                      <a:pt x="32" y="279"/>
                    </a:cubicBezTo>
                    <a:lnTo>
                      <a:pt x="32" y="31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37" name="Freeform 134"/>
              <p:cNvSpPr>
                <a:spLocks noChangeArrowheads="1"/>
              </p:cNvSpPr>
              <p:nvPr/>
            </p:nvSpPr>
            <p:spPr bwMode="auto">
              <a:xfrm>
                <a:off x="4549775" y="1747838"/>
                <a:ext cx="357188" cy="312737"/>
              </a:xfrm>
              <a:custGeom>
                <a:avLst/>
                <a:gdLst>
                  <a:gd name="T0" fmla="*/ 992 w 993"/>
                  <a:gd name="T1" fmla="*/ 774 h 869"/>
                  <a:gd name="T2" fmla="*/ 992 w 993"/>
                  <a:gd name="T3" fmla="*/ 744 h 869"/>
                  <a:gd name="T4" fmla="*/ 992 w 993"/>
                  <a:gd name="T5" fmla="*/ 744 h 869"/>
                  <a:gd name="T6" fmla="*/ 960 w 993"/>
                  <a:gd name="T7" fmla="*/ 713 h 869"/>
                  <a:gd name="T8" fmla="*/ 899 w 993"/>
                  <a:gd name="T9" fmla="*/ 650 h 869"/>
                  <a:gd name="T10" fmla="*/ 899 w 993"/>
                  <a:gd name="T11" fmla="*/ 620 h 869"/>
                  <a:gd name="T12" fmla="*/ 868 w 993"/>
                  <a:gd name="T13" fmla="*/ 589 h 869"/>
                  <a:gd name="T14" fmla="*/ 899 w 993"/>
                  <a:gd name="T15" fmla="*/ 557 h 869"/>
                  <a:gd name="T16" fmla="*/ 899 w 993"/>
                  <a:gd name="T17" fmla="*/ 557 h 869"/>
                  <a:gd name="T18" fmla="*/ 930 w 993"/>
                  <a:gd name="T19" fmla="*/ 526 h 869"/>
                  <a:gd name="T20" fmla="*/ 899 w 993"/>
                  <a:gd name="T21" fmla="*/ 496 h 869"/>
                  <a:gd name="T22" fmla="*/ 868 w 993"/>
                  <a:gd name="T23" fmla="*/ 433 h 869"/>
                  <a:gd name="T24" fmla="*/ 868 w 993"/>
                  <a:gd name="T25" fmla="*/ 402 h 869"/>
                  <a:gd name="T26" fmla="*/ 868 w 993"/>
                  <a:gd name="T27" fmla="*/ 341 h 869"/>
                  <a:gd name="T28" fmla="*/ 868 w 993"/>
                  <a:gd name="T29" fmla="*/ 309 h 869"/>
                  <a:gd name="T30" fmla="*/ 868 w 993"/>
                  <a:gd name="T31" fmla="*/ 278 h 869"/>
                  <a:gd name="T32" fmla="*/ 899 w 993"/>
                  <a:gd name="T33" fmla="*/ 217 h 869"/>
                  <a:gd name="T34" fmla="*/ 868 w 993"/>
                  <a:gd name="T35" fmla="*/ 185 h 869"/>
                  <a:gd name="T36" fmla="*/ 836 w 993"/>
                  <a:gd name="T37" fmla="*/ 154 h 869"/>
                  <a:gd name="T38" fmla="*/ 806 w 993"/>
                  <a:gd name="T39" fmla="*/ 124 h 869"/>
                  <a:gd name="T40" fmla="*/ 775 w 993"/>
                  <a:gd name="T41" fmla="*/ 124 h 869"/>
                  <a:gd name="T42" fmla="*/ 682 w 993"/>
                  <a:gd name="T43" fmla="*/ 93 h 869"/>
                  <a:gd name="T44" fmla="*/ 682 w 993"/>
                  <a:gd name="T45" fmla="*/ 93 h 869"/>
                  <a:gd name="T46" fmla="*/ 651 w 993"/>
                  <a:gd name="T47" fmla="*/ 93 h 869"/>
                  <a:gd name="T48" fmla="*/ 651 w 993"/>
                  <a:gd name="T49" fmla="*/ 93 h 869"/>
                  <a:gd name="T50" fmla="*/ 558 w 993"/>
                  <a:gd name="T51" fmla="*/ 154 h 869"/>
                  <a:gd name="T52" fmla="*/ 434 w 993"/>
                  <a:gd name="T53" fmla="*/ 185 h 869"/>
                  <a:gd name="T54" fmla="*/ 372 w 993"/>
                  <a:gd name="T55" fmla="*/ 185 h 869"/>
                  <a:gd name="T56" fmla="*/ 310 w 993"/>
                  <a:gd name="T57" fmla="*/ 124 h 869"/>
                  <a:gd name="T58" fmla="*/ 216 w 993"/>
                  <a:gd name="T59" fmla="*/ 93 h 869"/>
                  <a:gd name="T60" fmla="*/ 186 w 993"/>
                  <a:gd name="T61" fmla="*/ 61 h 869"/>
                  <a:gd name="T62" fmla="*/ 155 w 993"/>
                  <a:gd name="T63" fmla="*/ 30 h 869"/>
                  <a:gd name="T64" fmla="*/ 155 w 993"/>
                  <a:gd name="T65" fmla="*/ 0 h 869"/>
                  <a:gd name="T66" fmla="*/ 124 w 993"/>
                  <a:gd name="T67" fmla="*/ 30 h 869"/>
                  <a:gd name="T68" fmla="*/ 124 w 993"/>
                  <a:gd name="T69" fmla="*/ 30 h 869"/>
                  <a:gd name="T70" fmla="*/ 124 w 993"/>
                  <a:gd name="T71" fmla="*/ 61 h 869"/>
                  <a:gd name="T72" fmla="*/ 31 w 993"/>
                  <a:gd name="T73" fmla="*/ 30 h 869"/>
                  <a:gd name="T74" fmla="*/ 0 w 993"/>
                  <a:gd name="T75" fmla="*/ 0 h 869"/>
                  <a:gd name="T76" fmla="*/ 0 w 993"/>
                  <a:gd name="T77" fmla="*/ 30 h 869"/>
                  <a:gd name="T78" fmla="*/ 31 w 993"/>
                  <a:gd name="T79" fmla="*/ 124 h 869"/>
                  <a:gd name="T80" fmla="*/ 31 w 993"/>
                  <a:gd name="T81" fmla="*/ 124 h 869"/>
                  <a:gd name="T82" fmla="*/ 62 w 993"/>
                  <a:gd name="T83" fmla="*/ 154 h 869"/>
                  <a:gd name="T84" fmla="*/ 92 w 993"/>
                  <a:gd name="T85" fmla="*/ 185 h 869"/>
                  <a:gd name="T86" fmla="*/ 124 w 993"/>
                  <a:gd name="T87" fmla="*/ 217 h 869"/>
                  <a:gd name="T88" fmla="*/ 124 w 993"/>
                  <a:gd name="T89" fmla="*/ 248 h 869"/>
                  <a:gd name="T90" fmla="*/ 92 w 993"/>
                  <a:gd name="T91" fmla="*/ 309 h 869"/>
                  <a:gd name="T92" fmla="*/ 92 w 993"/>
                  <a:gd name="T93" fmla="*/ 341 h 869"/>
                  <a:gd name="T94" fmla="*/ 124 w 993"/>
                  <a:gd name="T95" fmla="*/ 372 h 869"/>
                  <a:gd name="T96" fmla="*/ 124 w 993"/>
                  <a:gd name="T97" fmla="*/ 372 h 869"/>
                  <a:gd name="T98" fmla="*/ 155 w 993"/>
                  <a:gd name="T99" fmla="*/ 402 h 869"/>
                  <a:gd name="T100" fmla="*/ 186 w 993"/>
                  <a:gd name="T101" fmla="*/ 433 h 869"/>
                  <a:gd name="T102" fmla="*/ 216 w 993"/>
                  <a:gd name="T103" fmla="*/ 496 h 869"/>
                  <a:gd name="T104" fmla="*/ 216 w 993"/>
                  <a:gd name="T105" fmla="*/ 526 h 869"/>
                  <a:gd name="T106" fmla="*/ 248 w 993"/>
                  <a:gd name="T107" fmla="*/ 557 h 869"/>
                  <a:gd name="T108" fmla="*/ 340 w 993"/>
                  <a:gd name="T109" fmla="*/ 589 h 869"/>
                  <a:gd name="T110" fmla="*/ 372 w 993"/>
                  <a:gd name="T111" fmla="*/ 681 h 869"/>
                  <a:gd name="T112" fmla="*/ 496 w 993"/>
                  <a:gd name="T113" fmla="*/ 744 h 869"/>
                  <a:gd name="T114" fmla="*/ 588 w 993"/>
                  <a:gd name="T115" fmla="*/ 774 h 869"/>
                  <a:gd name="T116" fmla="*/ 682 w 993"/>
                  <a:gd name="T117" fmla="*/ 744 h 869"/>
                  <a:gd name="T118" fmla="*/ 712 w 993"/>
                  <a:gd name="T119" fmla="*/ 837 h 869"/>
                  <a:gd name="T120" fmla="*/ 868 w 993"/>
                  <a:gd name="T121" fmla="*/ 837 h 869"/>
                  <a:gd name="T122" fmla="*/ 930 w 993"/>
                  <a:gd name="T123" fmla="*/ 868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3" h="869">
                    <a:moveTo>
                      <a:pt x="992" y="774"/>
                    </a:moveTo>
                    <a:lnTo>
                      <a:pt x="992" y="774"/>
                    </a:lnTo>
                    <a:lnTo>
                      <a:pt x="992" y="774"/>
                    </a:lnTo>
                    <a:lnTo>
                      <a:pt x="992" y="774"/>
                    </a:lnTo>
                    <a:cubicBezTo>
                      <a:pt x="992" y="774"/>
                      <a:pt x="992" y="774"/>
                      <a:pt x="992" y="744"/>
                    </a:cubicBezTo>
                    <a:lnTo>
                      <a:pt x="992" y="744"/>
                    </a:lnTo>
                    <a:lnTo>
                      <a:pt x="992" y="744"/>
                    </a:lnTo>
                    <a:lnTo>
                      <a:pt x="992" y="744"/>
                    </a:lnTo>
                    <a:lnTo>
                      <a:pt x="992" y="744"/>
                    </a:lnTo>
                    <a:cubicBezTo>
                      <a:pt x="992" y="744"/>
                      <a:pt x="992" y="744"/>
                      <a:pt x="992" y="713"/>
                    </a:cubicBezTo>
                    <a:lnTo>
                      <a:pt x="960" y="713"/>
                    </a:lnTo>
                    <a:lnTo>
                      <a:pt x="960" y="713"/>
                    </a:lnTo>
                    <a:lnTo>
                      <a:pt x="960" y="713"/>
                    </a:lnTo>
                    <a:cubicBezTo>
                      <a:pt x="930" y="681"/>
                      <a:pt x="930" y="681"/>
                      <a:pt x="899" y="650"/>
                    </a:cubicBezTo>
                    <a:lnTo>
                      <a:pt x="899" y="650"/>
                    </a:lnTo>
                    <a:lnTo>
                      <a:pt x="899" y="650"/>
                    </a:lnTo>
                    <a:cubicBezTo>
                      <a:pt x="899" y="620"/>
                      <a:pt x="899" y="620"/>
                      <a:pt x="899" y="620"/>
                    </a:cubicBezTo>
                    <a:lnTo>
                      <a:pt x="899" y="620"/>
                    </a:lnTo>
                    <a:lnTo>
                      <a:pt x="899" y="620"/>
                    </a:lnTo>
                    <a:lnTo>
                      <a:pt x="899" y="620"/>
                    </a:lnTo>
                    <a:lnTo>
                      <a:pt x="868" y="589"/>
                    </a:lnTo>
                    <a:lnTo>
                      <a:pt x="868" y="589"/>
                    </a:lnTo>
                    <a:cubicBezTo>
                      <a:pt x="868" y="589"/>
                      <a:pt x="899" y="589"/>
                      <a:pt x="899" y="557"/>
                    </a:cubicBezTo>
                    <a:lnTo>
                      <a:pt x="899" y="557"/>
                    </a:lnTo>
                    <a:lnTo>
                      <a:pt x="899" y="557"/>
                    </a:lnTo>
                    <a:lnTo>
                      <a:pt x="899" y="557"/>
                    </a:lnTo>
                    <a:lnTo>
                      <a:pt x="899" y="557"/>
                    </a:lnTo>
                    <a:lnTo>
                      <a:pt x="899" y="557"/>
                    </a:lnTo>
                    <a:lnTo>
                      <a:pt x="930" y="526"/>
                    </a:lnTo>
                    <a:lnTo>
                      <a:pt x="930" y="526"/>
                    </a:lnTo>
                    <a:lnTo>
                      <a:pt x="930" y="526"/>
                    </a:lnTo>
                    <a:cubicBezTo>
                      <a:pt x="899" y="526"/>
                      <a:pt x="899" y="526"/>
                      <a:pt x="899" y="526"/>
                    </a:cubicBezTo>
                    <a:cubicBezTo>
                      <a:pt x="899" y="496"/>
                      <a:pt x="899" y="496"/>
                      <a:pt x="899" y="496"/>
                    </a:cubicBezTo>
                    <a:cubicBezTo>
                      <a:pt x="868" y="496"/>
                      <a:pt x="868" y="496"/>
                      <a:pt x="868" y="465"/>
                    </a:cubicBezTo>
                    <a:lnTo>
                      <a:pt x="868" y="465"/>
                    </a:lnTo>
                    <a:cubicBezTo>
                      <a:pt x="868" y="465"/>
                      <a:pt x="868" y="465"/>
                      <a:pt x="868" y="433"/>
                    </a:cubicBezTo>
                    <a:lnTo>
                      <a:pt x="868" y="433"/>
                    </a:lnTo>
                    <a:lnTo>
                      <a:pt x="868" y="433"/>
                    </a:lnTo>
                    <a:lnTo>
                      <a:pt x="868" y="402"/>
                    </a:lnTo>
                    <a:lnTo>
                      <a:pt x="868" y="372"/>
                    </a:lnTo>
                    <a:lnTo>
                      <a:pt x="868" y="372"/>
                    </a:lnTo>
                    <a:cubicBezTo>
                      <a:pt x="868" y="372"/>
                      <a:pt x="868" y="372"/>
                      <a:pt x="868" y="341"/>
                    </a:cubicBezTo>
                    <a:lnTo>
                      <a:pt x="868" y="341"/>
                    </a:lnTo>
                    <a:lnTo>
                      <a:pt x="868" y="341"/>
                    </a:lnTo>
                    <a:cubicBezTo>
                      <a:pt x="868" y="309"/>
                      <a:pt x="868" y="309"/>
                      <a:pt x="868" y="309"/>
                    </a:cubicBezTo>
                    <a:lnTo>
                      <a:pt x="868" y="278"/>
                    </a:lnTo>
                    <a:lnTo>
                      <a:pt x="868" y="278"/>
                    </a:lnTo>
                    <a:lnTo>
                      <a:pt x="868" y="278"/>
                    </a:lnTo>
                    <a:lnTo>
                      <a:pt x="899" y="248"/>
                    </a:lnTo>
                    <a:cubicBezTo>
                      <a:pt x="899" y="248"/>
                      <a:pt x="899" y="248"/>
                      <a:pt x="899" y="217"/>
                    </a:cubicBezTo>
                    <a:lnTo>
                      <a:pt x="899" y="217"/>
                    </a:lnTo>
                    <a:lnTo>
                      <a:pt x="899" y="185"/>
                    </a:lnTo>
                    <a:lnTo>
                      <a:pt x="899" y="185"/>
                    </a:lnTo>
                    <a:cubicBezTo>
                      <a:pt x="868" y="185"/>
                      <a:pt x="868" y="185"/>
                      <a:pt x="868" y="185"/>
                    </a:cubicBezTo>
                    <a:cubicBezTo>
                      <a:pt x="868" y="185"/>
                      <a:pt x="868" y="185"/>
                      <a:pt x="836" y="154"/>
                    </a:cubicBezTo>
                    <a:lnTo>
                      <a:pt x="836" y="154"/>
                    </a:lnTo>
                    <a:lnTo>
                      <a:pt x="836" y="154"/>
                    </a:lnTo>
                    <a:cubicBezTo>
                      <a:pt x="836" y="154"/>
                      <a:pt x="836" y="154"/>
                      <a:pt x="806" y="154"/>
                    </a:cubicBezTo>
                    <a:lnTo>
                      <a:pt x="806" y="124"/>
                    </a:lnTo>
                    <a:lnTo>
                      <a:pt x="806" y="124"/>
                    </a:lnTo>
                    <a:lnTo>
                      <a:pt x="775" y="124"/>
                    </a:lnTo>
                    <a:lnTo>
                      <a:pt x="775" y="124"/>
                    </a:lnTo>
                    <a:lnTo>
                      <a:pt x="775" y="124"/>
                    </a:lnTo>
                    <a:cubicBezTo>
                      <a:pt x="744" y="124"/>
                      <a:pt x="744" y="124"/>
                      <a:pt x="744" y="124"/>
                    </a:cubicBezTo>
                    <a:lnTo>
                      <a:pt x="744" y="124"/>
                    </a:lnTo>
                    <a:cubicBezTo>
                      <a:pt x="712" y="124"/>
                      <a:pt x="682" y="93"/>
                      <a:pt x="682" y="93"/>
                    </a:cubicBezTo>
                    <a:lnTo>
                      <a:pt x="682" y="93"/>
                    </a:lnTo>
                    <a:lnTo>
                      <a:pt x="682" y="93"/>
                    </a:lnTo>
                    <a:lnTo>
                      <a:pt x="682" y="93"/>
                    </a:lnTo>
                    <a:lnTo>
                      <a:pt x="651" y="93"/>
                    </a:lnTo>
                    <a:lnTo>
                      <a:pt x="651" y="93"/>
                    </a:lnTo>
                    <a:lnTo>
                      <a:pt x="651" y="93"/>
                    </a:lnTo>
                    <a:lnTo>
                      <a:pt x="651" y="93"/>
                    </a:lnTo>
                    <a:lnTo>
                      <a:pt x="651" y="93"/>
                    </a:lnTo>
                    <a:lnTo>
                      <a:pt x="651" y="93"/>
                    </a:lnTo>
                    <a:cubicBezTo>
                      <a:pt x="620" y="93"/>
                      <a:pt x="620" y="93"/>
                      <a:pt x="620" y="93"/>
                    </a:cubicBezTo>
                    <a:cubicBezTo>
                      <a:pt x="588" y="124"/>
                      <a:pt x="588" y="124"/>
                      <a:pt x="558" y="154"/>
                    </a:cubicBezTo>
                    <a:lnTo>
                      <a:pt x="558" y="154"/>
                    </a:lnTo>
                    <a:lnTo>
                      <a:pt x="558" y="154"/>
                    </a:lnTo>
                    <a:cubicBezTo>
                      <a:pt x="527" y="154"/>
                      <a:pt x="527" y="185"/>
                      <a:pt x="496" y="185"/>
                    </a:cubicBezTo>
                    <a:cubicBezTo>
                      <a:pt x="496" y="185"/>
                      <a:pt x="464" y="185"/>
                      <a:pt x="434" y="185"/>
                    </a:cubicBezTo>
                    <a:cubicBezTo>
                      <a:pt x="434" y="185"/>
                      <a:pt x="434" y="185"/>
                      <a:pt x="403" y="185"/>
                    </a:cubicBezTo>
                    <a:lnTo>
                      <a:pt x="372" y="185"/>
                    </a:lnTo>
                    <a:lnTo>
                      <a:pt x="372" y="185"/>
                    </a:lnTo>
                    <a:cubicBezTo>
                      <a:pt x="340" y="185"/>
                      <a:pt x="340" y="185"/>
                      <a:pt x="340" y="154"/>
                    </a:cubicBezTo>
                    <a:cubicBezTo>
                      <a:pt x="310" y="154"/>
                      <a:pt x="310" y="154"/>
                      <a:pt x="310" y="124"/>
                    </a:cubicBezTo>
                    <a:lnTo>
                      <a:pt x="310" y="124"/>
                    </a:lnTo>
                    <a:lnTo>
                      <a:pt x="279" y="124"/>
                    </a:lnTo>
                    <a:cubicBezTo>
                      <a:pt x="248" y="124"/>
                      <a:pt x="248" y="124"/>
                      <a:pt x="216" y="93"/>
                    </a:cubicBezTo>
                    <a:lnTo>
                      <a:pt x="216" y="93"/>
                    </a:lnTo>
                    <a:lnTo>
                      <a:pt x="216" y="93"/>
                    </a:lnTo>
                    <a:cubicBezTo>
                      <a:pt x="216" y="93"/>
                      <a:pt x="216" y="93"/>
                      <a:pt x="216" y="61"/>
                    </a:cubicBezTo>
                    <a:lnTo>
                      <a:pt x="186" y="61"/>
                    </a:lnTo>
                    <a:lnTo>
                      <a:pt x="186" y="61"/>
                    </a:lnTo>
                    <a:lnTo>
                      <a:pt x="155" y="30"/>
                    </a:lnTo>
                    <a:lnTo>
                      <a:pt x="155" y="30"/>
                    </a:lnTo>
                    <a:lnTo>
                      <a:pt x="155" y="0"/>
                    </a:lnTo>
                    <a:lnTo>
                      <a:pt x="155" y="0"/>
                    </a:lnTo>
                    <a:lnTo>
                      <a:pt x="155" y="0"/>
                    </a:lnTo>
                    <a:cubicBezTo>
                      <a:pt x="155" y="0"/>
                      <a:pt x="155" y="0"/>
                      <a:pt x="155" y="30"/>
                    </a:cubicBezTo>
                    <a:lnTo>
                      <a:pt x="155" y="30"/>
                    </a:lnTo>
                    <a:cubicBezTo>
                      <a:pt x="124" y="30"/>
                      <a:pt x="124" y="30"/>
                      <a:pt x="124" y="30"/>
                    </a:cubicBezTo>
                    <a:lnTo>
                      <a:pt x="124" y="30"/>
                    </a:lnTo>
                    <a:lnTo>
                      <a:pt x="124" y="30"/>
                    </a:lnTo>
                    <a:lnTo>
                      <a:pt x="124" y="30"/>
                    </a:lnTo>
                    <a:cubicBezTo>
                      <a:pt x="124" y="30"/>
                      <a:pt x="124" y="30"/>
                      <a:pt x="124" y="61"/>
                    </a:cubicBezTo>
                    <a:lnTo>
                      <a:pt x="124" y="61"/>
                    </a:lnTo>
                    <a:lnTo>
                      <a:pt x="124" y="61"/>
                    </a:lnTo>
                    <a:cubicBezTo>
                      <a:pt x="92" y="61"/>
                      <a:pt x="92" y="61"/>
                      <a:pt x="92" y="61"/>
                    </a:cubicBezTo>
                    <a:lnTo>
                      <a:pt x="92" y="61"/>
                    </a:lnTo>
                    <a:cubicBezTo>
                      <a:pt x="62" y="61"/>
                      <a:pt x="31" y="30"/>
                      <a:pt x="31" y="30"/>
                    </a:cubicBezTo>
                    <a:lnTo>
                      <a:pt x="31" y="30"/>
                    </a:lnTo>
                    <a:lnTo>
                      <a:pt x="0" y="0"/>
                    </a:lnTo>
                    <a:lnTo>
                      <a:pt x="0" y="0"/>
                    </a:lnTo>
                    <a:lnTo>
                      <a:pt x="0" y="0"/>
                    </a:lnTo>
                    <a:cubicBezTo>
                      <a:pt x="0" y="0"/>
                      <a:pt x="0" y="0"/>
                      <a:pt x="0" y="30"/>
                    </a:cubicBezTo>
                    <a:lnTo>
                      <a:pt x="0" y="30"/>
                    </a:lnTo>
                    <a:cubicBezTo>
                      <a:pt x="31" y="30"/>
                      <a:pt x="31" y="30"/>
                      <a:pt x="31" y="61"/>
                    </a:cubicBezTo>
                    <a:lnTo>
                      <a:pt x="31" y="61"/>
                    </a:lnTo>
                    <a:cubicBezTo>
                      <a:pt x="31" y="93"/>
                      <a:pt x="31" y="93"/>
                      <a:pt x="31" y="124"/>
                    </a:cubicBezTo>
                    <a:lnTo>
                      <a:pt x="31" y="124"/>
                    </a:lnTo>
                    <a:lnTo>
                      <a:pt x="31" y="124"/>
                    </a:lnTo>
                    <a:lnTo>
                      <a:pt x="31" y="124"/>
                    </a:lnTo>
                    <a:lnTo>
                      <a:pt x="31" y="124"/>
                    </a:lnTo>
                    <a:cubicBezTo>
                      <a:pt x="31" y="124"/>
                      <a:pt x="31" y="154"/>
                      <a:pt x="62" y="154"/>
                    </a:cubicBezTo>
                    <a:lnTo>
                      <a:pt x="62" y="154"/>
                    </a:lnTo>
                    <a:lnTo>
                      <a:pt x="62" y="154"/>
                    </a:lnTo>
                    <a:cubicBezTo>
                      <a:pt x="62" y="154"/>
                      <a:pt x="62" y="185"/>
                      <a:pt x="92" y="185"/>
                    </a:cubicBezTo>
                    <a:lnTo>
                      <a:pt x="92" y="185"/>
                    </a:lnTo>
                    <a:lnTo>
                      <a:pt x="92" y="185"/>
                    </a:lnTo>
                    <a:lnTo>
                      <a:pt x="92" y="185"/>
                    </a:lnTo>
                    <a:cubicBezTo>
                      <a:pt x="124" y="185"/>
                      <a:pt x="124" y="185"/>
                      <a:pt x="124" y="217"/>
                    </a:cubicBezTo>
                    <a:lnTo>
                      <a:pt x="124" y="217"/>
                    </a:lnTo>
                    <a:lnTo>
                      <a:pt x="124" y="248"/>
                    </a:lnTo>
                    <a:lnTo>
                      <a:pt x="124" y="248"/>
                    </a:lnTo>
                    <a:lnTo>
                      <a:pt x="124" y="248"/>
                    </a:lnTo>
                    <a:cubicBezTo>
                      <a:pt x="124" y="278"/>
                      <a:pt x="92" y="278"/>
                      <a:pt x="92" y="309"/>
                    </a:cubicBezTo>
                    <a:lnTo>
                      <a:pt x="92" y="309"/>
                    </a:lnTo>
                    <a:cubicBezTo>
                      <a:pt x="92" y="309"/>
                      <a:pt x="92" y="309"/>
                      <a:pt x="92" y="341"/>
                    </a:cubicBezTo>
                    <a:lnTo>
                      <a:pt x="92" y="341"/>
                    </a:lnTo>
                    <a:lnTo>
                      <a:pt x="92" y="341"/>
                    </a:lnTo>
                    <a:lnTo>
                      <a:pt x="92" y="341"/>
                    </a:lnTo>
                    <a:lnTo>
                      <a:pt x="92" y="341"/>
                    </a:lnTo>
                    <a:cubicBezTo>
                      <a:pt x="124" y="341"/>
                      <a:pt x="124" y="372"/>
                      <a:pt x="124" y="372"/>
                    </a:cubicBezTo>
                    <a:lnTo>
                      <a:pt x="124" y="372"/>
                    </a:lnTo>
                    <a:lnTo>
                      <a:pt x="124" y="372"/>
                    </a:lnTo>
                    <a:lnTo>
                      <a:pt x="124" y="372"/>
                    </a:lnTo>
                    <a:cubicBezTo>
                      <a:pt x="155" y="402"/>
                      <a:pt x="155" y="402"/>
                      <a:pt x="155" y="402"/>
                    </a:cubicBezTo>
                    <a:lnTo>
                      <a:pt x="155" y="402"/>
                    </a:lnTo>
                    <a:lnTo>
                      <a:pt x="155" y="402"/>
                    </a:lnTo>
                    <a:cubicBezTo>
                      <a:pt x="186" y="402"/>
                      <a:pt x="186" y="402"/>
                      <a:pt x="186" y="433"/>
                    </a:cubicBezTo>
                    <a:lnTo>
                      <a:pt x="186" y="433"/>
                    </a:lnTo>
                    <a:lnTo>
                      <a:pt x="186" y="433"/>
                    </a:lnTo>
                    <a:lnTo>
                      <a:pt x="186" y="433"/>
                    </a:lnTo>
                    <a:cubicBezTo>
                      <a:pt x="216" y="433"/>
                      <a:pt x="216" y="465"/>
                      <a:pt x="216" y="465"/>
                    </a:cubicBezTo>
                    <a:lnTo>
                      <a:pt x="216" y="496"/>
                    </a:lnTo>
                    <a:lnTo>
                      <a:pt x="216" y="526"/>
                    </a:lnTo>
                    <a:lnTo>
                      <a:pt x="216" y="526"/>
                    </a:lnTo>
                    <a:lnTo>
                      <a:pt x="216" y="526"/>
                    </a:lnTo>
                    <a:cubicBezTo>
                      <a:pt x="216" y="557"/>
                      <a:pt x="248" y="557"/>
                      <a:pt x="248" y="557"/>
                    </a:cubicBezTo>
                    <a:lnTo>
                      <a:pt x="248" y="557"/>
                    </a:lnTo>
                    <a:lnTo>
                      <a:pt x="248" y="557"/>
                    </a:lnTo>
                    <a:lnTo>
                      <a:pt x="279" y="557"/>
                    </a:lnTo>
                    <a:cubicBezTo>
                      <a:pt x="310" y="557"/>
                      <a:pt x="340" y="557"/>
                      <a:pt x="340" y="589"/>
                    </a:cubicBezTo>
                    <a:lnTo>
                      <a:pt x="340" y="589"/>
                    </a:lnTo>
                    <a:cubicBezTo>
                      <a:pt x="340" y="620"/>
                      <a:pt x="372" y="620"/>
                      <a:pt x="372" y="650"/>
                    </a:cubicBezTo>
                    <a:lnTo>
                      <a:pt x="372" y="681"/>
                    </a:lnTo>
                    <a:lnTo>
                      <a:pt x="372" y="681"/>
                    </a:lnTo>
                    <a:cubicBezTo>
                      <a:pt x="403" y="681"/>
                      <a:pt x="403" y="713"/>
                      <a:pt x="403" y="713"/>
                    </a:cubicBezTo>
                    <a:cubicBezTo>
                      <a:pt x="464" y="713"/>
                      <a:pt x="464" y="744"/>
                      <a:pt x="496" y="744"/>
                    </a:cubicBezTo>
                    <a:lnTo>
                      <a:pt x="496" y="744"/>
                    </a:lnTo>
                    <a:cubicBezTo>
                      <a:pt x="527" y="774"/>
                      <a:pt x="527" y="774"/>
                      <a:pt x="558" y="774"/>
                    </a:cubicBezTo>
                    <a:lnTo>
                      <a:pt x="558" y="774"/>
                    </a:lnTo>
                    <a:cubicBezTo>
                      <a:pt x="588" y="774"/>
                      <a:pt x="588" y="774"/>
                      <a:pt x="588" y="774"/>
                    </a:cubicBezTo>
                    <a:cubicBezTo>
                      <a:pt x="588" y="774"/>
                      <a:pt x="588" y="774"/>
                      <a:pt x="620" y="744"/>
                    </a:cubicBezTo>
                    <a:lnTo>
                      <a:pt x="651" y="744"/>
                    </a:lnTo>
                    <a:cubicBezTo>
                      <a:pt x="651" y="744"/>
                      <a:pt x="651" y="744"/>
                      <a:pt x="682" y="744"/>
                    </a:cubicBezTo>
                    <a:cubicBezTo>
                      <a:pt x="712" y="744"/>
                      <a:pt x="712" y="774"/>
                      <a:pt x="712" y="805"/>
                    </a:cubicBezTo>
                    <a:cubicBezTo>
                      <a:pt x="712" y="805"/>
                      <a:pt x="712" y="805"/>
                      <a:pt x="712" y="837"/>
                    </a:cubicBezTo>
                    <a:lnTo>
                      <a:pt x="712" y="837"/>
                    </a:lnTo>
                    <a:lnTo>
                      <a:pt x="744" y="837"/>
                    </a:lnTo>
                    <a:cubicBezTo>
                      <a:pt x="775" y="868"/>
                      <a:pt x="775" y="868"/>
                      <a:pt x="806" y="868"/>
                    </a:cubicBezTo>
                    <a:cubicBezTo>
                      <a:pt x="836" y="868"/>
                      <a:pt x="868" y="837"/>
                      <a:pt x="868" y="837"/>
                    </a:cubicBezTo>
                    <a:cubicBezTo>
                      <a:pt x="868" y="837"/>
                      <a:pt x="868" y="837"/>
                      <a:pt x="899" y="837"/>
                    </a:cubicBezTo>
                    <a:cubicBezTo>
                      <a:pt x="899" y="837"/>
                      <a:pt x="930" y="837"/>
                      <a:pt x="930" y="868"/>
                    </a:cubicBezTo>
                    <a:lnTo>
                      <a:pt x="930" y="868"/>
                    </a:lnTo>
                    <a:cubicBezTo>
                      <a:pt x="930" y="837"/>
                      <a:pt x="930" y="805"/>
                      <a:pt x="960" y="805"/>
                    </a:cubicBezTo>
                    <a:cubicBezTo>
                      <a:pt x="960" y="774"/>
                      <a:pt x="992" y="774"/>
                      <a:pt x="992" y="77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38" name="Freeform 135"/>
              <p:cNvSpPr>
                <a:spLocks noChangeArrowheads="1"/>
              </p:cNvSpPr>
              <p:nvPr/>
            </p:nvSpPr>
            <p:spPr bwMode="auto">
              <a:xfrm>
                <a:off x="5430838" y="2070100"/>
                <a:ext cx="57150" cy="68263"/>
              </a:xfrm>
              <a:custGeom>
                <a:avLst/>
                <a:gdLst>
                  <a:gd name="T0" fmla="*/ 156 w 157"/>
                  <a:gd name="T1" fmla="*/ 31 h 188"/>
                  <a:gd name="T2" fmla="*/ 156 w 157"/>
                  <a:gd name="T3" fmla="*/ 31 h 188"/>
                  <a:gd name="T4" fmla="*/ 156 w 157"/>
                  <a:gd name="T5" fmla="*/ 31 h 188"/>
                  <a:gd name="T6" fmla="*/ 156 w 157"/>
                  <a:gd name="T7" fmla="*/ 31 h 188"/>
                  <a:gd name="T8" fmla="*/ 156 w 157"/>
                  <a:gd name="T9" fmla="*/ 31 h 188"/>
                  <a:gd name="T10" fmla="*/ 156 w 157"/>
                  <a:gd name="T11" fmla="*/ 31 h 188"/>
                  <a:gd name="T12" fmla="*/ 156 w 157"/>
                  <a:gd name="T13" fmla="*/ 31 h 188"/>
                  <a:gd name="T14" fmla="*/ 93 w 157"/>
                  <a:gd name="T15" fmla="*/ 31 h 188"/>
                  <a:gd name="T16" fmla="*/ 93 w 157"/>
                  <a:gd name="T17" fmla="*/ 31 h 188"/>
                  <a:gd name="T18" fmla="*/ 32 w 157"/>
                  <a:gd name="T19" fmla="*/ 0 h 188"/>
                  <a:gd name="T20" fmla="*/ 32 w 157"/>
                  <a:gd name="T21" fmla="*/ 0 h 188"/>
                  <a:gd name="T22" fmla="*/ 32 w 157"/>
                  <a:gd name="T23" fmla="*/ 0 h 188"/>
                  <a:gd name="T24" fmla="*/ 32 w 157"/>
                  <a:gd name="T25" fmla="*/ 0 h 188"/>
                  <a:gd name="T26" fmla="*/ 32 w 157"/>
                  <a:gd name="T27" fmla="*/ 0 h 188"/>
                  <a:gd name="T28" fmla="*/ 0 w 157"/>
                  <a:gd name="T29" fmla="*/ 31 h 188"/>
                  <a:gd name="T30" fmla="*/ 0 w 157"/>
                  <a:gd name="T31" fmla="*/ 31 h 188"/>
                  <a:gd name="T32" fmla="*/ 0 w 157"/>
                  <a:gd name="T33" fmla="*/ 31 h 188"/>
                  <a:gd name="T34" fmla="*/ 0 w 157"/>
                  <a:gd name="T35" fmla="*/ 31 h 188"/>
                  <a:gd name="T36" fmla="*/ 0 w 157"/>
                  <a:gd name="T37" fmla="*/ 31 h 188"/>
                  <a:gd name="T38" fmla="*/ 0 w 157"/>
                  <a:gd name="T39" fmla="*/ 31 h 188"/>
                  <a:gd name="T40" fmla="*/ 32 w 157"/>
                  <a:gd name="T41" fmla="*/ 63 h 188"/>
                  <a:gd name="T42" fmla="*/ 0 w 157"/>
                  <a:gd name="T43" fmla="*/ 93 h 188"/>
                  <a:gd name="T44" fmla="*/ 0 w 157"/>
                  <a:gd name="T45" fmla="*/ 93 h 188"/>
                  <a:gd name="T46" fmla="*/ 32 w 157"/>
                  <a:gd name="T47" fmla="*/ 124 h 188"/>
                  <a:gd name="T48" fmla="*/ 32 w 157"/>
                  <a:gd name="T49" fmla="*/ 155 h 188"/>
                  <a:gd name="T50" fmla="*/ 32 w 157"/>
                  <a:gd name="T51" fmla="*/ 187 h 188"/>
                  <a:gd name="T52" fmla="*/ 32 w 157"/>
                  <a:gd name="T53" fmla="*/ 187 h 188"/>
                  <a:gd name="T54" fmla="*/ 93 w 157"/>
                  <a:gd name="T55" fmla="*/ 187 h 188"/>
                  <a:gd name="T56" fmla="*/ 93 w 157"/>
                  <a:gd name="T57" fmla="*/ 187 h 188"/>
                  <a:gd name="T58" fmla="*/ 93 w 157"/>
                  <a:gd name="T59" fmla="*/ 155 h 188"/>
                  <a:gd name="T60" fmla="*/ 93 w 157"/>
                  <a:gd name="T61" fmla="*/ 124 h 188"/>
                  <a:gd name="T62" fmla="*/ 93 w 157"/>
                  <a:gd name="T63" fmla="*/ 93 h 188"/>
                  <a:gd name="T64" fmla="*/ 93 w 157"/>
                  <a:gd name="T65" fmla="*/ 93 h 188"/>
                  <a:gd name="T66" fmla="*/ 124 w 157"/>
                  <a:gd name="T67" fmla="*/ 63 h 188"/>
                  <a:gd name="T68" fmla="*/ 156 w 157"/>
                  <a:gd name="T69" fmla="*/ 3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7" h="188">
                    <a:moveTo>
                      <a:pt x="156" y="31"/>
                    </a:moveTo>
                    <a:lnTo>
                      <a:pt x="156" y="31"/>
                    </a:lnTo>
                    <a:lnTo>
                      <a:pt x="156" y="31"/>
                    </a:lnTo>
                    <a:lnTo>
                      <a:pt x="156" y="31"/>
                    </a:lnTo>
                    <a:lnTo>
                      <a:pt x="156" y="31"/>
                    </a:lnTo>
                    <a:lnTo>
                      <a:pt x="156" y="31"/>
                    </a:lnTo>
                    <a:lnTo>
                      <a:pt x="156" y="31"/>
                    </a:lnTo>
                    <a:cubicBezTo>
                      <a:pt x="124" y="31"/>
                      <a:pt x="124" y="31"/>
                      <a:pt x="93" y="31"/>
                    </a:cubicBezTo>
                    <a:lnTo>
                      <a:pt x="93" y="31"/>
                    </a:lnTo>
                    <a:cubicBezTo>
                      <a:pt x="93" y="31"/>
                      <a:pt x="63" y="31"/>
                      <a:pt x="32" y="0"/>
                    </a:cubicBezTo>
                    <a:lnTo>
                      <a:pt x="32" y="0"/>
                    </a:lnTo>
                    <a:lnTo>
                      <a:pt x="32" y="0"/>
                    </a:lnTo>
                    <a:lnTo>
                      <a:pt x="32" y="0"/>
                    </a:lnTo>
                    <a:lnTo>
                      <a:pt x="32" y="0"/>
                    </a:lnTo>
                    <a:cubicBezTo>
                      <a:pt x="32" y="0"/>
                      <a:pt x="32" y="31"/>
                      <a:pt x="0" y="31"/>
                    </a:cubicBezTo>
                    <a:lnTo>
                      <a:pt x="0" y="31"/>
                    </a:lnTo>
                    <a:lnTo>
                      <a:pt x="0" y="31"/>
                    </a:lnTo>
                    <a:lnTo>
                      <a:pt x="0" y="31"/>
                    </a:lnTo>
                    <a:lnTo>
                      <a:pt x="0" y="31"/>
                    </a:lnTo>
                    <a:lnTo>
                      <a:pt x="0" y="31"/>
                    </a:lnTo>
                    <a:cubicBezTo>
                      <a:pt x="0" y="63"/>
                      <a:pt x="32" y="63"/>
                      <a:pt x="32" y="63"/>
                    </a:cubicBezTo>
                    <a:cubicBezTo>
                      <a:pt x="32" y="93"/>
                      <a:pt x="0" y="93"/>
                      <a:pt x="0" y="93"/>
                    </a:cubicBezTo>
                    <a:lnTo>
                      <a:pt x="0" y="93"/>
                    </a:lnTo>
                    <a:cubicBezTo>
                      <a:pt x="0" y="124"/>
                      <a:pt x="0" y="124"/>
                      <a:pt x="32" y="124"/>
                    </a:cubicBezTo>
                    <a:lnTo>
                      <a:pt x="32" y="155"/>
                    </a:lnTo>
                    <a:cubicBezTo>
                      <a:pt x="32" y="155"/>
                      <a:pt x="32" y="155"/>
                      <a:pt x="32" y="187"/>
                    </a:cubicBezTo>
                    <a:lnTo>
                      <a:pt x="32" y="187"/>
                    </a:lnTo>
                    <a:cubicBezTo>
                      <a:pt x="63" y="187"/>
                      <a:pt x="63" y="187"/>
                      <a:pt x="93" y="187"/>
                    </a:cubicBezTo>
                    <a:lnTo>
                      <a:pt x="93" y="187"/>
                    </a:lnTo>
                    <a:cubicBezTo>
                      <a:pt x="93" y="155"/>
                      <a:pt x="93" y="155"/>
                      <a:pt x="93" y="155"/>
                    </a:cubicBezTo>
                    <a:cubicBezTo>
                      <a:pt x="93" y="155"/>
                      <a:pt x="93" y="155"/>
                      <a:pt x="93" y="124"/>
                    </a:cubicBezTo>
                    <a:lnTo>
                      <a:pt x="93" y="93"/>
                    </a:lnTo>
                    <a:lnTo>
                      <a:pt x="93" y="93"/>
                    </a:lnTo>
                    <a:lnTo>
                      <a:pt x="124" y="63"/>
                    </a:lnTo>
                    <a:cubicBezTo>
                      <a:pt x="124" y="31"/>
                      <a:pt x="124" y="31"/>
                      <a:pt x="156"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39" name="Freeform 136"/>
              <p:cNvSpPr>
                <a:spLocks noChangeArrowheads="1"/>
              </p:cNvSpPr>
              <p:nvPr/>
            </p:nvSpPr>
            <p:spPr bwMode="auto">
              <a:xfrm>
                <a:off x="5029200" y="1825625"/>
                <a:ext cx="390525" cy="625475"/>
              </a:xfrm>
              <a:custGeom>
                <a:avLst/>
                <a:gdLst>
                  <a:gd name="T0" fmla="*/ 1085 w 1086"/>
                  <a:gd name="T1" fmla="*/ 744 h 1736"/>
                  <a:gd name="T2" fmla="*/ 1055 w 1086"/>
                  <a:gd name="T3" fmla="*/ 712 h 1736"/>
                  <a:gd name="T4" fmla="*/ 1085 w 1086"/>
                  <a:gd name="T5" fmla="*/ 681 h 1736"/>
                  <a:gd name="T6" fmla="*/ 1024 w 1086"/>
                  <a:gd name="T7" fmla="*/ 620 h 1736"/>
                  <a:gd name="T8" fmla="*/ 931 w 1086"/>
                  <a:gd name="T9" fmla="*/ 620 h 1736"/>
                  <a:gd name="T10" fmla="*/ 868 w 1086"/>
                  <a:gd name="T11" fmla="*/ 557 h 1736"/>
                  <a:gd name="T12" fmla="*/ 807 w 1086"/>
                  <a:gd name="T13" fmla="*/ 557 h 1736"/>
                  <a:gd name="T14" fmla="*/ 744 w 1086"/>
                  <a:gd name="T15" fmla="*/ 527 h 1736"/>
                  <a:gd name="T16" fmla="*/ 683 w 1086"/>
                  <a:gd name="T17" fmla="*/ 496 h 1736"/>
                  <a:gd name="T18" fmla="*/ 620 w 1086"/>
                  <a:gd name="T19" fmla="*/ 433 h 1736"/>
                  <a:gd name="T20" fmla="*/ 620 w 1086"/>
                  <a:gd name="T21" fmla="*/ 340 h 1736"/>
                  <a:gd name="T22" fmla="*/ 589 w 1086"/>
                  <a:gd name="T23" fmla="*/ 309 h 1736"/>
                  <a:gd name="T24" fmla="*/ 559 w 1086"/>
                  <a:gd name="T25" fmla="*/ 309 h 1736"/>
                  <a:gd name="T26" fmla="*/ 528 w 1086"/>
                  <a:gd name="T27" fmla="*/ 248 h 1736"/>
                  <a:gd name="T28" fmla="*/ 559 w 1086"/>
                  <a:gd name="T29" fmla="*/ 185 h 1736"/>
                  <a:gd name="T30" fmla="*/ 559 w 1086"/>
                  <a:gd name="T31" fmla="*/ 92 h 1736"/>
                  <a:gd name="T32" fmla="*/ 589 w 1086"/>
                  <a:gd name="T33" fmla="*/ 0 h 1736"/>
                  <a:gd name="T34" fmla="*/ 528 w 1086"/>
                  <a:gd name="T35" fmla="*/ 31 h 1736"/>
                  <a:gd name="T36" fmla="*/ 496 w 1086"/>
                  <a:gd name="T37" fmla="*/ 61 h 1736"/>
                  <a:gd name="T38" fmla="*/ 341 w 1086"/>
                  <a:gd name="T39" fmla="*/ 92 h 1736"/>
                  <a:gd name="T40" fmla="*/ 341 w 1086"/>
                  <a:gd name="T41" fmla="*/ 92 h 1736"/>
                  <a:gd name="T42" fmla="*/ 341 w 1086"/>
                  <a:gd name="T43" fmla="*/ 155 h 1736"/>
                  <a:gd name="T44" fmla="*/ 372 w 1086"/>
                  <a:gd name="T45" fmla="*/ 185 h 1736"/>
                  <a:gd name="T46" fmla="*/ 341 w 1086"/>
                  <a:gd name="T47" fmla="*/ 279 h 1736"/>
                  <a:gd name="T48" fmla="*/ 341 w 1086"/>
                  <a:gd name="T49" fmla="*/ 340 h 1736"/>
                  <a:gd name="T50" fmla="*/ 280 w 1086"/>
                  <a:gd name="T51" fmla="*/ 403 h 1736"/>
                  <a:gd name="T52" fmla="*/ 187 w 1086"/>
                  <a:gd name="T53" fmla="*/ 527 h 1736"/>
                  <a:gd name="T54" fmla="*/ 94 w 1086"/>
                  <a:gd name="T55" fmla="*/ 557 h 1736"/>
                  <a:gd name="T56" fmla="*/ 94 w 1086"/>
                  <a:gd name="T57" fmla="*/ 588 h 1736"/>
                  <a:gd name="T58" fmla="*/ 124 w 1086"/>
                  <a:gd name="T59" fmla="*/ 651 h 1736"/>
                  <a:gd name="T60" fmla="*/ 124 w 1086"/>
                  <a:gd name="T61" fmla="*/ 774 h 1736"/>
                  <a:gd name="T62" fmla="*/ 31 w 1086"/>
                  <a:gd name="T63" fmla="*/ 774 h 1736"/>
                  <a:gd name="T64" fmla="*/ 31 w 1086"/>
                  <a:gd name="T65" fmla="*/ 805 h 1736"/>
                  <a:gd name="T66" fmla="*/ 124 w 1086"/>
                  <a:gd name="T67" fmla="*/ 868 h 1736"/>
                  <a:gd name="T68" fmla="*/ 94 w 1086"/>
                  <a:gd name="T69" fmla="*/ 929 h 1736"/>
                  <a:gd name="T70" fmla="*/ 187 w 1086"/>
                  <a:gd name="T71" fmla="*/ 929 h 1736"/>
                  <a:gd name="T72" fmla="*/ 248 w 1086"/>
                  <a:gd name="T73" fmla="*/ 898 h 1736"/>
                  <a:gd name="T74" fmla="*/ 248 w 1086"/>
                  <a:gd name="T75" fmla="*/ 1022 h 1736"/>
                  <a:gd name="T76" fmla="*/ 280 w 1086"/>
                  <a:gd name="T77" fmla="*/ 1146 h 1736"/>
                  <a:gd name="T78" fmla="*/ 372 w 1086"/>
                  <a:gd name="T79" fmla="*/ 1487 h 1736"/>
                  <a:gd name="T80" fmla="*/ 435 w 1086"/>
                  <a:gd name="T81" fmla="*/ 1611 h 1736"/>
                  <a:gd name="T82" fmla="*/ 465 w 1086"/>
                  <a:gd name="T83" fmla="*/ 1735 h 1736"/>
                  <a:gd name="T84" fmla="*/ 496 w 1086"/>
                  <a:gd name="T85" fmla="*/ 1735 h 1736"/>
                  <a:gd name="T86" fmla="*/ 589 w 1086"/>
                  <a:gd name="T87" fmla="*/ 1672 h 1736"/>
                  <a:gd name="T88" fmla="*/ 589 w 1086"/>
                  <a:gd name="T89" fmla="*/ 1579 h 1736"/>
                  <a:gd name="T90" fmla="*/ 620 w 1086"/>
                  <a:gd name="T91" fmla="*/ 1455 h 1736"/>
                  <a:gd name="T92" fmla="*/ 620 w 1086"/>
                  <a:gd name="T93" fmla="*/ 1301 h 1736"/>
                  <a:gd name="T94" fmla="*/ 744 w 1086"/>
                  <a:gd name="T95" fmla="*/ 1208 h 1736"/>
                  <a:gd name="T96" fmla="*/ 807 w 1086"/>
                  <a:gd name="T97" fmla="*/ 1116 h 1736"/>
                  <a:gd name="T98" fmla="*/ 931 w 1086"/>
                  <a:gd name="T99" fmla="*/ 992 h 1736"/>
                  <a:gd name="T100" fmla="*/ 992 w 1086"/>
                  <a:gd name="T101" fmla="*/ 960 h 1736"/>
                  <a:gd name="T102" fmla="*/ 1024 w 1086"/>
                  <a:gd name="T103" fmla="*/ 868 h 1736"/>
                  <a:gd name="T104" fmla="*/ 1085 w 1086"/>
                  <a:gd name="T105" fmla="*/ 836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6" h="1736">
                    <a:moveTo>
                      <a:pt x="1085" y="805"/>
                    </a:moveTo>
                    <a:lnTo>
                      <a:pt x="1085" y="805"/>
                    </a:lnTo>
                    <a:lnTo>
                      <a:pt x="1085" y="805"/>
                    </a:lnTo>
                    <a:lnTo>
                      <a:pt x="1085" y="774"/>
                    </a:lnTo>
                    <a:cubicBezTo>
                      <a:pt x="1085" y="774"/>
                      <a:pt x="1085" y="774"/>
                      <a:pt x="1085" y="744"/>
                    </a:cubicBezTo>
                    <a:lnTo>
                      <a:pt x="1085" y="744"/>
                    </a:lnTo>
                    <a:lnTo>
                      <a:pt x="1085" y="744"/>
                    </a:lnTo>
                    <a:cubicBezTo>
                      <a:pt x="1055" y="744"/>
                      <a:pt x="1055" y="744"/>
                      <a:pt x="1055" y="712"/>
                    </a:cubicBezTo>
                    <a:lnTo>
                      <a:pt x="1055" y="712"/>
                    </a:lnTo>
                    <a:lnTo>
                      <a:pt x="1055" y="712"/>
                    </a:lnTo>
                    <a:lnTo>
                      <a:pt x="1055" y="712"/>
                    </a:lnTo>
                    <a:cubicBezTo>
                      <a:pt x="1055" y="681"/>
                      <a:pt x="1055" y="681"/>
                      <a:pt x="1085" y="681"/>
                    </a:cubicBezTo>
                    <a:lnTo>
                      <a:pt x="1085" y="681"/>
                    </a:lnTo>
                    <a:lnTo>
                      <a:pt x="1085" y="681"/>
                    </a:lnTo>
                    <a:lnTo>
                      <a:pt x="1085" y="681"/>
                    </a:lnTo>
                    <a:lnTo>
                      <a:pt x="1055" y="681"/>
                    </a:lnTo>
                    <a:cubicBezTo>
                      <a:pt x="1055" y="651"/>
                      <a:pt x="1055" y="651"/>
                      <a:pt x="1055" y="620"/>
                    </a:cubicBezTo>
                    <a:lnTo>
                      <a:pt x="1055" y="620"/>
                    </a:lnTo>
                    <a:lnTo>
                      <a:pt x="1055" y="620"/>
                    </a:lnTo>
                    <a:lnTo>
                      <a:pt x="1024" y="620"/>
                    </a:lnTo>
                    <a:lnTo>
                      <a:pt x="992" y="620"/>
                    </a:lnTo>
                    <a:lnTo>
                      <a:pt x="992" y="620"/>
                    </a:lnTo>
                    <a:lnTo>
                      <a:pt x="992" y="620"/>
                    </a:lnTo>
                    <a:lnTo>
                      <a:pt x="961" y="620"/>
                    </a:lnTo>
                    <a:cubicBezTo>
                      <a:pt x="961" y="620"/>
                      <a:pt x="961" y="620"/>
                      <a:pt x="931" y="620"/>
                    </a:cubicBezTo>
                    <a:cubicBezTo>
                      <a:pt x="931" y="620"/>
                      <a:pt x="931" y="620"/>
                      <a:pt x="931" y="588"/>
                    </a:cubicBezTo>
                    <a:lnTo>
                      <a:pt x="931" y="588"/>
                    </a:lnTo>
                    <a:cubicBezTo>
                      <a:pt x="868" y="588"/>
                      <a:pt x="868" y="588"/>
                      <a:pt x="868" y="557"/>
                    </a:cubicBezTo>
                    <a:lnTo>
                      <a:pt x="868" y="557"/>
                    </a:lnTo>
                    <a:lnTo>
                      <a:pt x="868" y="557"/>
                    </a:lnTo>
                    <a:cubicBezTo>
                      <a:pt x="868" y="557"/>
                      <a:pt x="868" y="557"/>
                      <a:pt x="837" y="557"/>
                    </a:cubicBezTo>
                    <a:lnTo>
                      <a:pt x="837" y="557"/>
                    </a:lnTo>
                    <a:lnTo>
                      <a:pt x="837" y="557"/>
                    </a:lnTo>
                    <a:lnTo>
                      <a:pt x="807" y="557"/>
                    </a:lnTo>
                    <a:lnTo>
                      <a:pt x="807" y="557"/>
                    </a:lnTo>
                    <a:cubicBezTo>
                      <a:pt x="776" y="557"/>
                      <a:pt x="776" y="557"/>
                      <a:pt x="776" y="557"/>
                    </a:cubicBezTo>
                    <a:cubicBezTo>
                      <a:pt x="776" y="527"/>
                      <a:pt x="744" y="527"/>
                      <a:pt x="744" y="527"/>
                    </a:cubicBezTo>
                    <a:lnTo>
                      <a:pt x="744" y="527"/>
                    </a:lnTo>
                    <a:lnTo>
                      <a:pt x="744" y="527"/>
                    </a:lnTo>
                    <a:lnTo>
                      <a:pt x="744" y="527"/>
                    </a:lnTo>
                    <a:cubicBezTo>
                      <a:pt x="713" y="527"/>
                      <a:pt x="713" y="527"/>
                      <a:pt x="713" y="527"/>
                    </a:cubicBezTo>
                    <a:lnTo>
                      <a:pt x="713" y="527"/>
                    </a:lnTo>
                    <a:cubicBezTo>
                      <a:pt x="683" y="527"/>
                      <a:pt x="683" y="496"/>
                      <a:pt x="683" y="496"/>
                    </a:cubicBezTo>
                    <a:lnTo>
                      <a:pt x="683" y="496"/>
                    </a:lnTo>
                    <a:lnTo>
                      <a:pt x="683" y="496"/>
                    </a:lnTo>
                    <a:lnTo>
                      <a:pt x="652" y="496"/>
                    </a:lnTo>
                    <a:cubicBezTo>
                      <a:pt x="652" y="496"/>
                      <a:pt x="652" y="496"/>
                      <a:pt x="620" y="496"/>
                    </a:cubicBezTo>
                    <a:cubicBezTo>
                      <a:pt x="620" y="496"/>
                      <a:pt x="620" y="496"/>
                      <a:pt x="620" y="464"/>
                    </a:cubicBezTo>
                    <a:cubicBezTo>
                      <a:pt x="620" y="464"/>
                      <a:pt x="620" y="464"/>
                      <a:pt x="620" y="433"/>
                    </a:cubicBezTo>
                    <a:lnTo>
                      <a:pt x="620" y="433"/>
                    </a:lnTo>
                    <a:cubicBezTo>
                      <a:pt x="620" y="433"/>
                      <a:pt x="620" y="433"/>
                      <a:pt x="620" y="403"/>
                    </a:cubicBezTo>
                    <a:lnTo>
                      <a:pt x="620" y="403"/>
                    </a:lnTo>
                    <a:lnTo>
                      <a:pt x="620" y="403"/>
                    </a:lnTo>
                    <a:lnTo>
                      <a:pt x="620" y="372"/>
                    </a:lnTo>
                    <a:cubicBezTo>
                      <a:pt x="620" y="372"/>
                      <a:pt x="620" y="372"/>
                      <a:pt x="620" y="340"/>
                    </a:cubicBezTo>
                    <a:lnTo>
                      <a:pt x="620" y="340"/>
                    </a:lnTo>
                    <a:lnTo>
                      <a:pt x="620" y="340"/>
                    </a:lnTo>
                    <a:cubicBezTo>
                      <a:pt x="620" y="340"/>
                      <a:pt x="620" y="340"/>
                      <a:pt x="589" y="340"/>
                    </a:cubicBezTo>
                    <a:lnTo>
                      <a:pt x="589" y="340"/>
                    </a:lnTo>
                    <a:lnTo>
                      <a:pt x="589" y="309"/>
                    </a:lnTo>
                    <a:lnTo>
                      <a:pt x="559" y="309"/>
                    </a:lnTo>
                    <a:lnTo>
                      <a:pt x="559" y="309"/>
                    </a:lnTo>
                    <a:lnTo>
                      <a:pt x="559" y="309"/>
                    </a:lnTo>
                    <a:lnTo>
                      <a:pt x="559" y="309"/>
                    </a:lnTo>
                    <a:lnTo>
                      <a:pt x="559" y="309"/>
                    </a:lnTo>
                    <a:lnTo>
                      <a:pt x="528" y="309"/>
                    </a:lnTo>
                    <a:cubicBezTo>
                      <a:pt x="528" y="279"/>
                      <a:pt x="528" y="279"/>
                      <a:pt x="528" y="279"/>
                    </a:cubicBezTo>
                    <a:lnTo>
                      <a:pt x="528" y="279"/>
                    </a:lnTo>
                    <a:lnTo>
                      <a:pt x="528" y="248"/>
                    </a:lnTo>
                    <a:lnTo>
                      <a:pt x="528" y="248"/>
                    </a:lnTo>
                    <a:cubicBezTo>
                      <a:pt x="528" y="216"/>
                      <a:pt x="528" y="216"/>
                      <a:pt x="528" y="216"/>
                    </a:cubicBezTo>
                    <a:lnTo>
                      <a:pt x="528" y="216"/>
                    </a:lnTo>
                    <a:cubicBezTo>
                      <a:pt x="528" y="185"/>
                      <a:pt x="559" y="185"/>
                      <a:pt x="559" y="185"/>
                    </a:cubicBezTo>
                    <a:lnTo>
                      <a:pt x="559" y="185"/>
                    </a:lnTo>
                    <a:lnTo>
                      <a:pt x="559" y="185"/>
                    </a:lnTo>
                    <a:lnTo>
                      <a:pt x="559" y="185"/>
                    </a:lnTo>
                    <a:lnTo>
                      <a:pt x="559" y="185"/>
                    </a:lnTo>
                    <a:cubicBezTo>
                      <a:pt x="559" y="185"/>
                      <a:pt x="559" y="185"/>
                      <a:pt x="559" y="155"/>
                    </a:cubicBezTo>
                    <a:cubicBezTo>
                      <a:pt x="528" y="155"/>
                      <a:pt x="528" y="124"/>
                      <a:pt x="528" y="124"/>
                    </a:cubicBezTo>
                    <a:lnTo>
                      <a:pt x="559" y="92"/>
                    </a:lnTo>
                    <a:lnTo>
                      <a:pt x="559" y="92"/>
                    </a:lnTo>
                    <a:cubicBezTo>
                      <a:pt x="589" y="92"/>
                      <a:pt x="589" y="92"/>
                      <a:pt x="589" y="92"/>
                    </a:cubicBezTo>
                    <a:cubicBezTo>
                      <a:pt x="589" y="92"/>
                      <a:pt x="589" y="61"/>
                      <a:pt x="620" y="61"/>
                    </a:cubicBezTo>
                    <a:lnTo>
                      <a:pt x="620" y="31"/>
                    </a:lnTo>
                    <a:cubicBezTo>
                      <a:pt x="620" y="31"/>
                      <a:pt x="620" y="31"/>
                      <a:pt x="589" y="0"/>
                    </a:cubicBezTo>
                    <a:lnTo>
                      <a:pt x="589" y="0"/>
                    </a:lnTo>
                    <a:lnTo>
                      <a:pt x="589" y="0"/>
                    </a:lnTo>
                    <a:cubicBezTo>
                      <a:pt x="559" y="31"/>
                      <a:pt x="559" y="31"/>
                      <a:pt x="559" y="31"/>
                    </a:cubicBezTo>
                    <a:lnTo>
                      <a:pt x="559" y="31"/>
                    </a:lnTo>
                    <a:cubicBezTo>
                      <a:pt x="559" y="31"/>
                      <a:pt x="559" y="31"/>
                      <a:pt x="528" y="31"/>
                    </a:cubicBezTo>
                    <a:lnTo>
                      <a:pt x="528" y="31"/>
                    </a:lnTo>
                    <a:lnTo>
                      <a:pt x="528" y="31"/>
                    </a:lnTo>
                    <a:cubicBezTo>
                      <a:pt x="528" y="61"/>
                      <a:pt x="496" y="61"/>
                      <a:pt x="496" y="61"/>
                    </a:cubicBezTo>
                    <a:lnTo>
                      <a:pt x="496" y="61"/>
                    </a:lnTo>
                    <a:lnTo>
                      <a:pt x="496" y="61"/>
                    </a:lnTo>
                    <a:lnTo>
                      <a:pt x="496" y="61"/>
                    </a:lnTo>
                    <a:cubicBezTo>
                      <a:pt x="465" y="61"/>
                      <a:pt x="435" y="92"/>
                      <a:pt x="435" y="92"/>
                    </a:cubicBezTo>
                    <a:cubicBezTo>
                      <a:pt x="404" y="92"/>
                      <a:pt x="404" y="92"/>
                      <a:pt x="404" y="92"/>
                    </a:cubicBezTo>
                    <a:lnTo>
                      <a:pt x="372" y="124"/>
                    </a:lnTo>
                    <a:cubicBezTo>
                      <a:pt x="372" y="124"/>
                      <a:pt x="372" y="92"/>
                      <a:pt x="341" y="92"/>
                    </a:cubicBezTo>
                    <a:cubicBezTo>
                      <a:pt x="341" y="92"/>
                      <a:pt x="341" y="92"/>
                      <a:pt x="311" y="92"/>
                    </a:cubicBezTo>
                    <a:lnTo>
                      <a:pt x="311" y="92"/>
                    </a:lnTo>
                    <a:lnTo>
                      <a:pt x="311" y="92"/>
                    </a:lnTo>
                    <a:lnTo>
                      <a:pt x="341" y="92"/>
                    </a:lnTo>
                    <a:lnTo>
                      <a:pt x="341" y="92"/>
                    </a:lnTo>
                    <a:cubicBezTo>
                      <a:pt x="341" y="124"/>
                      <a:pt x="341" y="124"/>
                      <a:pt x="341" y="124"/>
                    </a:cubicBezTo>
                    <a:lnTo>
                      <a:pt x="341" y="124"/>
                    </a:lnTo>
                    <a:cubicBezTo>
                      <a:pt x="341" y="155"/>
                      <a:pt x="341" y="155"/>
                      <a:pt x="341" y="155"/>
                    </a:cubicBezTo>
                    <a:lnTo>
                      <a:pt x="341" y="155"/>
                    </a:lnTo>
                    <a:lnTo>
                      <a:pt x="341" y="155"/>
                    </a:lnTo>
                    <a:cubicBezTo>
                      <a:pt x="372" y="124"/>
                      <a:pt x="372" y="124"/>
                      <a:pt x="372" y="124"/>
                    </a:cubicBezTo>
                    <a:cubicBezTo>
                      <a:pt x="372" y="155"/>
                      <a:pt x="372" y="155"/>
                      <a:pt x="372" y="155"/>
                    </a:cubicBezTo>
                    <a:cubicBezTo>
                      <a:pt x="372" y="185"/>
                      <a:pt x="372" y="185"/>
                      <a:pt x="372" y="185"/>
                    </a:cubicBezTo>
                    <a:lnTo>
                      <a:pt x="372" y="185"/>
                    </a:lnTo>
                    <a:lnTo>
                      <a:pt x="372" y="185"/>
                    </a:lnTo>
                    <a:cubicBezTo>
                      <a:pt x="372" y="185"/>
                      <a:pt x="372" y="185"/>
                      <a:pt x="372" y="216"/>
                    </a:cubicBezTo>
                    <a:cubicBezTo>
                      <a:pt x="372" y="216"/>
                      <a:pt x="404" y="216"/>
                      <a:pt x="404" y="248"/>
                    </a:cubicBezTo>
                    <a:lnTo>
                      <a:pt x="404" y="248"/>
                    </a:lnTo>
                    <a:lnTo>
                      <a:pt x="372" y="279"/>
                    </a:lnTo>
                    <a:cubicBezTo>
                      <a:pt x="372" y="279"/>
                      <a:pt x="372" y="279"/>
                      <a:pt x="341" y="279"/>
                    </a:cubicBezTo>
                    <a:lnTo>
                      <a:pt x="341" y="279"/>
                    </a:lnTo>
                    <a:cubicBezTo>
                      <a:pt x="341" y="279"/>
                      <a:pt x="341" y="279"/>
                      <a:pt x="341" y="309"/>
                    </a:cubicBezTo>
                    <a:lnTo>
                      <a:pt x="341" y="309"/>
                    </a:lnTo>
                    <a:lnTo>
                      <a:pt x="341" y="309"/>
                    </a:lnTo>
                    <a:lnTo>
                      <a:pt x="341" y="340"/>
                    </a:lnTo>
                    <a:lnTo>
                      <a:pt x="341" y="340"/>
                    </a:lnTo>
                    <a:cubicBezTo>
                      <a:pt x="341" y="340"/>
                      <a:pt x="341" y="340"/>
                      <a:pt x="311" y="372"/>
                    </a:cubicBezTo>
                    <a:cubicBezTo>
                      <a:pt x="311" y="372"/>
                      <a:pt x="311" y="403"/>
                      <a:pt x="280" y="403"/>
                    </a:cubicBezTo>
                    <a:lnTo>
                      <a:pt x="280" y="403"/>
                    </a:lnTo>
                    <a:lnTo>
                      <a:pt x="280" y="403"/>
                    </a:lnTo>
                    <a:cubicBezTo>
                      <a:pt x="280" y="433"/>
                      <a:pt x="248" y="433"/>
                      <a:pt x="217" y="464"/>
                    </a:cubicBezTo>
                    <a:lnTo>
                      <a:pt x="217" y="464"/>
                    </a:lnTo>
                    <a:cubicBezTo>
                      <a:pt x="217" y="464"/>
                      <a:pt x="217" y="464"/>
                      <a:pt x="217" y="496"/>
                    </a:cubicBezTo>
                    <a:cubicBezTo>
                      <a:pt x="217" y="496"/>
                      <a:pt x="217" y="496"/>
                      <a:pt x="187" y="527"/>
                    </a:cubicBezTo>
                    <a:lnTo>
                      <a:pt x="187" y="527"/>
                    </a:lnTo>
                    <a:lnTo>
                      <a:pt x="156" y="527"/>
                    </a:lnTo>
                    <a:lnTo>
                      <a:pt x="156" y="527"/>
                    </a:lnTo>
                    <a:cubicBezTo>
                      <a:pt x="124" y="557"/>
                      <a:pt x="124" y="557"/>
                      <a:pt x="124" y="557"/>
                    </a:cubicBezTo>
                    <a:cubicBezTo>
                      <a:pt x="124" y="557"/>
                      <a:pt x="94" y="557"/>
                      <a:pt x="94" y="527"/>
                    </a:cubicBezTo>
                    <a:cubicBezTo>
                      <a:pt x="94" y="557"/>
                      <a:pt x="94" y="557"/>
                      <a:pt x="94" y="557"/>
                    </a:cubicBezTo>
                    <a:lnTo>
                      <a:pt x="63" y="557"/>
                    </a:lnTo>
                    <a:lnTo>
                      <a:pt x="63" y="557"/>
                    </a:lnTo>
                    <a:cubicBezTo>
                      <a:pt x="94" y="557"/>
                      <a:pt x="94" y="557"/>
                      <a:pt x="94" y="557"/>
                    </a:cubicBezTo>
                    <a:lnTo>
                      <a:pt x="94" y="588"/>
                    </a:lnTo>
                    <a:lnTo>
                      <a:pt x="94" y="588"/>
                    </a:lnTo>
                    <a:lnTo>
                      <a:pt x="94" y="588"/>
                    </a:lnTo>
                    <a:cubicBezTo>
                      <a:pt x="94" y="620"/>
                      <a:pt x="94" y="620"/>
                      <a:pt x="94" y="620"/>
                    </a:cubicBezTo>
                    <a:lnTo>
                      <a:pt x="94" y="620"/>
                    </a:lnTo>
                    <a:cubicBezTo>
                      <a:pt x="124" y="620"/>
                      <a:pt x="124" y="620"/>
                      <a:pt x="124" y="651"/>
                    </a:cubicBezTo>
                    <a:lnTo>
                      <a:pt x="124" y="651"/>
                    </a:lnTo>
                    <a:cubicBezTo>
                      <a:pt x="156" y="651"/>
                      <a:pt x="156" y="681"/>
                      <a:pt x="156" y="681"/>
                    </a:cubicBezTo>
                    <a:cubicBezTo>
                      <a:pt x="156" y="712"/>
                      <a:pt x="156" y="712"/>
                      <a:pt x="156" y="712"/>
                    </a:cubicBezTo>
                    <a:lnTo>
                      <a:pt x="156" y="712"/>
                    </a:lnTo>
                    <a:cubicBezTo>
                      <a:pt x="156" y="744"/>
                      <a:pt x="156" y="744"/>
                      <a:pt x="156" y="744"/>
                    </a:cubicBezTo>
                    <a:lnTo>
                      <a:pt x="124" y="774"/>
                    </a:lnTo>
                    <a:lnTo>
                      <a:pt x="124" y="774"/>
                    </a:lnTo>
                    <a:lnTo>
                      <a:pt x="94" y="774"/>
                    </a:lnTo>
                    <a:lnTo>
                      <a:pt x="94" y="774"/>
                    </a:lnTo>
                    <a:lnTo>
                      <a:pt x="94" y="774"/>
                    </a:lnTo>
                    <a:cubicBezTo>
                      <a:pt x="63" y="774"/>
                      <a:pt x="63" y="774"/>
                      <a:pt x="31" y="774"/>
                    </a:cubicBezTo>
                    <a:lnTo>
                      <a:pt x="31" y="774"/>
                    </a:lnTo>
                    <a:lnTo>
                      <a:pt x="31" y="774"/>
                    </a:lnTo>
                    <a:cubicBezTo>
                      <a:pt x="31" y="774"/>
                      <a:pt x="31" y="774"/>
                      <a:pt x="0" y="774"/>
                    </a:cubicBezTo>
                    <a:lnTo>
                      <a:pt x="0" y="774"/>
                    </a:lnTo>
                    <a:cubicBezTo>
                      <a:pt x="31" y="774"/>
                      <a:pt x="31" y="774"/>
                      <a:pt x="31" y="805"/>
                    </a:cubicBezTo>
                    <a:lnTo>
                      <a:pt x="31" y="805"/>
                    </a:lnTo>
                    <a:lnTo>
                      <a:pt x="63" y="805"/>
                    </a:lnTo>
                    <a:cubicBezTo>
                      <a:pt x="63" y="805"/>
                      <a:pt x="63" y="805"/>
                      <a:pt x="94" y="805"/>
                    </a:cubicBezTo>
                    <a:lnTo>
                      <a:pt x="124" y="805"/>
                    </a:lnTo>
                    <a:cubicBezTo>
                      <a:pt x="124" y="836"/>
                      <a:pt x="124" y="836"/>
                      <a:pt x="124" y="868"/>
                    </a:cubicBezTo>
                    <a:cubicBezTo>
                      <a:pt x="94" y="868"/>
                      <a:pt x="94" y="868"/>
                      <a:pt x="94" y="868"/>
                    </a:cubicBezTo>
                    <a:cubicBezTo>
                      <a:pt x="94" y="868"/>
                      <a:pt x="94" y="898"/>
                      <a:pt x="63" y="898"/>
                    </a:cubicBezTo>
                    <a:lnTo>
                      <a:pt x="63" y="868"/>
                    </a:lnTo>
                    <a:cubicBezTo>
                      <a:pt x="63" y="898"/>
                      <a:pt x="63" y="898"/>
                      <a:pt x="63" y="898"/>
                    </a:cubicBezTo>
                    <a:cubicBezTo>
                      <a:pt x="94" y="898"/>
                      <a:pt x="94" y="898"/>
                      <a:pt x="94" y="929"/>
                    </a:cubicBezTo>
                    <a:lnTo>
                      <a:pt x="94" y="929"/>
                    </a:lnTo>
                    <a:lnTo>
                      <a:pt x="124" y="929"/>
                    </a:lnTo>
                    <a:cubicBezTo>
                      <a:pt x="124" y="929"/>
                      <a:pt x="124" y="929"/>
                      <a:pt x="156" y="929"/>
                    </a:cubicBezTo>
                    <a:lnTo>
                      <a:pt x="156" y="929"/>
                    </a:lnTo>
                    <a:cubicBezTo>
                      <a:pt x="187" y="929"/>
                      <a:pt x="187" y="929"/>
                      <a:pt x="187" y="929"/>
                    </a:cubicBezTo>
                    <a:cubicBezTo>
                      <a:pt x="187" y="898"/>
                      <a:pt x="187" y="898"/>
                      <a:pt x="187" y="898"/>
                    </a:cubicBezTo>
                    <a:lnTo>
                      <a:pt x="217" y="868"/>
                    </a:lnTo>
                    <a:cubicBezTo>
                      <a:pt x="280" y="681"/>
                      <a:pt x="280" y="681"/>
                      <a:pt x="280" y="681"/>
                    </a:cubicBezTo>
                    <a:cubicBezTo>
                      <a:pt x="248" y="868"/>
                      <a:pt x="248" y="868"/>
                      <a:pt x="248" y="868"/>
                    </a:cubicBezTo>
                    <a:lnTo>
                      <a:pt x="248" y="898"/>
                    </a:lnTo>
                    <a:lnTo>
                      <a:pt x="248" y="898"/>
                    </a:lnTo>
                    <a:cubicBezTo>
                      <a:pt x="248" y="929"/>
                      <a:pt x="248" y="929"/>
                      <a:pt x="248" y="929"/>
                    </a:cubicBezTo>
                    <a:lnTo>
                      <a:pt x="248" y="929"/>
                    </a:lnTo>
                    <a:cubicBezTo>
                      <a:pt x="280" y="960"/>
                      <a:pt x="248" y="992"/>
                      <a:pt x="248" y="992"/>
                    </a:cubicBezTo>
                    <a:cubicBezTo>
                      <a:pt x="248" y="1022"/>
                      <a:pt x="248" y="1022"/>
                      <a:pt x="248" y="1022"/>
                    </a:cubicBezTo>
                    <a:lnTo>
                      <a:pt x="248" y="1022"/>
                    </a:lnTo>
                    <a:cubicBezTo>
                      <a:pt x="248" y="1053"/>
                      <a:pt x="248" y="1053"/>
                      <a:pt x="248" y="1053"/>
                    </a:cubicBezTo>
                    <a:cubicBezTo>
                      <a:pt x="248" y="1084"/>
                      <a:pt x="248" y="1084"/>
                      <a:pt x="248" y="1116"/>
                    </a:cubicBezTo>
                    <a:lnTo>
                      <a:pt x="248" y="1116"/>
                    </a:lnTo>
                    <a:cubicBezTo>
                      <a:pt x="248" y="1116"/>
                      <a:pt x="248" y="1146"/>
                      <a:pt x="280" y="1146"/>
                    </a:cubicBezTo>
                    <a:cubicBezTo>
                      <a:pt x="280" y="1146"/>
                      <a:pt x="280" y="1177"/>
                      <a:pt x="280" y="1208"/>
                    </a:cubicBezTo>
                    <a:cubicBezTo>
                      <a:pt x="280" y="1208"/>
                      <a:pt x="280" y="1240"/>
                      <a:pt x="311" y="1301"/>
                    </a:cubicBezTo>
                    <a:cubicBezTo>
                      <a:pt x="311" y="1331"/>
                      <a:pt x="311" y="1331"/>
                      <a:pt x="341" y="1331"/>
                    </a:cubicBezTo>
                    <a:cubicBezTo>
                      <a:pt x="341" y="1363"/>
                      <a:pt x="341" y="1363"/>
                      <a:pt x="341" y="1424"/>
                    </a:cubicBezTo>
                    <a:cubicBezTo>
                      <a:pt x="341" y="1455"/>
                      <a:pt x="372" y="1487"/>
                      <a:pt x="372" y="1487"/>
                    </a:cubicBezTo>
                    <a:cubicBezTo>
                      <a:pt x="372" y="1487"/>
                      <a:pt x="372" y="1517"/>
                      <a:pt x="404" y="1517"/>
                    </a:cubicBezTo>
                    <a:cubicBezTo>
                      <a:pt x="404" y="1517"/>
                      <a:pt x="404" y="1517"/>
                      <a:pt x="404" y="1548"/>
                    </a:cubicBezTo>
                    <a:cubicBezTo>
                      <a:pt x="404" y="1548"/>
                      <a:pt x="404" y="1548"/>
                      <a:pt x="435" y="1579"/>
                    </a:cubicBezTo>
                    <a:lnTo>
                      <a:pt x="435" y="1579"/>
                    </a:lnTo>
                    <a:cubicBezTo>
                      <a:pt x="435" y="1579"/>
                      <a:pt x="435" y="1579"/>
                      <a:pt x="435" y="1611"/>
                    </a:cubicBezTo>
                    <a:lnTo>
                      <a:pt x="435" y="1611"/>
                    </a:lnTo>
                    <a:cubicBezTo>
                      <a:pt x="435" y="1641"/>
                      <a:pt x="435" y="1641"/>
                      <a:pt x="435" y="1672"/>
                    </a:cubicBezTo>
                    <a:cubicBezTo>
                      <a:pt x="465" y="1703"/>
                      <a:pt x="465" y="1703"/>
                      <a:pt x="465" y="1703"/>
                    </a:cubicBezTo>
                    <a:lnTo>
                      <a:pt x="465" y="1735"/>
                    </a:lnTo>
                    <a:lnTo>
                      <a:pt x="465" y="1735"/>
                    </a:lnTo>
                    <a:lnTo>
                      <a:pt x="465" y="1735"/>
                    </a:lnTo>
                    <a:lnTo>
                      <a:pt x="465" y="1735"/>
                    </a:lnTo>
                    <a:lnTo>
                      <a:pt x="496" y="1735"/>
                    </a:lnTo>
                    <a:lnTo>
                      <a:pt x="496" y="1735"/>
                    </a:lnTo>
                    <a:lnTo>
                      <a:pt x="496" y="1735"/>
                    </a:lnTo>
                    <a:lnTo>
                      <a:pt x="528" y="1735"/>
                    </a:lnTo>
                    <a:cubicBezTo>
                      <a:pt x="528" y="1703"/>
                      <a:pt x="528" y="1672"/>
                      <a:pt x="559" y="1672"/>
                    </a:cubicBezTo>
                    <a:lnTo>
                      <a:pt x="559" y="1672"/>
                    </a:lnTo>
                    <a:lnTo>
                      <a:pt x="559" y="1672"/>
                    </a:lnTo>
                    <a:lnTo>
                      <a:pt x="589" y="1672"/>
                    </a:lnTo>
                    <a:lnTo>
                      <a:pt x="589" y="1672"/>
                    </a:lnTo>
                    <a:lnTo>
                      <a:pt x="589" y="1641"/>
                    </a:lnTo>
                    <a:cubicBezTo>
                      <a:pt x="589" y="1641"/>
                      <a:pt x="589" y="1641"/>
                      <a:pt x="589" y="1611"/>
                    </a:cubicBezTo>
                    <a:lnTo>
                      <a:pt x="589" y="1611"/>
                    </a:lnTo>
                    <a:lnTo>
                      <a:pt x="589" y="1579"/>
                    </a:lnTo>
                    <a:lnTo>
                      <a:pt x="589" y="1579"/>
                    </a:lnTo>
                    <a:cubicBezTo>
                      <a:pt x="589" y="1548"/>
                      <a:pt x="589" y="1548"/>
                      <a:pt x="589" y="1517"/>
                    </a:cubicBezTo>
                    <a:lnTo>
                      <a:pt x="589" y="1517"/>
                    </a:lnTo>
                    <a:lnTo>
                      <a:pt x="589" y="1517"/>
                    </a:lnTo>
                    <a:cubicBezTo>
                      <a:pt x="589" y="1487"/>
                      <a:pt x="620" y="1455"/>
                      <a:pt x="620" y="1455"/>
                    </a:cubicBezTo>
                    <a:cubicBezTo>
                      <a:pt x="620" y="1424"/>
                      <a:pt x="620" y="1424"/>
                      <a:pt x="620" y="1424"/>
                    </a:cubicBezTo>
                    <a:lnTo>
                      <a:pt x="620" y="1424"/>
                    </a:lnTo>
                    <a:cubicBezTo>
                      <a:pt x="620" y="1424"/>
                      <a:pt x="620" y="1424"/>
                      <a:pt x="620" y="1393"/>
                    </a:cubicBezTo>
                    <a:lnTo>
                      <a:pt x="620" y="1393"/>
                    </a:lnTo>
                    <a:cubicBezTo>
                      <a:pt x="589" y="1363"/>
                      <a:pt x="620" y="1301"/>
                      <a:pt x="620" y="1301"/>
                    </a:cubicBezTo>
                    <a:cubicBezTo>
                      <a:pt x="620" y="1270"/>
                      <a:pt x="652" y="1270"/>
                      <a:pt x="683" y="1240"/>
                    </a:cubicBezTo>
                    <a:lnTo>
                      <a:pt x="683" y="1240"/>
                    </a:lnTo>
                    <a:cubicBezTo>
                      <a:pt x="683" y="1208"/>
                      <a:pt x="713" y="1208"/>
                      <a:pt x="713" y="1208"/>
                    </a:cubicBezTo>
                    <a:lnTo>
                      <a:pt x="744" y="1208"/>
                    </a:lnTo>
                    <a:lnTo>
                      <a:pt x="744" y="1208"/>
                    </a:lnTo>
                    <a:lnTo>
                      <a:pt x="744" y="1208"/>
                    </a:lnTo>
                    <a:cubicBezTo>
                      <a:pt x="744" y="1177"/>
                      <a:pt x="744" y="1177"/>
                      <a:pt x="776" y="1146"/>
                    </a:cubicBezTo>
                    <a:lnTo>
                      <a:pt x="807" y="1116"/>
                    </a:lnTo>
                    <a:lnTo>
                      <a:pt x="807" y="1116"/>
                    </a:lnTo>
                    <a:lnTo>
                      <a:pt x="807" y="1116"/>
                    </a:lnTo>
                    <a:cubicBezTo>
                      <a:pt x="837" y="1116"/>
                      <a:pt x="837" y="1084"/>
                      <a:pt x="868" y="1084"/>
                    </a:cubicBezTo>
                    <a:lnTo>
                      <a:pt x="868" y="1084"/>
                    </a:lnTo>
                    <a:cubicBezTo>
                      <a:pt x="868" y="1053"/>
                      <a:pt x="868" y="1053"/>
                      <a:pt x="900" y="1022"/>
                    </a:cubicBezTo>
                    <a:lnTo>
                      <a:pt x="900" y="1022"/>
                    </a:lnTo>
                    <a:cubicBezTo>
                      <a:pt x="900" y="1022"/>
                      <a:pt x="931" y="1022"/>
                      <a:pt x="931" y="992"/>
                    </a:cubicBezTo>
                    <a:lnTo>
                      <a:pt x="961" y="992"/>
                    </a:lnTo>
                    <a:lnTo>
                      <a:pt x="961" y="992"/>
                    </a:lnTo>
                    <a:cubicBezTo>
                      <a:pt x="961" y="992"/>
                      <a:pt x="961" y="992"/>
                      <a:pt x="992" y="960"/>
                    </a:cubicBezTo>
                    <a:lnTo>
                      <a:pt x="992" y="960"/>
                    </a:lnTo>
                    <a:lnTo>
                      <a:pt x="992" y="960"/>
                    </a:lnTo>
                    <a:lnTo>
                      <a:pt x="992" y="960"/>
                    </a:lnTo>
                    <a:lnTo>
                      <a:pt x="992" y="960"/>
                    </a:lnTo>
                    <a:cubicBezTo>
                      <a:pt x="992" y="929"/>
                      <a:pt x="992" y="929"/>
                      <a:pt x="992" y="898"/>
                    </a:cubicBezTo>
                    <a:lnTo>
                      <a:pt x="992" y="898"/>
                    </a:lnTo>
                    <a:cubicBezTo>
                      <a:pt x="1024" y="898"/>
                      <a:pt x="1024" y="868"/>
                      <a:pt x="1024" y="868"/>
                    </a:cubicBezTo>
                    <a:cubicBezTo>
                      <a:pt x="1055" y="868"/>
                      <a:pt x="1055" y="868"/>
                      <a:pt x="1055" y="868"/>
                    </a:cubicBezTo>
                    <a:lnTo>
                      <a:pt x="1055" y="836"/>
                    </a:lnTo>
                    <a:cubicBezTo>
                      <a:pt x="1085" y="836"/>
                      <a:pt x="1085" y="836"/>
                      <a:pt x="1085" y="836"/>
                    </a:cubicBezTo>
                    <a:lnTo>
                      <a:pt x="1085" y="836"/>
                    </a:lnTo>
                    <a:lnTo>
                      <a:pt x="1085" y="836"/>
                    </a:lnTo>
                    <a:lnTo>
                      <a:pt x="1085" y="805"/>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40" name="Freeform 137"/>
              <p:cNvSpPr>
                <a:spLocks noChangeArrowheads="1"/>
              </p:cNvSpPr>
              <p:nvPr/>
            </p:nvSpPr>
            <p:spPr bwMode="auto">
              <a:xfrm>
                <a:off x="4895850" y="1801813"/>
                <a:ext cx="290513" cy="290512"/>
              </a:xfrm>
              <a:custGeom>
                <a:avLst/>
                <a:gdLst>
                  <a:gd name="T0" fmla="*/ 372 w 808"/>
                  <a:gd name="T1" fmla="*/ 775 h 808"/>
                  <a:gd name="T2" fmla="*/ 403 w 808"/>
                  <a:gd name="T3" fmla="*/ 775 h 808"/>
                  <a:gd name="T4" fmla="*/ 435 w 808"/>
                  <a:gd name="T5" fmla="*/ 775 h 808"/>
                  <a:gd name="T6" fmla="*/ 466 w 808"/>
                  <a:gd name="T7" fmla="*/ 744 h 808"/>
                  <a:gd name="T8" fmla="*/ 466 w 808"/>
                  <a:gd name="T9" fmla="*/ 744 h 808"/>
                  <a:gd name="T10" fmla="*/ 435 w 808"/>
                  <a:gd name="T11" fmla="*/ 683 h 808"/>
                  <a:gd name="T12" fmla="*/ 403 w 808"/>
                  <a:gd name="T13" fmla="*/ 683 h 808"/>
                  <a:gd name="T14" fmla="*/ 403 w 808"/>
                  <a:gd name="T15" fmla="*/ 590 h 808"/>
                  <a:gd name="T16" fmla="*/ 466 w 808"/>
                  <a:gd name="T17" fmla="*/ 527 h 808"/>
                  <a:gd name="T18" fmla="*/ 496 w 808"/>
                  <a:gd name="T19" fmla="*/ 559 h 808"/>
                  <a:gd name="T20" fmla="*/ 528 w 808"/>
                  <a:gd name="T21" fmla="*/ 527 h 808"/>
                  <a:gd name="T22" fmla="*/ 589 w 808"/>
                  <a:gd name="T23" fmla="*/ 466 h 808"/>
                  <a:gd name="T24" fmla="*/ 620 w 808"/>
                  <a:gd name="T25" fmla="*/ 435 h 808"/>
                  <a:gd name="T26" fmla="*/ 652 w 808"/>
                  <a:gd name="T27" fmla="*/ 403 h 808"/>
                  <a:gd name="T28" fmla="*/ 683 w 808"/>
                  <a:gd name="T29" fmla="*/ 342 h 808"/>
                  <a:gd name="T30" fmla="*/ 683 w 808"/>
                  <a:gd name="T31" fmla="*/ 279 h 808"/>
                  <a:gd name="T32" fmla="*/ 652 w 808"/>
                  <a:gd name="T33" fmla="*/ 279 h 808"/>
                  <a:gd name="T34" fmla="*/ 652 w 808"/>
                  <a:gd name="T35" fmla="*/ 187 h 808"/>
                  <a:gd name="T36" fmla="*/ 652 w 808"/>
                  <a:gd name="T37" fmla="*/ 155 h 808"/>
                  <a:gd name="T38" fmla="*/ 652 w 808"/>
                  <a:gd name="T39" fmla="*/ 94 h 808"/>
                  <a:gd name="T40" fmla="*/ 683 w 808"/>
                  <a:gd name="T41" fmla="*/ 94 h 808"/>
                  <a:gd name="T42" fmla="*/ 744 w 808"/>
                  <a:gd name="T43" fmla="*/ 124 h 808"/>
                  <a:gd name="T44" fmla="*/ 807 w 808"/>
                  <a:gd name="T45" fmla="*/ 94 h 808"/>
                  <a:gd name="T46" fmla="*/ 744 w 808"/>
                  <a:gd name="T47" fmla="*/ 63 h 808"/>
                  <a:gd name="T48" fmla="*/ 744 w 808"/>
                  <a:gd name="T49" fmla="*/ 31 h 808"/>
                  <a:gd name="T50" fmla="*/ 713 w 808"/>
                  <a:gd name="T51" fmla="*/ 0 h 808"/>
                  <a:gd name="T52" fmla="*/ 620 w 808"/>
                  <a:gd name="T53" fmla="*/ 31 h 808"/>
                  <a:gd name="T54" fmla="*/ 589 w 808"/>
                  <a:gd name="T55" fmla="*/ 31 h 808"/>
                  <a:gd name="T56" fmla="*/ 589 w 808"/>
                  <a:gd name="T57" fmla="*/ 31 h 808"/>
                  <a:gd name="T58" fmla="*/ 559 w 808"/>
                  <a:gd name="T59" fmla="*/ 63 h 808"/>
                  <a:gd name="T60" fmla="*/ 559 w 808"/>
                  <a:gd name="T61" fmla="*/ 94 h 808"/>
                  <a:gd name="T62" fmla="*/ 528 w 808"/>
                  <a:gd name="T63" fmla="*/ 155 h 808"/>
                  <a:gd name="T64" fmla="*/ 528 w 808"/>
                  <a:gd name="T65" fmla="*/ 155 h 808"/>
                  <a:gd name="T66" fmla="*/ 496 w 808"/>
                  <a:gd name="T67" fmla="*/ 218 h 808"/>
                  <a:gd name="T68" fmla="*/ 435 w 808"/>
                  <a:gd name="T69" fmla="*/ 279 h 808"/>
                  <a:gd name="T70" fmla="*/ 435 w 808"/>
                  <a:gd name="T71" fmla="*/ 279 h 808"/>
                  <a:gd name="T72" fmla="*/ 403 w 808"/>
                  <a:gd name="T73" fmla="*/ 342 h 808"/>
                  <a:gd name="T74" fmla="*/ 372 w 808"/>
                  <a:gd name="T75" fmla="*/ 372 h 808"/>
                  <a:gd name="T76" fmla="*/ 342 w 808"/>
                  <a:gd name="T77" fmla="*/ 372 h 808"/>
                  <a:gd name="T78" fmla="*/ 280 w 808"/>
                  <a:gd name="T79" fmla="*/ 372 h 808"/>
                  <a:gd name="T80" fmla="*/ 280 w 808"/>
                  <a:gd name="T81" fmla="*/ 435 h 808"/>
                  <a:gd name="T82" fmla="*/ 218 w 808"/>
                  <a:gd name="T83" fmla="*/ 466 h 808"/>
                  <a:gd name="T84" fmla="*/ 218 w 808"/>
                  <a:gd name="T85" fmla="*/ 496 h 808"/>
                  <a:gd name="T86" fmla="*/ 156 w 808"/>
                  <a:gd name="T87" fmla="*/ 496 h 808"/>
                  <a:gd name="T88" fmla="*/ 124 w 808"/>
                  <a:gd name="T89" fmla="*/ 496 h 808"/>
                  <a:gd name="T90" fmla="*/ 32 w 808"/>
                  <a:gd name="T91" fmla="*/ 496 h 808"/>
                  <a:gd name="T92" fmla="*/ 63 w 808"/>
                  <a:gd name="T93" fmla="*/ 559 h 808"/>
                  <a:gd name="T94" fmla="*/ 94 w 808"/>
                  <a:gd name="T95" fmla="*/ 590 h 808"/>
                  <a:gd name="T96" fmla="*/ 94 w 808"/>
                  <a:gd name="T97" fmla="*/ 620 h 808"/>
                  <a:gd name="T98" fmla="*/ 32 w 808"/>
                  <a:gd name="T99" fmla="*/ 683 h 808"/>
                  <a:gd name="T100" fmla="*/ 32 w 808"/>
                  <a:gd name="T101" fmla="*/ 714 h 808"/>
                  <a:gd name="T102" fmla="*/ 156 w 808"/>
                  <a:gd name="T103" fmla="*/ 714 h 808"/>
                  <a:gd name="T104" fmla="*/ 218 w 808"/>
                  <a:gd name="T105" fmla="*/ 683 h 808"/>
                  <a:gd name="T106" fmla="*/ 280 w 808"/>
                  <a:gd name="T107" fmla="*/ 714 h 808"/>
                  <a:gd name="T108" fmla="*/ 342 w 808"/>
                  <a:gd name="T109" fmla="*/ 80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8" h="808">
                    <a:moveTo>
                      <a:pt x="372" y="775"/>
                    </a:moveTo>
                    <a:lnTo>
                      <a:pt x="372" y="775"/>
                    </a:lnTo>
                    <a:lnTo>
                      <a:pt x="372" y="775"/>
                    </a:lnTo>
                    <a:lnTo>
                      <a:pt x="372" y="775"/>
                    </a:lnTo>
                    <a:lnTo>
                      <a:pt x="372" y="775"/>
                    </a:lnTo>
                    <a:cubicBezTo>
                      <a:pt x="403" y="775"/>
                      <a:pt x="403" y="775"/>
                      <a:pt x="403" y="775"/>
                    </a:cubicBezTo>
                    <a:lnTo>
                      <a:pt x="435" y="775"/>
                    </a:lnTo>
                    <a:lnTo>
                      <a:pt x="435" y="775"/>
                    </a:lnTo>
                    <a:lnTo>
                      <a:pt x="435" y="775"/>
                    </a:lnTo>
                    <a:cubicBezTo>
                      <a:pt x="466" y="775"/>
                      <a:pt x="466" y="775"/>
                      <a:pt x="466" y="775"/>
                    </a:cubicBezTo>
                    <a:lnTo>
                      <a:pt x="466" y="775"/>
                    </a:lnTo>
                    <a:lnTo>
                      <a:pt x="466" y="744"/>
                    </a:lnTo>
                    <a:lnTo>
                      <a:pt x="466" y="744"/>
                    </a:lnTo>
                    <a:lnTo>
                      <a:pt x="466" y="744"/>
                    </a:lnTo>
                    <a:lnTo>
                      <a:pt x="466" y="744"/>
                    </a:lnTo>
                    <a:lnTo>
                      <a:pt x="466" y="744"/>
                    </a:lnTo>
                    <a:cubicBezTo>
                      <a:pt x="466" y="744"/>
                      <a:pt x="435" y="744"/>
                      <a:pt x="435" y="714"/>
                    </a:cubicBezTo>
                    <a:lnTo>
                      <a:pt x="435" y="683"/>
                    </a:lnTo>
                    <a:lnTo>
                      <a:pt x="435" y="683"/>
                    </a:lnTo>
                    <a:lnTo>
                      <a:pt x="435" y="683"/>
                    </a:lnTo>
                    <a:cubicBezTo>
                      <a:pt x="403" y="683"/>
                      <a:pt x="403" y="683"/>
                      <a:pt x="403" y="683"/>
                    </a:cubicBezTo>
                    <a:cubicBezTo>
                      <a:pt x="403" y="651"/>
                      <a:pt x="403" y="651"/>
                      <a:pt x="403" y="620"/>
                    </a:cubicBezTo>
                    <a:lnTo>
                      <a:pt x="403" y="590"/>
                    </a:lnTo>
                    <a:lnTo>
                      <a:pt x="403" y="590"/>
                    </a:lnTo>
                    <a:cubicBezTo>
                      <a:pt x="403" y="559"/>
                      <a:pt x="435" y="559"/>
                      <a:pt x="435" y="559"/>
                    </a:cubicBezTo>
                    <a:cubicBezTo>
                      <a:pt x="435" y="527"/>
                      <a:pt x="466" y="527"/>
                      <a:pt x="466" y="527"/>
                    </a:cubicBezTo>
                    <a:lnTo>
                      <a:pt x="466" y="527"/>
                    </a:lnTo>
                    <a:lnTo>
                      <a:pt x="466" y="527"/>
                    </a:lnTo>
                    <a:lnTo>
                      <a:pt x="466" y="527"/>
                    </a:lnTo>
                    <a:cubicBezTo>
                      <a:pt x="496" y="527"/>
                      <a:pt x="496" y="527"/>
                      <a:pt x="496" y="559"/>
                    </a:cubicBezTo>
                    <a:lnTo>
                      <a:pt x="496" y="559"/>
                    </a:lnTo>
                    <a:cubicBezTo>
                      <a:pt x="528" y="527"/>
                      <a:pt x="528" y="527"/>
                      <a:pt x="528" y="527"/>
                    </a:cubicBezTo>
                    <a:lnTo>
                      <a:pt x="528" y="527"/>
                    </a:lnTo>
                    <a:cubicBezTo>
                      <a:pt x="528" y="496"/>
                      <a:pt x="528" y="496"/>
                      <a:pt x="559" y="496"/>
                    </a:cubicBezTo>
                    <a:cubicBezTo>
                      <a:pt x="559" y="496"/>
                      <a:pt x="559" y="496"/>
                      <a:pt x="559" y="466"/>
                    </a:cubicBezTo>
                    <a:lnTo>
                      <a:pt x="589" y="466"/>
                    </a:lnTo>
                    <a:cubicBezTo>
                      <a:pt x="589" y="466"/>
                      <a:pt x="589" y="466"/>
                      <a:pt x="620" y="435"/>
                    </a:cubicBezTo>
                    <a:lnTo>
                      <a:pt x="620" y="435"/>
                    </a:lnTo>
                    <a:lnTo>
                      <a:pt x="620" y="435"/>
                    </a:lnTo>
                    <a:lnTo>
                      <a:pt x="620" y="435"/>
                    </a:lnTo>
                    <a:cubicBezTo>
                      <a:pt x="620" y="403"/>
                      <a:pt x="620" y="403"/>
                      <a:pt x="652" y="403"/>
                    </a:cubicBezTo>
                    <a:lnTo>
                      <a:pt x="652" y="403"/>
                    </a:lnTo>
                    <a:lnTo>
                      <a:pt x="652" y="403"/>
                    </a:lnTo>
                    <a:cubicBezTo>
                      <a:pt x="652" y="372"/>
                      <a:pt x="652" y="372"/>
                      <a:pt x="683" y="372"/>
                    </a:cubicBezTo>
                    <a:cubicBezTo>
                      <a:pt x="683" y="342"/>
                      <a:pt x="683" y="342"/>
                      <a:pt x="683" y="342"/>
                    </a:cubicBezTo>
                    <a:cubicBezTo>
                      <a:pt x="683" y="311"/>
                      <a:pt x="683" y="311"/>
                      <a:pt x="683" y="311"/>
                    </a:cubicBezTo>
                    <a:lnTo>
                      <a:pt x="683" y="279"/>
                    </a:lnTo>
                    <a:lnTo>
                      <a:pt x="683" y="279"/>
                    </a:lnTo>
                    <a:lnTo>
                      <a:pt x="683" y="279"/>
                    </a:lnTo>
                    <a:lnTo>
                      <a:pt x="683" y="279"/>
                    </a:lnTo>
                    <a:cubicBezTo>
                      <a:pt x="683" y="279"/>
                      <a:pt x="683" y="279"/>
                      <a:pt x="652" y="279"/>
                    </a:cubicBezTo>
                    <a:cubicBezTo>
                      <a:pt x="652" y="248"/>
                      <a:pt x="652" y="248"/>
                      <a:pt x="652" y="248"/>
                    </a:cubicBezTo>
                    <a:cubicBezTo>
                      <a:pt x="652" y="218"/>
                      <a:pt x="652" y="218"/>
                      <a:pt x="652" y="218"/>
                    </a:cubicBezTo>
                    <a:lnTo>
                      <a:pt x="652" y="187"/>
                    </a:lnTo>
                    <a:lnTo>
                      <a:pt x="652" y="187"/>
                    </a:lnTo>
                    <a:lnTo>
                      <a:pt x="652" y="187"/>
                    </a:lnTo>
                    <a:lnTo>
                      <a:pt x="652" y="155"/>
                    </a:lnTo>
                    <a:cubicBezTo>
                      <a:pt x="652" y="155"/>
                      <a:pt x="652" y="155"/>
                      <a:pt x="652" y="124"/>
                    </a:cubicBezTo>
                    <a:cubicBezTo>
                      <a:pt x="652" y="124"/>
                      <a:pt x="652" y="124"/>
                      <a:pt x="652" y="94"/>
                    </a:cubicBezTo>
                    <a:lnTo>
                      <a:pt x="652" y="94"/>
                    </a:lnTo>
                    <a:lnTo>
                      <a:pt x="683" y="94"/>
                    </a:lnTo>
                    <a:lnTo>
                      <a:pt x="683" y="94"/>
                    </a:lnTo>
                    <a:lnTo>
                      <a:pt x="683" y="94"/>
                    </a:lnTo>
                    <a:lnTo>
                      <a:pt x="683" y="94"/>
                    </a:lnTo>
                    <a:cubicBezTo>
                      <a:pt x="713" y="94"/>
                      <a:pt x="713" y="94"/>
                      <a:pt x="744" y="124"/>
                    </a:cubicBezTo>
                    <a:lnTo>
                      <a:pt x="744" y="124"/>
                    </a:lnTo>
                    <a:lnTo>
                      <a:pt x="744" y="124"/>
                    </a:lnTo>
                    <a:cubicBezTo>
                      <a:pt x="776" y="94"/>
                      <a:pt x="776" y="94"/>
                      <a:pt x="776" y="94"/>
                    </a:cubicBezTo>
                    <a:cubicBezTo>
                      <a:pt x="807" y="94"/>
                      <a:pt x="807" y="94"/>
                      <a:pt x="807" y="94"/>
                    </a:cubicBezTo>
                    <a:lnTo>
                      <a:pt x="776" y="94"/>
                    </a:lnTo>
                    <a:lnTo>
                      <a:pt x="776" y="63"/>
                    </a:lnTo>
                    <a:lnTo>
                      <a:pt x="744" y="63"/>
                    </a:lnTo>
                    <a:lnTo>
                      <a:pt x="744" y="31"/>
                    </a:lnTo>
                    <a:lnTo>
                      <a:pt x="744" y="31"/>
                    </a:lnTo>
                    <a:lnTo>
                      <a:pt x="744" y="31"/>
                    </a:lnTo>
                    <a:lnTo>
                      <a:pt x="713" y="0"/>
                    </a:lnTo>
                    <a:lnTo>
                      <a:pt x="713" y="0"/>
                    </a:lnTo>
                    <a:lnTo>
                      <a:pt x="713" y="0"/>
                    </a:lnTo>
                    <a:lnTo>
                      <a:pt x="683" y="0"/>
                    </a:lnTo>
                    <a:cubicBezTo>
                      <a:pt x="683" y="0"/>
                      <a:pt x="683" y="0"/>
                      <a:pt x="652" y="0"/>
                    </a:cubicBezTo>
                    <a:cubicBezTo>
                      <a:pt x="652" y="0"/>
                      <a:pt x="652" y="0"/>
                      <a:pt x="620" y="31"/>
                    </a:cubicBezTo>
                    <a:lnTo>
                      <a:pt x="620" y="31"/>
                    </a:lnTo>
                    <a:lnTo>
                      <a:pt x="620" y="31"/>
                    </a:lnTo>
                    <a:cubicBezTo>
                      <a:pt x="620" y="31"/>
                      <a:pt x="620" y="31"/>
                      <a:pt x="589" y="31"/>
                    </a:cubicBezTo>
                    <a:lnTo>
                      <a:pt x="589" y="31"/>
                    </a:lnTo>
                    <a:lnTo>
                      <a:pt x="589" y="31"/>
                    </a:lnTo>
                    <a:lnTo>
                      <a:pt x="589" y="31"/>
                    </a:lnTo>
                    <a:lnTo>
                      <a:pt x="559" y="31"/>
                    </a:lnTo>
                    <a:cubicBezTo>
                      <a:pt x="559" y="31"/>
                      <a:pt x="559" y="31"/>
                      <a:pt x="559" y="63"/>
                    </a:cubicBezTo>
                    <a:lnTo>
                      <a:pt x="559" y="63"/>
                    </a:lnTo>
                    <a:lnTo>
                      <a:pt x="559" y="63"/>
                    </a:lnTo>
                    <a:cubicBezTo>
                      <a:pt x="559" y="63"/>
                      <a:pt x="559" y="63"/>
                      <a:pt x="559" y="94"/>
                    </a:cubicBezTo>
                    <a:lnTo>
                      <a:pt x="559" y="94"/>
                    </a:lnTo>
                    <a:lnTo>
                      <a:pt x="559" y="94"/>
                    </a:lnTo>
                    <a:lnTo>
                      <a:pt x="559" y="94"/>
                    </a:lnTo>
                    <a:cubicBezTo>
                      <a:pt x="559" y="124"/>
                      <a:pt x="559" y="155"/>
                      <a:pt x="528" y="155"/>
                    </a:cubicBezTo>
                    <a:lnTo>
                      <a:pt x="528" y="155"/>
                    </a:lnTo>
                    <a:lnTo>
                      <a:pt x="528" y="155"/>
                    </a:lnTo>
                    <a:lnTo>
                      <a:pt x="528" y="155"/>
                    </a:lnTo>
                    <a:cubicBezTo>
                      <a:pt x="528" y="187"/>
                      <a:pt x="528" y="218"/>
                      <a:pt x="496" y="218"/>
                    </a:cubicBezTo>
                    <a:lnTo>
                      <a:pt x="496" y="218"/>
                    </a:lnTo>
                    <a:lnTo>
                      <a:pt x="496" y="218"/>
                    </a:lnTo>
                    <a:cubicBezTo>
                      <a:pt x="466" y="248"/>
                      <a:pt x="466" y="248"/>
                      <a:pt x="466" y="248"/>
                    </a:cubicBezTo>
                    <a:lnTo>
                      <a:pt x="466" y="248"/>
                    </a:lnTo>
                    <a:cubicBezTo>
                      <a:pt x="466" y="279"/>
                      <a:pt x="435" y="279"/>
                      <a:pt x="435" y="279"/>
                    </a:cubicBezTo>
                    <a:lnTo>
                      <a:pt x="435" y="279"/>
                    </a:lnTo>
                    <a:lnTo>
                      <a:pt x="435" y="279"/>
                    </a:lnTo>
                    <a:lnTo>
                      <a:pt x="435" y="279"/>
                    </a:lnTo>
                    <a:cubicBezTo>
                      <a:pt x="435" y="311"/>
                      <a:pt x="435" y="311"/>
                      <a:pt x="435" y="311"/>
                    </a:cubicBezTo>
                    <a:lnTo>
                      <a:pt x="435" y="342"/>
                    </a:lnTo>
                    <a:lnTo>
                      <a:pt x="403" y="342"/>
                    </a:lnTo>
                    <a:lnTo>
                      <a:pt x="403" y="342"/>
                    </a:lnTo>
                    <a:cubicBezTo>
                      <a:pt x="403" y="372"/>
                      <a:pt x="403" y="372"/>
                      <a:pt x="372" y="372"/>
                    </a:cubicBezTo>
                    <a:lnTo>
                      <a:pt x="372" y="372"/>
                    </a:lnTo>
                    <a:cubicBezTo>
                      <a:pt x="372" y="372"/>
                      <a:pt x="342" y="372"/>
                      <a:pt x="342" y="342"/>
                    </a:cubicBezTo>
                    <a:lnTo>
                      <a:pt x="342" y="342"/>
                    </a:lnTo>
                    <a:cubicBezTo>
                      <a:pt x="342" y="342"/>
                      <a:pt x="342" y="342"/>
                      <a:pt x="342" y="372"/>
                    </a:cubicBezTo>
                    <a:lnTo>
                      <a:pt x="342" y="372"/>
                    </a:lnTo>
                    <a:lnTo>
                      <a:pt x="311" y="403"/>
                    </a:lnTo>
                    <a:lnTo>
                      <a:pt x="280" y="372"/>
                    </a:lnTo>
                    <a:cubicBezTo>
                      <a:pt x="280" y="403"/>
                      <a:pt x="280" y="403"/>
                      <a:pt x="280" y="403"/>
                    </a:cubicBezTo>
                    <a:lnTo>
                      <a:pt x="280" y="403"/>
                    </a:lnTo>
                    <a:cubicBezTo>
                      <a:pt x="280" y="435"/>
                      <a:pt x="280" y="435"/>
                      <a:pt x="280" y="435"/>
                    </a:cubicBezTo>
                    <a:cubicBezTo>
                      <a:pt x="280" y="466"/>
                      <a:pt x="280" y="466"/>
                      <a:pt x="248" y="466"/>
                    </a:cubicBezTo>
                    <a:lnTo>
                      <a:pt x="248" y="466"/>
                    </a:lnTo>
                    <a:cubicBezTo>
                      <a:pt x="218" y="466"/>
                      <a:pt x="218" y="466"/>
                      <a:pt x="218" y="466"/>
                    </a:cubicBezTo>
                    <a:lnTo>
                      <a:pt x="218" y="466"/>
                    </a:lnTo>
                    <a:lnTo>
                      <a:pt x="218" y="496"/>
                    </a:lnTo>
                    <a:lnTo>
                      <a:pt x="218" y="496"/>
                    </a:lnTo>
                    <a:cubicBezTo>
                      <a:pt x="187" y="496"/>
                      <a:pt x="187" y="496"/>
                      <a:pt x="187" y="496"/>
                    </a:cubicBezTo>
                    <a:lnTo>
                      <a:pt x="156" y="496"/>
                    </a:lnTo>
                    <a:lnTo>
                      <a:pt x="156" y="496"/>
                    </a:lnTo>
                    <a:lnTo>
                      <a:pt x="124" y="496"/>
                    </a:lnTo>
                    <a:lnTo>
                      <a:pt x="124" y="496"/>
                    </a:lnTo>
                    <a:lnTo>
                      <a:pt x="124" y="496"/>
                    </a:lnTo>
                    <a:lnTo>
                      <a:pt x="94" y="496"/>
                    </a:lnTo>
                    <a:cubicBezTo>
                      <a:pt x="94" y="496"/>
                      <a:pt x="63" y="496"/>
                      <a:pt x="32" y="496"/>
                    </a:cubicBezTo>
                    <a:lnTo>
                      <a:pt x="32" y="496"/>
                    </a:lnTo>
                    <a:cubicBezTo>
                      <a:pt x="63" y="496"/>
                      <a:pt x="63" y="527"/>
                      <a:pt x="63" y="527"/>
                    </a:cubicBezTo>
                    <a:lnTo>
                      <a:pt x="63" y="527"/>
                    </a:lnTo>
                    <a:lnTo>
                      <a:pt x="63" y="559"/>
                    </a:lnTo>
                    <a:cubicBezTo>
                      <a:pt x="63" y="559"/>
                      <a:pt x="63" y="559"/>
                      <a:pt x="63" y="590"/>
                    </a:cubicBezTo>
                    <a:cubicBezTo>
                      <a:pt x="94" y="590"/>
                      <a:pt x="94" y="590"/>
                      <a:pt x="94" y="590"/>
                    </a:cubicBezTo>
                    <a:lnTo>
                      <a:pt x="94" y="590"/>
                    </a:lnTo>
                    <a:lnTo>
                      <a:pt x="94" y="590"/>
                    </a:lnTo>
                    <a:lnTo>
                      <a:pt x="94" y="590"/>
                    </a:lnTo>
                    <a:cubicBezTo>
                      <a:pt x="94" y="620"/>
                      <a:pt x="94" y="620"/>
                      <a:pt x="94" y="620"/>
                    </a:cubicBezTo>
                    <a:cubicBezTo>
                      <a:pt x="94" y="651"/>
                      <a:pt x="94" y="651"/>
                      <a:pt x="94" y="651"/>
                    </a:cubicBezTo>
                    <a:cubicBezTo>
                      <a:pt x="94" y="683"/>
                      <a:pt x="63" y="683"/>
                      <a:pt x="63" y="683"/>
                    </a:cubicBezTo>
                    <a:cubicBezTo>
                      <a:pt x="32" y="683"/>
                      <a:pt x="32" y="683"/>
                      <a:pt x="32" y="683"/>
                    </a:cubicBezTo>
                    <a:cubicBezTo>
                      <a:pt x="32" y="683"/>
                      <a:pt x="0" y="683"/>
                      <a:pt x="0" y="714"/>
                    </a:cubicBezTo>
                    <a:lnTo>
                      <a:pt x="0" y="714"/>
                    </a:lnTo>
                    <a:cubicBezTo>
                      <a:pt x="32" y="714"/>
                      <a:pt x="32" y="714"/>
                      <a:pt x="32" y="714"/>
                    </a:cubicBezTo>
                    <a:cubicBezTo>
                      <a:pt x="63" y="714"/>
                      <a:pt x="94" y="714"/>
                      <a:pt x="124" y="683"/>
                    </a:cubicBezTo>
                    <a:lnTo>
                      <a:pt x="124" y="683"/>
                    </a:lnTo>
                    <a:cubicBezTo>
                      <a:pt x="156" y="683"/>
                      <a:pt x="156" y="714"/>
                      <a:pt x="156" y="714"/>
                    </a:cubicBezTo>
                    <a:lnTo>
                      <a:pt x="156" y="714"/>
                    </a:lnTo>
                    <a:lnTo>
                      <a:pt x="187" y="714"/>
                    </a:lnTo>
                    <a:cubicBezTo>
                      <a:pt x="218" y="714"/>
                      <a:pt x="218" y="683"/>
                      <a:pt x="218" y="683"/>
                    </a:cubicBezTo>
                    <a:lnTo>
                      <a:pt x="248" y="683"/>
                    </a:lnTo>
                    <a:lnTo>
                      <a:pt x="280" y="714"/>
                    </a:lnTo>
                    <a:lnTo>
                      <a:pt x="280" y="714"/>
                    </a:lnTo>
                    <a:cubicBezTo>
                      <a:pt x="280" y="744"/>
                      <a:pt x="311" y="744"/>
                      <a:pt x="311" y="775"/>
                    </a:cubicBezTo>
                    <a:cubicBezTo>
                      <a:pt x="311" y="807"/>
                      <a:pt x="311" y="807"/>
                      <a:pt x="342" y="807"/>
                    </a:cubicBezTo>
                    <a:lnTo>
                      <a:pt x="342" y="807"/>
                    </a:lnTo>
                    <a:lnTo>
                      <a:pt x="342" y="807"/>
                    </a:lnTo>
                    <a:cubicBezTo>
                      <a:pt x="342" y="775"/>
                      <a:pt x="372" y="775"/>
                      <a:pt x="372" y="775"/>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41" name="Freeform 138"/>
              <p:cNvSpPr>
                <a:spLocks noChangeArrowheads="1"/>
              </p:cNvSpPr>
              <p:nvPr/>
            </p:nvSpPr>
            <p:spPr bwMode="auto">
              <a:xfrm>
                <a:off x="5454650" y="2003425"/>
                <a:ext cx="123825" cy="144463"/>
              </a:xfrm>
              <a:custGeom>
                <a:avLst/>
                <a:gdLst>
                  <a:gd name="T0" fmla="*/ 124 w 342"/>
                  <a:gd name="T1" fmla="*/ 402 h 403"/>
                  <a:gd name="T2" fmla="*/ 154 w 342"/>
                  <a:gd name="T3" fmla="*/ 372 h 403"/>
                  <a:gd name="T4" fmla="*/ 154 w 342"/>
                  <a:gd name="T5" fmla="*/ 372 h 403"/>
                  <a:gd name="T6" fmla="*/ 154 w 342"/>
                  <a:gd name="T7" fmla="*/ 372 h 403"/>
                  <a:gd name="T8" fmla="*/ 154 w 342"/>
                  <a:gd name="T9" fmla="*/ 372 h 403"/>
                  <a:gd name="T10" fmla="*/ 154 w 342"/>
                  <a:gd name="T11" fmla="*/ 372 h 403"/>
                  <a:gd name="T12" fmla="*/ 154 w 342"/>
                  <a:gd name="T13" fmla="*/ 309 h 403"/>
                  <a:gd name="T14" fmla="*/ 154 w 342"/>
                  <a:gd name="T15" fmla="*/ 309 h 403"/>
                  <a:gd name="T16" fmla="*/ 185 w 342"/>
                  <a:gd name="T17" fmla="*/ 248 h 403"/>
                  <a:gd name="T18" fmla="*/ 185 w 342"/>
                  <a:gd name="T19" fmla="*/ 216 h 403"/>
                  <a:gd name="T20" fmla="*/ 185 w 342"/>
                  <a:gd name="T21" fmla="*/ 216 h 403"/>
                  <a:gd name="T22" fmla="*/ 248 w 342"/>
                  <a:gd name="T23" fmla="*/ 216 h 403"/>
                  <a:gd name="T24" fmla="*/ 248 w 342"/>
                  <a:gd name="T25" fmla="*/ 155 h 403"/>
                  <a:gd name="T26" fmla="*/ 248 w 342"/>
                  <a:gd name="T27" fmla="*/ 155 h 403"/>
                  <a:gd name="T28" fmla="*/ 248 w 342"/>
                  <a:gd name="T29" fmla="*/ 124 h 403"/>
                  <a:gd name="T30" fmla="*/ 248 w 342"/>
                  <a:gd name="T31" fmla="*/ 124 h 403"/>
                  <a:gd name="T32" fmla="*/ 248 w 342"/>
                  <a:gd name="T33" fmla="*/ 92 h 403"/>
                  <a:gd name="T34" fmla="*/ 278 w 342"/>
                  <a:gd name="T35" fmla="*/ 92 h 403"/>
                  <a:gd name="T36" fmla="*/ 309 w 342"/>
                  <a:gd name="T37" fmla="*/ 61 h 403"/>
                  <a:gd name="T38" fmla="*/ 341 w 342"/>
                  <a:gd name="T39" fmla="*/ 31 h 403"/>
                  <a:gd name="T40" fmla="*/ 341 w 342"/>
                  <a:gd name="T41" fmla="*/ 31 h 403"/>
                  <a:gd name="T42" fmla="*/ 309 w 342"/>
                  <a:gd name="T43" fmla="*/ 0 h 403"/>
                  <a:gd name="T44" fmla="*/ 309 w 342"/>
                  <a:gd name="T45" fmla="*/ 0 h 403"/>
                  <a:gd name="T46" fmla="*/ 248 w 342"/>
                  <a:gd name="T47" fmla="*/ 31 h 403"/>
                  <a:gd name="T48" fmla="*/ 185 w 342"/>
                  <a:gd name="T49" fmla="*/ 92 h 403"/>
                  <a:gd name="T50" fmla="*/ 154 w 342"/>
                  <a:gd name="T51" fmla="*/ 92 h 403"/>
                  <a:gd name="T52" fmla="*/ 154 w 342"/>
                  <a:gd name="T53" fmla="*/ 92 h 403"/>
                  <a:gd name="T54" fmla="*/ 154 w 342"/>
                  <a:gd name="T55" fmla="*/ 92 h 403"/>
                  <a:gd name="T56" fmla="*/ 124 w 342"/>
                  <a:gd name="T57" fmla="*/ 92 h 403"/>
                  <a:gd name="T58" fmla="*/ 124 w 342"/>
                  <a:gd name="T59" fmla="*/ 92 h 403"/>
                  <a:gd name="T60" fmla="*/ 61 w 342"/>
                  <a:gd name="T61" fmla="*/ 124 h 403"/>
                  <a:gd name="T62" fmla="*/ 30 w 342"/>
                  <a:gd name="T63" fmla="*/ 92 h 403"/>
                  <a:gd name="T64" fmla="*/ 30 w 342"/>
                  <a:gd name="T65" fmla="*/ 92 h 403"/>
                  <a:gd name="T66" fmla="*/ 0 w 342"/>
                  <a:gd name="T67" fmla="*/ 92 h 403"/>
                  <a:gd name="T68" fmla="*/ 30 w 342"/>
                  <a:gd name="T69" fmla="*/ 124 h 403"/>
                  <a:gd name="T70" fmla="*/ 30 w 342"/>
                  <a:gd name="T71" fmla="*/ 155 h 403"/>
                  <a:gd name="T72" fmla="*/ 30 w 342"/>
                  <a:gd name="T73" fmla="*/ 155 h 403"/>
                  <a:gd name="T74" fmla="*/ 30 w 342"/>
                  <a:gd name="T75" fmla="*/ 155 h 403"/>
                  <a:gd name="T76" fmla="*/ 93 w 342"/>
                  <a:gd name="T77" fmla="*/ 155 h 403"/>
                  <a:gd name="T78" fmla="*/ 93 w 342"/>
                  <a:gd name="T79" fmla="*/ 155 h 403"/>
                  <a:gd name="T80" fmla="*/ 124 w 342"/>
                  <a:gd name="T81" fmla="*/ 155 h 403"/>
                  <a:gd name="T82" fmla="*/ 154 w 342"/>
                  <a:gd name="T83" fmla="*/ 185 h 403"/>
                  <a:gd name="T84" fmla="*/ 124 w 342"/>
                  <a:gd name="T85" fmla="*/ 278 h 403"/>
                  <a:gd name="T86" fmla="*/ 93 w 342"/>
                  <a:gd name="T87" fmla="*/ 278 h 403"/>
                  <a:gd name="T88" fmla="*/ 93 w 342"/>
                  <a:gd name="T89" fmla="*/ 278 h 403"/>
                  <a:gd name="T90" fmla="*/ 93 w 342"/>
                  <a:gd name="T91" fmla="*/ 340 h 403"/>
                  <a:gd name="T92" fmla="*/ 124 w 342"/>
                  <a:gd name="T93" fmla="*/ 340 h 403"/>
                  <a:gd name="T94" fmla="*/ 124 w 342"/>
                  <a:gd name="T95" fmla="*/ 372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2" h="403">
                    <a:moveTo>
                      <a:pt x="124" y="402"/>
                    </a:moveTo>
                    <a:lnTo>
                      <a:pt x="124" y="402"/>
                    </a:lnTo>
                    <a:lnTo>
                      <a:pt x="124" y="372"/>
                    </a:lnTo>
                    <a:lnTo>
                      <a:pt x="154" y="372"/>
                    </a:lnTo>
                    <a:lnTo>
                      <a:pt x="154" y="372"/>
                    </a:lnTo>
                    <a:lnTo>
                      <a:pt x="154" y="372"/>
                    </a:lnTo>
                    <a:lnTo>
                      <a:pt x="154" y="372"/>
                    </a:lnTo>
                    <a:lnTo>
                      <a:pt x="154" y="372"/>
                    </a:lnTo>
                    <a:lnTo>
                      <a:pt x="154" y="372"/>
                    </a:lnTo>
                    <a:lnTo>
                      <a:pt x="154" y="372"/>
                    </a:lnTo>
                    <a:lnTo>
                      <a:pt x="154" y="372"/>
                    </a:lnTo>
                    <a:lnTo>
                      <a:pt x="154" y="372"/>
                    </a:lnTo>
                    <a:lnTo>
                      <a:pt x="154" y="340"/>
                    </a:lnTo>
                    <a:lnTo>
                      <a:pt x="154" y="309"/>
                    </a:lnTo>
                    <a:lnTo>
                      <a:pt x="154" y="309"/>
                    </a:lnTo>
                    <a:lnTo>
                      <a:pt x="154" y="309"/>
                    </a:lnTo>
                    <a:cubicBezTo>
                      <a:pt x="154" y="278"/>
                      <a:pt x="154" y="278"/>
                      <a:pt x="154" y="278"/>
                    </a:cubicBezTo>
                    <a:cubicBezTo>
                      <a:pt x="154" y="278"/>
                      <a:pt x="154" y="248"/>
                      <a:pt x="185" y="248"/>
                    </a:cubicBezTo>
                    <a:lnTo>
                      <a:pt x="185" y="248"/>
                    </a:lnTo>
                    <a:lnTo>
                      <a:pt x="185" y="216"/>
                    </a:lnTo>
                    <a:lnTo>
                      <a:pt x="185" y="216"/>
                    </a:lnTo>
                    <a:lnTo>
                      <a:pt x="185" y="216"/>
                    </a:lnTo>
                    <a:cubicBezTo>
                      <a:pt x="217" y="216"/>
                      <a:pt x="217" y="248"/>
                      <a:pt x="217" y="248"/>
                    </a:cubicBezTo>
                    <a:cubicBezTo>
                      <a:pt x="248" y="216"/>
                      <a:pt x="248" y="216"/>
                      <a:pt x="248" y="216"/>
                    </a:cubicBezTo>
                    <a:cubicBezTo>
                      <a:pt x="248" y="185"/>
                      <a:pt x="248" y="185"/>
                      <a:pt x="248" y="185"/>
                    </a:cubicBezTo>
                    <a:lnTo>
                      <a:pt x="248" y="155"/>
                    </a:lnTo>
                    <a:lnTo>
                      <a:pt x="248" y="155"/>
                    </a:lnTo>
                    <a:lnTo>
                      <a:pt x="248" y="155"/>
                    </a:lnTo>
                    <a:lnTo>
                      <a:pt x="248" y="155"/>
                    </a:lnTo>
                    <a:lnTo>
                      <a:pt x="248" y="124"/>
                    </a:lnTo>
                    <a:cubicBezTo>
                      <a:pt x="278" y="124"/>
                      <a:pt x="278" y="124"/>
                      <a:pt x="278" y="124"/>
                    </a:cubicBezTo>
                    <a:cubicBezTo>
                      <a:pt x="278" y="124"/>
                      <a:pt x="278" y="124"/>
                      <a:pt x="248" y="124"/>
                    </a:cubicBezTo>
                    <a:lnTo>
                      <a:pt x="248" y="124"/>
                    </a:lnTo>
                    <a:cubicBezTo>
                      <a:pt x="248" y="124"/>
                      <a:pt x="248" y="124"/>
                      <a:pt x="248" y="92"/>
                    </a:cubicBezTo>
                    <a:lnTo>
                      <a:pt x="278" y="92"/>
                    </a:lnTo>
                    <a:lnTo>
                      <a:pt x="278" y="92"/>
                    </a:lnTo>
                    <a:cubicBezTo>
                      <a:pt x="278" y="61"/>
                      <a:pt x="278" y="61"/>
                      <a:pt x="309" y="61"/>
                    </a:cubicBezTo>
                    <a:lnTo>
                      <a:pt x="309" y="61"/>
                    </a:lnTo>
                    <a:lnTo>
                      <a:pt x="309" y="61"/>
                    </a:lnTo>
                    <a:cubicBezTo>
                      <a:pt x="309" y="61"/>
                      <a:pt x="309" y="31"/>
                      <a:pt x="341" y="31"/>
                    </a:cubicBezTo>
                    <a:lnTo>
                      <a:pt x="341" y="31"/>
                    </a:lnTo>
                    <a:lnTo>
                      <a:pt x="341" y="31"/>
                    </a:lnTo>
                    <a:cubicBezTo>
                      <a:pt x="341" y="31"/>
                      <a:pt x="341" y="0"/>
                      <a:pt x="309" y="0"/>
                    </a:cubicBezTo>
                    <a:lnTo>
                      <a:pt x="309" y="0"/>
                    </a:lnTo>
                    <a:lnTo>
                      <a:pt x="309" y="0"/>
                    </a:lnTo>
                    <a:lnTo>
                      <a:pt x="309" y="0"/>
                    </a:lnTo>
                    <a:cubicBezTo>
                      <a:pt x="309" y="0"/>
                      <a:pt x="309" y="0"/>
                      <a:pt x="309" y="31"/>
                    </a:cubicBezTo>
                    <a:cubicBezTo>
                      <a:pt x="278" y="31"/>
                      <a:pt x="278" y="31"/>
                      <a:pt x="248" y="31"/>
                    </a:cubicBezTo>
                    <a:cubicBezTo>
                      <a:pt x="248" y="61"/>
                      <a:pt x="248" y="61"/>
                      <a:pt x="248" y="61"/>
                    </a:cubicBezTo>
                    <a:cubicBezTo>
                      <a:pt x="217" y="61"/>
                      <a:pt x="185" y="92"/>
                      <a:pt x="185" y="92"/>
                    </a:cubicBezTo>
                    <a:lnTo>
                      <a:pt x="185" y="92"/>
                    </a:lnTo>
                    <a:lnTo>
                      <a:pt x="154" y="92"/>
                    </a:lnTo>
                    <a:lnTo>
                      <a:pt x="154" y="92"/>
                    </a:lnTo>
                    <a:lnTo>
                      <a:pt x="154" y="92"/>
                    </a:lnTo>
                    <a:lnTo>
                      <a:pt x="154" y="92"/>
                    </a:lnTo>
                    <a:lnTo>
                      <a:pt x="154" y="92"/>
                    </a:lnTo>
                    <a:lnTo>
                      <a:pt x="154" y="92"/>
                    </a:lnTo>
                    <a:lnTo>
                      <a:pt x="124" y="92"/>
                    </a:lnTo>
                    <a:lnTo>
                      <a:pt x="124" y="92"/>
                    </a:lnTo>
                    <a:lnTo>
                      <a:pt x="124" y="92"/>
                    </a:lnTo>
                    <a:cubicBezTo>
                      <a:pt x="124" y="92"/>
                      <a:pt x="93" y="92"/>
                      <a:pt x="93" y="124"/>
                    </a:cubicBezTo>
                    <a:cubicBezTo>
                      <a:pt x="61" y="124"/>
                      <a:pt x="61" y="124"/>
                      <a:pt x="61" y="124"/>
                    </a:cubicBezTo>
                    <a:lnTo>
                      <a:pt x="61" y="124"/>
                    </a:lnTo>
                    <a:lnTo>
                      <a:pt x="30" y="92"/>
                    </a:lnTo>
                    <a:lnTo>
                      <a:pt x="30" y="92"/>
                    </a:lnTo>
                    <a:lnTo>
                      <a:pt x="30" y="92"/>
                    </a:lnTo>
                    <a:lnTo>
                      <a:pt x="0" y="92"/>
                    </a:lnTo>
                    <a:lnTo>
                      <a:pt x="0" y="92"/>
                    </a:lnTo>
                    <a:cubicBezTo>
                      <a:pt x="0" y="124"/>
                      <a:pt x="30" y="124"/>
                      <a:pt x="30" y="124"/>
                    </a:cubicBezTo>
                    <a:lnTo>
                      <a:pt x="30" y="124"/>
                    </a:lnTo>
                    <a:lnTo>
                      <a:pt x="30" y="124"/>
                    </a:lnTo>
                    <a:lnTo>
                      <a:pt x="30" y="155"/>
                    </a:lnTo>
                    <a:lnTo>
                      <a:pt x="30" y="155"/>
                    </a:lnTo>
                    <a:lnTo>
                      <a:pt x="30" y="155"/>
                    </a:lnTo>
                    <a:lnTo>
                      <a:pt x="30" y="155"/>
                    </a:lnTo>
                    <a:lnTo>
                      <a:pt x="30" y="155"/>
                    </a:lnTo>
                    <a:cubicBezTo>
                      <a:pt x="61" y="155"/>
                      <a:pt x="61" y="155"/>
                      <a:pt x="93" y="155"/>
                    </a:cubicBezTo>
                    <a:lnTo>
                      <a:pt x="93" y="155"/>
                    </a:lnTo>
                    <a:lnTo>
                      <a:pt x="93" y="155"/>
                    </a:lnTo>
                    <a:lnTo>
                      <a:pt x="93" y="155"/>
                    </a:lnTo>
                    <a:lnTo>
                      <a:pt x="93" y="155"/>
                    </a:lnTo>
                    <a:cubicBezTo>
                      <a:pt x="124" y="155"/>
                      <a:pt x="124" y="155"/>
                      <a:pt x="124" y="155"/>
                    </a:cubicBezTo>
                    <a:cubicBezTo>
                      <a:pt x="154" y="155"/>
                      <a:pt x="154" y="155"/>
                      <a:pt x="154" y="185"/>
                    </a:cubicBezTo>
                    <a:lnTo>
                      <a:pt x="154" y="185"/>
                    </a:lnTo>
                    <a:cubicBezTo>
                      <a:pt x="154" y="216"/>
                      <a:pt x="154" y="216"/>
                      <a:pt x="154" y="216"/>
                    </a:cubicBezTo>
                    <a:cubicBezTo>
                      <a:pt x="154" y="248"/>
                      <a:pt x="124" y="278"/>
                      <a:pt x="124" y="278"/>
                    </a:cubicBezTo>
                    <a:cubicBezTo>
                      <a:pt x="93" y="278"/>
                      <a:pt x="93" y="278"/>
                      <a:pt x="93" y="278"/>
                    </a:cubicBezTo>
                    <a:lnTo>
                      <a:pt x="93" y="278"/>
                    </a:lnTo>
                    <a:lnTo>
                      <a:pt x="93" y="278"/>
                    </a:lnTo>
                    <a:lnTo>
                      <a:pt x="93" y="278"/>
                    </a:lnTo>
                    <a:cubicBezTo>
                      <a:pt x="93" y="309"/>
                      <a:pt x="93" y="309"/>
                      <a:pt x="93" y="309"/>
                    </a:cubicBezTo>
                    <a:cubicBezTo>
                      <a:pt x="93" y="309"/>
                      <a:pt x="93" y="309"/>
                      <a:pt x="93" y="340"/>
                    </a:cubicBezTo>
                    <a:lnTo>
                      <a:pt x="93" y="340"/>
                    </a:lnTo>
                    <a:cubicBezTo>
                      <a:pt x="124" y="340"/>
                      <a:pt x="124" y="340"/>
                      <a:pt x="124" y="340"/>
                    </a:cubicBezTo>
                    <a:lnTo>
                      <a:pt x="124" y="340"/>
                    </a:lnTo>
                    <a:cubicBezTo>
                      <a:pt x="124" y="372"/>
                      <a:pt x="124" y="372"/>
                      <a:pt x="124" y="372"/>
                    </a:cubicBezTo>
                    <a:cubicBezTo>
                      <a:pt x="124" y="372"/>
                      <a:pt x="124" y="372"/>
                      <a:pt x="124" y="40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42" name="Freeform 139"/>
              <p:cNvSpPr>
                <a:spLocks noChangeArrowheads="1"/>
              </p:cNvSpPr>
              <p:nvPr/>
            </p:nvSpPr>
            <p:spPr bwMode="auto">
              <a:xfrm>
                <a:off x="4214813" y="865188"/>
                <a:ext cx="3192462" cy="803275"/>
              </a:xfrm>
              <a:custGeom>
                <a:avLst/>
                <a:gdLst>
                  <a:gd name="T0" fmla="*/ 7717 w 8866"/>
                  <a:gd name="T1" fmla="*/ 527 h 2232"/>
                  <a:gd name="T2" fmla="*/ 7345 w 8866"/>
                  <a:gd name="T3" fmla="*/ 527 h 2232"/>
                  <a:gd name="T4" fmla="*/ 6788 w 8866"/>
                  <a:gd name="T5" fmla="*/ 403 h 2232"/>
                  <a:gd name="T6" fmla="*/ 6354 w 8866"/>
                  <a:gd name="T7" fmla="*/ 310 h 2232"/>
                  <a:gd name="T8" fmla="*/ 5920 w 8866"/>
                  <a:gd name="T9" fmla="*/ 403 h 2232"/>
                  <a:gd name="T10" fmla="*/ 5486 w 8866"/>
                  <a:gd name="T11" fmla="*/ 372 h 2232"/>
                  <a:gd name="T12" fmla="*/ 5083 w 8866"/>
                  <a:gd name="T13" fmla="*/ 310 h 2232"/>
                  <a:gd name="T14" fmla="*/ 4526 w 8866"/>
                  <a:gd name="T15" fmla="*/ 279 h 2232"/>
                  <a:gd name="T16" fmla="*/ 4618 w 8866"/>
                  <a:gd name="T17" fmla="*/ 62 h 2232"/>
                  <a:gd name="T18" fmla="*/ 4154 w 8866"/>
                  <a:gd name="T19" fmla="*/ 0 h 2232"/>
                  <a:gd name="T20" fmla="*/ 3565 w 8866"/>
                  <a:gd name="T21" fmla="*/ 124 h 2232"/>
                  <a:gd name="T22" fmla="*/ 3099 w 8866"/>
                  <a:gd name="T23" fmla="*/ 248 h 2232"/>
                  <a:gd name="T24" fmla="*/ 3006 w 8866"/>
                  <a:gd name="T25" fmla="*/ 403 h 2232"/>
                  <a:gd name="T26" fmla="*/ 2603 w 8866"/>
                  <a:gd name="T27" fmla="*/ 496 h 2232"/>
                  <a:gd name="T28" fmla="*/ 2325 w 8866"/>
                  <a:gd name="T29" fmla="*/ 713 h 2232"/>
                  <a:gd name="T30" fmla="*/ 2449 w 8866"/>
                  <a:gd name="T31" fmla="*/ 310 h 2232"/>
                  <a:gd name="T32" fmla="*/ 2293 w 8866"/>
                  <a:gd name="T33" fmla="*/ 496 h 2232"/>
                  <a:gd name="T34" fmla="*/ 1766 w 8866"/>
                  <a:gd name="T35" fmla="*/ 589 h 2232"/>
                  <a:gd name="T36" fmla="*/ 1302 w 8866"/>
                  <a:gd name="T37" fmla="*/ 589 h 2232"/>
                  <a:gd name="T38" fmla="*/ 992 w 8866"/>
                  <a:gd name="T39" fmla="*/ 589 h 2232"/>
                  <a:gd name="T40" fmla="*/ 681 w 8866"/>
                  <a:gd name="T41" fmla="*/ 837 h 2232"/>
                  <a:gd name="T42" fmla="*/ 372 w 8866"/>
                  <a:gd name="T43" fmla="*/ 744 h 2232"/>
                  <a:gd name="T44" fmla="*/ 651 w 8866"/>
                  <a:gd name="T45" fmla="*/ 620 h 2232"/>
                  <a:gd name="T46" fmla="*/ 124 w 8866"/>
                  <a:gd name="T47" fmla="*/ 527 h 2232"/>
                  <a:gd name="T48" fmla="*/ 186 w 8866"/>
                  <a:gd name="T49" fmla="*/ 868 h 2232"/>
                  <a:gd name="T50" fmla="*/ 0 w 8866"/>
                  <a:gd name="T51" fmla="*/ 1209 h 2232"/>
                  <a:gd name="T52" fmla="*/ 186 w 8866"/>
                  <a:gd name="T53" fmla="*/ 1364 h 2232"/>
                  <a:gd name="T54" fmla="*/ 310 w 8866"/>
                  <a:gd name="T55" fmla="*/ 1581 h 2232"/>
                  <a:gd name="T56" fmla="*/ 527 w 8866"/>
                  <a:gd name="T57" fmla="*/ 1705 h 2232"/>
                  <a:gd name="T58" fmla="*/ 651 w 8866"/>
                  <a:gd name="T59" fmla="*/ 1922 h 2232"/>
                  <a:gd name="T60" fmla="*/ 774 w 8866"/>
                  <a:gd name="T61" fmla="*/ 2170 h 2232"/>
                  <a:gd name="T62" fmla="*/ 1022 w 8866"/>
                  <a:gd name="T63" fmla="*/ 2231 h 2232"/>
                  <a:gd name="T64" fmla="*/ 1146 w 8866"/>
                  <a:gd name="T65" fmla="*/ 1984 h 2232"/>
                  <a:gd name="T66" fmla="*/ 1054 w 8866"/>
                  <a:gd name="T67" fmla="*/ 1766 h 2232"/>
                  <a:gd name="T68" fmla="*/ 1270 w 8866"/>
                  <a:gd name="T69" fmla="*/ 1612 h 2232"/>
                  <a:gd name="T70" fmla="*/ 1550 w 8866"/>
                  <a:gd name="T71" fmla="*/ 1674 h 2232"/>
                  <a:gd name="T72" fmla="*/ 1766 w 8866"/>
                  <a:gd name="T73" fmla="*/ 1642 h 2232"/>
                  <a:gd name="T74" fmla="*/ 2014 w 8866"/>
                  <a:gd name="T75" fmla="*/ 1457 h 2232"/>
                  <a:gd name="T76" fmla="*/ 2293 w 8866"/>
                  <a:gd name="T77" fmla="*/ 1364 h 2232"/>
                  <a:gd name="T78" fmla="*/ 2510 w 8866"/>
                  <a:gd name="T79" fmla="*/ 1457 h 2232"/>
                  <a:gd name="T80" fmla="*/ 2727 w 8866"/>
                  <a:gd name="T81" fmla="*/ 1488 h 2232"/>
                  <a:gd name="T82" fmla="*/ 3006 w 8866"/>
                  <a:gd name="T83" fmla="*/ 1674 h 2232"/>
                  <a:gd name="T84" fmla="*/ 3286 w 8866"/>
                  <a:gd name="T85" fmla="*/ 1736 h 2232"/>
                  <a:gd name="T86" fmla="*/ 3565 w 8866"/>
                  <a:gd name="T87" fmla="*/ 1674 h 2232"/>
                  <a:gd name="T88" fmla="*/ 3843 w 8866"/>
                  <a:gd name="T89" fmla="*/ 1736 h 2232"/>
                  <a:gd name="T90" fmla="*/ 4154 w 8866"/>
                  <a:gd name="T91" fmla="*/ 1674 h 2232"/>
                  <a:gd name="T92" fmla="*/ 4587 w 8866"/>
                  <a:gd name="T93" fmla="*/ 1766 h 2232"/>
                  <a:gd name="T94" fmla="*/ 4959 w 8866"/>
                  <a:gd name="T95" fmla="*/ 1766 h 2232"/>
                  <a:gd name="T96" fmla="*/ 5114 w 8866"/>
                  <a:gd name="T97" fmla="*/ 1518 h 2232"/>
                  <a:gd name="T98" fmla="*/ 5548 w 8866"/>
                  <a:gd name="T99" fmla="*/ 1766 h 2232"/>
                  <a:gd name="T100" fmla="*/ 5889 w 8866"/>
                  <a:gd name="T101" fmla="*/ 1829 h 2232"/>
                  <a:gd name="T102" fmla="*/ 5858 w 8866"/>
                  <a:gd name="T103" fmla="*/ 2077 h 2232"/>
                  <a:gd name="T104" fmla="*/ 5858 w 8866"/>
                  <a:gd name="T105" fmla="*/ 2201 h 2232"/>
                  <a:gd name="T106" fmla="*/ 6230 w 8866"/>
                  <a:gd name="T107" fmla="*/ 1550 h 2232"/>
                  <a:gd name="T108" fmla="*/ 6106 w 8866"/>
                  <a:gd name="T109" fmla="*/ 1302 h 2232"/>
                  <a:gd name="T110" fmla="*/ 6726 w 8866"/>
                  <a:gd name="T111" fmla="*/ 1116 h 2232"/>
                  <a:gd name="T112" fmla="*/ 7253 w 8866"/>
                  <a:gd name="T113" fmla="*/ 961 h 2232"/>
                  <a:gd name="T114" fmla="*/ 7532 w 8866"/>
                  <a:gd name="T115" fmla="*/ 898 h 2232"/>
                  <a:gd name="T116" fmla="*/ 7098 w 8866"/>
                  <a:gd name="T117" fmla="*/ 1333 h 2232"/>
                  <a:gd name="T118" fmla="*/ 7284 w 8866"/>
                  <a:gd name="T119" fmla="*/ 1518 h 2232"/>
                  <a:gd name="T120" fmla="*/ 7625 w 8866"/>
                  <a:gd name="T121" fmla="*/ 1054 h 2232"/>
                  <a:gd name="T122" fmla="*/ 8121 w 8866"/>
                  <a:gd name="T123" fmla="*/ 961 h 2232"/>
                  <a:gd name="T124" fmla="*/ 8245 w 8866"/>
                  <a:gd name="T125" fmla="*/ 744 h 2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66" h="2232">
                    <a:moveTo>
                      <a:pt x="8772" y="682"/>
                    </a:moveTo>
                    <a:lnTo>
                      <a:pt x="8772" y="682"/>
                    </a:lnTo>
                    <a:cubicBezTo>
                      <a:pt x="8709" y="682"/>
                      <a:pt x="8648" y="651"/>
                      <a:pt x="8617" y="620"/>
                    </a:cubicBezTo>
                    <a:cubicBezTo>
                      <a:pt x="8617" y="620"/>
                      <a:pt x="8555" y="558"/>
                      <a:pt x="8369" y="558"/>
                    </a:cubicBezTo>
                    <a:lnTo>
                      <a:pt x="8369" y="558"/>
                    </a:lnTo>
                    <a:cubicBezTo>
                      <a:pt x="8337" y="558"/>
                      <a:pt x="8307" y="527"/>
                      <a:pt x="8276" y="527"/>
                    </a:cubicBezTo>
                    <a:lnTo>
                      <a:pt x="8245" y="527"/>
                    </a:lnTo>
                    <a:lnTo>
                      <a:pt x="8245" y="527"/>
                    </a:lnTo>
                    <a:cubicBezTo>
                      <a:pt x="8213" y="527"/>
                      <a:pt x="8213" y="496"/>
                      <a:pt x="8183" y="496"/>
                    </a:cubicBezTo>
                    <a:cubicBezTo>
                      <a:pt x="8183" y="496"/>
                      <a:pt x="8121" y="496"/>
                      <a:pt x="8028" y="496"/>
                    </a:cubicBezTo>
                    <a:cubicBezTo>
                      <a:pt x="7997" y="496"/>
                      <a:pt x="7935" y="496"/>
                      <a:pt x="7935" y="496"/>
                    </a:cubicBezTo>
                    <a:cubicBezTo>
                      <a:pt x="7935" y="496"/>
                      <a:pt x="7935" y="496"/>
                      <a:pt x="7904" y="496"/>
                    </a:cubicBezTo>
                    <a:lnTo>
                      <a:pt x="7904" y="496"/>
                    </a:lnTo>
                    <a:cubicBezTo>
                      <a:pt x="7935" y="527"/>
                      <a:pt x="7935" y="527"/>
                      <a:pt x="7935" y="558"/>
                    </a:cubicBezTo>
                    <a:lnTo>
                      <a:pt x="7904" y="589"/>
                    </a:lnTo>
                    <a:cubicBezTo>
                      <a:pt x="7873" y="589"/>
                      <a:pt x="7873" y="589"/>
                      <a:pt x="7841" y="558"/>
                    </a:cubicBezTo>
                    <a:lnTo>
                      <a:pt x="7841" y="558"/>
                    </a:lnTo>
                    <a:cubicBezTo>
                      <a:pt x="7811" y="558"/>
                      <a:pt x="7749" y="527"/>
                      <a:pt x="7749" y="527"/>
                    </a:cubicBezTo>
                    <a:lnTo>
                      <a:pt x="7749" y="527"/>
                    </a:lnTo>
                    <a:cubicBezTo>
                      <a:pt x="7717" y="527"/>
                      <a:pt x="7717" y="527"/>
                      <a:pt x="7717" y="527"/>
                    </a:cubicBezTo>
                    <a:lnTo>
                      <a:pt x="7717" y="527"/>
                    </a:lnTo>
                    <a:cubicBezTo>
                      <a:pt x="7687" y="527"/>
                      <a:pt x="7687" y="527"/>
                      <a:pt x="7687" y="527"/>
                    </a:cubicBezTo>
                    <a:cubicBezTo>
                      <a:pt x="7656" y="527"/>
                      <a:pt x="7656" y="527"/>
                      <a:pt x="7656" y="527"/>
                    </a:cubicBezTo>
                    <a:lnTo>
                      <a:pt x="7625" y="527"/>
                    </a:lnTo>
                    <a:lnTo>
                      <a:pt x="7593" y="527"/>
                    </a:lnTo>
                    <a:lnTo>
                      <a:pt x="7593" y="527"/>
                    </a:lnTo>
                    <a:lnTo>
                      <a:pt x="7593" y="527"/>
                    </a:lnTo>
                    <a:cubicBezTo>
                      <a:pt x="7593" y="527"/>
                      <a:pt x="7593" y="527"/>
                      <a:pt x="7563" y="527"/>
                    </a:cubicBezTo>
                    <a:cubicBezTo>
                      <a:pt x="7563" y="527"/>
                      <a:pt x="7563" y="527"/>
                      <a:pt x="7532" y="527"/>
                    </a:cubicBezTo>
                    <a:lnTo>
                      <a:pt x="7532" y="527"/>
                    </a:lnTo>
                    <a:cubicBezTo>
                      <a:pt x="7532" y="527"/>
                      <a:pt x="7532" y="527"/>
                      <a:pt x="7501" y="527"/>
                    </a:cubicBezTo>
                    <a:cubicBezTo>
                      <a:pt x="7501" y="527"/>
                      <a:pt x="7501" y="527"/>
                      <a:pt x="7469" y="527"/>
                    </a:cubicBezTo>
                    <a:lnTo>
                      <a:pt x="7439" y="527"/>
                    </a:lnTo>
                    <a:lnTo>
                      <a:pt x="7439" y="527"/>
                    </a:lnTo>
                    <a:lnTo>
                      <a:pt x="7439" y="527"/>
                    </a:lnTo>
                    <a:lnTo>
                      <a:pt x="7408" y="527"/>
                    </a:lnTo>
                    <a:lnTo>
                      <a:pt x="7408" y="558"/>
                    </a:lnTo>
                    <a:cubicBezTo>
                      <a:pt x="7408" y="558"/>
                      <a:pt x="7408" y="558"/>
                      <a:pt x="7408" y="589"/>
                    </a:cubicBezTo>
                    <a:lnTo>
                      <a:pt x="7377" y="589"/>
                    </a:lnTo>
                    <a:lnTo>
                      <a:pt x="7377" y="589"/>
                    </a:lnTo>
                    <a:lnTo>
                      <a:pt x="7377" y="589"/>
                    </a:lnTo>
                    <a:cubicBezTo>
                      <a:pt x="7345" y="558"/>
                      <a:pt x="7345" y="558"/>
                      <a:pt x="7345" y="527"/>
                    </a:cubicBezTo>
                    <a:lnTo>
                      <a:pt x="7345" y="527"/>
                    </a:lnTo>
                    <a:lnTo>
                      <a:pt x="7345" y="527"/>
                    </a:lnTo>
                    <a:lnTo>
                      <a:pt x="7345" y="527"/>
                    </a:lnTo>
                    <a:cubicBezTo>
                      <a:pt x="7315" y="527"/>
                      <a:pt x="7315" y="527"/>
                      <a:pt x="7315" y="496"/>
                    </a:cubicBezTo>
                    <a:cubicBezTo>
                      <a:pt x="7284" y="496"/>
                      <a:pt x="7284" y="496"/>
                      <a:pt x="7284" y="496"/>
                    </a:cubicBezTo>
                    <a:cubicBezTo>
                      <a:pt x="7284" y="465"/>
                      <a:pt x="7284" y="465"/>
                      <a:pt x="7284" y="465"/>
                    </a:cubicBezTo>
                    <a:cubicBezTo>
                      <a:pt x="7284" y="465"/>
                      <a:pt x="7284" y="434"/>
                      <a:pt x="7253" y="434"/>
                    </a:cubicBezTo>
                    <a:cubicBezTo>
                      <a:pt x="7222" y="434"/>
                      <a:pt x="7222" y="434"/>
                      <a:pt x="7191" y="434"/>
                    </a:cubicBezTo>
                    <a:lnTo>
                      <a:pt x="7191" y="434"/>
                    </a:lnTo>
                    <a:cubicBezTo>
                      <a:pt x="7191" y="434"/>
                      <a:pt x="7191" y="434"/>
                      <a:pt x="7160" y="434"/>
                    </a:cubicBezTo>
                    <a:cubicBezTo>
                      <a:pt x="7129" y="434"/>
                      <a:pt x="7098" y="434"/>
                      <a:pt x="7067" y="434"/>
                    </a:cubicBezTo>
                    <a:cubicBezTo>
                      <a:pt x="7036" y="434"/>
                      <a:pt x="7036" y="434"/>
                      <a:pt x="7005" y="434"/>
                    </a:cubicBezTo>
                    <a:lnTo>
                      <a:pt x="6974" y="434"/>
                    </a:lnTo>
                    <a:lnTo>
                      <a:pt x="6974" y="434"/>
                    </a:lnTo>
                    <a:cubicBezTo>
                      <a:pt x="6943" y="434"/>
                      <a:pt x="6912" y="434"/>
                      <a:pt x="6912" y="434"/>
                    </a:cubicBezTo>
                    <a:cubicBezTo>
                      <a:pt x="6881" y="434"/>
                      <a:pt x="6881" y="434"/>
                      <a:pt x="6881" y="434"/>
                    </a:cubicBezTo>
                    <a:cubicBezTo>
                      <a:pt x="6881" y="434"/>
                      <a:pt x="6881" y="434"/>
                      <a:pt x="6850" y="434"/>
                    </a:cubicBezTo>
                    <a:lnTo>
                      <a:pt x="6850" y="434"/>
                    </a:lnTo>
                    <a:cubicBezTo>
                      <a:pt x="6850" y="434"/>
                      <a:pt x="6850" y="403"/>
                      <a:pt x="6819" y="403"/>
                    </a:cubicBezTo>
                    <a:lnTo>
                      <a:pt x="6819" y="403"/>
                    </a:lnTo>
                    <a:lnTo>
                      <a:pt x="6788" y="403"/>
                    </a:lnTo>
                    <a:lnTo>
                      <a:pt x="6788" y="403"/>
                    </a:lnTo>
                    <a:cubicBezTo>
                      <a:pt x="6757" y="403"/>
                      <a:pt x="6757" y="403"/>
                      <a:pt x="6757" y="403"/>
                    </a:cubicBezTo>
                    <a:lnTo>
                      <a:pt x="6757" y="403"/>
                    </a:lnTo>
                    <a:lnTo>
                      <a:pt x="6757" y="403"/>
                    </a:lnTo>
                    <a:lnTo>
                      <a:pt x="6726" y="403"/>
                    </a:lnTo>
                    <a:lnTo>
                      <a:pt x="6726" y="372"/>
                    </a:lnTo>
                    <a:lnTo>
                      <a:pt x="6726" y="341"/>
                    </a:lnTo>
                    <a:cubicBezTo>
                      <a:pt x="6695" y="341"/>
                      <a:pt x="6695" y="341"/>
                      <a:pt x="6695" y="341"/>
                    </a:cubicBezTo>
                    <a:cubicBezTo>
                      <a:pt x="6695" y="341"/>
                      <a:pt x="6695" y="341"/>
                      <a:pt x="6664" y="341"/>
                    </a:cubicBezTo>
                    <a:cubicBezTo>
                      <a:pt x="6633" y="341"/>
                      <a:pt x="6633" y="341"/>
                      <a:pt x="6633" y="341"/>
                    </a:cubicBezTo>
                    <a:lnTo>
                      <a:pt x="6602" y="341"/>
                    </a:lnTo>
                    <a:cubicBezTo>
                      <a:pt x="6602" y="372"/>
                      <a:pt x="6571" y="372"/>
                      <a:pt x="6540" y="403"/>
                    </a:cubicBezTo>
                    <a:lnTo>
                      <a:pt x="6540" y="403"/>
                    </a:lnTo>
                    <a:cubicBezTo>
                      <a:pt x="6509" y="403"/>
                      <a:pt x="6478" y="372"/>
                      <a:pt x="6478" y="372"/>
                    </a:cubicBezTo>
                    <a:cubicBezTo>
                      <a:pt x="6385" y="372"/>
                      <a:pt x="6385" y="372"/>
                      <a:pt x="6385" y="372"/>
                    </a:cubicBezTo>
                    <a:cubicBezTo>
                      <a:pt x="6478" y="341"/>
                      <a:pt x="6478" y="341"/>
                      <a:pt x="6478" y="341"/>
                    </a:cubicBezTo>
                    <a:lnTo>
                      <a:pt x="6478" y="341"/>
                    </a:lnTo>
                    <a:lnTo>
                      <a:pt x="6478" y="341"/>
                    </a:lnTo>
                    <a:cubicBezTo>
                      <a:pt x="6478" y="310"/>
                      <a:pt x="6447" y="310"/>
                      <a:pt x="6447" y="310"/>
                    </a:cubicBezTo>
                    <a:cubicBezTo>
                      <a:pt x="6416" y="310"/>
                      <a:pt x="6385" y="310"/>
                      <a:pt x="6385" y="310"/>
                    </a:cubicBezTo>
                    <a:lnTo>
                      <a:pt x="6354" y="310"/>
                    </a:lnTo>
                    <a:lnTo>
                      <a:pt x="6354" y="310"/>
                    </a:lnTo>
                    <a:cubicBezTo>
                      <a:pt x="6323" y="310"/>
                      <a:pt x="6261" y="310"/>
                      <a:pt x="6261" y="310"/>
                    </a:cubicBezTo>
                    <a:lnTo>
                      <a:pt x="6261" y="310"/>
                    </a:lnTo>
                    <a:lnTo>
                      <a:pt x="6261" y="310"/>
                    </a:lnTo>
                    <a:lnTo>
                      <a:pt x="6261" y="310"/>
                    </a:lnTo>
                    <a:cubicBezTo>
                      <a:pt x="6261" y="310"/>
                      <a:pt x="6261" y="310"/>
                      <a:pt x="6230" y="341"/>
                    </a:cubicBezTo>
                    <a:lnTo>
                      <a:pt x="6230" y="341"/>
                    </a:lnTo>
                    <a:lnTo>
                      <a:pt x="6230" y="341"/>
                    </a:lnTo>
                    <a:cubicBezTo>
                      <a:pt x="6230" y="372"/>
                      <a:pt x="6230" y="372"/>
                      <a:pt x="6230" y="372"/>
                    </a:cubicBezTo>
                    <a:cubicBezTo>
                      <a:pt x="6230" y="403"/>
                      <a:pt x="6199" y="403"/>
                      <a:pt x="6199" y="403"/>
                    </a:cubicBezTo>
                    <a:lnTo>
                      <a:pt x="6168" y="403"/>
                    </a:lnTo>
                    <a:lnTo>
                      <a:pt x="6137" y="403"/>
                    </a:lnTo>
                    <a:lnTo>
                      <a:pt x="6106" y="403"/>
                    </a:lnTo>
                    <a:lnTo>
                      <a:pt x="6106" y="403"/>
                    </a:lnTo>
                    <a:cubicBezTo>
                      <a:pt x="6106" y="434"/>
                      <a:pt x="6106" y="434"/>
                      <a:pt x="6075" y="434"/>
                    </a:cubicBezTo>
                    <a:cubicBezTo>
                      <a:pt x="6075" y="434"/>
                      <a:pt x="6075" y="403"/>
                      <a:pt x="6044" y="403"/>
                    </a:cubicBezTo>
                    <a:lnTo>
                      <a:pt x="6044" y="403"/>
                    </a:lnTo>
                    <a:cubicBezTo>
                      <a:pt x="6044" y="403"/>
                      <a:pt x="6013" y="403"/>
                      <a:pt x="5982" y="372"/>
                    </a:cubicBezTo>
                    <a:lnTo>
                      <a:pt x="5982" y="372"/>
                    </a:lnTo>
                    <a:lnTo>
                      <a:pt x="5951" y="403"/>
                    </a:lnTo>
                    <a:cubicBezTo>
                      <a:pt x="5951" y="403"/>
                      <a:pt x="5951" y="403"/>
                      <a:pt x="5920" y="403"/>
                    </a:cubicBezTo>
                    <a:lnTo>
                      <a:pt x="5920" y="403"/>
                    </a:lnTo>
                    <a:cubicBezTo>
                      <a:pt x="5889" y="403"/>
                      <a:pt x="5889" y="403"/>
                      <a:pt x="5889" y="403"/>
                    </a:cubicBezTo>
                    <a:cubicBezTo>
                      <a:pt x="5858" y="403"/>
                      <a:pt x="5858" y="403"/>
                      <a:pt x="5858" y="403"/>
                    </a:cubicBezTo>
                    <a:lnTo>
                      <a:pt x="5827" y="372"/>
                    </a:lnTo>
                    <a:lnTo>
                      <a:pt x="5827" y="372"/>
                    </a:lnTo>
                    <a:lnTo>
                      <a:pt x="5827" y="372"/>
                    </a:lnTo>
                    <a:lnTo>
                      <a:pt x="5827" y="372"/>
                    </a:lnTo>
                    <a:lnTo>
                      <a:pt x="5734" y="434"/>
                    </a:lnTo>
                    <a:lnTo>
                      <a:pt x="5703" y="465"/>
                    </a:lnTo>
                    <a:cubicBezTo>
                      <a:pt x="5703" y="465"/>
                      <a:pt x="5672" y="434"/>
                      <a:pt x="5642" y="434"/>
                    </a:cubicBezTo>
                    <a:cubicBezTo>
                      <a:pt x="5642" y="403"/>
                      <a:pt x="5610" y="403"/>
                      <a:pt x="5610" y="372"/>
                    </a:cubicBezTo>
                    <a:lnTo>
                      <a:pt x="5610" y="372"/>
                    </a:lnTo>
                    <a:lnTo>
                      <a:pt x="5610" y="372"/>
                    </a:lnTo>
                    <a:lnTo>
                      <a:pt x="5610" y="372"/>
                    </a:lnTo>
                    <a:lnTo>
                      <a:pt x="5579" y="372"/>
                    </a:lnTo>
                    <a:lnTo>
                      <a:pt x="5579" y="372"/>
                    </a:lnTo>
                    <a:cubicBezTo>
                      <a:pt x="5579" y="372"/>
                      <a:pt x="5579" y="372"/>
                      <a:pt x="5548" y="372"/>
                    </a:cubicBezTo>
                    <a:cubicBezTo>
                      <a:pt x="5548" y="372"/>
                      <a:pt x="5548" y="372"/>
                      <a:pt x="5517" y="341"/>
                    </a:cubicBezTo>
                    <a:cubicBezTo>
                      <a:pt x="5517" y="372"/>
                      <a:pt x="5517" y="372"/>
                      <a:pt x="5517" y="372"/>
                    </a:cubicBezTo>
                    <a:cubicBezTo>
                      <a:pt x="5517" y="403"/>
                      <a:pt x="5517" y="403"/>
                      <a:pt x="5486" y="403"/>
                    </a:cubicBezTo>
                    <a:cubicBezTo>
                      <a:pt x="5486" y="403"/>
                      <a:pt x="5486" y="403"/>
                      <a:pt x="5486" y="372"/>
                    </a:cubicBezTo>
                    <a:cubicBezTo>
                      <a:pt x="5455" y="372"/>
                      <a:pt x="5455" y="372"/>
                      <a:pt x="5455" y="372"/>
                    </a:cubicBezTo>
                    <a:cubicBezTo>
                      <a:pt x="5424" y="372"/>
                      <a:pt x="5424" y="341"/>
                      <a:pt x="5424" y="310"/>
                    </a:cubicBezTo>
                    <a:lnTo>
                      <a:pt x="5424" y="279"/>
                    </a:lnTo>
                    <a:lnTo>
                      <a:pt x="5424" y="279"/>
                    </a:lnTo>
                    <a:cubicBezTo>
                      <a:pt x="5424" y="248"/>
                      <a:pt x="5394" y="248"/>
                      <a:pt x="5394" y="248"/>
                    </a:cubicBezTo>
                    <a:cubicBezTo>
                      <a:pt x="5362" y="248"/>
                      <a:pt x="5362" y="248"/>
                      <a:pt x="5362" y="248"/>
                    </a:cubicBezTo>
                    <a:lnTo>
                      <a:pt x="5362" y="248"/>
                    </a:lnTo>
                    <a:lnTo>
                      <a:pt x="5362" y="248"/>
                    </a:lnTo>
                    <a:lnTo>
                      <a:pt x="5362" y="248"/>
                    </a:lnTo>
                    <a:lnTo>
                      <a:pt x="5362" y="248"/>
                    </a:lnTo>
                    <a:cubicBezTo>
                      <a:pt x="5331" y="248"/>
                      <a:pt x="5331" y="279"/>
                      <a:pt x="5331" y="279"/>
                    </a:cubicBezTo>
                    <a:lnTo>
                      <a:pt x="5300" y="310"/>
                    </a:lnTo>
                    <a:lnTo>
                      <a:pt x="5270" y="310"/>
                    </a:lnTo>
                    <a:lnTo>
                      <a:pt x="5270" y="310"/>
                    </a:lnTo>
                    <a:cubicBezTo>
                      <a:pt x="5238" y="310"/>
                      <a:pt x="5238" y="310"/>
                      <a:pt x="5207" y="310"/>
                    </a:cubicBezTo>
                    <a:lnTo>
                      <a:pt x="5207" y="310"/>
                    </a:lnTo>
                    <a:lnTo>
                      <a:pt x="5207" y="310"/>
                    </a:lnTo>
                    <a:cubicBezTo>
                      <a:pt x="5176" y="310"/>
                      <a:pt x="5176" y="310"/>
                      <a:pt x="5176" y="310"/>
                    </a:cubicBezTo>
                    <a:lnTo>
                      <a:pt x="5146" y="310"/>
                    </a:lnTo>
                    <a:cubicBezTo>
                      <a:pt x="5114" y="310"/>
                      <a:pt x="5114" y="310"/>
                      <a:pt x="5083" y="310"/>
                    </a:cubicBezTo>
                    <a:lnTo>
                      <a:pt x="5083" y="310"/>
                    </a:lnTo>
                    <a:cubicBezTo>
                      <a:pt x="5052" y="310"/>
                      <a:pt x="5022" y="279"/>
                      <a:pt x="5022" y="279"/>
                    </a:cubicBezTo>
                    <a:lnTo>
                      <a:pt x="5022" y="279"/>
                    </a:lnTo>
                    <a:cubicBezTo>
                      <a:pt x="4990" y="279"/>
                      <a:pt x="4990" y="279"/>
                      <a:pt x="4990" y="279"/>
                    </a:cubicBezTo>
                    <a:cubicBezTo>
                      <a:pt x="4959" y="279"/>
                      <a:pt x="4959" y="279"/>
                      <a:pt x="4928" y="279"/>
                    </a:cubicBezTo>
                    <a:cubicBezTo>
                      <a:pt x="4928" y="279"/>
                      <a:pt x="4866" y="279"/>
                      <a:pt x="4835" y="279"/>
                    </a:cubicBezTo>
                    <a:cubicBezTo>
                      <a:pt x="4804" y="279"/>
                      <a:pt x="4774" y="279"/>
                      <a:pt x="4774" y="279"/>
                    </a:cubicBezTo>
                    <a:lnTo>
                      <a:pt x="4774" y="279"/>
                    </a:lnTo>
                    <a:cubicBezTo>
                      <a:pt x="4774" y="279"/>
                      <a:pt x="4774" y="279"/>
                      <a:pt x="4774" y="310"/>
                    </a:cubicBezTo>
                    <a:lnTo>
                      <a:pt x="4742" y="310"/>
                    </a:lnTo>
                    <a:cubicBezTo>
                      <a:pt x="4742" y="310"/>
                      <a:pt x="4711" y="310"/>
                      <a:pt x="4711" y="279"/>
                    </a:cubicBezTo>
                    <a:lnTo>
                      <a:pt x="4711" y="279"/>
                    </a:lnTo>
                    <a:lnTo>
                      <a:pt x="4711" y="248"/>
                    </a:lnTo>
                    <a:lnTo>
                      <a:pt x="4711" y="248"/>
                    </a:lnTo>
                    <a:lnTo>
                      <a:pt x="4711" y="248"/>
                    </a:lnTo>
                    <a:lnTo>
                      <a:pt x="4711" y="248"/>
                    </a:lnTo>
                    <a:lnTo>
                      <a:pt x="4680" y="248"/>
                    </a:lnTo>
                    <a:lnTo>
                      <a:pt x="4650" y="248"/>
                    </a:lnTo>
                    <a:cubicBezTo>
                      <a:pt x="4618" y="248"/>
                      <a:pt x="4618" y="248"/>
                      <a:pt x="4618" y="248"/>
                    </a:cubicBezTo>
                    <a:lnTo>
                      <a:pt x="4618" y="248"/>
                    </a:lnTo>
                    <a:cubicBezTo>
                      <a:pt x="4587" y="248"/>
                      <a:pt x="4587" y="248"/>
                      <a:pt x="4556" y="279"/>
                    </a:cubicBezTo>
                    <a:lnTo>
                      <a:pt x="4526" y="279"/>
                    </a:lnTo>
                    <a:cubicBezTo>
                      <a:pt x="4526" y="279"/>
                      <a:pt x="4494" y="279"/>
                      <a:pt x="4463" y="279"/>
                    </a:cubicBezTo>
                    <a:cubicBezTo>
                      <a:pt x="4432" y="279"/>
                      <a:pt x="4432" y="279"/>
                      <a:pt x="4402" y="279"/>
                    </a:cubicBezTo>
                    <a:lnTo>
                      <a:pt x="4402" y="279"/>
                    </a:lnTo>
                    <a:cubicBezTo>
                      <a:pt x="4370" y="279"/>
                      <a:pt x="4370" y="279"/>
                      <a:pt x="4339" y="279"/>
                    </a:cubicBezTo>
                    <a:cubicBezTo>
                      <a:pt x="4339" y="248"/>
                      <a:pt x="4339" y="248"/>
                      <a:pt x="4370" y="248"/>
                    </a:cubicBezTo>
                    <a:lnTo>
                      <a:pt x="4370" y="248"/>
                    </a:lnTo>
                    <a:cubicBezTo>
                      <a:pt x="4370" y="217"/>
                      <a:pt x="4370" y="217"/>
                      <a:pt x="4402" y="217"/>
                    </a:cubicBezTo>
                    <a:lnTo>
                      <a:pt x="4432" y="217"/>
                    </a:lnTo>
                    <a:cubicBezTo>
                      <a:pt x="4463" y="217"/>
                      <a:pt x="4463" y="186"/>
                      <a:pt x="4494" y="186"/>
                    </a:cubicBezTo>
                    <a:lnTo>
                      <a:pt x="4494" y="186"/>
                    </a:lnTo>
                    <a:lnTo>
                      <a:pt x="4526" y="186"/>
                    </a:lnTo>
                    <a:lnTo>
                      <a:pt x="4526" y="186"/>
                    </a:lnTo>
                    <a:cubicBezTo>
                      <a:pt x="4556" y="186"/>
                      <a:pt x="4556" y="155"/>
                      <a:pt x="4556" y="155"/>
                    </a:cubicBezTo>
                    <a:lnTo>
                      <a:pt x="4587" y="155"/>
                    </a:lnTo>
                    <a:lnTo>
                      <a:pt x="4618" y="155"/>
                    </a:lnTo>
                    <a:lnTo>
                      <a:pt x="4618" y="155"/>
                    </a:lnTo>
                    <a:lnTo>
                      <a:pt x="4618" y="155"/>
                    </a:lnTo>
                    <a:cubicBezTo>
                      <a:pt x="4650" y="155"/>
                      <a:pt x="4680" y="124"/>
                      <a:pt x="4711" y="124"/>
                    </a:cubicBezTo>
                    <a:cubicBezTo>
                      <a:pt x="4711" y="93"/>
                      <a:pt x="4680" y="93"/>
                      <a:pt x="4680" y="93"/>
                    </a:cubicBezTo>
                    <a:cubicBezTo>
                      <a:pt x="4680" y="93"/>
                      <a:pt x="4618" y="93"/>
                      <a:pt x="4618" y="62"/>
                    </a:cubicBezTo>
                    <a:lnTo>
                      <a:pt x="4618" y="62"/>
                    </a:lnTo>
                    <a:lnTo>
                      <a:pt x="4587" y="62"/>
                    </a:lnTo>
                    <a:lnTo>
                      <a:pt x="4587" y="62"/>
                    </a:lnTo>
                    <a:lnTo>
                      <a:pt x="4556" y="62"/>
                    </a:lnTo>
                    <a:cubicBezTo>
                      <a:pt x="4526" y="62"/>
                      <a:pt x="4526" y="62"/>
                      <a:pt x="4526" y="62"/>
                    </a:cubicBezTo>
                    <a:cubicBezTo>
                      <a:pt x="4494" y="62"/>
                      <a:pt x="4463" y="62"/>
                      <a:pt x="4463" y="62"/>
                    </a:cubicBezTo>
                    <a:lnTo>
                      <a:pt x="4463" y="62"/>
                    </a:lnTo>
                    <a:lnTo>
                      <a:pt x="4463" y="62"/>
                    </a:lnTo>
                    <a:cubicBezTo>
                      <a:pt x="4432" y="62"/>
                      <a:pt x="4432" y="93"/>
                      <a:pt x="4402" y="93"/>
                    </a:cubicBezTo>
                    <a:lnTo>
                      <a:pt x="4402" y="93"/>
                    </a:lnTo>
                    <a:cubicBezTo>
                      <a:pt x="4370" y="93"/>
                      <a:pt x="4370" y="62"/>
                      <a:pt x="4370" y="62"/>
                    </a:cubicBezTo>
                    <a:lnTo>
                      <a:pt x="4370" y="62"/>
                    </a:lnTo>
                    <a:cubicBezTo>
                      <a:pt x="4339" y="62"/>
                      <a:pt x="4339" y="62"/>
                      <a:pt x="4339" y="62"/>
                    </a:cubicBezTo>
                    <a:cubicBezTo>
                      <a:pt x="4308" y="62"/>
                      <a:pt x="4308" y="62"/>
                      <a:pt x="4308" y="62"/>
                    </a:cubicBezTo>
                    <a:lnTo>
                      <a:pt x="4278" y="62"/>
                    </a:lnTo>
                    <a:lnTo>
                      <a:pt x="4278" y="62"/>
                    </a:lnTo>
                    <a:lnTo>
                      <a:pt x="4278" y="62"/>
                    </a:lnTo>
                    <a:cubicBezTo>
                      <a:pt x="4246" y="62"/>
                      <a:pt x="4246" y="31"/>
                      <a:pt x="4246" y="31"/>
                    </a:cubicBezTo>
                    <a:lnTo>
                      <a:pt x="4246" y="0"/>
                    </a:lnTo>
                    <a:lnTo>
                      <a:pt x="4246" y="0"/>
                    </a:lnTo>
                    <a:lnTo>
                      <a:pt x="4246" y="0"/>
                    </a:lnTo>
                    <a:cubicBezTo>
                      <a:pt x="4215" y="0"/>
                      <a:pt x="4184" y="0"/>
                      <a:pt x="4154" y="0"/>
                    </a:cubicBezTo>
                    <a:cubicBezTo>
                      <a:pt x="4122" y="31"/>
                      <a:pt x="4122" y="31"/>
                      <a:pt x="4122" y="31"/>
                    </a:cubicBezTo>
                    <a:cubicBezTo>
                      <a:pt x="4091" y="31"/>
                      <a:pt x="4091" y="31"/>
                      <a:pt x="4091" y="31"/>
                    </a:cubicBezTo>
                    <a:cubicBezTo>
                      <a:pt x="4091" y="62"/>
                      <a:pt x="4060" y="93"/>
                      <a:pt x="4030" y="93"/>
                    </a:cubicBezTo>
                    <a:lnTo>
                      <a:pt x="3998" y="93"/>
                    </a:lnTo>
                    <a:cubicBezTo>
                      <a:pt x="4030" y="93"/>
                      <a:pt x="4030" y="93"/>
                      <a:pt x="4030" y="93"/>
                    </a:cubicBezTo>
                    <a:cubicBezTo>
                      <a:pt x="4030" y="124"/>
                      <a:pt x="4030" y="124"/>
                      <a:pt x="4030" y="155"/>
                    </a:cubicBezTo>
                    <a:cubicBezTo>
                      <a:pt x="4030" y="155"/>
                      <a:pt x="4030" y="155"/>
                      <a:pt x="3998" y="155"/>
                    </a:cubicBezTo>
                    <a:lnTo>
                      <a:pt x="3967" y="155"/>
                    </a:lnTo>
                    <a:cubicBezTo>
                      <a:pt x="3937" y="155"/>
                      <a:pt x="3905" y="124"/>
                      <a:pt x="3937" y="93"/>
                    </a:cubicBezTo>
                    <a:cubicBezTo>
                      <a:pt x="3905" y="93"/>
                      <a:pt x="3905" y="93"/>
                      <a:pt x="3905" y="93"/>
                    </a:cubicBezTo>
                    <a:lnTo>
                      <a:pt x="3874" y="124"/>
                    </a:lnTo>
                    <a:cubicBezTo>
                      <a:pt x="3843" y="124"/>
                      <a:pt x="3843" y="124"/>
                      <a:pt x="3813" y="124"/>
                    </a:cubicBezTo>
                    <a:lnTo>
                      <a:pt x="3782" y="124"/>
                    </a:lnTo>
                    <a:cubicBezTo>
                      <a:pt x="3782" y="124"/>
                      <a:pt x="3782" y="124"/>
                      <a:pt x="3719" y="124"/>
                    </a:cubicBezTo>
                    <a:cubicBezTo>
                      <a:pt x="3719" y="124"/>
                      <a:pt x="3719" y="93"/>
                      <a:pt x="3689" y="93"/>
                    </a:cubicBezTo>
                    <a:lnTo>
                      <a:pt x="3658" y="93"/>
                    </a:lnTo>
                    <a:lnTo>
                      <a:pt x="3658" y="93"/>
                    </a:lnTo>
                    <a:cubicBezTo>
                      <a:pt x="3626" y="124"/>
                      <a:pt x="3626" y="124"/>
                      <a:pt x="3626" y="124"/>
                    </a:cubicBezTo>
                    <a:lnTo>
                      <a:pt x="3595" y="124"/>
                    </a:lnTo>
                    <a:lnTo>
                      <a:pt x="3595" y="124"/>
                    </a:lnTo>
                    <a:cubicBezTo>
                      <a:pt x="3565" y="124"/>
                      <a:pt x="3565" y="124"/>
                      <a:pt x="3565" y="124"/>
                    </a:cubicBezTo>
                    <a:lnTo>
                      <a:pt x="3565" y="124"/>
                    </a:lnTo>
                    <a:cubicBezTo>
                      <a:pt x="3534" y="124"/>
                      <a:pt x="3502" y="124"/>
                      <a:pt x="3471" y="124"/>
                    </a:cubicBezTo>
                    <a:cubicBezTo>
                      <a:pt x="3441" y="155"/>
                      <a:pt x="3410" y="155"/>
                      <a:pt x="3410" y="155"/>
                    </a:cubicBezTo>
                    <a:cubicBezTo>
                      <a:pt x="3378" y="155"/>
                      <a:pt x="3378" y="155"/>
                      <a:pt x="3378" y="155"/>
                    </a:cubicBezTo>
                    <a:lnTo>
                      <a:pt x="3378" y="155"/>
                    </a:lnTo>
                    <a:cubicBezTo>
                      <a:pt x="3347" y="155"/>
                      <a:pt x="3347" y="155"/>
                      <a:pt x="3347" y="155"/>
                    </a:cubicBezTo>
                    <a:lnTo>
                      <a:pt x="3347" y="155"/>
                    </a:lnTo>
                    <a:cubicBezTo>
                      <a:pt x="3317" y="186"/>
                      <a:pt x="3317" y="186"/>
                      <a:pt x="3317" y="186"/>
                    </a:cubicBezTo>
                    <a:lnTo>
                      <a:pt x="3286" y="186"/>
                    </a:lnTo>
                    <a:cubicBezTo>
                      <a:pt x="3286" y="217"/>
                      <a:pt x="3286" y="217"/>
                      <a:pt x="3286" y="217"/>
                    </a:cubicBezTo>
                    <a:cubicBezTo>
                      <a:pt x="3317" y="248"/>
                      <a:pt x="3286" y="248"/>
                      <a:pt x="3286" y="248"/>
                    </a:cubicBezTo>
                    <a:lnTo>
                      <a:pt x="3286" y="248"/>
                    </a:lnTo>
                    <a:cubicBezTo>
                      <a:pt x="3286" y="279"/>
                      <a:pt x="3286" y="310"/>
                      <a:pt x="3254" y="310"/>
                    </a:cubicBezTo>
                    <a:lnTo>
                      <a:pt x="3254" y="310"/>
                    </a:lnTo>
                    <a:cubicBezTo>
                      <a:pt x="3254" y="310"/>
                      <a:pt x="3223" y="310"/>
                      <a:pt x="3223" y="279"/>
                    </a:cubicBezTo>
                    <a:cubicBezTo>
                      <a:pt x="3193" y="279"/>
                      <a:pt x="3193" y="279"/>
                      <a:pt x="3193" y="279"/>
                    </a:cubicBezTo>
                    <a:cubicBezTo>
                      <a:pt x="3193" y="248"/>
                      <a:pt x="3193" y="248"/>
                      <a:pt x="3193" y="248"/>
                    </a:cubicBezTo>
                    <a:lnTo>
                      <a:pt x="3193" y="248"/>
                    </a:lnTo>
                    <a:cubicBezTo>
                      <a:pt x="3162" y="248"/>
                      <a:pt x="3162" y="279"/>
                      <a:pt x="3130" y="279"/>
                    </a:cubicBezTo>
                    <a:cubicBezTo>
                      <a:pt x="3130" y="279"/>
                      <a:pt x="3130" y="279"/>
                      <a:pt x="3099" y="279"/>
                    </a:cubicBezTo>
                    <a:lnTo>
                      <a:pt x="3099" y="248"/>
                    </a:lnTo>
                    <a:cubicBezTo>
                      <a:pt x="3069" y="248"/>
                      <a:pt x="2975" y="248"/>
                      <a:pt x="2975" y="248"/>
                    </a:cubicBezTo>
                    <a:cubicBezTo>
                      <a:pt x="2945" y="248"/>
                      <a:pt x="2945" y="248"/>
                      <a:pt x="2945" y="248"/>
                    </a:cubicBezTo>
                    <a:lnTo>
                      <a:pt x="2945" y="248"/>
                    </a:lnTo>
                    <a:lnTo>
                      <a:pt x="2945" y="279"/>
                    </a:lnTo>
                    <a:lnTo>
                      <a:pt x="2945" y="279"/>
                    </a:lnTo>
                    <a:cubicBezTo>
                      <a:pt x="2945" y="279"/>
                      <a:pt x="2945" y="279"/>
                      <a:pt x="2975" y="279"/>
                    </a:cubicBezTo>
                    <a:lnTo>
                      <a:pt x="2975" y="279"/>
                    </a:lnTo>
                    <a:lnTo>
                      <a:pt x="3006" y="279"/>
                    </a:lnTo>
                    <a:cubicBezTo>
                      <a:pt x="3006" y="279"/>
                      <a:pt x="3006" y="310"/>
                      <a:pt x="3038" y="310"/>
                    </a:cubicBezTo>
                    <a:lnTo>
                      <a:pt x="3038" y="310"/>
                    </a:lnTo>
                    <a:cubicBezTo>
                      <a:pt x="3038" y="310"/>
                      <a:pt x="3038" y="310"/>
                      <a:pt x="3069" y="310"/>
                    </a:cubicBezTo>
                    <a:cubicBezTo>
                      <a:pt x="3099" y="341"/>
                      <a:pt x="3099" y="341"/>
                      <a:pt x="3099" y="341"/>
                    </a:cubicBezTo>
                    <a:cubicBezTo>
                      <a:pt x="3130" y="372"/>
                      <a:pt x="3130" y="372"/>
                      <a:pt x="3130" y="372"/>
                    </a:cubicBezTo>
                    <a:cubicBezTo>
                      <a:pt x="3099" y="372"/>
                      <a:pt x="3099" y="372"/>
                      <a:pt x="3099" y="372"/>
                    </a:cubicBezTo>
                    <a:cubicBezTo>
                      <a:pt x="3099" y="403"/>
                      <a:pt x="3099" y="403"/>
                      <a:pt x="3099" y="403"/>
                    </a:cubicBezTo>
                    <a:cubicBezTo>
                      <a:pt x="3099" y="434"/>
                      <a:pt x="3099" y="434"/>
                      <a:pt x="3099" y="434"/>
                    </a:cubicBezTo>
                    <a:cubicBezTo>
                      <a:pt x="3099" y="465"/>
                      <a:pt x="3099" y="465"/>
                      <a:pt x="3069" y="465"/>
                    </a:cubicBezTo>
                    <a:cubicBezTo>
                      <a:pt x="3069" y="496"/>
                      <a:pt x="3069" y="496"/>
                      <a:pt x="3069" y="496"/>
                    </a:cubicBezTo>
                    <a:cubicBezTo>
                      <a:pt x="3038" y="496"/>
                      <a:pt x="3006" y="465"/>
                      <a:pt x="3006" y="434"/>
                    </a:cubicBezTo>
                    <a:cubicBezTo>
                      <a:pt x="2975" y="434"/>
                      <a:pt x="3006" y="403"/>
                      <a:pt x="3006" y="403"/>
                    </a:cubicBezTo>
                    <a:lnTo>
                      <a:pt x="3006" y="403"/>
                    </a:lnTo>
                    <a:cubicBezTo>
                      <a:pt x="2975" y="403"/>
                      <a:pt x="2945" y="372"/>
                      <a:pt x="2945" y="372"/>
                    </a:cubicBezTo>
                    <a:cubicBezTo>
                      <a:pt x="2914" y="341"/>
                      <a:pt x="2882" y="341"/>
                      <a:pt x="2851" y="341"/>
                    </a:cubicBezTo>
                    <a:cubicBezTo>
                      <a:pt x="2851" y="341"/>
                      <a:pt x="2851" y="341"/>
                      <a:pt x="2821" y="341"/>
                    </a:cubicBezTo>
                    <a:lnTo>
                      <a:pt x="2821" y="341"/>
                    </a:lnTo>
                    <a:lnTo>
                      <a:pt x="2821" y="341"/>
                    </a:lnTo>
                    <a:cubicBezTo>
                      <a:pt x="2821" y="372"/>
                      <a:pt x="2790" y="372"/>
                      <a:pt x="2790" y="372"/>
                    </a:cubicBezTo>
                    <a:lnTo>
                      <a:pt x="2790" y="372"/>
                    </a:lnTo>
                    <a:cubicBezTo>
                      <a:pt x="2821" y="372"/>
                      <a:pt x="2821" y="403"/>
                      <a:pt x="2821" y="403"/>
                    </a:cubicBezTo>
                    <a:cubicBezTo>
                      <a:pt x="2821" y="434"/>
                      <a:pt x="2790" y="434"/>
                      <a:pt x="2790" y="434"/>
                    </a:cubicBezTo>
                    <a:cubicBezTo>
                      <a:pt x="2790" y="434"/>
                      <a:pt x="2790" y="434"/>
                      <a:pt x="2758" y="434"/>
                    </a:cubicBezTo>
                    <a:lnTo>
                      <a:pt x="2758" y="434"/>
                    </a:lnTo>
                    <a:cubicBezTo>
                      <a:pt x="2758" y="403"/>
                      <a:pt x="2697" y="403"/>
                      <a:pt x="2666" y="403"/>
                    </a:cubicBezTo>
                    <a:lnTo>
                      <a:pt x="2666" y="403"/>
                    </a:lnTo>
                    <a:cubicBezTo>
                      <a:pt x="2634" y="403"/>
                      <a:pt x="2634" y="372"/>
                      <a:pt x="2634" y="372"/>
                    </a:cubicBezTo>
                    <a:cubicBezTo>
                      <a:pt x="2634" y="372"/>
                      <a:pt x="2634" y="372"/>
                      <a:pt x="2634" y="341"/>
                    </a:cubicBezTo>
                    <a:cubicBezTo>
                      <a:pt x="2603" y="372"/>
                      <a:pt x="2603" y="372"/>
                      <a:pt x="2603" y="372"/>
                    </a:cubicBezTo>
                    <a:cubicBezTo>
                      <a:pt x="2603" y="372"/>
                      <a:pt x="2573" y="372"/>
                      <a:pt x="2542" y="372"/>
                    </a:cubicBezTo>
                    <a:cubicBezTo>
                      <a:pt x="2542" y="403"/>
                      <a:pt x="2573" y="403"/>
                      <a:pt x="2573" y="403"/>
                    </a:cubicBezTo>
                    <a:cubicBezTo>
                      <a:pt x="2603" y="434"/>
                      <a:pt x="2603" y="465"/>
                      <a:pt x="2573" y="496"/>
                    </a:cubicBezTo>
                    <a:lnTo>
                      <a:pt x="2573" y="496"/>
                    </a:lnTo>
                    <a:lnTo>
                      <a:pt x="2603" y="496"/>
                    </a:lnTo>
                    <a:lnTo>
                      <a:pt x="2634" y="496"/>
                    </a:lnTo>
                    <a:lnTo>
                      <a:pt x="2634" y="496"/>
                    </a:lnTo>
                    <a:cubicBezTo>
                      <a:pt x="2666" y="496"/>
                      <a:pt x="2666" y="527"/>
                      <a:pt x="2666" y="527"/>
                    </a:cubicBezTo>
                    <a:cubicBezTo>
                      <a:pt x="2666" y="558"/>
                      <a:pt x="2634" y="558"/>
                      <a:pt x="2634" y="558"/>
                    </a:cubicBezTo>
                    <a:lnTo>
                      <a:pt x="2603" y="558"/>
                    </a:lnTo>
                    <a:cubicBezTo>
                      <a:pt x="2603" y="589"/>
                      <a:pt x="2603" y="589"/>
                      <a:pt x="2603" y="589"/>
                    </a:cubicBezTo>
                    <a:lnTo>
                      <a:pt x="2603" y="620"/>
                    </a:lnTo>
                    <a:cubicBezTo>
                      <a:pt x="2603" y="651"/>
                      <a:pt x="2603" y="651"/>
                      <a:pt x="2573" y="682"/>
                    </a:cubicBezTo>
                    <a:lnTo>
                      <a:pt x="2573" y="682"/>
                    </a:lnTo>
                    <a:cubicBezTo>
                      <a:pt x="2573" y="682"/>
                      <a:pt x="2542" y="682"/>
                      <a:pt x="2510" y="682"/>
                    </a:cubicBezTo>
                    <a:cubicBezTo>
                      <a:pt x="2510" y="682"/>
                      <a:pt x="2510" y="682"/>
                      <a:pt x="2510" y="713"/>
                    </a:cubicBezTo>
                    <a:lnTo>
                      <a:pt x="2479" y="713"/>
                    </a:lnTo>
                    <a:lnTo>
                      <a:pt x="2479" y="744"/>
                    </a:lnTo>
                    <a:cubicBezTo>
                      <a:pt x="2449" y="744"/>
                      <a:pt x="2449" y="744"/>
                      <a:pt x="2449" y="744"/>
                    </a:cubicBezTo>
                    <a:lnTo>
                      <a:pt x="2418" y="744"/>
                    </a:lnTo>
                    <a:lnTo>
                      <a:pt x="2418" y="713"/>
                    </a:lnTo>
                    <a:cubicBezTo>
                      <a:pt x="2418" y="713"/>
                      <a:pt x="2418" y="713"/>
                      <a:pt x="2386" y="713"/>
                    </a:cubicBezTo>
                    <a:lnTo>
                      <a:pt x="2386" y="713"/>
                    </a:lnTo>
                    <a:lnTo>
                      <a:pt x="2356" y="744"/>
                    </a:lnTo>
                    <a:lnTo>
                      <a:pt x="2356" y="744"/>
                    </a:lnTo>
                    <a:cubicBezTo>
                      <a:pt x="2325" y="744"/>
                      <a:pt x="2325" y="713"/>
                      <a:pt x="2325" y="713"/>
                    </a:cubicBezTo>
                    <a:cubicBezTo>
                      <a:pt x="2293" y="713"/>
                      <a:pt x="2293" y="713"/>
                      <a:pt x="2293" y="682"/>
                    </a:cubicBezTo>
                    <a:cubicBezTo>
                      <a:pt x="2262" y="682"/>
                      <a:pt x="2293" y="651"/>
                      <a:pt x="2293" y="651"/>
                    </a:cubicBezTo>
                    <a:cubicBezTo>
                      <a:pt x="2293" y="651"/>
                      <a:pt x="2293" y="651"/>
                      <a:pt x="2325" y="651"/>
                    </a:cubicBezTo>
                    <a:cubicBezTo>
                      <a:pt x="2325" y="651"/>
                      <a:pt x="2325" y="651"/>
                      <a:pt x="2356" y="651"/>
                    </a:cubicBezTo>
                    <a:lnTo>
                      <a:pt x="2386" y="651"/>
                    </a:lnTo>
                    <a:lnTo>
                      <a:pt x="2386" y="651"/>
                    </a:lnTo>
                    <a:lnTo>
                      <a:pt x="2386" y="651"/>
                    </a:lnTo>
                    <a:cubicBezTo>
                      <a:pt x="2418" y="651"/>
                      <a:pt x="2418" y="620"/>
                      <a:pt x="2418" y="620"/>
                    </a:cubicBezTo>
                    <a:lnTo>
                      <a:pt x="2449" y="620"/>
                    </a:lnTo>
                    <a:lnTo>
                      <a:pt x="2479" y="589"/>
                    </a:lnTo>
                    <a:lnTo>
                      <a:pt x="2479" y="589"/>
                    </a:lnTo>
                    <a:lnTo>
                      <a:pt x="2479" y="558"/>
                    </a:lnTo>
                    <a:cubicBezTo>
                      <a:pt x="2449" y="527"/>
                      <a:pt x="2449" y="527"/>
                      <a:pt x="2449" y="496"/>
                    </a:cubicBezTo>
                    <a:cubicBezTo>
                      <a:pt x="2449" y="496"/>
                      <a:pt x="2449" y="465"/>
                      <a:pt x="2449" y="434"/>
                    </a:cubicBezTo>
                    <a:lnTo>
                      <a:pt x="2449" y="434"/>
                    </a:lnTo>
                    <a:cubicBezTo>
                      <a:pt x="2449" y="434"/>
                      <a:pt x="2449" y="434"/>
                      <a:pt x="2418" y="403"/>
                    </a:cubicBezTo>
                    <a:cubicBezTo>
                      <a:pt x="2418" y="403"/>
                      <a:pt x="2418" y="403"/>
                      <a:pt x="2418" y="372"/>
                    </a:cubicBezTo>
                    <a:lnTo>
                      <a:pt x="2418" y="372"/>
                    </a:lnTo>
                    <a:lnTo>
                      <a:pt x="2418" y="341"/>
                    </a:lnTo>
                    <a:cubicBezTo>
                      <a:pt x="2449" y="341"/>
                      <a:pt x="2449" y="341"/>
                      <a:pt x="2449" y="341"/>
                    </a:cubicBezTo>
                    <a:cubicBezTo>
                      <a:pt x="2449" y="310"/>
                      <a:pt x="2449" y="310"/>
                      <a:pt x="2449" y="310"/>
                    </a:cubicBezTo>
                    <a:cubicBezTo>
                      <a:pt x="2449" y="310"/>
                      <a:pt x="2449" y="310"/>
                      <a:pt x="2479" y="310"/>
                    </a:cubicBezTo>
                    <a:cubicBezTo>
                      <a:pt x="2449" y="310"/>
                      <a:pt x="2386" y="310"/>
                      <a:pt x="2356" y="310"/>
                    </a:cubicBezTo>
                    <a:lnTo>
                      <a:pt x="2356" y="310"/>
                    </a:lnTo>
                    <a:cubicBezTo>
                      <a:pt x="2325" y="310"/>
                      <a:pt x="2325" y="310"/>
                      <a:pt x="2325" y="310"/>
                    </a:cubicBezTo>
                    <a:lnTo>
                      <a:pt x="2325" y="310"/>
                    </a:lnTo>
                    <a:lnTo>
                      <a:pt x="2293" y="310"/>
                    </a:lnTo>
                    <a:lnTo>
                      <a:pt x="2293" y="310"/>
                    </a:lnTo>
                    <a:cubicBezTo>
                      <a:pt x="2293" y="310"/>
                      <a:pt x="2262" y="341"/>
                      <a:pt x="2262" y="372"/>
                    </a:cubicBezTo>
                    <a:lnTo>
                      <a:pt x="2262" y="372"/>
                    </a:lnTo>
                    <a:cubicBezTo>
                      <a:pt x="2262" y="403"/>
                      <a:pt x="2232" y="403"/>
                      <a:pt x="2201" y="403"/>
                    </a:cubicBezTo>
                    <a:cubicBezTo>
                      <a:pt x="2170" y="403"/>
                      <a:pt x="2170" y="403"/>
                      <a:pt x="2170" y="403"/>
                    </a:cubicBezTo>
                    <a:lnTo>
                      <a:pt x="2170" y="403"/>
                    </a:lnTo>
                    <a:cubicBezTo>
                      <a:pt x="2170" y="434"/>
                      <a:pt x="2170" y="434"/>
                      <a:pt x="2170" y="465"/>
                    </a:cubicBezTo>
                    <a:lnTo>
                      <a:pt x="2170" y="465"/>
                    </a:lnTo>
                    <a:lnTo>
                      <a:pt x="2201" y="465"/>
                    </a:lnTo>
                    <a:lnTo>
                      <a:pt x="2201" y="465"/>
                    </a:lnTo>
                    <a:cubicBezTo>
                      <a:pt x="2232" y="465"/>
                      <a:pt x="2262" y="496"/>
                      <a:pt x="2262" y="496"/>
                    </a:cubicBezTo>
                    <a:lnTo>
                      <a:pt x="2262" y="496"/>
                    </a:lnTo>
                    <a:lnTo>
                      <a:pt x="2262" y="496"/>
                    </a:lnTo>
                    <a:lnTo>
                      <a:pt x="2262" y="496"/>
                    </a:lnTo>
                    <a:cubicBezTo>
                      <a:pt x="2293" y="496"/>
                      <a:pt x="2293" y="496"/>
                      <a:pt x="2293" y="496"/>
                    </a:cubicBezTo>
                    <a:cubicBezTo>
                      <a:pt x="2325" y="496"/>
                      <a:pt x="2325" y="527"/>
                      <a:pt x="2325" y="527"/>
                    </a:cubicBezTo>
                    <a:cubicBezTo>
                      <a:pt x="2325" y="558"/>
                      <a:pt x="2325" y="558"/>
                      <a:pt x="2293" y="558"/>
                    </a:cubicBezTo>
                    <a:lnTo>
                      <a:pt x="2293" y="589"/>
                    </a:lnTo>
                    <a:cubicBezTo>
                      <a:pt x="2293" y="589"/>
                      <a:pt x="2262" y="620"/>
                      <a:pt x="2232" y="620"/>
                    </a:cubicBezTo>
                    <a:lnTo>
                      <a:pt x="2232" y="620"/>
                    </a:lnTo>
                    <a:cubicBezTo>
                      <a:pt x="2232" y="620"/>
                      <a:pt x="2201" y="589"/>
                      <a:pt x="2170" y="589"/>
                    </a:cubicBezTo>
                    <a:cubicBezTo>
                      <a:pt x="2170" y="589"/>
                      <a:pt x="2170" y="589"/>
                      <a:pt x="2170" y="558"/>
                    </a:cubicBezTo>
                    <a:cubicBezTo>
                      <a:pt x="2138" y="558"/>
                      <a:pt x="2138" y="558"/>
                      <a:pt x="2138" y="558"/>
                    </a:cubicBezTo>
                    <a:lnTo>
                      <a:pt x="2108" y="558"/>
                    </a:lnTo>
                    <a:cubicBezTo>
                      <a:pt x="2077" y="558"/>
                      <a:pt x="2046" y="527"/>
                      <a:pt x="2014" y="527"/>
                    </a:cubicBezTo>
                    <a:lnTo>
                      <a:pt x="2014" y="527"/>
                    </a:lnTo>
                    <a:cubicBezTo>
                      <a:pt x="1984" y="496"/>
                      <a:pt x="1984" y="496"/>
                      <a:pt x="1953" y="496"/>
                    </a:cubicBezTo>
                    <a:cubicBezTo>
                      <a:pt x="1953" y="496"/>
                      <a:pt x="1890" y="496"/>
                      <a:pt x="1860" y="496"/>
                    </a:cubicBezTo>
                    <a:lnTo>
                      <a:pt x="1860" y="496"/>
                    </a:lnTo>
                    <a:cubicBezTo>
                      <a:pt x="1829" y="496"/>
                      <a:pt x="1829" y="496"/>
                      <a:pt x="1829" y="496"/>
                    </a:cubicBezTo>
                    <a:lnTo>
                      <a:pt x="1829" y="496"/>
                    </a:lnTo>
                    <a:lnTo>
                      <a:pt x="1860" y="527"/>
                    </a:lnTo>
                    <a:cubicBezTo>
                      <a:pt x="1860" y="558"/>
                      <a:pt x="1860" y="558"/>
                      <a:pt x="1829" y="589"/>
                    </a:cubicBezTo>
                    <a:lnTo>
                      <a:pt x="1798" y="589"/>
                    </a:lnTo>
                    <a:lnTo>
                      <a:pt x="1798" y="589"/>
                    </a:lnTo>
                    <a:cubicBezTo>
                      <a:pt x="1798" y="589"/>
                      <a:pt x="1798" y="589"/>
                      <a:pt x="1766" y="589"/>
                    </a:cubicBezTo>
                    <a:lnTo>
                      <a:pt x="1766" y="589"/>
                    </a:lnTo>
                    <a:cubicBezTo>
                      <a:pt x="1736" y="589"/>
                      <a:pt x="1736" y="589"/>
                      <a:pt x="1736" y="558"/>
                    </a:cubicBezTo>
                    <a:lnTo>
                      <a:pt x="1705" y="558"/>
                    </a:lnTo>
                    <a:cubicBezTo>
                      <a:pt x="1705" y="558"/>
                      <a:pt x="1705" y="558"/>
                      <a:pt x="1674" y="589"/>
                    </a:cubicBezTo>
                    <a:lnTo>
                      <a:pt x="1674" y="589"/>
                    </a:lnTo>
                    <a:cubicBezTo>
                      <a:pt x="1674" y="589"/>
                      <a:pt x="1674" y="589"/>
                      <a:pt x="1642" y="589"/>
                    </a:cubicBezTo>
                    <a:cubicBezTo>
                      <a:pt x="1642" y="589"/>
                      <a:pt x="1642" y="589"/>
                      <a:pt x="1612" y="589"/>
                    </a:cubicBezTo>
                    <a:cubicBezTo>
                      <a:pt x="1612" y="589"/>
                      <a:pt x="1581" y="589"/>
                      <a:pt x="1550" y="589"/>
                    </a:cubicBezTo>
                    <a:lnTo>
                      <a:pt x="1550" y="589"/>
                    </a:lnTo>
                    <a:lnTo>
                      <a:pt x="1550" y="589"/>
                    </a:lnTo>
                    <a:cubicBezTo>
                      <a:pt x="1518" y="620"/>
                      <a:pt x="1488" y="620"/>
                      <a:pt x="1488" y="620"/>
                    </a:cubicBezTo>
                    <a:cubicBezTo>
                      <a:pt x="1488" y="620"/>
                      <a:pt x="1488" y="620"/>
                      <a:pt x="1457" y="620"/>
                    </a:cubicBezTo>
                    <a:lnTo>
                      <a:pt x="1457" y="620"/>
                    </a:lnTo>
                    <a:lnTo>
                      <a:pt x="1457" y="620"/>
                    </a:lnTo>
                    <a:lnTo>
                      <a:pt x="1426" y="620"/>
                    </a:lnTo>
                    <a:cubicBezTo>
                      <a:pt x="1426" y="620"/>
                      <a:pt x="1426" y="589"/>
                      <a:pt x="1394" y="589"/>
                    </a:cubicBezTo>
                    <a:lnTo>
                      <a:pt x="1394" y="589"/>
                    </a:lnTo>
                    <a:lnTo>
                      <a:pt x="1394" y="589"/>
                    </a:lnTo>
                    <a:lnTo>
                      <a:pt x="1364" y="589"/>
                    </a:lnTo>
                    <a:cubicBezTo>
                      <a:pt x="1333" y="589"/>
                      <a:pt x="1333" y="589"/>
                      <a:pt x="1333" y="589"/>
                    </a:cubicBezTo>
                    <a:cubicBezTo>
                      <a:pt x="1333" y="589"/>
                      <a:pt x="1333" y="589"/>
                      <a:pt x="1302" y="589"/>
                    </a:cubicBezTo>
                    <a:lnTo>
                      <a:pt x="1302" y="589"/>
                    </a:lnTo>
                    <a:cubicBezTo>
                      <a:pt x="1270" y="589"/>
                      <a:pt x="1240" y="620"/>
                      <a:pt x="1240" y="620"/>
                    </a:cubicBezTo>
                    <a:cubicBezTo>
                      <a:pt x="1209" y="620"/>
                      <a:pt x="1209" y="620"/>
                      <a:pt x="1178" y="620"/>
                    </a:cubicBezTo>
                    <a:lnTo>
                      <a:pt x="1178" y="620"/>
                    </a:lnTo>
                    <a:lnTo>
                      <a:pt x="1178" y="620"/>
                    </a:lnTo>
                    <a:cubicBezTo>
                      <a:pt x="1178" y="651"/>
                      <a:pt x="1146" y="651"/>
                      <a:pt x="1146" y="651"/>
                    </a:cubicBezTo>
                    <a:cubicBezTo>
                      <a:pt x="1116" y="682"/>
                      <a:pt x="1116" y="682"/>
                      <a:pt x="1085" y="682"/>
                    </a:cubicBezTo>
                    <a:lnTo>
                      <a:pt x="1085" y="682"/>
                    </a:lnTo>
                    <a:lnTo>
                      <a:pt x="1085" y="682"/>
                    </a:lnTo>
                    <a:cubicBezTo>
                      <a:pt x="1054" y="682"/>
                      <a:pt x="1054" y="682"/>
                      <a:pt x="1054" y="682"/>
                    </a:cubicBezTo>
                    <a:cubicBezTo>
                      <a:pt x="1022" y="682"/>
                      <a:pt x="1022" y="682"/>
                      <a:pt x="1022" y="682"/>
                    </a:cubicBezTo>
                    <a:lnTo>
                      <a:pt x="1022" y="682"/>
                    </a:lnTo>
                    <a:cubicBezTo>
                      <a:pt x="992" y="682"/>
                      <a:pt x="992" y="682"/>
                      <a:pt x="992" y="682"/>
                    </a:cubicBezTo>
                    <a:cubicBezTo>
                      <a:pt x="992" y="682"/>
                      <a:pt x="992" y="682"/>
                      <a:pt x="961" y="682"/>
                    </a:cubicBezTo>
                    <a:cubicBezTo>
                      <a:pt x="961" y="682"/>
                      <a:pt x="930" y="651"/>
                      <a:pt x="930" y="620"/>
                    </a:cubicBezTo>
                    <a:cubicBezTo>
                      <a:pt x="961" y="589"/>
                      <a:pt x="961" y="589"/>
                      <a:pt x="992" y="589"/>
                    </a:cubicBezTo>
                    <a:lnTo>
                      <a:pt x="992" y="589"/>
                    </a:lnTo>
                    <a:lnTo>
                      <a:pt x="992" y="589"/>
                    </a:lnTo>
                    <a:lnTo>
                      <a:pt x="992" y="589"/>
                    </a:lnTo>
                    <a:lnTo>
                      <a:pt x="992" y="589"/>
                    </a:lnTo>
                    <a:lnTo>
                      <a:pt x="992" y="589"/>
                    </a:lnTo>
                    <a:lnTo>
                      <a:pt x="992" y="589"/>
                    </a:lnTo>
                    <a:cubicBezTo>
                      <a:pt x="961" y="589"/>
                      <a:pt x="961" y="589"/>
                      <a:pt x="930" y="589"/>
                    </a:cubicBezTo>
                    <a:lnTo>
                      <a:pt x="930" y="589"/>
                    </a:lnTo>
                    <a:cubicBezTo>
                      <a:pt x="930" y="620"/>
                      <a:pt x="930" y="620"/>
                      <a:pt x="930" y="620"/>
                    </a:cubicBezTo>
                    <a:cubicBezTo>
                      <a:pt x="930" y="620"/>
                      <a:pt x="930" y="620"/>
                      <a:pt x="930" y="651"/>
                    </a:cubicBezTo>
                    <a:cubicBezTo>
                      <a:pt x="930" y="651"/>
                      <a:pt x="930" y="651"/>
                      <a:pt x="930" y="682"/>
                    </a:cubicBezTo>
                    <a:cubicBezTo>
                      <a:pt x="930" y="682"/>
                      <a:pt x="930" y="682"/>
                      <a:pt x="930" y="713"/>
                    </a:cubicBezTo>
                    <a:lnTo>
                      <a:pt x="930" y="744"/>
                    </a:lnTo>
                    <a:cubicBezTo>
                      <a:pt x="930" y="775"/>
                      <a:pt x="930" y="775"/>
                      <a:pt x="898" y="775"/>
                    </a:cubicBezTo>
                    <a:lnTo>
                      <a:pt x="868" y="744"/>
                    </a:lnTo>
                    <a:lnTo>
                      <a:pt x="868" y="744"/>
                    </a:lnTo>
                    <a:cubicBezTo>
                      <a:pt x="868" y="713"/>
                      <a:pt x="868" y="713"/>
                      <a:pt x="868" y="713"/>
                    </a:cubicBezTo>
                    <a:cubicBezTo>
                      <a:pt x="837" y="713"/>
                      <a:pt x="837" y="713"/>
                      <a:pt x="806" y="713"/>
                    </a:cubicBezTo>
                    <a:lnTo>
                      <a:pt x="806" y="713"/>
                    </a:lnTo>
                    <a:cubicBezTo>
                      <a:pt x="806" y="744"/>
                      <a:pt x="774" y="744"/>
                      <a:pt x="774" y="744"/>
                    </a:cubicBezTo>
                    <a:cubicBezTo>
                      <a:pt x="744" y="744"/>
                      <a:pt x="744" y="744"/>
                      <a:pt x="744" y="744"/>
                    </a:cubicBezTo>
                    <a:lnTo>
                      <a:pt x="713" y="775"/>
                    </a:lnTo>
                    <a:lnTo>
                      <a:pt x="713" y="775"/>
                    </a:lnTo>
                    <a:lnTo>
                      <a:pt x="713" y="775"/>
                    </a:lnTo>
                    <a:cubicBezTo>
                      <a:pt x="713" y="806"/>
                      <a:pt x="713" y="806"/>
                      <a:pt x="713" y="837"/>
                    </a:cubicBezTo>
                    <a:cubicBezTo>
                      <a:pt x="713" y="837"/>
                      <a:pt x="713" y="837"/>
                      <a:pt x="681" y="837"/>
                    </a:cubicBezTo>
                    <a:lnTo>
                      <a:pt x="681" y="837"/>
                    </a:lnTo>
                    <a:lnTo>
                      <a:pt x="681" y="837"/>
                    </a:lnTo>
                    <a:lnTo>
                      <a:pt x="681" y="837"/>
                    </a:lnTo>
                    <a:cubicBezTo>
                      <a:pt x="651" y="837"/>
                      <a:pt x="651" y="837"/>
                      <a:pt x="620" y="837"/>
                    </a:cubicBezTo>
                    <a:lnTo>
                      <a:pt x="620" y="837"/>
                    </a:lnTo>
                    <a:lnTo>
                      <a:pt x="589" y="837"/>
                    </a:lnTo>
                    <a:lnTo>
                      <a:pt x="589" y="837"/>
                    </a:lnTo>
                    <a:cubicBezTo>
                      <a:pt x="589" y="868"/>
                      <a:pt x="589" y="868"/>
                      <a:pt x="558" y="868"/>
                    </a:cubicBezTo>
                    <a:cubicBezTo>
                      <a:pt x="558" y="898"/>
                      <a:pt x="558" y="898"/>
                      <a:pt x="527" y="898"/>
                    </a:cubicBezTo>
                    <a:lnTo>
                      <a:pt x="527" y="898"/>
                    </a:lnTo>
                    <a:cubicBezTo>
                      <a:pt x="496" y="898"/>
                      <a:pt x="496" y="898"/>
                      <a:pt x="496" y="898"/>
                    </a:cubicBezTo>
                    <a:lnTo>
                      <a:pt x="496" y="898"/>
                    </a:lnTo>
                    <a:cubicBezTo>
                      <a:pt x="465" y="898"/>
                      <a:pt x="465" y="898"/>
                      <a:pt x="465" y="868"/>
                    </a:cubicBezTo>
                    <a:lnTo>
                      <a:pt x="434" y="868"/>
                    </a:lnTo>
                    <a:lnTo>
                      <a:pt x="434" y="868"/>
                    </a:lnTo>
                    <a:cubicBezTo>
                      <a:pt x="434" y="868"/>
                      <a:pt x="403" y="868"/>
                      <a:pt x="403" y="837"/>
                    </a:cubicBezTo>
                    <a:cubicBezTo>
                      <a:pt x="372" y="837"/>
                      <a:pt x="372" y="837"/>
                      <a:pt x="372" y="806"/>
                    </a:cubicBezTo>
                    <a:lnTo>
                      <a:pt x="372" y="775"/>
                    </a:lnTo>
                    <a:lnTo>
                      <a:pt x="372" y="775"/>
                    </a:lnTo>
                    <a:lnTo>
                      <a:pt x="372" y="775"/>
                    </a:lnTo>
                    <a:cubicBezTo>
                      <a:pt x="372" y="744"/>
                      <a:pt x="372" y="744"/>
                      <a:pt x="372" y="744"/>
                    </a:cubicBezTo>
                    <a:lnTo>
                      <a:pt x="372" y="744"/>
                    </a:lnTo>
                    <a:cubicBezTo>
                      <a:pt x="341" y="744"/>
                      <a:pt x="341" y="744"/>
                      <a:pt x="310" y="744"/>
                    </a:cubicBezTo>
                    <a:cubicBezTo>
                      <a:pt x="310" y="713"/>
                      <a:pt x="310" y="713"/>
                      <a:pt x="310" y="713"/>
                    </a:cubicBezTo>
                    <a:cubicBezTo>
                      <a:pt x="310" y="713"/>
                      <a:pt x="310" y="713"/>
                      <a:pt x="279" y="713"/>
                    </a:cubicBezTo>
                    <a:cubicBezTo>
                      <a:pt x="248" y="713"/>
                      <a:pt x="248" y="682"/>
                      <a:pt x="217" y="682"/>
                    </a:cubicBezTo>
                    <a:lnTo>
                      <a:pt x="217" y="651"/>
                    </a:lnTo>
                    <a:cubicBezTo>
                      <a:pt x="217" y="651"/>
                      <a:pt x="217" y="620"/>
                      <a:pt x="248" y="620"/>
                    </a:cubicBezTo>
                    <a:cubicBezTo>
                      <a:pt x="248" y="620"/>
                      <a:pt x="310" y="651"/>
                      <a:pt x="341" y="651"/>
                    </a:cubicBezTo>
                    <a:cubicBezTo>
                      <a:pt x="341" y="682"/>
                      <a:pt x="372" y="682"/>
                      <a:pt x="403" y="682"/>
                    </a:cubicBezTo>
                    <a:lnTo>
                      <a:pt x="403" y="682"/>
                    </a:lnTo>
                    <a:cubicBezTo>
                      <a:pt x="434" y="682"/>
                      <a:pt x="434" y="682"/>
                      <a:pt x="434" y="682"/>
                    </a:cubicBezTo>
                    <a:lnTo>
                      <a:pt x="434" y="682"/>
                    </a:lnTo>
                    <a:cubicBezTo>
                      <a:pt x="465" y="682"/>
                      <a:pt x="527" y="682"/>
                      <a:pt x="558" y="682"/>
                    </a:cubicBezTo>
                    <a:lnTo>
                      <a:pt x="558" y="682"/>
                    </a:lnTo>
                    <a:lnTo>
                      <a:pt x="589" y="682"/>
                    </a:lnTo>
                    <a:cubicBezTo>
                      <a:pt x="620" y="682"/>
                      <a:pt x="620" y="682"/>
                      <a:pt x="651" y="682"/>
                    </a:cubicBezTo>
                    <a:cubicBezTo>
                      <a:pt x="681" y="682"/>
                      <a:pt x="713" y="651"/>
                      <a:pt x="713" y="651"/>
                    </a:cubicBezTo>
                    <a:cubicBezTo>
                      <a:pt x="713" y="651"/>
                      <a:pt x="713" y="651"/>
                      <a:pt x="744" y="651"/>
                    </a:cubicBezTo>
                    <a:lnTo>
                      <a:pt x="744" y="651"/>
                    </a:lnTo>
                    <a:cubicBezTo>
                      <a:pt x="713" y="651"/>
                      <a:pt x="681" y="620"/>
                      <a:pt x="681" y="620"/>
                    </a:cubicBezTo>
                    <a:cubicBezTo>
                      <a:pt x="651" y="620"/>
                      <a:pt x="651" y="620"/>
                      <a:pt x="651" y="620"/>
                    </a:cubicBezTo>
                    <a:cubicBezTo>
                      <a:pt x="651" y="620"/>
                      <a:pt x="620" y="620"/>
                      <a:pt x="589" y="620"/>
                    </a:cubicBezTo>
                    <a:cubicBezTo>
                      <a:pt x="558" y="620"/>
                      <a:pt x="527" y="589"/>
                      <a:pt x="496" y="558"/>
                    </a:cubicBezTo>
                    <a:lnTo>
                      <a:pt x="465" y="558"/>
                    </a:lnTo>
                    <a:cubicBezTo>
                      <a:pt x="465" y="558"/>
                      <a:pt x="465" y="558"/>
                      <a:pt x="434" y="558"/>
                    </a:cubicBezTo>
                    <a:cubicBezTo>
                      <a:pt x="434" y="558"/>
                      <a:pt x="434" y="558"/>
                      <a:pt x="403" y="527"/>
                    </a:cubicBezTo>
                    <a:lnTo>
                      <a:pt x="403" y="527"/>
                    </a:lnTo>
                    <a:lnTo>
                      <a:pt x="372" y="527"/>
                    </a:lnTo>
                    <a:lnTo>
                      <a:pt x="372" y="527"/>
                    </a:lnTo>
                    <a:lnTo>
                      <a:pt x="372" y="527"/>
                    </a:lnTo>
                    <a:lnTo>
                      <a:pt x="341" y="527"/>
                    </a:lnTo>
                    <a:lnTo>
                      <a:pt x="341" y="527"/>
                    </a:lnTo>
                    <a:cubicBezTo>
                      <a:pt x="310" y="527"/>
                      <a:pt x="310" y="527"/>
                      <a:pt x="310" y="527"/>
                    </a:cubicBezTo>
                    <a:cubicBezTo>
                      <a:pt x="310" y="527"/>
                      <a:pt x="279" y="527"/>
                      <a:pt x="248" y="527"/>
                    </a:cubicBezTo>
                    <a:cubicBezTo>
                      <a:pt x="186" y="527"/>
                      <a:pt x="186" y="527"/>
                      <a:pt x="186" y="527"/>
                    </a:cubicBezTo>
                    <a:lnTo>
                      <a:pt x="186" y="527"/>
                    </a:lnTo>
                    <a:lnTo>
                      <a:pt x="186" y="527"/>
                    </a:lnTo>
                    <a:lnTo>
                      <a:pt x="186" y="527"/>
                    </a:lnTo>
                    <a:cubicBezTo>
                      <a:pt x="155" y="527"/>
                      <a:pt x="155" y="527"/>
                      <a:pt x="155" y="527"/>
                    </a:cubicBezTo>
                    <a:lnTo>
                      <a:pt x="124" y="527"/>
                    </a:lnTo>
                    <a:lnTo>
                      <a:pt x="124" y="527"/>
                    </a:lnTo>
                    <a:lnTo>
                      <a:pt x="124" y="527"/>
                    </a:lnTo>
                    <a:lnTo>
                      <a:pt x="124" y="527"/>
                    </a:lnTo>
                    <a:lnTo>
                      <a:pt x="124" y="558"/>
                    </a:lnTo>
                    <a:cubicBezTo>
                      <a:pt x="124" y="589"/>
                      <a:pt x="124" y="589"/>
                      <a:pt x="124" y="589"/>
                    </a:cubicBezTo>
                    <a:cubicBezTo>
                      <a:pt x="124" y="589"/>
                      <a:pt x="155" y="589"/>
                      <a:pt x="155" y="620"/>
                    </a:cubicBezTo>
                    <a:lnTo>
                      <a:pt x="155" y="620"/>
                    </a:lnTo>
                    <a:lnTo>
                      <a:pt x="155" y="620"/>
                    </a:lnTo>
                    <a:cubicBezTo>
                      <a:pt x="155" y="620"/>
                      <a:pt x="155" y="651"/>
                      <a:pt x="124" y="651"/>
                    </a:cubicBezTo>
                    <a:cubicBezTo>
                      <a:pt x="124" y="651"/>
                      <a:pt x="124" y="651"/>
                      <a:pt x="124" y="682"/>
                    </a:cubicBezTo>
                    <a:lnTo>
                      <a:pt x="124" y="682"/>
                    </a:lnTo>
                    <a:lnTo>
                      <a:pt x="124" y="682"/>
                    </a:lnTo>
                    <a:cubicBezTo>
                      <a:pt x="155" y="682"/>
                      <a:pt x="155" y="682"/>
                      <a:pt x="155" y="682"/>
                    </a:cubicBezTo>
                    <a:cubicBezTo>
                      <a:pt x="155" y="713"/>
                      <a:pt x="155" y="713"/>
                      <a:pt x="155" y="744"/>
                    </a:cubicBezTo>
                    <a:lnTo>
                      <a:pt x="155" y="744"/>
                    </a:lnTo>
                    <a:lnTo>
                      <a:pt x="155" y="775"/>
                    </a:lnTo>
                    <a:cubicBezTo>
                      <a:pt x="155" y="775"/>
                      <a:pt x="155" y="775"/>
                      <a:pt x="124" y="775"/>
                    </a:cubicBezTo>
                    <a:cubicBezTo>
                      <a:pt x="155" y="775"/>
                      <a:pt x="155" y="806"/>
                      <a:pt x="155" y="806"/>
                    </a:cubicBezTo>
                    <a:lnTo>
                      <a:pt x="186" y="837"/>
                    </a:lnTo>
                    <a:cubicBezTo>
                      <a:pt x="186" y="837"/>
                      <a:pt x="186" y="837"/>
                      <a:pt x="186" y="868"/>
                    </a:cubicBezTo>
                    <a:lnTo>
                      <a:pt x="186" y="868"/>
                    </a:lnTo>
                    <a:lnTo>
                      <a:pt x="186" y="868"/>
                    </a:lnTo>
                    <a:lnTo>
                      <a:pt x="186" y="868"/>
                    </a:lnTo>
                    <a:lnTo>
                      <a:pt x="186" y="868"/>
                    </a:lnTo>
                    <a:lnTo>
                      <a:pt x="186" y="868"/>
                    </a:lnTo>
                    <a:lnTo>
                      <a:pt x="217" y="868"/>
                    </a:lnTo>
                    <a:cubicBezTo>
                      <a:pt x="217" y="898"/>
                      <a:pt x="217" y="898"/>
                      <a:pt x="217" y="930"/>
                    </a:cubicBezTo>
                    <a:lnTo>
                      <a:pt x="217" y="930"/>
                    </a:lnTo>
                    <a:lnTo>
                      <a:pt x="217" y="930"/>
                    </a:lnTo>
                    <a:lnTo>
                      <a:pt x="217" y="930"/>
                    </a:lnTo>
                    <a:cubicBezTo>
                      <a:pt x="217" y="961"/>
                      <a:pt x="217" y="992"/>
                      <a:pt x="186" y="992"/>
                    </a:cubicBezTo>
                    <a:lnTo>
                      <a:pt x="186" y="992"/>
                    </a:lnTo>
                    <a:cubicBezTo>
                      <a:pt x="186" y="992"/>
                      <a:pt x="155" y="992"/>
                      <a:pt x="155" y="1022"/>
                    </a:cubicBezTo>
                    <a:lnTo>
                      <a:pt x="155" y="1022"/>
                    </a:lnTo>
                    <a:cubicBezTo>
                      <a:pt x="124" y="1022"/>
                      <a:pt x="124" y="1054"/>
                      <a:pt x="93" y="1054"/>
                    </a:cubicBezTo>
                    <a:cubicBezTo>
                      <a:pt x="93" y="1054"/>
                      <a:pt x="62" y="1054"/>
                      <a:pt x="62" y="1085"/>
                    </a:cubicBezTo>
                    <a:lnTo>
                      <a:pt x="62" y="1085"/>
                    </a:lnTo>
                    <a:lnTo>
                      <a:pt x="62" y="1085"/>
                    </a:lnTo>
                    <a:lnTo>
                      <a:pt x="62" y="1116"/>
                    </a:lnTo>
                    <a:lnTo>
                      <a:pt x="62" y="1116"/>
                    </a:lnTo>
                    <a:lnTo>
                      <a:pt x="62" y="1146"/>
                    </a:lnTo>
                    <a:lnTo>
                      <a:pt x="62" y="1146"/>
                    </a:lnTo>
                    <a:lnTo>
                      <a:pt x="31" y="1178"/>
                    </a:lnTo>
                    <a:lnTo>
                      <a:pt x="0" y="1209"/>
                    </a:lnTo>
                    <a:lnTo>
                      <a:pt x="0" y="1209"/>
                    </a:lnTo>
                    <a:cubicBezTo>
                      <a:pt x="0" y="1209"/>
                      <a:pt x="0" y="1209"/>
                      <a:pt x="0" y="1240"/>
                    </a:cubicBezTo>
                    <a:cubicBezTo>
                      <a:pt x="93" y="1209"/>
                      <a:pt x="93" y="1209"/>
                      <a:pt x="93" y="1209"/>
                    </a:cubicBezTo>
                    <a:cubicBezTo>
                      <a:pt x="31" y="1270"/>
                      <a:pt x="31" y="1270"/>
                      <a:pt x="31" y="1270"/>
                    </a:cubicBezTo>
                    <a:lnTo>
                      <a:pt x="31" y="1270"/>
                    </a:lnTo>
                    <a:lnTo>
                      <a:pt x="31" y="1270"/>
                    </a:lnTo>
                    <a:lnTo>
                      <a:pt x="31" y="1270"/>
                    </a:lnTo>
                    <a:cubicBezTo>
                      <a:pt x="31" y="1302"/>
                      <a:pt x="31" y="1302"/>
                      <a:pt x="31" y="1302"/>
                    </a:cubicBezTo>
                    <a:lnTo>
                      <a:pt x="31" y="1302"/>
                    </a:lnTo>
                    <a:lnTo>
                      <a:pt x="31" y="1302"/>
                    </a:lnTo>
                    <a:cubicBezTo>
                      <a:pt x="31" y="1333"/>
                      <a:pt x="31" y="1333"/>
                      <a:pt x="31" y="1333"/>
                    </a:cubicBezTo>
                    <a:lnTo>
                      <a:pt x="62" y="1333"/>
                    </a:lnTo>
                    <a:lnTo>
                      <a:pt x="62" y="1333"/>
                    </a:lnTo>
                    <a:lnTo>
                      <a:pt x="62" y="1333"/>
                    </a:lnTo>
                    <a:cubicBezTo>
                      <a:pt x="62" y="1333"/>
                      <a:pt x="93" y="1333"/>
                      <a:pt x="93" y="1364"/>
                    </a:cubicBezTo>
                    <a:lnTo>
                      <a:pt x="93" y="1364"/>
                    </a:lnTo>
                    <a:lnTo>
                      <a:pt x="124" y="1364"/>
                    </a:lnTo>
                    <a:lnTo>
                      <a:pt x="124" y="1364"/>
                    </a:lnTo>
                    <a:lnTo>
                      <a:pt x="124" y="1364"/>
                    </a:lnTo>
                    <a:cubicBezTo>
                      <a:pt x="124" y="1364"/>
                      <a:pt x="124" y="1364"/>
                      <a:pt x="155" y="1364"/>
                    </a:cubicBezTo>
                    <a:cubicBezTo>
                      <a:pt x="155" y="1364"/>
                      <a:pt x="155" y="1364"/>
                      <a:pt x="186" y="1364"/>
                    </a:cubicBezTo>
                    <a:cubicBezTo>
                      <a:pt x="186" y="1364"/>
                      <a:pt x="217" y="1394"/>
                      <a:pt x="217" y="1425"/>
                    </a:cubicBezTo>
                    <a:lnTo>
                      <a:pt x="217" y="1425"/>
                    </a:lnTo>
                    <a:lnTo>
                      <a:pt x="186" y="1425"/>
                    </a:lnTo>
                    <a:lnTo>
                      <a:pt x="217" y="1457"/>
                    </a:lnTo>
                    <a:lnTo>
                      <a:pt x="217" y="1457"/>
                    </a:lnTo>
                    <a:lnTo>
                      <a:pt x="217" y="1457"/>
                    </a:lnTo>
                    <a:lnTo>
                      <a:pt x="217" y="1457"/>
                    </a:lnTo>
                    <a:cubicBezTo>
                      <a:pt x="248" y="1457"/>
                      <a:pt x="248" y="1457"/>
                      <a:pt x="248" y="1488"/>
                    </a:cubicBezTo>
                    <a:lnTo>
                      <a:pt x="248" y="1488"/>
                    </a:lnTo>
                    <a:lnTo>
                      <a:pt x="248" y="1488"/>
                    </a:lnTo>
                    <a:lnTo>
                      <a:pt x="248" y="1488"/>
                    </a:lnTo>
                    <a:cubicBezTo>
                      <a:pt x="279" y="1488"/>
                      <a:pt x="279" y="1488"/>
                      <a:pt x="310" y="1518"/>
                    </a:cubicBezTo>
                    <a:lnTo>
                      <a:pt x="310" y="1518"/>
                    </a:lnTo>
                    <a:lnTo>
                      <a:pt x="310" y="1518"/>
                    </a:lnTo>
                    <a:lnTo>
                      <a:pt x="310" y="1518"/>
                    </a:lnTo>
                    <a:cubicBezTo>
                      <a:pt x="310" y="1550"/>
                      <a:pt x="279" y="1550"/>
                      <a:pt x="279" y="1581"/>
                    </a:cubicBezTo>
                    <a:lnTo>
                      <a:pt x="279" y="1581"/>
                    </a:lnTo>
                    <a:lnTo>
                      <a:pt x="279" y="1581"/>
                    </a:lnTo>
                    <a:cubicBezTo>
                      <a:pt x="279" y="1581"/>
                      <a:pt x="279" y="1581"/>
                      <a:pt x="310" y="1581"/>
                    </a:cubicBezTo>
                    <a:lnTo>
                      <a:pt x="310" y="1581"/>
                    </a:lnTo>
                    <a:lnTo>
                      <a:pt x="310" y="1581"/>
                    </a:lnTo>
                    <a:lnTo>
                      <a:pt x="310" y="1581"/>
                    </a:lnTo>
                    <a:cubicBezTo>
                      <a:pt x="341" y="1581"/>
                      <a:pt x="372" y="1581"/>
                      <a:pt x="372" y="1581"/>
                    </a:cubicBezTo>
                    <a:lnTo>
                      <a:pt x="372" y="1581"/>
                    </a:lnTo>
                    <a:cubicBezTo>
                      <a:pt x="372" y="1612"/>
                      <a:pt x="403" y="1612"/>
                      <a:pt x="403" y="1642"/>
                    </a:cubicBezTo>
                    <a:lnTo>
                      <a:pt x="403" y="1642"/>
                    </a:lnTo>
                    <a:lnTo>
                      <a:pt x="403" y="1642"/>
                    </a:lnTo>
                    <a:lnTo>
                      <a:pt x="403" y="1642"/>
                    </a:lnTo>
                    <a:cubicBezTo>
                      <a:pt x="403" y="1642"/>
                      <a:pt x="403" y="1642"/>
                      <a:pt x="434" y="1642"/>
                    </a:cubicBezTo>
                    <a:lnTo>
                      <a:pt x="434" y="1642"/>
                    </a:lnTo>
                    <a:lnTo>
                      <a:pt x="434" y="1674"/>
                    </a:lnTo>
                    <a:lnTo>
                      <a:pt x="434" y="1674"/>
                    </a:lnTo>
                    <a:cubicBezTo>
                      <a:pt x="434" y="1674"/>
                      <a:pt x="434" y="1674"/>
                      <a:pt x="434" y="1705"/>
                    </a:cubicBezTo>
                    <a:lnTo>
                      <a:pt x="434" y="1705"/>
                    </a:lnTo>
                    <a:lnTo>
                      <a:pt x="434" y="1705"/>
                    </a:lnTo>
                    <a:cubicBezTo>
                      <a:pt x="465" y="1705"/>
                      <a:pt x="465" y="1705"/>
                      <a:pt x="465" y="1705"/>
                    </a:cubicBezTo>
                    <a:lnTo>
                      <a:pt x="465" y="1705"/>
                    </a:lnTo>
                    <a:lnTo>
                      <a:pt x="496" y="1705"/>
                    </a:lnTo>
                    <a:lnTo>
                      <a:pt x="496" y="1705"/>
                    </a:lnTo>
                    <a:lnTo>
                      <a:pt x="496" y="1705"/>
                    </a:lnTo>
                    <a:lnTo>
                      <a:pt x="527" y="1705"/>
                    </a:lnTo>
                    <a:lnTo>
                      <a:pt x="527" y="1705"/>
                    </a:lnTo>
                    <a:lnTo>
                      <a:pt x="527" y="1705"/>
                    </a:lnTo>
                    <a:lnTo>
                      <a:pt x="527" y="1705"/>
                    </a:lnTo>
                    <a:cubicBezTo>
                      <a:pt x="558" y="1705"/>
                      <a:pt x="558" y="1705"/>
                      <a:pt x="558" y="1705"/>
                    </a:cubicBezTo>
                    <a:cubicBezTo>
                      <a:pt x="558" y="1705"/>
                      <a:pt x="558" y="1705"/>
                      <a:pt x="589" y="1705"/>
                    </a:cubicBezTo>
                    <a:lnTo>
                      <a:pt x="589" y="1705"/>
                    </a:lnTo>
                    <a:lnTo>
                      <a:pt x="589" y="1705"/>
                    </a:lnTo>
                    <a:cubicBezTo>
                      <a:pt x="620" y="1736"/>
                      <a:pt x="620" y="1736"/>
                      <a:pt x="651" y="1736"/>
                    </a:cubicBezTo>
                    <a:cubicBezTo>
                      <a:pt x="651" y="1736"/>
                      <a:pt x="651" y="1736"/>
                      <a:pt x="681" y="1736"/>
                    </a:cubicBezTo>
                    <a:lnTo>
                      <a:pt x="681" y="1736"/>
                    </a:lnTo>
                    <a:lnTo>
                      <a:pt x="681" y="1736"/>
                    </a:lnTo>
                    <a:cubicBezTo>
                      <a:pt x="713" y="1736"/>
                      <a:pt x="713" y="1766"/>
                      <a:pt x="713" y="1766"/>
                    </a:cubicBezTo>
                    <a:lnTo>
                      <a:pt x="713" y="1766"/>
                    </a:lnTo>
                    <a:lnTo>
                      <a:pt x="713" y="1798"/>
                    </a:lnTo>
                    <a:lnTo>
                      <a:pt x="713" y="1798"/>
                    </a:lnTo>
                    <a:cubicBezTo>
                      <a:pt x="713" y="1798"/>
                      <a:pt x="713" y="1798"/>
                      <a:pt x="713" y="1829"/>
                    </a:cubicBezTo>
                    <a:lnTo>
                      <a:pt x="713" y="1829"/>
                    </a:lnTo>
                    <a:cubicBezTo>
                      <a:pt x="713" y="1829"/>
                      <a:pt x="713" y="1829"/>
                      <a:pt x="681" y="1829"/>
                    </a:cubicBezTo>
                    <a:cubicBezTo>
                      <a:pt x="713" y="1860"/>
                      <a:pt x="713" y="1860"/>
                      <a:pt x="713" y="1860"/>
                    </a:cubicBezTo>
                    <a:lnTo>
                      <a:pt x="713" y="1890"/>
                    </a:lnTo>
                    <a:lnTo>
                      <a:pt x="713" y="1890"/>
                    </a:lnTo>
                    <a:cubicBezTo>
                      <a:pt x="681" y="1890"/>
                      <a:pt x="681" y="1922"/>
                      <a:pt x="651" y="1922"/>
                    </a:cubicBezTo>
                    <a:cubicBezTo>
                      <a:pt x="651" y="1922"/>
                      <a:pt x="651" y="1922"/>
                      <a:pt x="651" y="1953"/>
                    </a:cubicBezTo>
                    <a:cubicBezTo>
                      <a:pt x="651" y="1953"/>
                      <a:pt x="651" y="1984"/>
                      <a:pt x="620" y="1984"/>
                    </a:cubicBezTo>
                    <a:lnTo>
                      <a:pt x="620" y="1984"/>
                    </a:lnTo>
                    <a:lnTo>
                      <a:pt x="620" y="1984"/>
                    </a:lnTo>
                    <a:lnTo>
                      <a:pt x="620" y="1984"/>
                    </a:lnTo>
                    <a:cubicBezTo>
                      <a:pt x="620" y="2014"/>
                      <a:pt x="620" y="2014"/>
                      <a:pt x="589" y="2014"/>
                    </a:cubicBezTo>
                    <a:cubicBezTo>
                      <a:pt x="589" y="2014"/>
                      <a:pt x="589" y="2014"/>
                      <a:pt x="589" y="2046"/>
                    </a:cubicBezTo>
                    <a:lnTo>
                      <a:pt x="589" y="2046"/>
                    </a:lnTo>
                    <a:lnTo>
                      <a:pt x="558" y="2077"/>
                    </a:lnTo>
                    <a:lnTo>
                      <a:pt x="558" y="2077"/>
                    </a:lnTo>
                    <a:lnTo>
                      <a:pt x="558" y="2077"/>
                    </a:lnTo>
                    <a:lnTo>
                      <a:pt x="589" y="2077"/>
                    </a:lnTo>
                    <a:lnTo>
                      <a:pt x="589" y="2077"/>
                    </a:lnTo>
                    <a:lnTo>
                      <a:pt x="589" y="2077"/>
                    </a:lnTo>
                    <a:cubicBezTo>
                      <a:pt x="589" y="2077"/>
                      <a:pt x="589" y="2077"/>
                      <a:pt x="620" y="2077"/>
                    </a:cubicBezTo>
                    <a:cubicBezTo>
                      <a:pt x="620" y="2077"/>
                      <a:pt x="620" y="2077"/>
                      <a:pt x="681" y="2138"/>
                    </a:cubicBezTo>
                    <a:cubicBezTo>
                      <a:pt x="681" y="2138"/>
                      <a:pt x="681" y="2138"/>
                      <a:pt x="713" y="2138"/>
                    </a:cubicBezTo>
                    <a:lnTo>
                      <a:pt x="713" y="2138"/>
                    </a:lnTo>
                    <a:cubicBezTo>
                      <a:pt x="744" y="2138"/>
                      <a:pt x="744" y="2138"/>
                      <a:pt x="744" y="2138"/>
                    </a:cubicBezTo>
                    <a:cubicBezTo>
                      <a:pt x="744" y="2170"/>
                      <a:pt x="774" y="2170"/>
                      <a:pt x="774" y="2170"/>
                    </a:cubicBezTo>
                    <a:lnTo>
                      <a:pt x="774" y="2170"/>
                    </a:lnTo>
                    <a:lnTo>
                      <a:pt x="774" y="2170"/>
                    </a:lnTo>
                    <a:cubicBezTo>
                      <a:pt x="806" y="2170"/>
                      <a:pt x="806" y="2170"/>
                      <a:pt x="806" y="2170"/>
                    </a:cubicBezTo>
                    <a:cubicBezTo>
                      <a:pt x="837" y="2170"/>
                      <a:pt x="837" y="2170"/>
                      <a:pt x="837" y="2170"/>
                    </a:cubicBezTo>
                    <a:cubicBezTo>
                      <a:pt x="868" y="2170"/>
                      <a:pt x="868" y="2170"/>
                      <a:pt x="868" y="2170"/>
                    </a:cubicBezTo>
                    <a:cubicBezTo>
                      <a:pt x="868" y="2201"/>
                      <a:pt x="898" y="2201"/>
                      <a:pt x="898" y="2201"/>
                    </a:cubicBezTo>
                    <a:lnTo>
                      <a:pt x="898" y="2201"/>
                    </a:lnTo>
                    <a:lnTo>
                      <a:pt x="930" y="2201"/>
                    </a:lnTo>
                    <a:lnTo>
                      <a:pt x="930" y="2201"/>
                    </a:lnTo>
                    <a:lnTo>
                      <a:pt x="961" y="2201"/>
                    </a:lnTo>
                    <a:lnTo>
                      <a:pt x="961" y="2201"/>
                    </a:lnTo>
                    <a:lnTo>
                      <a:pt x="961" y="2201"/>
                    </a:lnTo>
                    <a:cubicBezTo>
                      <a:pt x="961" y="2170"/>
                      <a:pt x="961" y="2170"/>
                      <a:pt x="961" y="2170"/>
                    </a:cubicBezTo>
                    <a:lnTo>
                      <a:pt x="961" y="2170"/>
                    </a:lnTo>
                    <a:cubicBezTo>
                      <a:pt x="992" y="2170"/>
                      <a:pt x="992" y="2170"/>
                      <a:pt x="992" y="2201"/>
                    </a:cubicBezTo>
                    <a:lnTo>
                      <a:pt x="992" y="2201"/>
                    </a:lnTo>
                    <a:lnTo>
                      <a:pt x="992" y="2201"/>
                    </a:lnTo>
                    <a:cubicBezTo>
                      <a:pt x="1022" y="2201"/>
                      <a:pt x="1022" y="2201"/>
                      <a:pt x="1022" y="2231"/>
                    </a:cubicBezTo>
                    <a:lnTo>
                      <a:pt x="1022" y="2231"/>
                    </a:lnTo>
                    <a:lnTo>
                      <a:pt x="1022" y="2231"/>
                    </a:lnTo>
                    <a:lnTo>
                      <a:pt x="1022" y="2231"/>
                    </a:lnTo>
                    <a:lnTo>
                      <a:pt x="1022" y="2231"/>
                    </a:lnTo>
                    <a:lnTo>
                      <a:pt x="1022" y="2231"/>
                    </a:lnTo>
                    <a:lnTo>
                      <a:pt x="1022" y="2231"/>
                    </a:lnTo>
                    <a:lnTo>
                      <a:pt x="1022" y="2231"/>
                    </a:lnTo>
                    <a:cubicBezTo>
                      <a:pt x="1022" y="2231"/>
                      <a:pt x="1022" y="2231"/>
                      <a:pt x="1054" y="2231"/>
                    </a:cubicBezTo>
                    <a:lnTo>
                      <a:pt x="1054" y="2231"/>
                    </a:lnTo>
                    <a:lnTo>
                      <a:pt x="1054" y="2231"/>
                    </a:lnTo>
                    <a:lnTo>
                      <a:pt x="1054" y="2231"/>
                    </a:lnTo>
                    <a:lnTo>
                      <a:pt x="1054" y="2231"/>
                    </a:lnTo>
                    <a:cubicBezTo>
                      <a:pt x="1085" y="2231"/>
                      <a:pt x="1085" y="2231"/>
                      <a:pt x="1085" y="2231"/>
                    </a:cubicBezTo>
                    <a:lnTo>
                      <a:pt x="1085" y="2201"/>
                    </a:lnTo>
                    <a:cubicBezTo>
                      <a:pt x="1085" y="2201"/>
                      <a:pt x="1085" y="2201"/>
                      <a:pt x="1085" y="2170"/>
                    </a:cubicBezTo>
                    <a:lnTo>
                      <a:pt x="1085" y="2170"/>
                    </a:lnTo>
                    <a:cubicBezTo>
                      <a:pt x="1054" y="2138"/>
                      <a:pt x="1022" y="2138"/>
                      <a:pt x="1022" y="2108"/>
                    </a:cubicBezTo>
                    <a:lnTo>
                      <a:pt x="1022" y="2077"/>
                    </a:lnTo>
                    <a:cubicBezTo>
                      <a:pt x="1054" y="2077"/>
                      <a:pt x="1054" y="2077"/>
                      <a:pt x="1054" y="2077"/>
                    </a:cubicBezTo>
                    <a:lnTo>
                      <a:pt x="1054" y="2046"/>
                    </a:lnTo>
                    <a:cubicBezTo>
                      <a:pt x="1054" y="2046"/>
                      <a:pt x="1054" y="2046"/>
                      <a:pt x="1054" y="2014"/>
                    </a:cubicBezTo>
                    <a:cubicBezTo>
                      <a:pt x="1085" y="2014"/>
                      <a:pt x="1085" y="2014"/>
                      <a:pt x="1085" y="2014"/>
                    </a:cubicBezTo>
                    <a:cubicBezTo>
                      <a:pt x="1116" y="2014"/>
                      <a:pt x="1116" y="2014"/>
                      <a:pt x="1146" y="1984"/>
                    </a:cubicBezTo>
                    <a:lnTo>
                      <a:pt x="1146" y="1984"/>
                    </a:lnTo>
                    <a:lnTo>
                      <a:pt x="1146" y="1984"/>
                    </a:lnTo>
                    <a:lnTo>
                      <a:pt x="1146" y="1984"/>
                    </a:lnTo>
                    <a:cubicBezTo>
                      <a:pt x="1146" y="1984"/>
                      <a:pt x="1146" y="1984"/>
                      <a:pt x="1146" y="1953"/>
                    </a:cubicBezTo>
                    <a:lnTo>
                      <a:pt x="1146" y="1953"/>
                    </a:lnTo>
                    <a:cubicBezTo>
                      <a:pt x="1116" y="1953"/>
                      <a:pt x="1116" y="1953"/>
                      <a:pt x="1116" y="1922"/>
                    </a:cubicBezTo>
                    <a:lnTo>
                      <a:pt x="1116" y="1922"/>
                    </a:lnTo>
                    <a:cubicBezTo>
                      <a:pt x="1116" y="1922"/>
                      <a:pt x="1085" y="1922"/>
                      <a:pt x="1054" y="1922"/>
                    </a:cubicBezTo>
                    <a:lnTo>
                      <a:pt x="1054" y="1922"/>
                    </a:lnTo>
                    <a:lnTo>
                      <a:pt x="1054" y="1922"/>
                    </a:lnTo>
                    <a:lnTo>
                      <a:pt x="1054" y="1922"/>
                    </a:lnTo>
                    <a:lnTo>
                      <a:pt x="1054" y="1890"/>
                    </a:lnTo>
                    <a:lnTo>
                      <a:pt x="1054" y="1890"/>
                    </a:lnTo>
                    <a:cubicBezTo>
                      <a:pt x="1022" y="1890"/>
                      <a:pt x="1022" y="1860"/>
                      <a:pt x="1022" y="1860"/>
                    </a:cubicBezTo>
                    <a:lnTo>
                      <a:pt x="1022" y="1860"/>
                    </a:lnTo>
                    <a:lnTo>
                      <a:pt x="1022" y="1860"/>
                    </a:lnTo>
                    <a:cubicBezTo>
                      <a:pt x="1022" y="1829"/>
                      <a:pt x="1022" y="1829"/>
                      <a:pt x="1022" y="1829"/>
                    </a:cubicBezTo>
                    <a:lnTo>
                      <a:pt x="1022" y="1829"/>
                    </a:lnTo>
                    <a:lnTo>
                      <a:pt x="1022" y="1798"/>
                    </a:lnTo>
                    <a:lnTo>
                      <a:pt x="1022" y="1798"/>
                    </a:lnTo>
                    <a:lnTo>
                      <a:pt x="1022" y="1766"/>
                    </a:lnTo>
                    <a:cubicBezTo>
                      <a:pt x="1022" y="1766"/>
                      <a:pt x="1022" y="1766"/>
                      <a:pt x="1054" y="1766"/>
                    </a:cubicBezTo>
                    <a:lnTo>
                      <a:pt x="1054" y="1766"/>
                    </a:lnTo>
                    <a:cubicBezTo>
                      <a:pt x="1054" y="1736"/>
                      <a:pt x="1054" y="1736"/>
                      <a:pt x="1054" y="1736"/>
                    </a:cubicBezTo>
                    <a:lnTo>
                      <a:pt x="1054" y="1736"/>
                    </a:lnTo>
                    <a:lnTo>
                      <a:pt x="1054" y="1736"/>
                    </a:lnTo>
                    <a:lnTo>
                      <a:pt x="1054" y="1705"/>
                    </a:lnTo>
                    <a:lnTo>
                      <a:pt x="1085" y="1674"/>
                    </a:lnTo>
                    <a:lnTo>
                      <a:pt x="1085" y="1674"/>
                    </a:lnTo>
                    <a:cubicBezTo>
                      <a:pt x="1116" y="1674"/>
                      <a:pt x="1116" y="1674"/>
                      <a:pt x="1116" y="1674"/>
                    </a:cubicBezTo>
                    <a:lnTo>
                      <a:pt x="1116" y="1674"/>
                    </a:lnTo>
                    <a:cubicBezTo>
                      <a:pt x="1116" y="1705"/>
                      <a:pt x="1116" y="1705"/>
                      <a:pt x="1116" y="1705"/>
                    </a:cubicBezTo>
                    <a:lnTo>
                      <a:pt x="1146" y="1674"/>
                    </a:lnTo>
                    <a:cubicBezTo>
                      <a:pt x="1146" y="1674"/>
                      <a:pt x="1146" y="1674"/>
                      <a:pt x="1178" y="1674"/>
                    </a:cubicBezTo>
                    <a:lnTo>
                      <a:pt x="1178" y="1674"/>
                    </a:lnTo>
                    <a:cubicBezTo>
                      <a:pt x="1209" y="1642"/>
                      <a:pt x="1209" y="1642"/>
                      <a:pt x="1209" y="1642"/>
                    </a:cubicBezTo>
                    <a:lnTo>
                      <a:pt x="1209" y="1642"/>
                    </a:lnTo>
                    <a:lnTo>
                      <a:pt x="1209" y="1642"/>
                    </a:lnTo>
                    <a:lnTo>
                      <a:pt x="1209" y="1642"/>
                    </a:lnTo>
                    <a:lnTo>
                      <a:pt x="1209" y="1642"/>
                    </a:lnTo>
                    <a:cubicBezTo>
                      <a:pt x="1240" y="1642"/>
                      <a:pt x="1240" y="1642"/>
                      <a:pt x="1240" y="1612"/>
                    </a:cubicBezTo>
                    <a:cubicBezTo>
                      <a:pt x="1240" y="1612"/>
                      <a:pt x="1240" y="1612"/>
                      <a:pt x="1270" y="1612"/>
                    </a:cubicBezTo>
                    <a:lnTo>
                      <a:pt x="1270" y="1612"/>
                    </a:lnTo>
                    <a:lnTo>
                      <a:pt x="1270" y="1612"/>
                    </a:lnTo>
                    <a:lnTo>
                      <a:pt x="1270" y="1612"/>
                    </a:lnTo>
                    <a:lnTo>
                      <a:pt x="1270" y="1612"/>
                    </a:lnTo>
                    <a:cubicBezTo>
                      <a:pt x="1270" y="1612"/>
                      <a:pt x="1270" y="1612"/>
                      <a:pt x="1302" y="1612"/>
                    </a:cubicBezTo>
                    <a:lnTo>
                      <a:pt x="1302" y="1612"/>
                    </a:lnTo>
                    <a:cubicBezTo>
                      <a:pt x="1302" y="1612"/>
                      <a:pt x="1302" y="1612"/>
                      <a:pt x="1333" y="1612"/>
                    </a:cubicBezTo>
                    <a:lnTo>
                      <a:pt x="1333" y="1612"/>
                    </a:lnTo>
                    <a:lnTo>
                      <a:pt x="1333" y="1612"/>
                    </a:lnTo>
                    <a:lnTo>
                      <a:pt x="1333" y="1612"/>
                    </a:lnTo>
                    <a:cubicBezTo>
                      <a:pt x="1364" y="1612"/>
                      <a:pt x="1364" y="1612"/>
                      <a:pt x="1364" y="1612"/>
                    </a:cubicBezTo>
                    <a:lnTo>
                      <a:pt x="1364" y="1612"/>
                    </a:lnTo>
                    <a:lnTo>
                      <a:pt x="1364" y="1612"/>
                    </a:lnTo>
                    <a:cubicBezTo>
                      <a:pt x="1364" y="1612"/>
                      <a:pt x="1394" y="1612"/>
                      <a:pt x="1394" y="1642"/>
                    </a:cubicBezTo>
                    <a:cubicBezTo>
                      <a:pt x="1394" y="1612"/>
                      <a:pt x="1394" y="1612"/>
                      <a:pt x="1426" y="1612"/>
                    </a:cubicBezTo>
                    <a:lnTo>
                      <a:pt x="1426" y="1612"/>
                    </a:lnTo>
                    <a:cubicBezTo>
                      <a:pt x="1426" y="1642"/>
                      <a:pt x="1457" y="1642"/>
                      <a:pt x="1457" y="1642"/>
                    </a:cubicBezTo>
                    <a:lnTo>
                      <a:pt x="1457" y="1642"/>
                    </a:lnTo>
                    <a:cubicBezTo>
                      <a:pt x="1457" y="1642"/>
                      <a:pt x="1457" y="1674"/>
                      <a:pt x="1488" y="1674"/>
                    </a:cubicBezTo>
                    <a:cubicBezTo>
                      <a:pt x="1488" y="1642"/>
                      <a:pt x="1488" y="1642"/>
                      <a:pt x="1488" y="1642"/>
                    </a:cubicBezTo>
                    <a:lnTo>
                      <a:pt x="1488" y="1642"/>
                    </a:lnTo>
                    <a:lnTo>
                      <a:pt x="1488" y="1642"/>
                    </a:lnTo>
                    <a:cubicBezTo>
                      <a:pt x="1518" y="1642"/>
                      <a:pt x="1518" y="1674"/>
                      <a:pt x="1550" y="1674"/>
                    </a:cubicBezTo>
                    <a:lnTo>
                      <a:pt x="1550" y="1674"/>
                    </a:lnTo>
                    <a:lnTo>
                      <a:pt x="1550" y="1674"/>
                    </a:lnTo>
                    <a:lnTo>
                      <a:pt x="1550" y="1674"/>
                    </a:lnTo>
                    <a:cubicBezTo>
                      <a:pt x="1581" y="1674"/>
                      <a:pt x="1581" y="1674"/>
                      <a:pt x="1581" y="1642"/>
                    </a:cubicBezTo>
                    <a:cubicBezTo>
                      <a:pt x="1612" y="1642"/>
                      <a:pt x="1612" y="1642"/>
                      <a:pt x="1612" y="1642"/>
                    </a:cubicBezTo>
                    <a:cubicBezTo>
                      <a:pt x="1612" y="1642"/>
                      <a:pt x="1642" y="1642"/>
                      <a:pt x="1642" y="1674"/>
                    </a:cubicBezTo>
                    <a:cubicBezTo>
                      <a:pt x="1642" y="1642"/>
                      <a:pt x="1642" y="1642"/>
                      <a:pt x="1674" y="1642"/>
                    </a:cubicBezTo>
                    <a:lnTo>
                      <a:pt x="1674" y="1642"/>
                    </a:lnTo>
                    <a:lnTo>
                      <a:pt x="1674" y="1642"/>
                    </a:lnTo>
                    <a:cubicBezTo>
                      <a:pt x="1674" y="1642"/>
                      <a:pt x="1705" y="1642"/>
                      <a:pt x="1705" y="1674"/>
                    </a:cubicBezTo>
                    <a:lnTo>
                      <a:pt x="1705" y="1674"/>
                    </a:lnTo>
                    <a:lnTo>
                      <a:pt x="1736" y="1674"/>
                    </a:lnTo>
                    <a:lnTo>
                      <a:pt x="1736" y="1674"/>
                    </a:lnTo>
                    <a:lnTo>
                      <a:pt x="1736" y="1674"/>
                    </a:lnTo>
                    <a:lnTo>
                      <a:pt x="1766" y="1674"/>
                    </a:lnTo>
                    <a:lnTo>
                      <a:pt x="1766" y="1674"/>
                    </a:lnTo>
                    <a:lnTo>
                      <a:pt x="1766" y="1674"/>
                    </a:lnTo>
                    <a:lnTo>
                      <a:pt x="1766" y="1674"/>
                    </a:lnTo>
                    <a:cubicBezTo>
                      <a:pt x="1766" y="1642"/>
                      <a:pt x="1766" y="1642"/>
                      <a:pt x="1766" y="1642"/>
                    </a:cubicBezTo>
                    <a:lnTo>
                      <a:pt x="1766" y="1642"/>
                    </a:lnTo>
                    <a:lnTo>
                      <a:pt x="1766" y="1642"/>
                    </a:lnTo>
                    <a:cubicBezTo>
                      <a:pt x="1766" y="1612"/>
                      <a:pt x="1766" y="1612"/>
                      <a:pt x="1798" y="1612"/>
                    </a:cubicBezTo>
                    <a:cubicBezTo>
                      <a:pt x="1798" y="1581"/>
                      <a:pt x="1798" y="1581"/>
                      <a:pt x="1798" y="1581"/>
                    </a:cubicBezTo>
                    <a:cubicBezTo>
                      <a:pt x="1798" y="1581"/>
                      <a:pt x="1798" y="1581"/>
                      <a:pt x="1798" y="1612"/>
                    </a:cubicBezTo>
                    <a:cubicBezTo>
                      <a:pt x="1798" y="1581"/>
                      <a:pt x="1798" y="1581"/>
                      <a:pt x="1798" y="1581"/>
                    </a:cubicBezTo>
                    <a:lnTo>
                      <a:pt x="1798" y="1581"/>
                    </a:lnTo>
                    <a:cubicBezTo>
                      <a:pt x="1798" y="1581"/>
                      <a:pt x="1798" y="1581"/>
                      <a:pt x="1829" y="1581"/>
                    </a:cubicBezTo>
                    <a:lnTo>
                      <a:pt x="1829" y="1550"/>
                    </a:lnTo>
                    <a:lnTo>
                      <a:pt x="1829" y="1518"/>
                    </a:lnTo>
                    <a:lnTo>
                      <a:pt x="1829" y="1518"/>
                    </a:lnTo>
                    <a:cubicBezTo>
                      <a:pt x="1829" y="1488"/>
                      <a:pt x="1829" y="1488"/>
                      <a:pt x="1829" y="1488"/>
                    </a:cubicBezTo>
                    <a:lnTo>
                      <a:pt x="1829" y="1488"/>
                    </a:lnTo>
                    <a:cubicBezTo>
                      <a:pt x="1829" y="1457"/>
                      <a:pt x="1829" y="1457"/>
                      <a:pt x="1860" y="1457"/>
                    </a:cubicBezTo>
                    <a:lnTo>
                      <a:pt x="1860" y="1457"/>
                    </a:lnTo>
                    <a:lnTo>
                      <a:pt x="1860" y="1457"/>
                    </a:lnTo>
                    <a:lnTo>
                      <a:pt x="1860" y="1457"/>
                    </a:lnTo>
                    <a:lnTo>
                      <a:pt x="1890" y="1457"/>
                    </a:lnTo>
                    <a:cubicBezTo>
                      <a:pt x="1890" y="1457"/>
                      <a:pt x="1890" y="1457"/>
                      <a:pt x="1922" y="1457"/>
                    </a:cubicBezTo>
                    <a:lnTo>
                      <a:pt x="1922" y="1457"/>
                    </a:lnTo>
                    <a:cubicBezTo>
                      <a:pt x="1922" y="1457"/>
                      <a:pt x="1922" y="1457"/>
                      <a:pt x="1953" y="1457"/>
                    </a:cubicBezTo>
                    <a:cubicBezTo>
                      <a:pt x="1953" y="1457"/>
                      <a:pt x="1953" y="1457"/>
                      <a:pt x="1984" y="1457"/>
                    </a:cubicBezTo>
                    <a:cubicBezTo>
                      <a:pt x="2014" y="1457"/>
                      <a:pt x="2014" y="1457"/>
                      <a:pt x="2014" y="1457"/>
                    </a:cubicBezTo>
                    <a:cubicBezTo>
                      <a:pt x="2046" y="1457"/>
                      <a:pt x="2046" y="1457"/>
                      <a:pt x="2046" y="1457"/>
                    </a:cubicBezTo>
                    <a:lnTo>
                      <a:pt x="2046" y="1457"/>
                    </a:lnTo>
                    <a:lnTo>
                      <a:pt x="2046" y="1457"/>
                    </a:lnTo>
                    <a:cubicBezTo>
                      <a:pt x="2077" y="1457"/>
                      <a:pt x="2077" y="1457"/>
                      <a:pt x="2077" y="1425"/>
                    </a:cubicBezTo>
                    <a:lnTo>
                      <a:pt x="2077" y="1425"/>
                    </a:lnTo>
                    <a:lnTo>
                      <a:pt x="2077" y="1425"/>
                    </a:lnTo>
                    <a:cubicBezTo>
                      <a:pt x="2077" y="1425"/>
                      <a:pt x="2077" y="1425"/>
                      <a:pt x="2108" y="1425"/>
                    </a:cubicBezTo>
                    <a:lnTo>
                      <a:pt x="2108" y="1425"/>
                    </a:lnTo>
                    <a:lnTo>
                      <a:pt x="2138" y="1425"/>
                    </a:lnTo>
                    <a:lnTo>
                      <a:pt x="2138" y="1425"/>
                    </a:lnTo>
                    <a:lnTo>
                      <a:pt x="2138" y="1425"/>
                    </a:lnTo>
                    <a:cubicBezTo>
                      <a:pt x="2170" y="1425"/>
                      <a:pt x="2170" y="1425"/>
                      <a:pt x="2201" y="1425"/>
                    </a:cubicBezTo>
                    <a:lnTo>
                      <a:pt x="2201" y="1425"/>
                    </a:lnTo>
                    <a:lnTo>
                      <a:pt x="2201" y="1425"/>
                    </a:lnTo>
                    <a:cubicBezTo>
                      <a:pt x="2201" y="1425"/>
                      <a:pt x="2201" y="1425"/>
                      <a:pt x="2232" y="1425"/>
                    </a:cubicBezTo>
                    <a:lnTo>
                      <a:pt x="2232" y="1425"/>
                    </a:lnTo>
                    <a:lnTo>
                      <a:pt x="2232" y="1425"/>
                    </a:lnTo>
                    <a:cubicBezTo>
                      <a:pt x="2232" y="1394"/>
                      <a:pt x="2262" y="1364"/>
                      <a:pt x="2293" y="1364"/>
                    </a:cubicBezTo>
                    <a:lnTo>
                      <a:pt x="2293" y="1364"/>
                    </a:lnTo>
                    <a:lnTo>
                      <a:pt x="2293" y="1364"/>
                    </a:lnTo>
                    <a:lnTo>
                      <a:pt x="2293" y="1364"/>
                    </a:lnTo>
                    <a:lnTo>
                      <a:pt x="2293" y="1364"/>
                    </a:lnTo>
                    <a:cubicBezTo>
                      <a:pt x="2325" y="1364"/>
                      <a:pt x="2325" y="1364"/>
                      <a:pt x="2356" y="1394"/>
                    </a:cubicBezTo>
                    <a:lnTo>
                      <a:pt x="2356" y="1394"/>
                    </a:lnTo>
                    <a:lnTo>
                      <a:pt x="2356" y="1394"/>
                    </a:lnTo>
                    <a:lnTo>
                      <a:pt x="2386" y="1394"/>
                    </a:lnTo>
                    <a:lnTo>
                      <a:pt x="2386" y="1394"/>
                    </a:lnTo>
                    <a:lnTo>
                      <a:pt x="2386" y="1394"/>
                    </a:lnTo>
                    <a:lnTo>
                      <a:pt x="2418" y="1425"/>
                    </a:lnTo>
                    <a:cubicBezTo>
                      <a:pt x="2418" y="1457"/>
                      <a:pt x="2418" y="1457"/>
                      <a:pt x="2418" y="1457"/>
                    </a:cubicBezTo>
                    <a:lnTo>
                      <a:pt x="2418" y="1457"/>
                    </a:lnTo>
                    <a:cubicBezTo>
                      <a:pt x="2418" y="1457"/>
                      <a:pt x="2418" y="1457"/>
                      <a:pt x="2449" y="1457"/>
                    </a:cubicBezTo>
                    <a:lnTo>
                      <a:pt x="2449" y="1457"/>
                    </a:lnTo>
                    <a:lnTo>
                      <a:pt x="2449" y="1457"/>
                    </a:lnTo>
                    <a:cubicBezTo>
                      <a:pt x="2449" y="1457"/>
                      <a:pt x="2449" y="1457"/>
                      <a:pt x="2479" y="1457"/>
                    </a:cubicBezTo>
                    <a:lnTo>
                      <a:pt x="2479" y="1457"/>
                    </a:lnTo>
                    <a:cubicBezTo>
                      <a:pt x="2479" y="1457"/>
                      <a:pt x="2479" y="1457"/>
                      <a:pt x="2510" y="1457"/>
                    </a:cubicBezTo>
                    <a:lnTo>
                      <a:pt x="2510" y="1457"/>
                    </a:lnTo>
                    <a:lnTo>
                      <a:pt x="2510" y="1457"/>
                    </a:lnTo>
                    <a:lnTo>
                      <a:pt x="2510" y="1457"/>
                    </a:lnTo>
                    <a:lnTo>
                      <a:pt x="2510" y="1457"/>
                    </a:lnTo>
                    <a:lnTo>
                      <a:pt x="2510" y="1457"/>
                    </a:lnTo>
                    <a:cubicBezTo>
                      <a:pt x="2542" y="1457"/>
                      <a:pt x="2542" y="1457"/>
                      <a:pt x="2542" y="1457"/>
                    </a:cubicBezTo>
                    <a:lnTo>
                      <a:pt x="2542" y="1457"/>
                    </a:lnTo>
                    <a:cubicBezTo>
                      <a:pt x="2542" y="1488"/>
                      <a:pt x="2542" y="1488"/>
                      <a:pt x="2542" y="1488"/>
                    </a:cubicBezTo>
                    <a:cubicBezTo>
                      <a:pt x="2573" y="1488"/>
                      <a:pt x="2573" y="1488"/>
                      <a:pt x="2573" y="1518"/>
                    </a:cubicBezTo>
                    <a:cubicBezTo>
                      <a:pt x="2573" y="1488"/>
                      <a:pt x="2573" y="1488"/>
                      <a:pt x="2603" y="1488"/>
                    </a:cubicBezTo>
                    <a:lnTo>
                      <a:pt x="2603" y="1488"/>
                    </a:lnTo>
                    <a:cubicBezTo>
                      <a:pt x="2634" y="1488"/>
                      <a:pt x="2634" y="1457"/>
                      <a:pt x="2634" y="1457"/>
                    </a:cubicBezTo>
                    <a:lnTo>
                      <a:pt x="2634" y="1457"/>
                    </a:lnTo>
                    <a:cubicBezTo>
                      <a:pt x="2634" y="1457"/>
                      <a:pt x="2634" y="1457"/>
                      <a:pt x="2666" y="1457"/>
                    </a:cubicBezTo>
                    <a:lnTo>
                      <a:pt x="2666" y="1457"/>
                    </a:lnTo>
                    <a:cubicBezTo>
                      <a:pt x="2697" y="1425"/>
                      <a:pt x="2697" y="1425"/>
                      <a:pt x="2697" y="1425"/>
                    </a:cubicBezTo>
                    <a:lnTo>
                      <a:pt x="2697" y="1425"/>
                    </a:lnTo>
                    <a:lnTo>
                      <a:pt x="2727" y="1425"/>
                    </a:lnTo>
                    <a:lnTo>
                      <a:pt x="2727" y="1425"/>
                    </a:lnTo>
                    <a:lnTo>
                      <a:pt x="2758" y="1457"/>
                    </a:lnTo>
                    <a:lnTo>
                      <a:pt x="2758" y="1457"/>
                    </a:lnTo>
                    <a:lnTo>
                      <a:pt x="2758" y="1457"/>
                    </a:lnTo>
                    <a:cubicBezTo>
                      <a:pt x="2758" y="1488"/>
                      <a:pt x="2758" y="1488"/>
                      <a:pt x="2727" y="1488"/>
                    </a:cubicBezTo>
                    <a:lnTo>
                      <a:pt x="2727" y="1488"/>
                    </a:lnTo>
                    <a:lnTo>
                      <a:pt x="2727" y="1488"/>
                    </a:lnTo>
                    <a:lnTo>
                      <a:pt x="2727" y="1488"/>
                    </a:lnTo>
                    <a:lnTo>
                      <a:pt x="2758" y="1488"/>
                    </a:lnTo>
                    <a:lnTo>
                      <a:pt x="2758" y="1518"/>
                    </a:lnTo>
                    <a:cubicBezTo>
                      <a:pt x="2758" y="1518"/>
                      <a:pt x="2790" y="1518"/>
                      <a:pt x="2790" y="1550"/>
                    </a:cubicBezTo>
                    <a:cubicBezTo>
                      <a:pt x="2790" y="1550"/>
                      <a:pt x="2821" y="1550"/>
                      <a:pt x="2821" y="1581"/>
                    </a:cubicBezTo>
                    <a:cubicBezTo>
                      <a:pt x="2851" y="1581"/>
                      <a:pt x="2851" y="1612"/>
                      <a:pt x="2851" y="1612"/>
                    </a:cubicBezTo>
                    <a:cubicBezTo>
                      <a:pt x="2882" y="1612"/>
                      <a:pt x="2882" y="1612"/>
                      <a:pt x="2882" y="1612"/>
                    </a:cubicBezTo>
                    <a:cubicBezTo>
                      <a:pt x="2882" y="1642"/>
                      <a:pt x="2882" y="1642"/>
                      <a:pt x="2882" y="1642"/>
                    </a:cubicBezTo>
                    <a:lnTo>
                      <a:pt x="2882" y="1642"/>
                    </a:lnTo>
                    <a:lnTo>
                      <a:pt x="2882" y="1642"/>
                    </a:lnTo>
                    <a:cubicBezTo>
                      <a:pt x="2914" y="1642"/>
                      <a:pt x="2914" y="1642"/>
                      <a:pt x="2914" y="1642"/>
                    </a:cubicBezTo>
                    <a:lnTo>
                      <a:pt x="2914" y="1642"/>
                    </a:lnTo>
                    <a:lnTo>
                      <a:pt x="2914" y="1642"/>
                    </a:lnTo>
                    <a:cubicBezTo>
                      <a:pt x="2914" y="1642"/>
                      <a:pt x="2914" y="1642"/>
                      <a:pt x="2945" y="1642"/>
                    </a:cubicBezTo>
                    <a:lnTo>
                      <a:pt x="2945" y="1642"/>
                    </a:lnTo>
                    <a:lnTo>
                      <a:pt x="2945" y="1642"/>
                    </a:lnTo>
                    <a:lnTo>
                      <a:pt x="2945" y="1642"/>
                    </a:lnTo>
                    <a:cubicBezTo>
                      <a:pt x="2945" y="1642"/>
                      <a:pt x="2945" y="1642"/>
                      <a:pt x="2945" y="1674"/>
                    </a:cubicBezTo>
                    <a:lnTo>
                      <a:pt x="2975" y="1674"/>
                    </a:lnTo>
                    <a:lnTo>
                      <a:pt x="2975" y="1674"/>
                    </a:lnTo>
                    <a:lnTo>
                      <a:pt x="2975" y="1674"/>
                    </a:lnTo>
                    <a:cubicBezTo>
                      <a:pt x="2975" y="1674"/>
                      <a:pt x="2975" y="1674"/>
                      <a:pt x="3006" y="1674"/>
                    </a:cubicBezTo>
                    <a:cubicBezTo>
                      <a:pt x="3006" y="1674"/>
                      <a:pt x="3006" y="1674"/>
                      <a:pt x="3038" y="1674"/>
                    </a:cubicBezTo>
                    <a:lnTo>
                      <a:pt x="3038" y="1674"/>
                    </a:lnTo>
                    <a:lnTo>
                      <a:pt x="3038" y="1674"/>
                    </a:lnTo>
                    <a:lnTo>
                      <a:pt x="3038" y="1674"/>
                    </a:lnTo>
                    <a:lnTo>
                      <a:pt x="3038" y="1674"/>
                    </a:lnTo>
                    <a:cubicBezTo>
                      <a:pt x="3038" y="1642"/>
                      <a:pt x="3069" y="1642"/>
                      <a:pt x="3069" y="1642"/>
                    </a:cubicBezTo>
                    <a:lnTo>
                      <a:pt x="3069" y="1642"/>
                    </a:lnTo>
                    <a:cubicBezTo>
                      <a:pt x="3069" y="1642"/>
                      <a:pt x="3069" y="1642"/>
                      <a:pt x="3099" y="1674"/>
                    </a:cubicBezTo>
                    <a:lnTo>
                      <a:pt x="3099" y="1674"/>
                    </a:lnTo>
                    <a:lnTo>
                      <a:pt x="3099" y="1674"/>
                    </a:lnTo>
                    <a:cubicBezTo>
                      <a:pt x="3099" y="1674"/>
                      <a:pt x="3130" y="1674"/>
                      <a:pt x="3130" y="1705"/>
                    </a:cubicBezTo>
                    <a:lnTo>
                      <a:pt x="3130" y="1705"/>
                    </a:lnTo>
                    <a:cubicBezTo>
                      <a:pt x="3130" y="1705"/>
                      <a:pt x="3162" y="1705"/>
                      <a:pt x="3162" y="1736"/>
                    </a:cubicBezTo>
                    <a:cubicBezTo>
                      <a:pt x="3162" y="1736"/>
                      <a:pt x="3162" y="1736"/>
                      <a:pt x="3193" y="1736"/>
                    </a:cubicBezTo>
                    <a:lnTo>
                      <a:pt x="3193" y="1736"/>
                    </a:lnTo>
                    <a:cubicBezTo>
                      <a:pt x="3193" y="1736"/>
                      <a:pt x="3193" y="1766"/>
                      <a:pt x="3223" y="1766"/>
                    </a:cubicBezTo>
                    <a:lnTo>
                      <a:pt x="3223" y="1766"/>
                    </a:lnTo>
                    <a:cubicBezTo>
                      <a:pt x="3223" y="1736"/>
                      <a:pt x="3223" y="1736"/>
                      <a:pt x="3223" y="1736"/>
                    </a:cubicBezTo>
                    <a:lnTo>
                      <a:pt x="3254" y="1736"/>
                    </a:lnTo>
                    <a:lnTo>
                      <a:pt x="3254" y="1736"/>
                    </a:lnTo>
                    <a:cubicBezTo>
                      <a:pt x="3254" y="1736"/>
                      <a:pt x="3254" y="1736"/>
                      <a:pt x="3286" y="1736"/>
                    </a:cubicBezTo>
                    <a:cubicBezTo>
                      <a:pt x="3286" y="1736"/>
                      <a:pt x="3286" y="1766"/>
                      <a:pt x="3286" y="1798"/>
                    </a:cubicBezTo>
                    <a:lnTo>
                      <a:pt x="3317" y="1798"/>
                    </a:lnTo>
                    <a:lnTo>
                      <a:pt x="3317" y="1798"/>
                    </a:lnTo>
                    <a:cubicBezTo>
                      <a:pt x="3317" y="1798"/>
                      <a:pt x="3317" y="1798"/>
                      <a:pt x="3317" y="1766"/>
                    </a:cubicBezTo>
                    <a:lnTo>
                      <a:pt x="3317" y="1766"/>
                    </a:lnTo>
                    <a:lnTo>
                      <a:pt x="3317" y="1766"/>
                    </a:lnTo>
                    <a:lnTo>
                      <a:pt x="3317" y="1766"/>
                    </a:lnTo>
                    <a:cubicBezTo>
                      <a:pt x="3317" y="1736"/>
                      <a:pt x="3317" y="1736"/>
                      <a:pt x="3317" y="1736"/>
                    </a:cubicBezTo>
                    <a:cubicBezTo>
                      <a:pt x="3347" y="1766"/>
                      <a:pt x="3347" y="1766"/>
                      <a:pt x="3347" y="1766"/>
                    </a:cubicBezTo>
                    <a:lnTo>
                      <a:pt x="3347" y="1766"/>
                    </a:lnTo>
                    <a:lnTo>
                      <a:pt x="3347" y="1766"/>
                    </a:lnTo>
                    <a:lnTo>
                      <a:pt x="3378" y="1766"/>
                    </a:lnTo>
                    <a:lnTo>
                      <a:pt x="3378" y="1766"/>
                    </a:lnTo>
                    <a:cubicBezTo>
                      <a:pt x="3378" y="1766"/>
                      <a:pt x="3378" y="1766"/>
                      <a:pt x="3410" y="1766"/>
                    </a:cubicBezTo>
                    <a:lnTo>
                      <a:pt x="3410" y="1766"/>
                    </a:lnTo>
                    <a:cubicBezTo>
                      <a:pt x="3410" y="1736"/>
                      <a:pt x="3410" y="1736"/>
                      <a:pt x="3441" y="1736"/>
                    </a:cubicBezTo>
                    <a:lnTo>
                      <a:pt x="3471" y="1705"/>
                    </a:lnTo>
                    <a:lnTo>
                      <a:pt x="3502" y="1705"/>
                    </a:lnTo>
                    <a:cubicBezTo>
                      <a:pt x="3502" y="1674"/>
                      <a:pt x="3534" y="1674"/>
                      <a:pt x="3534" y="1674"/>
                    </a:cubicBezTo>
                    <a:lnTo>
                      <a:pt x="3534" y="1674"/>
                    </a:lnTo>
                    <a:cubicBezTo>
                      <a:pt x="3534" y="1674"/>
                      <a:pt x="3534" y="1674"/>
                      <a:pt x="3565" y="1674"/>
                    </a:cubicBezTo>
                    <a:lnTo>
                      <a:pt x="3595" y="1674"/>
                    </a:lnTo>
                    <a:lnTo>
                      <a:pt x="3595" y="1674"/>
                    </a:lnTo>
                    <a:cubicBezTo>
                      <a:pt x="3626" y="1674"/>
                      <a:pt x="3626" y="1674"/>
                      <a:pt x="3626" y="1674"/>
                    </a:cubicBezTo>
                    <a:cubicBezTo>
                      <a:pt x="3626" y="1674"/>
                      <a:pt x="3626" y="1674"/>
                      <a:pt x="3658" y="1674"/>
                    </a:cubicBezTo>
                    <a:lnTo>
                      <a:pt x="3658" y="1674"/>
                    </a:lnTo>
                    <a:cubicBezTo>
                      <a:pt x="3658" y="1674"/>
                      <a:pt x="3658" y="1674"/>
                      <a:pt x="3689" y="1674"/>
                    </a:cubicBezTo>
                    <a:lnTo>
                      <a:pt x="3689" y="1674"/>
                    </a:lnTo>
                    <a:lnTo>
                      <a:pt x="3719" y="1705"/>
                    </a:lnTo>
                    <a:cubicBezTo>
                      <a:pt x="3719" y="1705"/>
                      <a:pt x="3719" y="1705"/>
                      <a:pt x="3719" y="1736"/>
                    </a:cubicBezTo>
                    <a:lnTo>
                      <a:pt x="3719" y="1736"/>
                    </a:lnTo>
                    <a:lnTo>
                      <a:pt x="3719" y="1736"/>
                    </a:lnTo>
                    <a:lnTo>
                      <a:pt x="3719" y="1736"/>
                    </a:lnTo>
                    <a:lnTo>
                      <a:pt x="3750" y="1736"/>
                    </a:lnTo>
                    <a:cubicBezTo>
                      <a:pt x="3750" y="1736"/>
                      <a:pt x="3750" y="1736"/>
                      <a:pt x="3782" y="1736"/>
                    </a:cubicBezTo>
                    <a:lnTo>
                      <a:pt x="3782" y="1736"/>
                    </a:lnTo>
                    <a:lnTo>
                      <a:pt x="3782" y="1736"/>
                    </a:lnTo>
                    <a:lnTo>
                      <a:pt x="3813" y="1736"/>
                    </a:lnTo>
                    <a:lnTo>
                      <a:pt x="3813" y="1736"/>
                    </a:lnTo>
                    <a:cubicBezTo>
                      <a:pt x="3843" y="1736"/>
                      <a:pt x="3843" y="1736"/>
                      <a:pt x="3843" y="1736"/>
                    </a:cubicBezTo>
                    <a:lnTo>
                      <a:pt x="3843" y="1736"/>
                    </a:lnTo>
                    <a:lnTo>
                      <a:pt x="3843" y="1736"/>
                    </a:lnTo>
                    <a:cubicBezTo>
                      <a:pt x="3843" y="1736"/>
                      <a:pt x="3843" y="1736"/>
                      <a:pt x="3874" y="1736"/>
                    </a:cubicBezTo>
                    <a:lnTo>
                      <a:pt x="3874" y="1736"/>
                    </a:lnTo>
                    <a:lnTo>
                      <a:pt x="3874" y="1736"/>
                    </a:lnTo>
                    <a:lnTo>
                      <a:pt x="3874" y="1705"/>
                    </a:lnTo>
                    <a:lnTo>
                      <a:pt x="3874" y="1705"/>
                    </a:lnTo>
                    <a:cubicBezTo>
                      <a:pt x="3843" y="1705"/>
                      <a:pt x="3843" y="1674"/>
                      <a:pt x="3843" y="1674"/>
                    </a:cubicBezTo>
                    <a:lnTo>
                      <a:pt x="3874" y="1642"/>
                    </a:lnTo>
                    <a:lnTo>
                      <a:pt x="3874" y="1642"/>
                    </a:lnTo>
                    <a:cubicBezTo>
                      <a:pt x="3874" y="1612"/>
                      <a:pt x="3905" y="1612"/>
                      <a:pt x="3905" y="1612"/>
                    </a:cubicBezTo>
                    <a:lnTo>
                      <a:pt x="3937" y="1581"/>
                    </a:lnTo>
                    <a:lnTo>
                      <a:pt x="3937" y="1581"/>
                    </a:lnTo>
                    <a:cubicBezTo>
                      <a:pt x="3937" y="1581"/>
                      <a:pt x="3937" y="1581"/>
                      <a:pt x="3967" y="1581"/>
                    </a:cubicBezTo>
                    <a:lnTo>
                      <a:pt x="3967" y="1581"/>
                    </a:lnTo>
                    <a:cubicBezTo>
                      <a:pt x="3967" y="1612"/>
                      <a:pt x="3998" y="1612"/>
                      <a:pt x="3998" y="1612"/>
                    </a:cubicBezTo>
                    <a:lnTo>
                      <a:pt x="4030" y="1612"/>
                    </a:lnTo>
                    <a:lnTo>
                      <a:pt x="4060" y="1612"/>
                    </a:lnTo>
                    <a:cubicBezTo>
                      <a:pt x="4091" y="1642"/>
                      <a:pt x="4091" y="1642"/>
                      <a:pt x="4091" y="1642"/>
                    </a:cubicBezTo>
                    <a:cubicBezTo>
                      <a:pt x="4122" y="1642"/>
                      <a:pt x="4122" y="1642"/>
                      <a:pt x="4122" y="1642"/>
                    </a:cubicBezTo>
                    <a:lnTo>
                      <a:pt x="4122" y="1642"/>
                    </a:lnTo>
                    <a:cubicBezTo>
                      <a:pt x="4154" y="1674"/>
                      <a:pt x="4154" y="1674"/>
                      <a:pt x="4154" y="1674"/>
                    </a:cubicBezTo>
                    <a:lnTo>
                      <a:pt x="4154" y="1674"/>
                    </a:lnTo>
                    <a:lnTo>
                      <a:pt x="4154" y="1674"/>
                    </a:lnTo>
                    <a:lnTo>
                      <a:pt x="4154" y="1705"/>
                    </a:lnTo>
                    <a:lnTo>
                      <a:pt x="4154" y="1705"/>
                    </a:lnTo>
                    <a:lnTo>
                      <a:pt x="4154" y="1705"/>
                    </a:lnTo>
                    <a:cubicBezTo>
                      <a:pt x="4184" y="1705"/>
                      <a:pt x="4184" y="1705"/>
                      <a:pt x="4184" y="1705"/>
                    </a:cubicBezTo>
                    <a:lnTo>
                      <a:pt x="4184" y="1705"/>
                    </a:lnTo>
                    <a:cubicBezTo>
                      <a:pt x="4215" y="1705"/>
                      <a:pt x="4215" y="1705"/>
                      <a:pt x="4215" y="1705"/>
                    </a:cubicBezTo>
                    <a:lnTo>
                      <a:pt x="4215" y="1705"/>
                    </a:lnTo>
                    <a:cubicBezTo>
                      <a:pt x="4215" y="1705"/>
                      <a:pt x="4215" y="1705"/>
                      <a:pt x="4246" y="1705"/>
                    </a:cubicBezTo>
                    <a:lnTo>
                      <a:pt x="4278" y="1705"/>
                    </a:lnTo>
                    <a:lnTo>
                      <a:pt x="4308" y="1705"/>
                    </a:lnTo>
                    <a:lnTo>
                      <a:pt x="4308" y="1705"/>
                    </a:lnTo>
                    <a:lnTo>
                      <a:pt x="4308" y="1705"/>
                    </a:lnTo>
                    <a:cubicBezTo>
                      <a:pt x="4339" y="1705"/>
                      <a:pt x="4402" y="1705"/>
                      <a:pt x="4402" y="1736"/>
                    </a:cubicBezTo>
                    <a:cubicBezTo>
                      <a:pt x="4432" y="1736"/>
                      <a:pt x="4432" y="1736"/>
                      <a:pt x="4432" y="1736"/>
                    </a:cubicBezTo>
                    <a:cubicBezTo>
                      <a:pt x="4463" y="1736"/>
                      <a:pt x="4463" y="1736"/>
                      <a:pt x="4463" y="1736"/>
                    </a:cubicBezTo>
                    <a:cubicBezTo>
                      <a:pt x="4463" y="1766"/>
                      <a:pt x="4494" y="1766"/>
                      <a:pt x="4494" y="1766"/>
                    </a:cubicBezTo>
                    <a:cubicBezTo>
                      <a:pt x="4494" y="1766"/>
                      <a:pt x="4494" y="1766"/>
                      <a:pt x="4526" y="1766"/>
                    </a:cubicBezTo>
                    <a:lnTo>
                      <a:pt x="4556" y="1766"/>
                    </a:lnTo>
                    <a:cubicBezTo>
                      <a:pt x="4556" y="1766"/>
                      <a:pt x="4556" y="1766"/>
                      <a:pt x="4587" y="1766"/>
                    </a:cubicBezTo>
                    <a:lnTo>
                      <a:pt x="4587" y="1766"/>
                    </a:lnTo>
                    <a:lnTo>
                      <a:pt x="4587" y="1766"/>
                    </a:lnTo>
                    <a:lnTo>
                      <a:pt x="4587" y="1766"/>
                    </a:lnTo>
                    <a:cubicBezTo>
                      <a:pt x="4618" y="1766"/>
                      <a:pt x="4650" y="1766"/>
                      <a:pt x="4650" y="1766"/>
                    </a:cubicBezTo>
                    <a:cubicBezTo>
                      <a:pt x="4650" y="1766"/>
                      <a:pt x="4650" y="1766"/>
                      <a:pt x="4680" y="1766"/>
                    </a:cubicBezTo>
                    <a:lnTo>
                      <a:pt x="4680" y="1766"/>
                    </a:lnTo>
                    <a:cubicBezTo>
                      <a:pt x="4680" y="1766"/>
                      <a:pt x="4680" y="1766"/>
                      <a:pt x="4711" y="1766"/>
                    </a:cubicBezTo>
                    <a:lnTo>
                      <a:pt x="4711" y="1736"/>
                    </a:lnTo>
                    <a:cubicBezTo>
                      <a:pt x="4742" y="1736"/>
                      <a:pt x="4742" y="1705"/>
                      <a:pt x="4742" y="1705"/>
                    </a:cubicBezTo>
                    <a:lnTo>
                      <a:pt x="4742" y="1705"/>
                    </a:lnTo>
                    <a:cubicBezTo>
                      <a:pt x="4774" y="1705"/>
                      <a:pt x="4804" y="1705"/>
                      <a:pt x="4804" y="1705"/>
                    </a:cubicBezTo>
                    <a:cubicBezTo>
                      <a:pt x="4804" y="1705"/>
                      <a:pt x="4804" y="1705"/>
                      <a:pt x="4835" y="1705"/>
                    </a:cubicBezTo>
                    <a:lnTo>
                      <a:pt x="4835" y="1705"/>
                    </a:lnTo>
                    <a:cubicBezTo>
                      <a:pt x="4866" y="1736"/>
                      <a:pt x="4866" y="1736"/>
                      <a:pt x="4866" y="1736"/>
                    </a:cubicBezTo>
                    <a:lnTo>
                      <a:pt x="4898" y="1736"/>
                    </a:lnTo>
                    <a:lnTo>
                      <a:pt x="4898" y="1736"/>
                    </a:lnTo>
                    <a:lnTo>
                      <a:pt x="4898" y="1736"/>
                    </a:lnTo>
                    <a:cubicBezTo>
                      <a:pt x="4928" y="1705"/>
                      <a:pt x="4928" y="1705"/>
                      <a:pt x="4928" y="1705"/>
                    </a:cubicBezTo>
                    <a:cubicBezTo>
                      <a:pt x="4928" y="1736"/>
                      <a:pt x="4928" y="1736"/>
                      <a:pt x="4928" y="1736"/>
                    </a:cubicBezTo>
                    <a:lnTo>
                      <a:pt x="4928" y="1736"/>
                    </a:lnTo>
                    <a:cubicBezTo>
                      <a:pt x="4928" y="1736"/>
                      <a:pt x="4928" y="1736"/>
                      <a:pt x="4959" y="1736"/>
                    </a:cubicBezTo>
                    <a:lnTo>
                      <a:pt x="4959" y="1766"/>
                    </a:lnTo>
                    <a:lnTo>
                      <a:pt x="4959" y="1766"/>
                    </a:lnTo>
                    <a:cubicBezTo>
                      <a:pt x="4990" y="1766"/>
                      <a:pt x="4990" y="1766"/>
                      <a:pt x="5022" y="1736"/>
                    </a:cubicBezTo>
                    <a:lnTo>
                      <a:pt x="5022" y="1736"/>
                    </a:lnTo>
                    <a:lnTo>
                      <a:pt x="5022" y="1736"/>
                    </a:lnTo>
                    <a:lnTo>
                      <a:pt x="5022" y="1736"/>
                    </a:lnTo>
                    <a:lnTo>
                      <a:pt x="5022" y="1736"/>
                    </a:lnTo>
                    <a:cubicBezTo>
                      <a:pt x="5022" y="1705"/>
                      <a:pt x="5022" y="1705"/>
                      <a:pt x="5022" y="1705"/>
                    </a:cubicBezTo>
                    <a:cubicBezTo>
                      <a:pt x="5022" y="1705"/>
                      <a:pt x="5022" y="1705"/>
                      <a:pt x="5052" y="1705"/>
                    </a:cubicBezTo>
                    <a:lnTo>
                      <a:pt x="5052" y="1705"/>
                    </a:lnTo>
                    <a:lnTo>
                      <a:pt x="5052" y="1674"/>
                    </a:lnTo>
                    <a:lnTo>
                      <a:pt x="5052" y="1674"/>
                    </a:lnTo>
                    <a:lnTo>
                      <a:pt x="5052" y="1674"/>
                    </a:lnTo>
                    <a:cubicBezTo>
                      <a:pt x="5083" y="1674"/>
                      <a:pt x="5083" y="1642"/>
                      <a:pt x="5114" y="1612"/>
                    </a:cubicBezTo>
                    <a:lnTo>
                      <a:pt x="5114" y="1612"/>
                    </a:lnTo>
                    <a:lnTo>
                      <a:pt x="5083" y="1612"/>
                    </a:lnTo>
                    <a:lnTo>
                      <a:pt x="5083" y="1612"/>
                    </a:lnTo>
                    <a:cubicBezTo>
                      <a:pt x="5083" y="1581"/>
                      <a:pt x="5083" y="1581"/>
                      <a:pt x="5083" y="1581"/>
                    </a:cubicBezTo>
                    <a:lnTo>
                      <a:pt x="5083" y="1581"/>
                    </a:lnTo>
                    <a:cubicBezTo>
                      <a:pt x="5083" y="1550"/>
                      <a:pt x="5083" y="1550"/>
                      <a:pt x="5114" y="1550"/>
                    </a:cubicBezTo>
                    <a:lnTo>
                      <a:pt x="5114" y="1550"/>
                    </a:lnTo>
                    <a:cubicBezTo>
                      <a:pt x="5114" y="1518"/>
                      <a:pt x="5114" y="1518"/>
                      <a:pt x="5114" y="1518"/>
                    </a:cubicBezTo>
                    <a:cubicBezTo>
                      <a:pt x="5114" y="1518"/>
                      <a:pt x="5114" y="1518"/>
                      <a:pt x="5146" y="1518"/>
                    </a:cubicBezTo>
                    <a:lnTo>
                      <a:pt x="5146" y="1518"/>
                    </a:lnTo>
                    <a:cubicBezTo>
                      <a:pt x="5146" y="1518"/>
                      <a:pt x="5146" y="1518"/>
                      <a:pt x="5176" y="1518"/>
                    </a:cubicBezTo>
                    <a:lnTo>
                      <a:pt x="5176" y="1518"/>
                    </a:lnTo>
                    <a:lnTo>
                      <a:pt x="5176" y="1518"/>
                    </a:lnTo>
                    <a:cubicBezTo>
                      <a:pt x="5207" y="1518"/>
                      <a:pt x="5207" y="1488"/>
                      <a:pt x="5238" y="1488"/>
                    </a:cubicBezTo>
                    <a:cubicBezTo>
                      <a:pt x="5238" y="1488"/>
                      <a:pt x="5300" y="1488"/>
                      <a:pt x="5331" y="1518"/>
                    </a:cubicBezTo>
                    <a:cubicBezTo>
                      <a:pt x="5331" y="1518"/>
                      <a:pt x="5331" y="1518"/>
                      <a:pt x="5362" y="1518"/>
                    </a:cubicBezTo>
                    <a:lnTo>
                      <a:pt x="5362" y="1518"/>
                    </a:lnTo>
                    <a:lnTo>
                      <a:pt x="5362" y="1518"/>
                    </a:lnTo>
                    <a:lnTo>
                      <a:pt x="5394" y="1518"/>
                    </a:lnTo>
                    <a:lnTo>
                      <a:pt x="5394" y="1518"/>
                    </a:lnTo>
                    <a:cubicBezTo>
                      <a:pt x="5424" y="1518"/>
                      <a:pt x="5424" y="1518"/>
                      <a:pt x="5424" y="1550"/>
                    </a:cubicBezTo>
                    <a:lnTo>
                      <a:pt x="5424" y="1550"/>
                    </a:lnTo>
                    <a:lnTo>
                      <a:pt x="5424" y="1550"/>
                    </a:lnTo>
                    <a:cubicBezTo>
                      <a:pt x="5455" y="1550"/>
                      <a:pt x="5455" y="1550"/>
                      <a:pt x="5455" y="1581"/>
                    </a:cubicBezTo>
                    <a:lnTo>
                      <a:pt x="5486" y="1612"/>
                    </a:lnTo>
                    <a:lnTo>
                      <a:pt x="5486" y="1642"/>
                    </a:lnTo>
                    <a:cubicBezTo>
                      <a:pt x="5486" y="1642"/>
                      <a:pt x="5486" y="1642"/>
                      <a:pt x="5517" y="1642"/>
                    </a:cubicBezTo>
                    <a:cubicBezTo>
                      <a:pt x="5517" y="1674"/>
                      <a:pt x="5517" y="1705"/>
                      <a:pt x="5548" y="1705"/>
                    </a:cubicBezTo>
                    <a:cubicBezTo>
                      <a:pt x="5548" y="1736"/>
                      <a:pt x="5548" y="1736"/>
                      <a:pt x="5548" y="1766"/>
                    </a:cubicBezTo>
                    <a:lnTo>
                      <a:pt x="5548" y="1766"/>
                    </a:lnTo>
                    <a:cubicBezTo>
                      <a:pt x="5579" y="1766"/>
                      <a:pt x="5579" y="1766"/>
                      <a:pt x="5610" y="1766"/>
                    </a:cubicBezTo>
                    <a:lnTo>
                      <a:pt x="5610" y="1766"/>
                    </a:lnTo>
                    <a:lnTo>
                      <a:pt x="5610" y="1766"/>
                    </a:lnTo>
                    <a:lnTo>
                      <a:pt x="5610" y="1766"/>
                    </a:lnTo>
                    <a:cubicBezTo>
                      <a:pt x="5642" y="1766"/>
                      <a:pt x="5642" y="1766"/>
                      <a:pt x="5642" y="1766"/>
                    </a:cubicBezTo>
                    <a:cubicBezTo>
                      <a:pt x="5672" y="1798"/>
                      <a:pt x="5672" y="1798"/>
                      <a:pt x="5672" y="1798"/>
                    </a:cubicBezTo>
                    <a:lnTo>
                      <a:pt x="5672" y="1798"/>
                    </a:lnTo>
                    <a:cubicBezTo>
                      <a:pt x="5703" y="1829"/>
                      <a:pt x="5703" y="1829"/>
                      <a:pt x="5703" y="1860"/>
                    </a:cubicBezTo>
                    <a:cubicBezTo>
                      <a:pt x="5703" y="1860"/>
                      <a:pt x="5703" y="1860"/>
                      <a:pt x="5734" y="1860"/>
                    </a:cubicBezTo>
                    <a:lnTo>
                      <a:pt x="5734" y="1860"/>
                    </a:lnTo>
                    <a:lnTo>
                      <a:pt x="5734" y="1860"/>
                    </a:lnTo>
                    <a:cubicBezTo>
                      <a:pt x="5734" y="1890"/>
                      <a:pt x="5734" y="1890"/>
                      <a:pt x="5765" y="1890"/>
                    </a:cubicBezTo>
                    <a:lnTo>
                      <a:pt x="5765" y="1890"/>
                    </a:lnTo>
                    <a:cubicBezTo>
                      <a:pt x="5765" y="1860"/>
                      <a:pt x="5796" y="1860"/>
                      <a:pt x="5796" y="1860"/>
                    </a:cubicBezTo>
                    <a:cubicBezTo>
                      <a:pt x="5827" y="1829"/>
                      <a:pt x="5827" y="1829"/>
                      <a:pt x="5827" y="1829"/>
                    </a:cubicBezTo>
                    <a:lnTo>
                      <a:pt x="5827" y="1829"/>
                    </a:lnTo>
                    <a:cubicBezTo>
                      <a:pt x="5827" y="1829"/>
                      <a:pt x="5827" y="1829"/>
                      <a:pt x="5858" y="1829"/>
                    </a:cubicBezTo>
                    <a:lnTo>
                      <a:pt x="5858" y="1829"/>
                    </a:lnTo>
                    <a:lnTo>
                      <a:pt x="5889" y="1829"/>
                    </a:lnTo>
                    <a:lnTo>
                      <a:pt x="5889" y="1829"/>
                    </a:lnTo>
                    <a:lnTo>
                      <a:pt x="5889" y="1829"/>
                    </a:lnTo>
                    <a:cubicBezTo>
                      <a:pt x="5920" y="1829"/>
                      <a:pt x="5920" y="1829"/>
                      <a:pt x="5920" y="1829"/>
                    </a:cubicBezTo>
                    <a:lnTo>
                      <a:pt x="5951" y="1860"/>
                    </a:lnTo>
                    <a:lnTo>
                      <a:pt x="5951" y="1860"/>
                    </a:lnTo>
                    <a:lnTo>
                      <a:pt x="5951" y="1860"/>
                    </a:lnTo>
                    <a:lnTo>
                      <a:pt x="5951" y="1860"/>
                    </a:lnTo>
                    <a:lnTo>
                      <a:pt x="5951" y="1890"/>
                    </a:lnTo>
                    <a:lnTo>
                      <a:pt x="5951" y="1890"/>
                    </a:lnTo>
                    <a:cubicBezTo>
                      <a:pt x="5951" y="1890"/>
                      <a:pt x="5951" y="1890"/>
                      <a:pt x="5951" y="1922"/>
                    </a:cubicBezTo>
                    <a:lnTo>
                      <a:pt x="5951" y="1922"/>
                    </a:lnTo>
                    <a:cubicBezTo>
                      <a:pt x="5920" y="1922"/>
                      <a:pt x="5920" y="1922"/>
                      <a:pt x="5920" y="1922"/>
                    </a:cubicBezTo>
                    <a:lnTo>
                      <a:pt x="5920" y="1922"/>
                    </a:lnTo>
                    <a:cubicBezTo>
                      <a:pt x="5920" y="1953"/>
                      <a:pt x="5920" y="1953"/>
                      <a:pt x="5920" y="1953"/>
                    </a:cubicBezTo>
                    <a:cubicBezTo>
                      <a:pt x="5920" y="1953"/>
                      <a:pt x="5920" y="1984"/>
                      <a:pt x="5889" y="1984"/>
                    </a:cubicBezTo>
                    <a:lnTo>
                      <a:pt x="5889" y="1984"/>
                    </a:lnTo>
                    <a:lnTo>
                      <a:pt x="5889" y="1984"/>
                    </a:lnTo>
                    <a:cubicBezTo>
                      <a:pt x="5889" y="2014"/>
                      <a:pt x="5889" y="2014"/>
                      <a:pt x="5889" y="2014"/>
                    </a:cubicBezTo>
                    <a:lnTo>
                      <a:pt x="5889" y="2014"/>
                    </a:lnTo>
                    <a:lnTo>
                      <a:pt x="5889" y="2014"/>
                    </a:lnTo>
                    <a:lnTo>
                      <a:pt x="5889" y="2014"/>
                    </a:lnTo>
                    <a:cubicBezTo>
                      <a:pt x="5889" y="2046"/>
                      <a:pt x="5858" y="2046"/>
                      <a:pt x="5858" y="2077"/>
                    </a:cubicBezTo>
                    <a:lnTo>
                      <a:pt x="5858" y="2077"/>
                    </a:lnTo>
                    <a:lnTo>
                      <a:pt x="5858" y="2077"/>
                    </a:lnTo>
                    <a:lnTo>
                      <a:pt x="5858" y="2077"/>
                    </a:lnTo>
                    <a:lnTo>
                      <a:pt x="5827" y="2108"/>
                    </a:lnTo>
                    <a:lnTo>
                      <a:pt x="5827" y="2108"/>
                    </a:lnTo>
                    <a:lnTo>
                      <a:pt x="5827" y="2108"/>
                    </a:lnTo>
                    <a:cubicBezTo>
                      <a:pt x="5796" y="2108"/>
                      <a:pt x="5796" y="2108"/>
                      <a:pt x="5796" y="2077"/>
                    </a:cubicBezTo>
                    <a:lnTo>
                      <a:pt x="5796" y="2077"/>
                    </a:lnTo>
                    <a:cubicBezTo>
                      <a:pt x="5765" y="2077"/>
                      <a:pt x="5765" y="2077"/>
                      <a:pt x="5765" y="2077"/>
                    </a:cubicBezTo>
                    <a:cubicBezTo>
                      <a:pt x="5765" y="2077"/>
                      <a:pt x="5765" y="2108"/>
                      <a:pt x="5734" y="2108"/>
                    </a:cubicBezTo>
                    <a:lnTo>
                      <a:pt x="5734" y="2108"/>
                    </a:lnTo>
                    <a:cubicBezTo>
                      <a:pt x="5734" y="2108"/>
                      <a:pt x="5734" y="2108"/>
                      <a:pt x="5734" y="2138"/>
                    </a:cubicBezTo>
                    <a:lnTo>
                      <a:pt x="5734" y="2138"/>
                    </a:lnTo>
                    <a:lnTo>
                      <a:pt x="5734" y="2170"/>
                    </a:lnTo>
                    <a:lnTo>
                      <a:pt x="5734" y="2170"/>
                    </a:lnTo>
                    <a:lnTo>
                      <a:pt x="5734" y="2170"/>
                    </a:lnTo>
                    <a:cubicBezTo>
                      <a:pt x="5734" y="2170"/>
                      <a:pt x="5734" y="2170"/>
                      <a:pt x="5765" y="2170"/>
                    </a:cubicBezTo>
                    <a:lnTo>
                      <a:pt x="5765" y="2138"/>
                    </a:lnTo>
                    <a:cubicBezTo>
                      <a:pt x="5765" y="2138"/>
                      <a:pt x="5796" y="2170"/>
                      <a:pt x="5827" y="2170"/>
                    </a:cubicBezTo>
                    <a:cubicBezTo>
                      <a:pt x="5827" y="2201"/>
                      <a:pt x="5827" y="2201"/>
                      <a:pt x="5827" y="2201"/>
                    </a:cubicBezTo>
                    <a:lnTo>
                      <a:pt x="5858" y="2201"/>
                    </a:lnTo>
                    <a:cubicBezTo>
                      <a:pt x="5889" y="2170"/>
                      <a:pt x="5889" y="2170"/>
                      <a:pt x="5889" y="2170"/>
                    </a:cubicBezTo>
                    <a:cubicBezTo>
                      <a:pt x="5920" y="2170"/>
                      <a:pt x="5920" y="2138"/>
                      <a:pt x="5951" y="2108"/>
                    </a:cubicBezTo>
                    <a:cubicBezTo>
                      <a:pt x="5951" y="2077"/>
                      <a:pt x="5982" y="2046"/>
                      <a:pt x="6013" y="2046"/>
                    </a:cubicBezTo>
                    <a:lnTo>
                      <a:pt x="6044" y="2046"/>
                    </a:lnTo>
                    <a:lnTo>
                      <a:pt x="6044" y="2014"/>
                    </a:lnTo>
                    <a:lnTo>
                      <a:pt x="6075" y="1984"/>
                    </a:lnTo>
                    <a:lnTo>
                      <a:pt x="6106" y="1953"/>
                    </a:lnTo>
                    <a:cubicBezTo>
                      <a:pt x="6106" y="1922"/>
                      <a:pt x="6106" y="1922"/>
                      <a:pt x="6137" y="1890"/>
                    </a:cubicBezTo>
                    <a:lnTo>
                      <a:pt x="6168" y="1860"/>
                    </a:lnTo>
                    <a:cubicBezTo>
                      <a:pt x="6199" y="1860"/>
                      <a:pt x="6199" y="1829"/>
                      <a:pt x="6199" y="1829"/>
                    </a:cubicBezTo>
                    <a:lnTo>
                      <a:pt x="6199" y="1829"/>
                    </a:lnTo>
                    <a:cubicBezTo>
                      <a:pt x="6199" y="1798"/>
                      <a:pt x="6199" y="1766"/>
                      <a:pt x="6199" y="1766"/>
                    </a:cubicBezTo>
                    <a:cubicBezTo>
                      <a:pt x="6199" y="1766"/>
                      <a:pt x="6230" y="1766"/>
                      <a:pt x="6230" y="1736"/>
                    </a:cubicBezTo>
                    <a:lnTo>
                      <a:pt x="6230" y="1736"/>
                    </a:lnTo>
                    <a:lnTo>
                      <a:pt x="6230" y="1736"/>
                    </a:lnTo>
                    <a:cubicBezTo>
                      <a:pt x="6230" y="1736"/>
                      <a:pt x="6199" y="1705"/>
                      <a:pt x="6230" y="1705"/>
                    </a:cubicBezTo>
                    <a:cubicBezTo>
                      <a:pt x="6230" y="1674"/>
                      <a:pt x="6230" y="1642"/>
                      <a:pt x="6261" y="1612"/>
                    </a:cubicBezTo>
                    <a:lnTo>
                      <a:pt x="6261" y="1612"/>
                    </a:lnTo>
                    <a:lnTo>
                      <a:pt x="6261" y="1581"/>
                    </a:lnTo>
                    <a:cubicBezTo>
                      <a:pt x="6230" y="1581"/>
                      <a:pt x="6230" y="1581"/>
                      <a:pt x="6230" y="1581"/>
                    </a:cubicBezTo>
                    <a:cubicBezTo>
                      <a:pt x="6230" y="1550"/>
                      <a:pt x="6230" y="1550"/>
                      <a:pt x="6230" y="1550"/>
                    </a:cubicBezTo>
                    <a:cubicBezTo>
                      <a:pt x="6230" y="1518"/>
                      <a:pt x="6230" y="1518"/>
                      <a:pt x="6199" y="1518"/>
                    </a:cubicBezTo>
                    <a:cubicBezTo>
                      <a:pt x="6199" y="1518"/>
                      <a:pt x="6199" y="1518"/>
                      <a:pt x="6168" y="1518"/>
                    </a:cubicBezTo>
                    <a:cubicBezTo>
                      <a:pt x="6168" y="1518"/>
                      <a:pt x="6168" y="1518"/>
                      <a:pt x="6137" y="1518"/>
                    </a:cubicBezTo>
                    <a:cubicBezTo>
                      <a:pt x="6137" y="1518"/>
                      <a:pt x="6137" y="1518"/>
                      <a:pt x="6106" y="1518"/>
                    </a:cubicBezTo>
                    <a:cubicBezTo>
                      <a:pt x="6106" y="1550"/>
                      <a:pt x="6075" y="1550"/>
                      <a:pt x="6075" y="1550"/>
                    </a:cubicBezTo>
                    <a:cubicBezTo>
                      <a:pt x="6044" y="1550"/>
                      <a:pt x="6044" y="1550"/>
                      <a:pt x="6044" y="1518"/>
                    </a:cubicBezTo>
                    <a:lnTo>
                      <a:pt x="6044" y="1488"/>
                    </a:lnTo>
                    <a:lnTo>
                      <a:pt x="6044" y="1488"/>
                    </a:lnTo>
                    <a:cubicBezTo>
                      <a:pt x="6044" y="1488"/>
                      <a:pt x="6044" y="1488"/>
                      <a:pt x="6044" y="1457"/>
                    </a:cubicBezTo>
                    <a:lnTo>
                      <a:pt x="6013" y="1457"/>
                    </a:lnTo>
                    <a:cubicBezTo>
                      <a:pt x="6013" y="1488"/>
                      <a:pt x="6013" y="1488"/>
                      <a:pt x="6013" y="1488"/>
                    </a:cubicBezTo>
                    <a:lnTo>
                      <a:pt x="5982" y="1488"/>
                    </a:lnTo>
                    <a:cubicBezTo>
                      <a:pt x="5982" y="1488"/>
                      <a:pt x="5951" y="1488"/>
                      <a:pt x="5920" y="1457"/>
                    </a:cubicBezTo>
                    <a:lnTo>
                      <a:pt x="5920" y="1425"/>
                    </a:lnTo>
                    <a:cubicBezTo>
                      <a:pt x="5920" y="1394"/>
                      <a:pt x="5951" y="1394"/>
                      <a:pt x="5982" y="1394"/>
                    </a:cubicBezTo>
                    <a:lnTo>
                      <a:pt x="5982" y="1394"/>
                    </a:lnTo>
                    <a:cubicBezTo>
                      <a:pt x="6013" y="1394"/>
                      <a:pt x="6013" y="1364"/>
                      <a:pt x="6044" y="1364"/>
                    </a:cubicBezTo>
                    <a:lnTo>
                      <a:pt x="6075" y="1333"/>
                    </a:lnTo>
                    <a:cubicBezTo>
                      <a:pt x="6075" y="1333"/>
                      <a:pt x="6075" y="1302"/>
                      <a:pt x="6106" y="1302"/>
                    </a:cubicBezTo>
                    <a:lnTo>
                      <a:pt x="6106" y="1302"/>
                    </a:lnTo>
                    <a:lnTo>
                      <a:pt x="6106" y="1302"/>
                    </a:lnTo>
                    <a:lnTo>
                      <a:pt x="6106" y="1302"/>
                    </a:lnTo>
                    <a:lnTo>
                      <a:pt x="6137" y="1270"/>
                    </a:lnTo>
                    <a:lnTo>
                      <a:pt x="6137" y="1270"/>
                    </a:lnTo>
                    <a:cubicBezTo>
                      <a:pt x="6168" y="1240"/>
                      <a:pt x="6199" y="1240"/>
                      <a:pt x="6230" y="1240"/>
                    </a:cubicBezTo>
                    <a:lnTo>
                      <a:pt x="6230" y="1240"/>
                    </a:lnTo>
                    <a:cubicBezTo>
                      <a:pt x="6230" y="1209"/>
                      <a:pt x="6261" y="1209"/>
                      <a:pt x="6261" y="1209"/>
                    </a:cubicBezTo>
                    <a:cubicBezTo>
                      <a:pt x="6261" y="1209"/>
                      <a:pt x="6261" y="1209"/>
                      <a:pt x="6261" y="1178"/>
                    </a:cubicBezTo>
                    <a:cubicBezTo>
                      <a:pt x="6292" y="1178"/>
                      <a:pt x="6323" y="1178"/>
                      <a:pt x="6323" y="1146"/>
                    </a:cubicBezTo>
                    <a:cubicBezTo>
                      <a:pt x="6354" y="1146"/>
                      <a:pt x="6354" y="1146"/>
                      <a:pt x="6385" y="1116"/>
                    </a:cubicBezTo>
                    <a:lnTo>
                      <a:pt x="6385" y="1116"/>
                    </a:lnTo>
                    <a:lnTo>
                      <a:pt x="6416" y="1116"/>
                    </a:lnTo>
                    <a:cubicBezTo>
                      <a:pt x="6447" y="1116"/>
                      <a:pt x="6447" y="1116"/>
                      <a:pt x="6478" y="1116"/>
                    </a:cubicBezTo>
                    <a:cubicBezTo>
                      <a:pt x="6509" y="1116"/>
                      <a:pt x="6509" y="1146"/>
                      <a:pt x="6540" y="1146"/>
                    </a:cubicBezTo>
                    <a:cubicBezTo>
                      <a:pt x="6540" y="1146"/>
                      <a:pt x="6540" y="1146"/>
                      <a:pt x="6571" y="1146"/>
                    </a:cubicBezTo>
                    <a:lnTo>
                      <a:pt x="6571" y="1146"/>
                    </a:lnTo>
                    <a:lnTo>
                      <a:pt x="6602" y="1146"/>
                    </a:lnTo>
                    <a:cubicBezTo>
                      <a:pt x="6633" y="1146"/>
                      <a:pt x="6664" y="1146"/>
                      <a:pt x="6664" y="1146"/>
                    </a:cubicBezTo>
                    <a:cubicBezTo>
                      <a:pt x="6664" y="1146"/>
                      <a:pt x="6664" y="1146"/>
                      <a:pt x="6695" y="1146"/>
                    </a:cubicBezTo>
                    <a:lnTo>
                      <a:pt x="6695" y="1146"/>
                    </a:lnTo>
                    <a:lnTo>
                      <a:pt x="6695" y="1146"/>
                    </a:lnTo>
                    <a:cubicBezTo>
                      <a:pt x="6695" y="1116"/>
                      <a:pt x="6695" y="1116"/>
                      <a:pt x="6726" y="1116"/>
                    </a:cubicBezTo>
                    <a:lnTo>
                      <a:pt x="6726" y="1116"/>
                    </a:lnTo>
                    <a:cubicBezTo>
                      <a:pt x="6757" y="1116"/>
                      <a:pt x="6788" y="1116"/>
                      <a:pt x="6788" y="1116"/>
                    </a:cubicBezTo>
                    <a:lnTo>
                      <a:pt x="6788" y="1116"/>
                    </a:lnTo>
                    <a:cubicBezTo>
                      <a:pt x="6819" y="1116"/>
                      <a:pt x="6819" y="1116"/>
                      <a:pt x="6819" y="1116"/>
                    </a:cubicBezTo>
                    <a:lnTo>
                      <a:pt x="6819" y="1116"/>
                    </a:lnTo>
                    <a:cubicBezTo>
                      <a:pt x="6850" y="1116"/>
                      <a:pt x="6881" y="1116"/>
                      <a:pt x="6881" y="1146"/>
                    </a:cubicBezTo>
                    <a:lnTo>
                      <a:pt x="6912" y="1146"/>
                    </a:lnTo>
                    <a:lnTo>
                      <a:pt x="6912" y="1146"/>
                    </a:lnTo>
                    <a:cubicBezTo>
                      <a:pt x="6912" y="1146"/>
                      <a:pt x="6974" y="1146"/>
                      <a:pt x="7005" y="1146"/>
                    </a:cubicBezTo>
                    <a:cubicBezTo>
                      <a:pt x="7005" y="1146"/>
                      <a:pt x="6974" y="1146"/>
                      <a:pt x="6974" y="1116"/>
                    </a:cubicBezTo>
                    <a:cubicBezTo>
                      <a:pt x="6974" y="1116"/>
                      <a:pt x="6974" y="1116"/>
                      <a:pt x="6974" y="1085"/>
                    </a:cubicBezTo>
                    <a:cubicBezTo>
                      <a:pt x="7005" y="1085"/>
                      <a:pt x="7005" y="1085"/>
                      <a:pt x="7036" y="1054"/>
                    </a:cubicBezTo>
                    <a:lnTo>
                      <a:pt x="7067" y="1054"/>
                    </a:lnTo>
                    <a:lnTo>
                      <a:pt x="7067" y="1054"/>
                    </a:lnTo>
                    <a:cubicBezTo>
                      <a:pt x="7067" y="1022"/>
                      <a:pt x="7098" y="1022"/>
                      <a:pt x="7098" y="1022"/>
                    </a:cubicBezTo>
                    <a:lnTo>
                      <a:pt x="7098" y="1022"/>
                    </a:lnTo>
                    <a:cubicBezTo>
                      <a:pt x="7098" y="1022"/>
                      <a:pt x="7098" y="992"/>
                      <a:pt x="7129" y="992"/>
                    </a:cubicBezTo>
                    <a:cubicBezTo>
                      <a:pt x="7129" y="992"/>
                      <a:pt x="7129" y="961"/>
                      <a:pt x="7160" y="961"/>
                    </a:cubicBezTo>
                    <a:cubicBezTo>
                      <a:pt x="7191" y="961"/>
                      <a:pt x="7191" y="961"/>
                      <a:pt x="7191" y="961"/>
                    </a:cubicBezTo>
                    <a:cubicBezTo>
                      <a:pt x="7191" y="961"/>
                      <a:pt x="7191" y="961"/>
                      <a:pt x="7222" y="961"/>
                    </a:cubicBezTo>
                    <a:cubicBezTo>
                      <a:pt x="7222" y="961"/>
                      <a:pt x="7222" y="961"/>
                      <a:pt x="7253" y="961"/>
                    </a:cubicBezTo>
                    <a:cubicBezTo>
                      <a:pt x="7253" y="961"/>
                      <a:pt x="7284" y="961"/>
                      <a:pt x="7284" y="992"/>
                    </a:cubicBezTo>
                    <a:lnTo>
                      <a:pt x="7284" y="992"/>
                    </a:lnTo>
                    <a:lnTo>
                      <a:pt x="7284" y="992"/>
                    </a:lnTo>
                    <a:cubicBezTo>
                      <a:pt x="7284" y="961"/>
                      <a:pt x="7315" y="961"/>
                      <a:pt x="7315" y="961"/>
                    </a:cubicBezTo>
                    <a:lnTo>
                      <a:pt x="7315" y="961"/>
                    </a:lnTo>
                    <a:cubicBezTo>
                      <a:pt x="7345" y="961"/>
                      <a:pt x="7345" y="961"/>
                      <a:pt x="7345" y="992"/>
                    </a:cubicBezTo>
                    <a:cubicBezTo>
                      <a:pt x="7345" y="992"/>
                      <a:pt x="7345" y="992"/>
                      <a:pt x="7345" y="1022"/>
                    </a:cubicBezTo>
                    <a:lnTo>
                      <a:pt x="7345" y="1022"/>
                    </a:lnTo>
                    <a:lnTo>
                      <a:pt x="7345" y="1022"/>
                    </a:lnTo>
                    <a:cubicBezTo>
                      <a:pt x="7377" y="1022"/>
                      <a:pt x="7377" y="1022"/>
                      <a:pt x="7408" y="1022"/>
                    </a:cubicBezTo>
                    <a:cubicBezTo>
                      <a:pt x="7408" y="1022"/>
                      <a:pt x="7408" y="1022"/>
                      <a:pt x="7408" y="992"/>
                    </a:cubicBezTo>
                    <a:lnTo>
                      <a:pt x="7408" y="992"/>
                    </a:lnTo>
                    <a:cubicBezTo>
                      <a:pt x="7439" y="992"/>
                      <a:pt x="7439" y="961"/>
                      <a:pt x="7439" y="961"/>
                    </a:cubicBezTo>
                    <a:lnTo>
                      <a:pt x="7469" y="992"/>
                    </a:lnTo>
                    <a:lnTo>
                      <a:pt x="7469" y="992"/>
                    </a:lnTo>
                    <a:lnTo>
                      <a:pt x="7469" y="992"/>
                    </a:lnTo>
                    <a:cubicBezTo>
                      <a:pt x="7469" y="961"/>
                      <a:pt x="7469" y="961"/>
                      <a:pt x="7469" y="961"/>
                    </a:cubicBezTo>
                    <a:cubicBezTo>
                      <a:pt x="7469" y="961"/>
                      <a:pt x="7469" y="961"/>
                      <a:pt x="7469" y="930"/>
                    </a:cubicBezTo>
                    <a:cubicBezTo>
                      <a:pt x="7501" y="930"/>
                      <a:pt x="7501" y="930"/>
                      <a:pt x="7501" y="930"/>
                    </a:cubicBezTo>
                    <a:cubicBezTo>
                      <a:pt x="7532" y="898"/>
                      <a:pt x="7532" y="898"/>
                      <a:pt x="7532" y="898"/>
                    </a:cubicBezTo>
                    <a:lnTo>
                      <a:pt x="7532" y="898"/>
                    </a:lnTo>
                    <a:lnTo>
                      <a:pt x="7563" y="898"/>
                    </a:lnTo>
                    <a:lnTo>
                      <a:pt x="7563" y="898"/>
                    </a:lnTo>
                    <a:lnTo>
                      <a:pt x="7563" y="898"/>
                    </a:lnTo>
                    <a:cubicBezTo>
                      <a:pt x="7593" y="898"/>
                      <a:pt x="7593" y="930"/>
                      <a:pt x="7593" y="961"/>
                    </a:cubicBezTo>
                    <a:cubicBezTo>
                      <a:pt x="7625" y="961"/>
                      <a:pt x="7593" y="961"/>
                      <a:pt x="7593" y="992"/>
                    </a:cubicBezTo>
                    <a:lnTo>
                      <a:pt x="7593" y="992"/>
                    </a:lnTo>
                    <a:cubicBezTo>
                      <a:pt x="7563" y="992"/>
                      <a:pt x="7563" y="992"/>
                      <a:pt x="7563" y="992"/>
                    </a:cubicBezTo>
                    <a:lnTo>
                      <a:pt x="7563" y="992"/>
                    </a:lnTo>
                    <a:cubicBezTo>
                      <a:pt x="7563" y="1022"/>
                      <a:pt x="7563" y="1022"/>
                      <a:pt x="7563" y="1022"/>
                    </a:cubicBezTo>
                    <a:cubicBezTo>
                      <a:pt x="7563" y="1054"/>
                      <a:pt x="7532" y="1085"/>
                      <a:pt x="7501" y="1085"/>
                    </a:cubicBezTo>
                    <a:lnTo>
                      <a:pt x="7469" y="1085"/>
                    </a:lnTo>
                    <a:cubicBezTo>
                      <a:pt x="7439" y="1116"/>
                      <a:pt x="7439" y="1116"/>
                      <a:pt x="7408" y="1116"/>
                    </a:cubicBezTo>
                    <a:cubicBezTo>
                      <a:pt x="7408" y="1146"/>
                      <a:pt x="7377" y="1146"/>
                      <a:pt x="7377" y="1146"/>
                    </a:cubicBezTo>
                    <a:cubicBezTo>
                      <a:pt x="7345" y="1178"/>
                      <a:pt x="7284" y="1240"/>
                      <a:pt x="7253" y="1240"/>
                    </a:cubicBezTo>
                    <a:cubicBezTo>
                      <a:pt x="7253" y="1270"/>
                      <a:pt x="7222" y="1270"/>
                      <a:pt x="7222" y="1270"/>
                    </a:cubicBezTo>
                    <a:lnTo>
                      <a:pt x="7191" y="1270"/>
                    </a:lnTo>
                    <a:lnTo>
                      <a:pt x="7191" y="1270"/>
                    </a:lnTo>
                    <a:cubicBezTo>
                      <a:pt x="7160" y="1270"/>
                      <a:pt x="7160" y="1270"/>
                      <a:pt x="7160" y="1270"/>
                    </a:cubicBezTo>
                    <a:lnTo>
                      <a:pt x="7160" y="1270"/>
                    </a:lnTo>
                    <a:cubicBezTo>
                      <a:pt x="7160" y="1302"/>
                      <a:pt x="7160" y="1333"/>
                      <a:pt x="7129" y="1333"/>
                    </a:cubicBezTo>
                    <a:cubicBezTo>
                      <a:pt x="7129" y="1333"/>
                      <a:pt x="7129" y="1333"/>
                      <a:pt x="7098" y="1333"/>
                    </a:cubicBezTo>
                    <a:cubicBezTo>
                      <a:pt x="7098" y="1333"/>
                      <a:pt x="7098" y="1333"/>
                      <a:pt x="7098" y="1364"/>
                    </a:cubicBezTo>
                    <a:cubicBezTo>
                      <a:pt x="7098" y="1394"/>
                      <a:pt x="7098" y="1425"/>
                      <a:pt x="7098" y="1457"/>
                    </a:cubicBezTo>
                    <a:cubicBezTo>
                      <a:pt x="7098" y="1457"/>
                      <a:pt x="7098" y="1457"/>
                      <a:pt x="7098" y="1488"/>
                    </a:cubicBezTo>
                    <a:cubicBezTo>
                      <a:pt x="7098" y="1488"/>
                      <a:pt x="7129" y="1518"/>
                      <a:pt x="7129" y="1550"/>
                    </a:cubicBezTo>
                    <a:cubicBezTo>
                      <a:pt x="7129" y="1550"/>
                      <a:pt x="7129" y="1550"/>
                      <a:pt x="7129" y="1581"/>
                    </a:cubicBezTo>
                    <a:lnTo>
                      <a:pt x="7129" y="1581"/>
                    </a:lnTo>
                    <a:lnTo>
                      <a:pt x="7129" y="1612"/>
                    </a:lnTo>
                    <a:lnTo>
                      <a:pt x="7129" y="1612"/>
                    </a:lnTo>
                    <a:cubicBezTo>
                      <a:pt x="7129" y="1642"/>
                      <a:pt x="7129" y="1642"/>
                      <a:pt x="7129" y="1642"/>
                    </a:cubicBezTo>
                    <a:cubicBezTo>
                      <a:pt x="7129" y="1642"/>
                      <a:pt x="7129" y="1642"/>
                      <a:pt x="7129" y="1674"/>
                    </a:cubicBezTo>
                    <a:cubicBezTo>
                      <a:pt x="7129" y="1642"/>
                      <a:pt x="7129" y="1642"/>
                      <a:pt x="7129" y="1642"/>
                    </a:cubicBezTo>
                    <a:cubicBezTo>
                      <a:pt x="7160" y="1642"/>
                      <a:pt x="7160" y="1642"/>
                      <a:pt x="7160" y="1642"/>
                    </a:cubicBezTo>
                    <a:lnTo>
                      <a:pt x="7160" y="1642"/>
                    </a:lnTo>
                    <a:cubicBezTo>
                      <a:pt x="7191" y="1642"/>
                      <a:pt x="7191" y="1612"/>
                      <a:pt x="7191" y="1612"/>
                    </a:cubicBezTo>
                    <a:lnTo>
                      <a:pt x="7191" y="1612"/>
                    </a:lnTo>
                    <a:lnTo>
                      <a:pt x="7191" y="1612"/>
                    </a:lnTo>
                    <a:cubicBezTo>
                      <a:pt x="7191" y="1581"/>
                      <a:pt x="7191" y="1550"/>
                      <a:pt x="7222" y="1550"/>
                    </a:cubicBezTo>
                    <a:cubicBezTo>
                      <a:pt x="7222" y="1518"/>
                      <a:pt x="7222" y="1518"/>
                      <a:pt x="7222" y="1518"/>
                    </a:cubicBezTo>
                    <a:lnTo>
                      <a:pt x="7222" y="1518"/>
                    </a:lnTo>
                    <a:lnTo>
                      <a:pt x="7253" y="1518"/>
                    </a:lnTo>
                    <a:lnTo>
                      <a:pt x="7284" y="1518"/>
                    </a:lnTo>
                    <a:lnTo>
                      <a:pt x="7284" y="1518"/>
                    </a:lnTo>
                    <a:lnTo>
                      <a:pt x="7284" y="1488"/>
                    </a:lnTo>
                    <a:cubicBezTo>
                      <a:pt x="7284" y="1457"/>
                      <a:pt x="7315" y="1457"/>
                      <a:pt x="7315" y="1457"/>
                    </a:cubicBezTo>
                    <a:lnTo>
                      <a:pt x="7315" y="1457"/>
                    </a:lnTo>
                    <a:cubicBezTo>
                      <a:pt x="7345" y="1425"/>
                      <a:pt x="7408" y="1425"/>
                      <a:pt x="7439" y="1425"/>
                    </a:cubicBezTo>
                    <a:lnTo>
                      <a:pt x="7439" y="1425"/>
                    </a:lnTo>
                    <a:cubicBezTo>
                      <a:pt x="7439" y="1394"/>
                      <a:pt x="7439" y="1364"/>
                      <a:pt x="7469" y="1364"/>
                    </a:cubicBezTo>
                    <a:cubicBezTo>
                      <a:pt x="7439" y="1333"/>
                      <a:pt x="7439" y="1302"/>
                      <a:pt x="7439" y="1302"/>
                    </a:cubicBezTo>
                    <a:cubicBezTo>
                      <a:pt x="7439" y="1270"/>
                      <a:pt x="7439" y="1270"/>
                      <a:pt x="7469" y="1270"/>
                    </a:cubicBezTo>
                    <a:cubicBezTo>
                      <a:pt x="7439" y="1270"/>
                      <a:pt x="7439" y="1270"/>
                      <a:pt x="7439" y="1270"/>
                    </a:cubicBezTo>
                    <a:cubicBezTo>
                      <a:pt x="7439" y="1270"/>
                      <a:pt x="7439" y="1270"/>
                      <a:pt x="7408" y="1270"/>
                    </a:cubicBezTo>
                    <a:cubicBezTo>
                      <a:pt x="7408" y="1240"/>
                      <a:pt x="7439" y="1209"/>
                      <a:pt x="7439" y="1209"/>
                    </a:cubicBezTo>
                    <a:cubicBezTo>
                      <a:pt x="7439" y="1178"/>
                      <a:pt x="7439" y="1178"/>
                      <a:pt x="7469" y="1178"/>
                    </a:cubicBezTo>
                    <a:cubicBezTo>
                      <a:pt x="7469" y="1146"/>
                      <a:pt x="7469" y="1146"/>
                      <a:pt x="7469" y="1146"/>
                    </a:cubicBezTo>
                    <a:cubicBezTo>
                      <a:pt x="7501" y="1146"/>
                      <a:pt x="7501" y="1116"/>
                      <a:pt x="7501" y="1116"/>
                    </a:cubicBezTo>
                    <a:lnTo>
                      <a:pt x="7501" y="1116"/>
                    </a:lnTo>
                    <a:cubicBezTo>
                      <a:pt x="7501" y="1116"/>
                      <a:pt x="7501" y="1085"/>
                      <a:pt x="7532" y="1085"/>
                    </a:cubicBezTo>
                    <a:lnTo>
                      <a:pt x="7563" y="1085"/>
                    </a:lnTo>
                    <a:cubicBezTo>
                      <a:pt x="7563" y="1085"/>
                      <a:pt x="7563" y="1085"/>
                      <a:pt x="7593" y="1085"/>
                    </a:cubicBezTo>
                    <a:lnTo>
                      <a:pt x="7593" y="1085"/>
                    </a:lnTo>
                    <a:cubicBezTo>
                      <a:pt x="7625" y="1085"/>
                      <a:pt x="7625" y="1054"/>
                      <a:pt x="7625" y="1054"/>
                    </a:cubicBezTo>
                    <a:cubicBezTo>
                      <a:pt x="7625" y="1054"/>
                      <a:pt x="7625" y="1054"/>
                      <a:pt x="7656" y="1054"/>
                    </a:cubicBezTo>
                    <a:lnTo>
                      <a:pt x="7656" y="1054"/>
                    </a:lnTo>
                    <a:cubicBezTo>
                      <a:pt x="7687" y="1054"/>
                      <a:pt x="7687" y="1054"/>
                      <a:pt x="7687" y="1054"/>
                    </a:cubicBezTo>
                    <a:lnTo>
                      <a:pt x="7687" y="1054"/>
                    </a:lnTo>
                    <a:lnTo>
                      <a:pt x="7687" y="1054"/>
                    </a:lnTo>
                    <a:lnTo>
                      <a:pt x="7687" y="1054"/>
                    </a:lnTo>
                    <a:cubicBezTo>
                      <a:pt x="7687" y="1054"/>
                      <a:pt x="7717" y="1054"/>
                      <a:pt x="7749" y="1054"/>
                    </a:cubicBezTo>
                    <a:cubicBezTo>
                      <a:pt x="7749" y="1054"/>
                      <a:pt x="7749" y="1054"/>
                      <a:pt x="7780" y="1054"/>
                    </a:cubicBezTo>
                    <a:lnTo>
                      <a:pt x="7780" y="1054"/>
                    </a:lnTo>
                    <a:cubicBezTo>
                      <a:pt x="7811" y="1054"/>
                      <a:pt x="7811" y="1054"/>
                      <a:pt x="7811" y="1054"/>
                    </a:cubicBezTo>
                    <a:lnTo>
                      <a:pt x="7811" y="1054"/>
                    </a:lnTo>
                    <a:cubicBezTo>
                      <a:pt x="7841" y="1054"/>
                      <a:pt x="7841" y="1054"/>
                      <a:pt x="7873" y="1085"/>
                    </a:cubicBezTo>
                    <a:lnTo>
                      <a:pt x="7873" y="1085"/>
                    </a:lnTo>
                    <a:cubicBezTo>
                      <a:pt x="7873" y="1085"/>
                      <a:pt x="7873" y="1085"/>
                      <a:pt x="7873" y="1054"/>
                    </a:cubicBezTo>
                    <a:cubicBezTo>
                      <a:pt x="7873" y="1054"/>
                      <a:pt x="7904" y="1054"/>
                      <a:pt x="7935" y="1054"/>
                    </a:cubicBezTo>
                    <a:lnTo>
                      <a:pt x="7965" y="1022"/>
                    </a:lnTo>
                    <a:lnTo>
                      <a:pt x="7965" y="1022"/>
                    </a:lnTo>
                    <a:cubicBezTo>
                      <a:pt x="7997" y="992"/>
                      <a:pt x="8089" y="961"/>
                      <a:pt x="8089" y="961"/>
                    </a:cubicBezTo>
                    <a:cubicBezTo>
                      <a:pt x="8121" y="961"/>
                      <a:pt x="8121" y="961"/>
                      <a:pt x="8121" y="961"/>
                    </a:cubicBezTo>
                    <a:lnTo>
                      <a:pt x="8121" y="961"/>
                    </a:lnTo>
                    <a:lnTo>
                      <a:pt x="8121" y="961"/>
                    </a:lnTo>
                    <a:cubicBezTo>
                      <a:pt x="8152" y="961"/>
                      <a:pt x="8152" y="961"/>
                      <a:pt x="8152" y="961"/>
                    </a:cubicBezTo>
                    <a:cubicBezTo>
                      <a:pt x="8183" y="961"/>
                      <a:pt x="8213" y="930"/>
                      <a:pt x="8213" y="930"/>
                    </a:cubicBezTo>
                    <a:lnTo>
                      <a:pt x="8245" y="898"/>
                    </a:lnTo>
                    <a:cubicBezTo>
                      <a:pt x="8276" y="898"/>
                      <a:pt x="8276" y="930"/>
                      <a:pt x="8307" y="930"/>
                    </a:cubicBezTo>
                    <a:lnTo>
                      <a:pt x="8307" y="930"/>
                    </a:lnTo>
                    <a:lnTo>
                      <a:pt x="8307" y="930"/>
                    </a:lnTo>
                    <a:lnTo>
                      <a:pt x="8337" y="930"/>
                    </a:lnTo>
                    <a:lnTo>
                      <a:pt x="8337" y="930"/>
                    </a:lnTo>
                    <a:lnTo>
                      <a:pt x="8337" y="898"/>
                    </a:lnTo>
                    <a:cubicBezTo>
                      <a:pt x="8337" y="868"/>
                      <a:pt x="8337" y="868"/>
                      <a:pt x="8307" y="837"/>
                    </a:cubicBezTo>
                    <a:cubicBezTo>
                      <a:pt x="8276" y="837"/>
                      <a:pt x="8276" y="837"/>
                      <a:pt x="8276" y="837"/>
                    </a:cubicBezTo>
                    <a:cubicBezTo>
                      <a:pt x="8276" y="837"/>
                      <a:pt x="8276" y="837"/>
                      <a:pt x="8245" y="837"/>
                    </a:cubicBezTo>
                    <a:lnTo>
                      <a:pt x="8245" y="837"/>
                    </a:lnTo>
                    <a:cubicBezTo>
                      <a:pt x="8213" y="837"/>
                      <a:pt x="8213" y="837"/>
                      <a:pt x="8183" y="837"/>
                    </a:cubicBezTo>
                    <a:lnTo>
                      <a:pt x="8183" y="837"/>
                    </a:lnTo>
                    <a:lnTo>
                      <a:pt x="8152" y="837"/>
                    </a:lnTo>
                    <a:cubicBezTo>
                      <a:pt x="8152" y="837"/>
                      <a:pt x="8152" y="837"/>
                      <a:pt x="8121" y="837"/>
                    </a:cubicBezTo>
                    <a:lnTo>
                      <a:pt x="8121" y="806"/>
                    </a:lnTo>
                    <a:cubicBezTo>
                      <a:pt x="8121" y="775"/>
                      <a:pt x="8121" y="775"/>
                      <a:pt x="8152" y="775"/>
                    </a:cubicBezTo>
                    <a:lnTo>
                      <a:pt x="8183" y="775"/>
                    </a:lnTo>
                    <a:cubicBezTo>
                      <a:pt x="8183" y="775"/>
                      <a:pt x="8213" y="744"/>
                      <a:pt x="8245" y="744"/>
                    </a:cubicBezTo>
                    <a:cubicBezTo>
                      <a:pt x="8276" y="744"/>
                      <a:pt x="8276" y="775"/>
                      <a:pt x="8307" y="775"/>
                    </a:cubicBezTo>
                    <a:cubicBezTo>
                      <a:pt x="8337" y="775"/>
                      <a:pt x="8369" y="775"/>
                      <a:pt x="8369" y="775"/>
                    </a:cubicBezTo>
                    <a:cubicBezTo>
                      <a:pt x="8400" y="775"/>
                      <a:pt x="8431" y="775"/>
                      <a:pt x="8431" y="775"/>
                    </a:cubicBezTo>
                    <a:cubicBezTo>
                      <a:pt x="8431" y="744"/>
                      <a:pt x="8493" y="744"/>
                      <a:pt x="8493" y="744"/>
                    </a:cubicBezTo>
                    <a:cubicBezTo>
                      <a:pt x="8524" y="744"/>
                      <a:pt x="8524" y="744"/>
                      <a:pt x="8524" y="744"/>
                    </a:cubicBezTo>
                    <a:cubicBezTo>
                      <a:pt x="8555" y="744"/>
                      <a:pt x="8585" y="744"/>
                      <a:pt x="8648" y="744"/>
                    </a:cubicBezTo>
                    <a:lnTo>
                      <a:pt x="8648" y="744"/>
                    </a:lnTo>
                    <a:cubicBezTo>
                      <a:pt x="8679" y="713"/>
                      <a:pt x="8679" y="713"/>
                      <a:pt x="8679" y="713"/>
                    </a:cubicBezTo>
                    <a:cubicBezTo>
                      <a:pt x="8709" y="713"/>
                      <a:pt x="8803" y="682"/>
                      <a:pt x="8865" y="682"/>
                    </a:cubicBezTo>
                    <a:lnTo>
                      <a:pt x="8833" y="682"/>
                    </a:lnTo>
                    <a:cubicBezTo>
                      <a:pt x="8833" y="682"/>
                      <a:pt x="8803" y="682"/>
                      <a:pt x="8772" y="68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43" name="Freeform 140"/>
              <p:cNvSpPr>
                <a:spLocks noChangeArrowheads="1"/>
              </p:cNvSpPr>
              <p:nvPr/>
            </p:nvSpPr>
            <p:spPr bwMode="auto">
              <a:xfrm>
                <a:off x="5510213" y="2003425"/>
                <a:ext cx="146050" cy="268288"/>
              </a:xfrm>
              <a:custGeom>
                <a:avLst/>
                <a:gdLst>
                  <a:gd name="T0" fmla="*/ 248 w 404"/>
                  <a:gd name="T1" fmla="*/ 588 h 745"/>
                  <a:gd name="T2" fmla="*/ 248 w 404"/>
                  <a:gd name="T3" fmla="*/ 526 h 745"/>
                  <a:gd name="T4" fmla="*/ 279 w 404"/>
                  <a:gd name="T5" fmla="*/ 496 h 745"/>
                  <a:gd name="T6" fmla="*/ 310 w 404"/>
                  <a:gd name="T7" fmla="*/ 496 h 745"/>
                  <a:gd name="T8" fmla="*/ 342 w 404"/>
                  <a:gd name="T9" fmla="*/ 496 h 745"/>
                  <a:gd name="T10" fmla="*/ 403 w 404"/>
                  <a:gd name="T11" fmla="*/ 464 h 745"/>
                  <a:gd name="T12" fmla="*/ 403 w 404"/>
                  <a:gd name="T13" fmla="*/ 464 h 745"/>
                  <a:gd name="T14" fmla="*/ 372 w 404"/>
                  <a:gd name="T15" fmla="*/ 402 h 745"/>
                  <a:gd name="T16" fmla="*/ 342 w 404"/>
                  <a:gd name="T17" fmla="*/ 372 h 745"/>
                  <a:gd name="T18" fmla="*/ 310 w 404"/>
                  <a:gd name="T19" fmla="*/ 309 h 745"/>
                  <a:gd name="T20" fmla="*/ 310 w 404"/>
                  <a:gd name="T21" fmla="*/ 278 h 745"/>
                  <a:gd name="T22" fmla="*/ 279 w 404"/>
                  <a:gd name="T23" fmla="*/ 309 h 745"/>
                  <a:gd name="T24" fmla="*/ 248 w 404"/>
                  <a:gd name="T25" fmla="*/ 278 h 745"/>
                  <a:gd name="T26" fmla="*/ 248 w 404"/>
                  <a:gd name="T27" fmla="*/ 278 h 745"/>
                  <a:gd name="T28" fmla="*/ 248 w 404"/>
                  <a:gd name="T29" fmla="*/ 216 h 745"/>
                  <a:gd name="T30" fmla="*/ 248 w 404"/>
                  <a:gd name="T31" fmla="*/ 185 h 745"/>
                  <a:gd name="T32" fmla="*/ 248 w 404"/>
                  <a:gd name="T33" fmla="*/ 155 h 745"/>
                  <a:gd name="T34" fmla="*/ 279 w 404"/>
                  <a:gd name="T35" fmla="*/ 155 h 745"/>
                  <a:gd name="T36" fmla="*/ 310 w 404"/>
                  <a:gd name="T37" fmla="*/ 124 h 745"/>
                  <a:gd name="T38" fmla="*/ 310 w 404"/>
                  <a:gd name="T39" fmla="*/ 92 h 745"/>
                  <a:gd name="T40" fmla="*/ 310 w 404"/>
                  <a:gd name="T41" fmla="*/ 61 h 745"/>
                  <a:gd name="T42" fmla="*/ 279 w 404"/>
                  <a:gd name="T43" fmla="*/ 0 h 745"/>
                  <a:gd name="T44" fmla="*/ 248 w 404"/>
                  <a:gd name="T45" fmla="*/ 0 h 745"/>
                  <a:gd name="T46" fmla="*/ 248 w 404"/>
                  <a:gd name="T47" fmla="*/ 31 h 745"/>
                  <a:gd name="T48" fmla="*/ 248 w 404"/>
                  <a:gd name="T49" fmla="*/ 92 h 745"/>
                  <a:gd name="T50" fmla="*/ 218 w 404"/>
                  <a:gd name="T51" fmla="*/ 92 h 745"/>
                  <a:gd name="T52" fmla="*/ 187 w 404"/>
                  <a:gd name="T53" fmla="*/ 92 h 745"/>
                  <a:gd name="T54" fmla="*/ 155 w 404"/>
                  <a:gd name="T55" fmla="*/ 124 h 745"/>
                  <a:gd name="T56" fmla="*/ 124 w 404"/>
                  <a:gd name="T57" fmla="*/ 185 h 745"/>
                  <a:gd name="T58" fmla="*/ 124 w 404"/>
                  <a:gd name="T59" fmla="*/ 216 h 745"/>
                  <a:gd name="T60" fmla="*/ 94 w 404"/>
                  <a:gd name="T61" fmla="*/ 309 h 745"/>
                  <a:gd name="T62" fmla="*/ 63 w 404"/>
                  <a:gd name="T63" fmla="*/ 278 h 745"/>
                  <a:gd name="T64" fmla="*/ 63 w 404"/>
                  <a:gd name="T65" fmla="*/ 309 h 745"/>
                  <a:gd name="T66" fmla="*/ 63 w 404"/>
                  <a:gd name="T67" fmla="*/ 340 h 745"/>
                  <a:gd name="T68" fmla="*/ 63 w 404"/>
                  <a:gd name="T69" fmla="*/ 402 h 745"/>
                  <a:gd name="T70" fmla="*/ 31 w 404"/>
                  <a:gd name="T71" fmla="*/ 433 h 745"/>
                  <a:gd name="T72" fmla="*/ 0 w 404"/>
                  <a:gd name="T73" fmla="*/ 464 h 745"/>
                  <a:gd name="T74" fmla="*/ 31 w 404"/>
                  <a:gd name="T75" fmla="*/ 464 h 745"/>
                  <a:gd name="T76" fmla="*/ 94 w 404"/>
                  <a:gd name="T77" fmla="*/ 526 h 745"/>
                  <a:gd name="T78" fmla="*/ 94 w 404"/>
                  <a:gd name="T79" fmla="*/ 588 h 745"/>
                  <a:gd name="T80" fmla="*/ 94 w 404"/>
                  <a:gd name="T81" fmla="*/ 744 h 745"/>
                  <a:gd name="T82" fmla="*/ 155 w 404"/>
                  <a:gd name="T83" fmla="*/ 744 h 745"/>
                  <a:gd name="T84" fmla="*/ 218 w 404"/>
                  <a:gd name="T85" fmla="*/ 712 h 745"/>
                  <a:gd name="T86" fmla="*/ 248 w 404"/>
                  <a:gd name="T87" fmla="*/ 650 h 745"/>
                  <a:gd name="T88" fmla="*/ 248 w 404"/>
                  <a:gd name="T89" fmla="*/ 620 h 745"/>
                  <a:gd name="T90" fmla="*/ 248 w 404"/>
                  <a:gd name="T91" fmla="*/ 588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4" h="745">
                    <a:moveTo>
                      <a:pt x="248" y="588"/>
                    </a:moveTo>
                    <a:lnTo>
                      <a:pt x="248" y="588"/>
                    </a:lnTo>
                    <a:lnTo>
                      <a:pt x="248" y="588"/>
                    </a:lnTo>
                    <a:cubicBezTo>
                      <a:pt x="248" y="557"/>
                      <a:pt x="248" y="557"/>
                      <a:pt x="248" y="557"/>
                    </a:cubicBezTo>
                    <a:lnTo>
                      <a:pt x="248" y="526"/>
                    </a:lnTo>
                    <a:lnTo>
                      <a:pt x="248" y="526"/>
                    </a:lnTo>
                    <a:lnTo>
                      <a:pt x="279" y="526"/>
                    </a:lnTo>
                    <a:cubicBezTo>
                      <a:pt x="279" y="526"/>
                      <a:pt x="279" y="526"/>
                      <a:pt x="279" y="496"/>
                    </a:cubicBezTo>
                    <a:lnTo>
                      <a:pt x="279" y="496"/>
                    </a:lnTo>
                    <a:cubicBezTo>
                      <a:pt x="279" y="496"/>
                      <a:pt x="279" y="496"/>
                      <a:pt x="310" y="496"/>
                    </a:cubicBezTo>
                    <a:lnTo>
                      <a:pt x="310" y="496"/>
                    </a:lnTo>
                    <a:lnTo>
                      <a:pt x="310" y="496"/>
                    </a:lnTo>
                    <a:lnTo>
                      <a:pt x="310" y="496"/>
                    </a:lnTo>
                    <a:lnTo>
                      <a:pt x="310" y="496"/>
                    </a:lnTo>
                    <a:cubicBezTo>
                      <a:pt x="342" y="496"/>
                      <a:pt x="342" y="496"/>
                      <a:pt x="342" y="496"/>
                    </a:cubicBezTo>
                    <a:cubicBezTo>
                      <a:pt x="342" y="464"/>
                      <a:pt x="372" y="464"/>
                      <a:pt x="403" y="464"/>
                    </a:cubicBezTo>
                    <a:lnTo>
                      <a:pt x="403" y="464"/>
                    </a:lnTo>
                    <a:lnTo>
                      <a:pt x="403" y="464"/>
                    </a:lnTo>
                    <a:lnTo>
                      <a:pt x="403" y="464"/>
                    </a:lnTo>
                    <a:lnTo>
                      <a:pt x="403" y="464"/>
                    </a:lnTo>
                    <a:lnTo>
                      <a:pt x="403" y="464"/>
                    </a:lnTo>
                    <a:cubicBezTo>
                      <a:pt x="403" y="464"/>
                      <a:pt x="403" y="464"/>
                      <a:pt x="403" y="433"/>
                    </a:cubicBezTo>
                    <a:cubicBezTo>
                      <a:pt x="403" y="433"/>
                      <a:pt x="372" y="433"/>
                      <a:pt x="372" y="402"/>
                    </a:cubicBezTo>
                    <a:lnTo>
                      <a:pt x="372" y="402"/>
                    </a:lnTo>
                    <a:lnTo>
                      <a:pt x="372" y="402"/>
                    </a:lnTo>
                    <a:cubicBezTo>
                      <a:pt x="342" y="402"/>
                      <a:pt x="342" y="372"/>
                      <a:pt x="342" y="372"/>
                    </a:cubicBezTo>
                    <a:lnTo>
                      <a:pt x="342" y="372"/>
                    </a:lnTo>
                    <a:cubicBezTo>
                      <a:pt x="342" y="340"/>
                      <a:pt x="342" y="340"/>
                      <a:pt x="342" y="340"/>
                    </a:cubicBezTo>
                    <a:lnTo>
                      <a:pt x="342" y="340"/>
                    </a:lnTo>
                    <a:lnTo>
                      <a:pt x="310" y="309"/>
                    </a:lnTo>
                    <a:lnTo>
                      <a:pt x="310" y="278"/>
                    </a:lnTo>
                    <a:lnTo>
                      <a:pt x="310" y="278"/>
                    </a:lnTo>
                    <a:lnTo>
                      <a:pt x="310" y="278"/>
                    </a:lnTo>
                    <a:cubicBezTo>
                      <a:pt x="279" y="278"/>
                      <a:pt x="279" y="278"/>
                      <a:pt x="279" y="278"/>
                    </a:cubicBezTo>
                    <a:lnTo>
                      <a:pt x="279" y="309"/>
                    </a:lnTo>
                    <a:lnTo>
                      <a:pt x="279" y="309"/>
                    </a:lnTo>
                    <a:lnTo>
                      <a:pt x="279" y="309"/>
                    </a:lnTo>
                    <a:cubicBezTo>
                      <a:pt x="248" y="309"/>
                      <a:pt x="248" y="278"/>
                      <a:pt x="248" y="278"/>
                    </a:cubicBezTo>
                    <a:lnTo>
                      <a:pt x="248" y="278"/>
                    </a:lnTo>
                    <a:lnTo>
                      <a:pt x="248" y="278"/>
                    </a:lnTo>
                    <a:lnTo>
                      <a:pt x="248" y="278"/>
                    </a:lnTo>
                    <a:lnTo>
                      <a:pt x="248" y="278"/>
                    </a:lnTo>
                    <a:cubicBezTo>
                      <a:pt x="248" y="248"/>
                      <a:pt x="248" y="248"/>
                      <a:pt x="248" y="248"/>
                    </a:cubicBezTo>
                    <a:lnTo>
                      <a:pt x="248" y="248"/>
                    </a:lnTo>
                    <a:cubicBezTo>
                      <a:pt x="248" y="216"/>
                      <a:pt x="248" y="216"/>
                      <a:pt x="248" y="216"/>
                    </a:cubicBezTo>
                    <a:lnTo>
                      <a:pt x="248" y="216"/>
                    </a:lnTo>
                    <a:lnTo>
                      <a:pt x="248" y="216"/>
                    </a:lnTo>
                    <a:lnTo>
                      <a:pt x="248" y="185"/>
                    </a:lnTo>
                    <a:lnTo>
                      <a:pt x="248" y="185"/>
                    </a:lnTo>
                    <a:lnTo>
                      <a:pt x="248" y="185"/>
                    </a:lnTo>
                    <a:lnTo>
                      <a:pt x="248" y="155"/>
                    </a:lnTo>
                    <a:cubicBezTo>
                      <a:pt x="279" y="155"/>
                      <a:pt x="279" y="155"/>
                      <a:pt x="279" y="155"/>
                    </a:cubicBezTo>
                    <a:lnTo>
                      <a:pt x="279" y="155"/>
                    </a:lnTo>
                    <a:lnTo>
                      <a:pt x="279" y="155"/>
                    </a:lnTo>
                    <a:lnTo>
                      <a:pt x="279" y="155"/>
                    </a:lnTo>
                    <a:lnTo>
                      <a:pt x="279" y="155"/>
                    </a:lnTo>
                    <a:lnTo>
                      <a:pt x="310" y="124"/>
                    </a:lnTo>
                    <a:lnTo>
                      <a:pt x="310" y="124"/>
                    </a:lnTo>
                    <a:cubicBezTo>
                      <a:pt x="310" y="124"/>
                      <a:pt x="310" y="124"/>
                      <a:pt x="310" y="92"/>
                    </a:cubicBezTo>
                    <a:lnTo>
                      <a:pt x="310" y="92"/>
                    </a:lnTo>
                    <a:lnTo>
                      <a:pt x="310" y="92"/>
                    </a:lnTo>
                    <a:lnTo>
                      <a:pt x="310" y="61"/>
                    </a:lnTo>
                    <a:lnTo>
                      <a:pt x="310" y="61"/>
                    </a:lnTo>
                    <a:cubicBezTo>
                      <a:pt x="310" y="31"/>
                      <a:pt x="310" y="31"/>
                      <a:pt x="310" y="31"/>
                    </a:cubicBezTo>
                    <a:lnTo>
                      <a:pt x="279" y="31"/>
                    </a:lnTo>
                    <a:cubicBezTo>
                      <a:pt x="279" y="31"/>
                      <a:pt x="279" y="31"/>
                      <a:pt x="279" y="0"/>
                    </a:cubicBezTo>
                    <a:lnTo>
                      <a:pt x="279" y="0"/>
                    </a:lnTo>
                    <a:cubicBezTo>
                      <a:pt x="248" y="0"/>
                      <a:pt x="248" y="0"/>
                      <a:pt x="248" y="0"/>
                    </a:cubicBezTo>
                    <a:lnTo>
                      <a:pt x="248" y="0"/>
                    </a:lnTo>
                    <a:lnTo>
                      <a:pt x="248" y="31"/>
                    </a:lnTo>
                    <a:lnTo>
                      <a:pt x="248" y="31"/>
                    </a:lnTo>
                    <a:lnTo>
                      <a:pt x="248" y="31"/>
                    </a:lnTo>
                    <a:cubicBezTo>
                      <a:pt x="279" y="61"/>
                      <a:pt x="279" y="61"/>
                      <a:pt x="279" y="61"/>
                    </a:cubicBezTo>
                    <a:lnTo>
                      <a:pt x="279" y="61"/>
                    </a:lnTo>
                    <a:lnTo>
                      <a:pt x="248" y="92"/>
                    </a:lnTo>
                    <a:lnTo>
                      <a:pt x="248" y="92"/>
                    </a:lnTo>
                    <a:lnTo>
                      <a:pt x="248" y="92"/>
                    </a:lnTo>
                    <a:cubicBezTo>
                      <a:pt x="248" y="92"/>
                      <a:pt x="248" y="92"/>
                      <a:pt x="218" y="92"/>
                    </a:cubicBezTo>
                    <a:lnTo>
                      <a:pt x="218" y="92"/>
                    </a:lnTo>
                    <a:lnTo>
                      <a:pt x="187" y="92"/>
                    </a:lnTo>
                    <a:lnTo>
                      <a:pt x="187" y="92"/>
                    </a:lnTo>
                    <a:lnTo>
                      <a:pt x="187" y="92"/>
                    </a:lnTo>
                    <a:cubicBezTo>
                      <a:pt x="187" y="92"/>
                      <a:pt x="187" y="124"/>
                      <a:pt x="155" y="124"/>
                    </a:cubicBezTo>
                    <a:lnTo>
                      <a:pt x="155" y="124"/>
                    </a:lnTo>
                    <a:cubicBezTo>
                      <a:pt x="155" y="124"/>
                      <a:pt x="155" y="124"/>
                      <a:pt x="155" y="155"/>
                    </a:cubicBezTo>
                    <a:cubicBezTo>
                      <a:pt x="155" y="155"/>
                      <a:pt x="155" y="185"/>
                      <a:pt x="124" y="185"/>
                    </a:cubicBezTo>
                    <a:lnTo>
                      <a:pt x="124" y="185"/>
                    </a:lnTo>
                    <a:lnTo>
                      <a:pt x="124" y="185"/>
                    </a:lnTo>
                    <a:lnTo>
                      <a:pt x="124" y="185"/>
                    </a:lnTo>
                    <a:lnTo>
                      <a:pt x="124" y="216"/>
                    </a:lnTo>
                    <a:cubicBezTo>
                      <a:pt x="124" y="248"/>
                      <a:pt x="124" y="248"/>
                      <a:pt x="124" y="278"/>
                    </a:cubicBezTo>
                    <a:lnTo>
                      <a:pt x="124" y="278"/>
                    </a:lnTo>
                    <a:lnTo>
                      <a:pt x="94" y="309"/>
                    </a:lnTo>
                    <a:lnTo>
                      <a:pt x="94" y="309"/>
                    </a:lnTo>
                    <a:lnTo>
                      <a:pt x="94" y="309"/>
                    </a:lnTo>
                    <a:cubicBezTo>
                      <a:pt x="63" y="309"/>
                      <a:pt x="63" y="309"/>
                      <a:pt x="63" y="278"/>
                    </a:cubicBezTo>
                    <a:lnTo>
                      <a:pt x="63" y="278"/>
                    </a:lnTo>
                    <a:cubicBezTo>
                      <a:pt x="63" y="309"/>
                      <a:pt x="63" y="309"/>
                      <a:pt x="63" y="309"/>
                    </a:cubicBezTo>
                    <a:lnTo>
                      <a:pt x="63" y="309"/>
                    </a:lnTo>
                    <a:lnTo>
                      <a:pt x="63" y="340"/>
                    </a:lnTo>
                    <a:lnTo>
                      <a:pt x="63" y="340"/>
                    </a:lnTo>
                    <a:lnTo>
                      <a:pt x="63" y="340"/>
                    </a:lnTo>
                    <a:lnTo>
                      <a:pt x="63" y="372"/>
                    </a:lnTo>
                    <a:lnTo>
                      <a:pt x="63" y="372"/>
                    </a:lnTo>
                    <a:cubicBezTo>
                      <a:pt x="63" y="372"/>
                      <a:pt x="63" y="372"/>
                      <a:pt x="63" y="402"/>
                    </a:cubicBezTo>
                    <a:lnTo>
                      <a:pt x="63" y="402"/>
                    </a:lnTo>
                    <a:cubicBezTo>
                      <a:pt x="63" y="402"/>
                      <a:pt x="63" y="402"/>
                      <a:pt x="31" y="402"/>
                    </a:cubicBezTo>
                    <a:cubicBezTo>
                      <a:pt x="31" y="433"/>
                      <a:pt x="31" y="433"/>
                      <a:pt x="31" y="433"/>
                    </a:cubicBezTo>
                    <a:cubicBezTo>
                      <a:pt x="31" y="433"/>
                      <a:pt x="31" y="433"/>
                      <a:pt x="0" y="433"/>
                    </a:cubicBezTo>
                    <a:cubicBezTo>
                      <a:pt x="0" y="464"/>
                      <a:pt x="0" y="464"/>
                      <a:pt x="0" y="464"/>
                    </a:cubicBezTo>
                    <a:lnTo>
                      <a:pt x="0" y="464"/>
                    </a:lnTo>
                    <a:lnTo>
                      <a:pt x="0" y="464"/>
                    </a:lnTo>
                    <a:lnTo>
                      <a:pt x="31" y="464"/>
                    </a:lnTo>
                    <a:lnTo>
                      <a:pt x="31" y="464"/>
                    </a:lnTo>
                    <a:lnTo>
                      <a:pt x="63" y="496"/>
                    </a:lnTo>
                    <a:lnTo>
                      <a:pt x="63" y="496"/>
                    </a:lnTo>
                    <a:cubicBezTo>
                      <a:pt x="94" y="496"/>
                      <a:pt x="94" y="526"/>
                      <a:pt x="94" y="526"/>
                    </a:cubicBezTo>
                    <a:cubicBezTo>
                      <a:pt x="94" y="526"/>
                      <a:pt x="94" y="526"/>
                      <a:pt x="94" y="557"/>
                    </a:cubicBezTo>
                    <a:lnTo>
                      <a:pt x="94" y="557"/>
                    </a:lnTo>
                    <a:cubicBezTo>
                      <a:pt x="94" y="588"/>
                      <a:pt x="94" y="588"/>
                      <a:pt x="94" y="588"/>
                    </a:cubicBezTo>
                    <a:cubicBezTo>
                      <a:pt x="94" y="620"/>
                      <a:pt x="124" y="620"/>
                      <a:pt x="124" y="620"/>
                    </a:cubicBezTo>
                    <a:cubicBezTo>
                      <a:pt x="124" y="681"/>
                      <a:pt x="124" y="712"/>
                      <a:pt x="94" y="712"/>
                    </a:cubicBezTo>
                    <a:cubicBezTo>
                      <a:pt x="94" y="744"/>
                      <a:pt x="94" y="744"/>
                      <a:pt x="94" y="744"/>
                    </a:cubicBezTo>
                    <a:lnTo>
                      <a:pt x="94" y="744"/>
                    </a:lnTo>
                    <a:lnTo>
                      <a:pt x="124" y="744"/>
                    </a:lnTo>
                    <a:lnTo>
                      <a:pt x="155" y="744"/>
                    </a:lnTo>
                    <a:cubicBezTo>
                      <a:pt x="155" y="744"/>
                      <a:pt x="155" y="744"/>
                      <a:pt x="187" y="744"/>
                    </a:cubicBezTo>
                    <a:cubicBezTo>
                      <a:pt x="187" y="712"/>
                      <a:pt x="187" y="712"/>
                      <a:pt x="218" y="712"/>
                    </a:cubicBezTo>
                    <a:lnTo>
                      <a:pt x="218" y="712"/>
                    </a:lnTo>
                    <a:cubicBezTo>
                      <a:pt x="218" y="681"/>
                      <a:pt x="218" y="681"/>
                      <a:pt x="218" y="650"/>
                    </a:cubicBezTo>
                    <a:cubicBezTo>
                      <a:pt x="218" y="650"/>
                      <a:pt x="218" y="650"/>
                      <a:pt x="248" y="650"/>
                    </a:cubicBezTo>
                    <a:lnTo>
                      <a:pt x="248" y="650"/>
                    </a:lnTo>
                    <a:lnTo>
                      <a:pt x="248" y="650"/>
                    </a:lnTo>
                    <a:lnTo>
                      <a:pt x="248" y="650"/>
                    </a:lnTo>
                    <a:lnTo>
                      <a:pt x="248" y="620"/>
                    </a:lnTo>
                    <a:cubicBezTo>
                      <a:pt x="218" y="620"/>
                      <a:pt x="218" y="620"/>
                      <a:pt x="218" y="620"/>
                    </a:cubicBezTo>
                    <a:lnTo>
                      <a:pt x="218" y="620"/>
                    </a:lnTo>
                    <a:cubicBezTo>
                      <a:pt x="218" y="588"/>
                      <a:pt x="248" y="588"/>
                      <a:pt x="248" y="58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44" name="Freeform 141"/>
              <p:cNvSpPr>
                <a:spLocks noChangeArrowheads="1"/>
              </p:cNvSpPr>
              <p:nvPr/>
            </p:nvSpPr>
            <p:spPr bwMode="auto">
              <a:xfrm>
                <a:off x="5510213" y="1981200"/>
                <a:ext cx="44450" cy="34925"/>
              </a:xfrm>
              <a:custGeom>
                <a:avLst/>
                <a:gdLst>
                  <a:gd name="T0" fmla="*/ 94 w 125"/>
                  <a:gd name="T1" fmla="*/ 0 h 95"/>
                  <a:gd name="T2" fmla="*/ 94 w 125"/>
                  <a:gd name="T3" fmla="*/ 0 h 95"/>
                  <a:gd name="T4" fmla="*/ 94 w 125"/>
                  <a:gd name="T5" fmla="*/ 0 h 95"/>
                  <a:gd name="T6" fmla="*/ 94 w 125"/>
                  <a:gd name="T7" fmla="*/ 0 h 95"/>
                  <a:gd name="T8" fmla="*/ 94 w 125"/>
                  <a:gd name="T9" fmla="*/ 0 h 95"/>
                  <a:gd name="T10" fmla="*/ 94 w 125"/>
                  <a:gd name="T11" fmla="*/ 0 h 95"/>
                  <a:gd name="T12" fmla="*/ 94 w 125"/>
                  <a:gd name="T13" fmla="*/ 31 h 95"/>
                  <a:gd name="T14" fmla="*/ 94 w 125"/>
                  <a:gd name="T15" fmla="*/ 31 h 95"/>
                  <a:gd name="T16" fmla="*/ 63 w 125"/>
                  <a:gd name="T17" fmla="*/ 63 h 95"/>
                  <a:gd name="T18" fmla="*/ 31 w 125"/>
                  <a:gd name="T19" fmla="*/ 63 h 95"/>
                  <a:gd name="T20" fmla="*/ 31 w 125"/>
                  <a:gd name="T21" fmla="*/ 63 h 95"/>
                  <a:gd name="T22" fmla="*/ 0 w 125"/>
                  <a:gd name="T23" fmla="*/ 94 h 95"/>
                  <a:gd name="T24" fmla="*/ 0 w 125"/>
                  <a:gd name="T25" fmla="*/ 94 h 95"/>
                  <a:gd name="T26" fmla="*/ 0 w 125"/>
                  <a:gd name="T27" fmla="*/ 94 h 95"/>
                  <a:gd name="T28" fmla="*/ 0 w 125"/>
                  <a:gd name="T29" fmla="*/ 94 h 95"/>
                  <a:gd name="T30" fmla="*/ 0 w 125"/>
                  <a:gd name="T31" fmla="*/ 94 h 95"/>
                  <a:gd name="T32" fmla="*/ 31 w 125"/>
                  <a:gd name="T33" fmla="*/ 94 h 95"/>
                  <a:gd name="T34" fmla="*/ 31 w 125"/>
                  <a:gd name="T35" fmla="*/ 94 h 95"/>
                  <a:gd name="T36" fmla="*/ 63 w 125"/>
                  <a:gd name="T37" fmla="*/ 94 h 95"/>
                  <a:gd name="T38" fmla="*/ 63 w 125"/>
                  <a:gd name="T39" fmla="*/ 94 h 95"/>
                  <a:gd name="T40" fmla="*/ 63 w 125"/>
                  <a:gd name="T41" fmla="*/ 63 h 95"/>
                  <a:gd name="T42" fmla="*/ 94 w 125"/>
                  <a:gd name="T43" fmla="*/ 63 h 95"/>
                  <a:gd name="T44" fmla="*/ 94 w 125"/>
                  <a:gd name="T45" fmla="*/ 31 h 95"/>
                  <a:gd name="T46" fmla="*/ 124 w 125"/>
                  <a:gd name="T47" fmla="*/ 31 h 95"/>
                  <a:gd name="T48" fmla="*/ 94 w 125"/>
                  <a:gd name="T4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5" h="95">
                    <a:moveTo>
                      <a:pt x="94" y="0"/>
                    </a:moveTo>
                    <a:lnTo>
                      <a:pt x="94" y="0"/>
                    </a:lnTo>
                    <a:lnTo>
                      <a:pt x="94" y="0"/>
                    </a:lnTo>
                    <a:lnTo>
                      <a:pt x="94" y="0"/>
                    </a:lnTo>
                    <a:lnTo>
                      <a:pt x="94" y="0"/>
                    </a:lnTo>
                    <a:lnTo>
                      <a:pt x="94" y="0"/>
                    </a:lnTo>
                    <a:cubicBezTo>
                      <a:pt x="94" y="31"/>
                      <a:pt x="94" y="31"/>
                      <a:pt x="94" y="31"/>
                    </a:cubicBezTo>
                    <a:lnTo>
                      <a:pt x="94" y="31"/>
                    </a:lnTo>
                    <a:cubicBezTo>
                      <a:pt x="63" y="63"/>
                      <a:pt x="63" y="63"/>
                      <a:pt x="63" y="63"/>
                    </a:cubicBezTo>
                    <a:lnTo>
                      <a:pt x="31" y="63"/>
                    </a:lnTo>
                    <a:lnTo>
                      <a:pt x="31" y="63"/>
                    </a:lnTo>
                    <a:cubicBezTo>
                      <a:pt x="31" y="63"/>
                      <a:pt x="0" y="63"/>
                      <a:pt x="0" y="94"/>
                    </a:cubicBezTo>
                    <a:lnTo>
                      <a:pt x="0" y="94"/>
                    </a:lnTo>
                    <a:lnTo>
                      <a:pt x="0" y="94"/>
                    </a:lnTo>
                    <a:lnTo>
                      <a:pt x="0" y="94"/>
                    </a:lnTo>
                    <a:lnTo>
                      <a:pt x="0" y="94"/>
                    </a:lnTo>
                    <a:cubicBezTo>
                      <a:pt x="0" y="94"/>
                      <a:pt x="0" y="94"/>
                      <a:pt x="31" y="94"/>
                    </a:cubicBezTo>
                    <a:lnTo>
                      <a:pt x="31" y="94"/>
                    </a:lnTo>
                    <a:cubicBezTo>
                      <a:pt x="31" y="94"/>
                      <a:pt x="31" y="94"/>
                      <a:pt x="63" y="94"/>
                    </a:cubicBezTo>
                    <a:lnTo>
                      <a:pt x="63" y="94"/>
                    </a:lnTo>
                    <a:lnTo>
                      <a:pt x="63" y="63"/>
                    </a:lnTo>
                    <a:cubicBezTo>
                      <a:pt x="63" y="63"/>
                      <a:pt x="63" y="63"/>
                      <a:pt x="94" y="63"/>
                    </a:cubicBezTo>
                    <a:lnTo>
                      <a:pt x="94" y="31"/>
                    </a:lnTo>
                    <a:lnTo>
                      <a:pt x="124" y="31"/>
                    </a:lnTo>
                    <a:lnTo>
                      <a:pt x="94"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45" name="Freeform 142"/>
              <p:cNvSpPr>
                <a:spLocks noChangeArrowheads="1"/>
              </p:cNvSpPr>
              <p:nvPr/>
            </p:nvSpPr>
            <p:spPr bwMode="auto">
              <a:xfrm>
                <a:off x="5922963" y="2917825"/>
                <a:ext cx="781050" cy="625475"/>
              </a:xfrm>
              <a:custGeom>
                <a:avLst/>
                <a:gdLst>
                  <a:gd name="T0" fmla="*/ 2170 w 2171"/>
                  <a:gd name="T1" fmla="*/ 1054 h 1736"/>
                  <a:gd name="T2" fmla="*/ 2170 w 2171"/>
                  <a:gd name="T3" fmla="*/ 930 h 1736"/>
                  <a:gd name="T4" fmla="*/ 2139 w 2171"/>
                  <a:gd name="T5" fmla="*/ 868 h 1736"/>
                  <a:gd name="T6" fmla="*/ 2015 w 2171"/>
                  <a:gd name="T7" fmla="*/ 744 h 1736"/>
                  <a:gd name="T8" fmla="*/ 1984 w 2171"/>
                  <a:gd name="T9" fmla="*/ 713 h 1736"/>
                  <a:gd name="T10" fmla="*/ 1953 w 2171"/>
                  <a:gd name="T11" fmla="*/ 650 h 1736"/>
                  <a:gd name="T12" fmla="*/ 1860 w 2171"/>
                  <a:gd name="T13" fmla="*/ 558 h 1736"/>
                  <a:gd name="T14" fmla="*/ 1767 w 2171"/>
                  <a:gd name="T15" fmla="*/ 402 h 1736"/>
                  <a:gd name="T16" fmla="*/ 1736 w 2171"/>
                  <a:gd name="T17" fmla="*/ 278 h 1736"/>
                  <a:gd name="T18" fmla="*/ 1705 w 2171"/>
                  <a:gd name="T19" fmla="*/ 186 h 1736"/>
                  <a:gd name="T20" fmla="*/ 1612 w 2171"/>
                  <a:gd name="T21" fmla="*/ 124 h 1736"/>
                  <a:gd name="T22" fmla="*/ 1581 w 2171"/>
                  <a:gd name="T23" fmla="*/ 0 h 1736"/>
                  <a:gd name="T24" fmla="*/ 1581 w 2171"/>
                  <a:gd name="T25" fmla="*/ 61 h 1736"/>
                  <a:gd name="T26" fmla="*/ 1550 w 2171"/>
                  <a:gd name="T27" fmla="*/ 278 h 1736"/>
                  <a:gd name="T28" fmla="*/ 1457 w 2171"/>
                  <a:gd name="T29" fmla="*/ 434 h 1736"/>
                  <a:gd name="T30" fmla="*/ 1364 w 2171"/>
                  <a:gd name="T31" fmla="*/ 372 h 1736"/>
                  <a:gd name="T32" fmla="*/ 1178 w 2171"/>
                  <a:gd name="T33" fmla="*/ 217 h 1736"/>
                  <a:gd name="T34" fmla="*/ 1240 w 2171"/>
                  <a:gd name="T35" fmla="*/ 93 h 1736"/>
                  <a:gd name="T36" fmla="*/ 1271 w 2171"/>
                  <a:gd name="T37" fmla="*/ 61 h 1736"/>
                  <a:gd name="T38" fmla="*/ 1147 w 2171"/>
                  <a:gd name="T39" fmla="*/ 61 h 1736"/>
                  <a:gd name="T40" fmla="*/ 1054 w 2171"/>
                  <a:gd name="T41" fmla="*/ 61 h 1736"/>
                  <a:gd name="T42" fmla="*/ 961 w 2171"/>
                  <a:gd name="T43" fmla="*/ 93 h 1736"/>
                  <a:gd name="T44" fmla="*/ 900 w 2171"/>
                  <a:gd name="T45" fmla="*/ 186 h 1736"/>
                  <a:gd name="T46" fmla="*/ 868 w 2171"/>
                  <a:gd name="T47" fmla="*/ 248 h 1736"/>
                  <a:gd name="T48" fmla="*/ 806 w 2171"/>
                  <a:gd name="T49" fmla="*/ 248 h 1736"/>
                  <a:gd name="T50" fmla="*/ 775 w 2171"/>
                  <a:gd name="T51" fmla="*/ 217 h 1736"/>
                  <a:gd name="T52" fmla="*/ 682 w 2171"/>
                  <a:gd name="T53" fmla="*/ 248 h 1736"/>
                  <a:gd name="T54" fmla="*/ 620 w 2171"/>
                  <a:gd name="T55" fmla="*/ 310 h 1736"/>
                  <a:gd name="T56" fmla="*/ 558 w 2171"/>
                  <a:gd name="T57" fmla="*/ 372 h 1736"/>
                  <a:gd name="T58" fmla="*/ 496 w 2171"/>
                  <a:gd name="T59" fmla="*/ 372 h 1736"/>
                  <a:gd name="T60" fmla="*/ 496 w 2171"/>
                  <a:gd name="T61" fmla="*/ 402 h 1736"/>
                  <a:gd name="T62" fmla="*/ 372 w 2171"/>
                  <a:gd name="T63" fmla="*/ 558 h 1736"/>
                  <a:gd name="T64" fmla="*/ 310 w 2171"/>
                  <a:gd name="T65" fmla="*/ 558 h 1736"/>
                  <a:gd name="T66" fmla="*/ 186 w 2171"/>
                  <a:gd name="T67" fmla="*/ 620 h 1736"/>
                  <a:gd name="T68" fmla="*/ 62 w 2171"/>
                  <a:gd name="T69" fmla="*/ 713 h 1736"/>
                  <a:gd name="T70" fmla="*/ 0 w 2171"/>
                  <a:gd name="T71" fmla="*/ 806 h 1736"/>
                  <a:gd name="T72" fmla="*/ 32 w 2171"/>
                  <a:gd name="T73" fmla="*/ 961 h 1736"/>
                  <a:gd name="T74" fmla="*/ 62 w 2171"/>
                  <a:gd name="T75" fmla="*/ 1085 h 1736"/>
                  <a:gd name="T76" fmla="*/ 124 w 2171"/>
                  <a:gd name="T77" fmla="*/ 1302 h 1736"/>
                  <a:gd name="T78" fmla="*/ 124 w 2171"/>
                  <a:gd name="T79" fmla="*/ 1457 h 1736"/>
                  <a:gd name="T80" fmla="*/ 217 w 2171"/>
                  <a:gd name="T81" fmla="*/ 1487 h 1736"/>
                  <a:gd name="T82" fmla="*/ 404 w 2171"/>
                  <a:gd name="T83" fmla="*/ 1426 h 1736"/>
                  <a:gd name="T84" fmla="*/ 528 w 2171"/>
                  <a:gd name="T85" fmla="*/ 1426 h 1736"/>
                  <a:gd name="T86" fmla="*/ 652 w 2171"/>
                  <a:gd name="T87" fmla="*/ 1333 h 1736"/>
                  <a:gd name="T88" fmla="*/ 837 w 2171"/>
                  <a:gd name="T89" fmla="*/ 1270 h 1736"/>
                  <a:gd name="T90" fmla="*/ 930 w 2171"/>
                  <a:gd name="T91" fmla="*/ 1270 h 1736"/>
                  <a:gd name="T92" fmla="*/ 1147 w 2171"/>
                  <a:gd name="T93" fmla="*/ 1364 h 1736"/>
                  <a:gd name="T94" fmla="*/ 1302 w 2171"/>
                  <a:gd name="T95" fmla="*/ 1394 h 1736"/>
                  <a:gd name="T96" fmla="*/ 1364 w 2171"/>
                  <a:gd name="T97" fmla="*/ 1364 h 1736"/>
                  <a:gd name="T98" fmla="*/ 1395 w 2171"/>
                  <a:gd name="T99" fmla="*/ 1518 h 1736"/>
                  <a:gd name="T100" fmla="*/ 1488 w 2171"/>
                  <a:gd name="T101" fmla="*/ 1674 h 1736"/>
                  <a:gd name="T102" fmla="*/ 1581 w 2171"/>
                  <a:gd name="T103" fmla="*/ 1705 h 1736"/>
                  <a:gd name="T104" fmla="*/ 1674 w 2171"/>
                  <a:gd name="T105" fmla="*/ 1705 h 1736"/>
                  <a:gd name="T106" fmla="*/ 1798 w 2171"/>
                  <a:gd name="T107" fmla="*/ 1735 h 1736"/>
                  <a:gd name="T108" fmla="*/ 1922 w 2171"/>
                  <a:gd name="T109" fmla="*/ 1674 h 1736"/>
                  <a:gd name="T110" fmla="*/ 1984 w 2171"/>
                  <a:gd name="T111" fmla="*/ 1674 h 1736"/>
                  <a:gd name="T112" fmla="*/ 2046 w 2171"/>
                  <a:gd name="T113" fmla="*/ 1457 h 1736"/>
                  <a:gd name="T114" fmla="*/ 2139 w 2171"/>
                  <a:gd name="T115" fmla="*/ 1333 h 1736"/>
                  <a:gd name="T116" fmla="*/ 2170 w 2171"/>
                  <a:gd name="T117" fmla="*/ 1116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71" h="1736">
                    <a:moveTo>
                      <a:pt x="2170" y="1054"/>
                    </a:moveTo>
                    <a:lnTo>
                      <a:pt x="2170" y="1054"/>
                    </a:lnTo>
                    <a:lnTo>
                      <a:pt x="2170" y="1054"/>
                    </a:lnTo>
                    <a:lnTo>
                      <a:pt x="2170" y="1054"/>
                    </a:lnTo>
                    <a:cubicBezTo>
                      <a:pt x="2139" y="1022"/>
                      <a:pt x="2139" y="1022"/>
                      <a:pt x="2139" y="992"/>
                    </a:cubicBezTo>
                    <a:cubicBezTo>
                      <a:pt x="2170" y="992"/>
                      <a:pt x="2170" y="992"/>
                      <a:pt x="2170" y="961"/>
                    </a:cubicBezTo>
                    <a:lnTo>
                      <a:pt x="2170" y="961"/>
                    </a:lnTo>
                    <a:cubicBezTo>
                      <a:pt x="2170" y="930"/>
                      <a:pt x="2170" y="930"/>
                      <a:pt x="2170" y="930"/>
                    </a:cubicBezTo>
                    <a:lnTo>
                      <a:pt x="2170" y="930"/>
                    </a:lnTo>
                    <a:lnTo>
                      <a:pt x="2170" y="898"/>
                    </a:lnTo>
                    <a:cubicBezTo>
                      <a:pt x="2139" y="898"/>
                      <a:pt x="2139" y="898"/>
                      <a:pt x="2139" y="898"/>
                    </a:cubicBezTo>
                    <a:lnTo>
                      <a:pt x="2139" y="868"/>
                    </a:lnTo>
                    <a:cubicBezTo>
                      <a:pt x="2108" y="868"/>
                      <a:pt x="2108" y="868"/>
                      <a:pt x="2108" y="837"/>
                    </a:cubicBezTo>
                    <a:lnTo>
                      <a:pt x="2108" y="837"/>
                    </a:lnTo>
                    <a:cubicBezTo>
                      <a:pt x="2108" y="837"/>
                      <a:pt x="2077" y="837"/>
                      <a:pt x="2077" y="806"/>
                    </a:cubicBezTo>
                    <a:cubicBezTo>
                      <a:pt x="2046" y="774"/>
                      <a:pt x="2046" y="774"/>
                      <a:pt x="2015" y="744"/>
                    </a:cubicBezTo>
                    <a:lnTo>
                      <a:pt x="2015" y="744"/>
                    </a:lnTo>
                    <a:lnTo>
                      <a:pt x="2015" y="744"/>
                    </a:lnTo>
                    <a:lnTo>
                      <a:pt x="2015" y="744"/>
                    </a:lnTo>
                    <a:cubicBezTo>
                      <a:pt x="1984" y="744"/>
                      <a:pt x="1984" y="744"/>
                      <a:pt x="1984" y="713"/>
                    </a:cubicBezTo>
                    <a:cubicBezTo>
                      <a:pt x="1953" y="713"/>
                      <a:pt x="1953" y="713"/>
                      <a:pt x="1953" y="682"/>
                    </a:cubicBezTo>
                    <a:lnTo>
                      <a:pt x="1953" y="682"/>
                    </a:lnTo>
                    <a:cubicBezTo>
                      <a:pt x="1953" y="650"/>
                      <a:pt x="1953" y="650"/>
                      <a:pt x="1953" y="650"/>
                    </a:cubicBezTo>
                    <a:lnTo>
                      <a:pt x="1953" y="650"/>
                    </a:lnTo>
                    <a:lnTo>
                      <a:pt x="1953" y="620"/>
                    </a:lnTo>
                    <a:cubicBezTo>
                      <a:pt x="1922" y="620"/>
                      <a:pt x="1922" y="620"/>
                      <a:pt x="1922" y="589"/>
                    </a:cubicBezTo>
                    <a:cubicBezTo>
                      <a:pt x="1922" y="589"/>
                      <a:pt x="1922" y="589"/>
                      <a:pt x="1891" y="558"/>
                    </a:cubicBezTo>
                    <a:cubicBezTo>
                      <a:pt x="1891" y="558"/>
                      <a:pt x="1891" y="558"/>
                      <a:pt x="1860" y="558"/>
                    </a:cubicBezTo>
                    <a:lnTo>
                      <a:pt x="1860" y="526"/>
                    </a:lnTo>
                    <a:lnTo>
                      <a:pt x="1860" y="526"/>
                    </a:lnTo>
                    <a:cubicBezTo>
                      <a:pt x="1829" y="526"/>
                      <a:pt x="1798" y="526"/>
                      <a:pt x="1798" y="496"/>
                    </a:cubicBezTo>
                    <a:cubicBezTo>
                      <a:pt x="1767" y="465"/>
                      <a:pt x="1767" y="434"/>
                      <a:pt x="1767" y="402"/>
                    </a:cubicBezTo>
                    <a:lnTo>
                      <a:pt x="1767" y="402"/>
                    </a:lnTo>
                    <a:cubicBezTo>
                      <a:pt x="1767" y="372"/>
                      <a:pt x="1767" y="372"/>
                      <a:pt x="1767" y="372"/>
                    </a:cubicBezTo>
                    <a:cubicBezTo>
                      <a:pt x="1736" y="341"/>
                      <a:pt x="1736" y="341"/>
                      <a:pt x="1736" y="341"/>
                    </a:cubicBezTo>
                    <a:cubicBezTo>
                      <a:pt x="1736" y="310"/>
                      <a:pt x="1736" y="310"/>
                      <a:pt x="1736" y="278"/>
                    </a:cubicBezTo>
                    <a:cubicBezTo>
                      <a:pt x="1736" y="278"/>
                      <a:pt x="1736" y="248"/>
                      <a:pt x="1705" y="217"/>
                    </a:cubicBezTo>
                    <a:lnTo>
                      <a:pt x="1705" y="217"/>
                    </a:lnTo>
                    <a:lnTo>
                      <a:pt x="1705" y="186"/>
                    </a:lnTo>
                    <a:lnTo>
                      <a:pt x="1705" y="186"/>
                    </a:lnTo>
                    <a:cubicBezTo>
                      <a:pt x="1674" y="217"/>
                      <a:pt x="1674" y="217"/>
                      <a:pt x="1674" y="217"/>
                    </a:cubicBezTo>
                    <a:cubicBezTo>
                      <a:pt x="1643" y="217"/>
                      <a:pt x="1643" y="186"/>
                      <a:pt x="1643" y="186"/>
                    </a:cubicBezTo>
                    <a:lnTo>
                      <a:pt x="1643" y="186"/>
                    </a:lnTo>
                    <a:cubicBezTo>
                      <a:pt x="1612" y="155"/>
                      <a:pt x="1612" y="155"/>
                      <a:pt x="1612" y="124"/>
                    </a:cubicBezTo>
                    <a:lnTo>
                      <a:pt x="1612" y="93"/>
                    </a:lnTo>
                    <a:lnTo>
                      <a:pt x="1612" y="93"/>
                    </a:lnTo>
                    <a:cubicBezTo>
                      <a:pt x="1612" y="93"/>
                      <a:pt x="1612" y="93"/>
                      <a:pt x="1612" y="61"/>
                    </a:cubicBezTo>
                    <a:cubicBezTo>
                      <a:pt x="1612" y="61"/>
                      <a:pt x="1581" y="31"/>
                      <a:pt x="1581" y="0"/>
                    </a:cubicBezTo>
                    <a:lnTo>
                      <a:pt x="1581" y="0"/>
                    </a:lnTo>
                    <a:lnTo>
                      <a:pt x="1581" y="31"/>
                    </a:lnTo>
                    <a:lnTo>
                      <a:pt x="1581" y="61"/>
                    </a:lnTo>
                    <a:lnTo>
                      <a:pt x="1581" y="61"/>
                    </a:lnTo>
                    <a:cubicBezTo>
                      <a:pt x="1581" y="93"/>
                      <a:pt x="1581" y="93"/>
                      <a:pt x="1581" y="93"/>
                    </a:cubicBezTo>
                    <a:cubicBezTo>
                      <a:pt x="1581" y="93"/>
                      <a:pt x="1581" y="93"/>
                      <a:pt x="1550" y="124"/>
                    </a:cubicBezTo>
                    <a:cubicBezTo>
                      <a:pt x="1550" y="124"/>
                      <a:pt x="1550" y="186"/>
                      <a:pt x="1581" y="217"/>
                    </a:cubicBezTo>
                    <a:cubicBezTo>
                      <a:pt x="1581" y="248"/>
                      <a:pt x="1581" y="278"/>
                      <a:pt x="1550" y="278"/>
                    </a:cubicBezTo>
                    <a:cubicBezTo>
                      <a:pt x="1550" y="278"/>
                      <a:pt x="1550" y="278"/>
                      <a:pt x="1550" y="310"/>
                    </a:cubicBezTo>
                    <a:cubicBezTo>
                      <a:pt x="1550" y="341"/>
                      <a:pt x="1519" y="372"/>
                      <a:pt x="1519" y="402"/>
                    </a:cubicBezTo>
                    <a:lnTo>
                      <a:pt x="1519" y="402"/>
                    </a:lnTo>
                    <a:cubicBezTo>
                      <a:pt x="1488" y="402"/>
                      <a:pt x="1457" y="434"/>
                      <a:pt x="1457" y="434"/>
                    </a:cubicBezTo>
                    <a:lnTo>
                      <a:pt x="1457" y="434"/>
                    </a:lnTo>
                    <a:cubicBezTo>
                      <a:pt x="1426" y="402"/>
                      <a:pt x="1395" y="402"/>
                      <a:pt x="1395" y="372"/>
                    </a:cubicBezTo>
                    <a:lnTo>
                      <a:pt x="1395" y="372"/>
                    </a:lnTo>
                    <a:cubicBezTo>
                      <a:pt x="1364" y="372"/>
                      <a:pt x="1364" y="372"/>
                      <a:pt x="1364" y="372"/>
                    </a:cubicBezTo>
                    <a:lnTo>
                      <a:pt x="1333" y="372"/>
                    </a:lnTo>
                    <a:lnTo>
                      <a:pt x="1302" y="341"/>
                    </a:lnTo>
                    <a:cubicBezTo>
                      <a:pt x="1271" y="310"/>
                      <a:pt x="1271" y="310"/>
                      <a:pt x="1271" y="310"/>
                    </a:cubicBezTo>
                    <a:cubicBezTo>
                      <a:pt x="1240" y="278"/>
                      <a:pt x="1209" y="248"/>
                      <a:pt x="1178" y="217"/>
                    </a:cubicBezTo>
                    <a:lnTo>
                      <a:pt x="1178" y="186"/>
                    </a:lnTo>
                    <a:cubicBezTo>
                      <a:pt x="1178" y="186"/>
                      <a:pt x="1178" y="186"/>
                      <a:pt x="1178" y="155"/>
                    </a:cubicBezTo>
                    <a:lnTo>
                      <a:pt x="1209" y="124"/>
                    </a:lnTo>
                    <a:cubicBezTo>
                      <a:pt x="1209" y="93"/>
                      <a:pt x="1209" y="93"/>
                      <a:pt x="1240" y="93"/>
                    </a:cubicBezTo>
                    <a:lnTo>
                      <a:pt x="1240" y="93"/>
                    </a:lnTo>
                    <a:cubicBezTo>
                      <a:pt x="1240" y="93"/>
                      <a:pt x="1240" y="93"/>
                      <a:pt x="1271" y="93"/>
                    </a:cubicBezTo>
                    <a:lnTo>
                      <a:pt x="1271" y="93"/>
                    </a:lnTo>
                    <a:lnTo>
                      <a:pt x="1271" y="61"/>
                    </a:lnTo>
                    <a:cubicBezTo>
                      <a:pt x="1240" y="61"/>
                      <a:pt x="1240" y="61"/>
                      <a:pt x="1240" y="61"/>
                    </a:cubicBezTo>
                    <a:lnTo>
                      <a:pt x="1209" y="61"/>
                    </a:lnTo>
                    <a:cubicBezTo>
                      <a:pt x="1178" y="61"/>
                      <a:pt x="1178" y="61"/>
                      <a:pt x="1178" y="61"/>
                    </a:cubicBezTo>
                    <a:lnTo>
                      <a:pt x="1147" y="61"/>
                    </a:lnTo>
                    <a:cubicBezTo>
                      <a:pt x="1147" y="61"/>
                      <a:pt x="1116" y="61"/>
                      <a:pt x="1116" y="31"/>
                    </a:cubicBezTo>
                    <a:cubicBezTo>
                      <a:pt x="1116" y="61"/>
                      <a:pt x="1116" y="61"/>
                      <a:pt x="1085" y="61"/>
                    </a:cubicBezTo>
                    <a:cubicBezTo>
                      <a:pt x="1085" y="61"/>
                      <a:pt x="1085" y="31"/>
                      <a:pt x="1054" y="31"/>
                    </a:cubicBezTo>
                    <a:lnTo>
                      <a:pt x="1054" y="61"/>
                    </a:lnTo>
                    <a:lnTo>
                      <a:pt x="1023" y="93"/>
                    </a:lnTo>
                    <a:cubicBezTo>
                      <a:pt x="1023" y="93"/>
                      <a:pt x="1023" y="61"/>
                      <a:pt x="992" y="61"/>
                    </a:cubicBezTo>
                    <a:cubicBezTo>
                      <a:pt x="992" y="61"/>
                      <a:pt x="992" y="61"/>
                      <a:pt x="961" y="61"/>
                    </a:cubicBezTo>
                    <a:lnTo>
                      <a:pt x="961" y="93"/>
                    </a:lnTo>
                    <a:cubicBezTo>
                      <a:pt x="961" y="93"/>
                      <a:pt x="961" y="124"/>
                      <a:pt x="930" y="124"/>
                    </a:cubicBezTo>
                    <a:cubicBezTo>
                      <a:pt x="930" y="155"/>
                      <a:pt x="930" y="155"/>
                      <a:pt x="900" y="155"/>
                    </a:cubicBezTo>
                    <a:lnTo>
                      <a:pt x="900" y="155"/>
                    </a:lnTo>
                    <a:lnTo>
                      <a:pt x="900" y="186"/>
                    </a:lnTo>
                    <a:cubicBezTo>
                      <a:pt x="900" y="217"/>
                      <a:pt x="900" y="217"/>
                      <a:pt x="900" y="217"/>
                    </a:cubicBezTo>
                    <a:cubicBezTo>
                      <a:pt x="900" y="278"/>
                      <a:pt x="900" y="278"/>
                      <a:pt x="900" y="278"/>
                    </a:cubicBezTo>
                    <a:cubicBezTo>
                      <a:pt x="868" y="248"/>
                      <a:pt x="868" y="248"/>
                      <a:pt x="868" y="248"/>
                    </a:cubicBezTo>
                    <a:lnTo>
                      <a:pt x="868" y="248"/>
                    </a:lnTo>
                    <a:cubicBezTo>
                      <a:pt x="837" y="248"/>
                      <a:pt x="837" y="248"/>
                      <a:pt x="837" y="248"/>
                    </a:cubicBezTo>
                    <a:lnTo>
                      <a:pt x="837" y="248"/>
                    </a:lnTo>
                    <a:lnTo>
                      <a:pt x="806" y="248"/>
                    </a:lnTo>
                    <a:lnTo>
                      <a:pt x="806" y="248"/>
                    </a:lnTo>
                    <a:lnTo>
                      <a:pt x="806" y="248"/>
                    </a:lnTo>
                    <a:cubicBezTo>
                      <a:pt x="775" y="248"/>
                      <a:pt x="775" y="248"/>
                      <a:pt x="775" y="248"/>
                    </a:cubicBezTo>
                    <a:lnTo>
                      <a:pt x="775" y="217"/>
                    </a:lnTo>
                    <a:lnTo>
                      <a:pt x="775" y="217"/>
                    </a:lnTo>
                    <a:cubicBezTo>
                      <a:pt x="775" y="186"/>
                      <a:pt x="744" y="186"/>
                      <a:pt x="744" y="186"/>
                    </a:cubicBezTo>
                    <a:cubicBezTo>
                      <a:pt x="744" y="186"/>
                      <a:pt x="744" y="186"/>
                      <a:pt x="713" y="186"/>
                    </a:cubicBezTo>
                    <a:cubicBezTo>
                      <a:pt x="713" y="186"/>
                      <a:pt x="713" y="186"/>
                      <a:pt x="682" y="186"/>
                    </a:cubicBezTo>
                    <a:cubicBezTo>
                      <a:pt x="682" y="186"/>
                      <a:pt x="682" y="217"/>
                      <a:pt x="682" y="248"/>
                    </a:cubicBezTo>
                    <a:cubicBezTo>
                      <a:pt x="682" y="248"/>
                      <a:pt x="652" y="248"/>
                      <a:pt x="652" y="278"/>
                    </a:cubicBezTo>
                    <a:lnTo>
                      <a:pt x="652" y="278"/>
                    </a:lnTo>
                    <a:cubicBezTo>
                      <a:pt x="652" y="278"/>
                      <a:pt x="652" y="278"/>
                      <a:pt x="620" y="310"/>
                    </a:cubicBezTo>
                    <a:lnTo>
                      <a:pt x="620" y="310"/>
                    </a:lnTo>
                    <a:cubicBezTo>
                      <a:pt x="620" y="310"/>
                      <a:pt x="620" y="310"/>
                      <a:pt x="589" y="310"/>
                    </a:cubicBezTo>
                    <a:lnTo>
                      <a:pt x="589" y="310"/>
                    </a:lnTo>
                    <a:cubicBezTo>
                      <a:pt x="589" y="310"/>
                      <a:pt x="589" y="310"/>
                      <a:pt x="558" y="310"/>
                    </a:cubicBezTo>
                    <a:cubicBezTo>
                      <a:pt x="558" y="341"/>
                      <a:pt x="558" y="372"/>
                      <a:pt x="558" y="372"/>
                    </a:cubicBezTo>
                    <a:cubicBezTo>
                      <a:pt x="558" y="526"/>
                      <a:pt x="558" y="526"/>
                      <a:pt x="558" y="526"/>
                    </a:cubicBezTo>
                    <a:cubicBezTo>
                      <a:pt x="528" y="402"/>
                      <a:pt x="528" y="402"/>
                      <a:pt x="528" y="402"/>
                    </a:cubicBezTo>
                    <a:cubicBezTo>
                      <a:pt x="528" y="372"/>
                      <a:pt x="528" y="372"/>
                      <a:pt x="496" y="372"/>
                    </a:cubicBezTo>
                    <a:lnTo>
                      <a:pt x="496" y="372"/>
                    </a:lnTo>
                    <a:lnTo>
                      <a:pt x="496" y="372"/>
                    </a:lnTo>
                    <a:lnTo>
                      <a:pt x="496" y="372"/>
                    </a:lnTo>
                    <a:lnTo>
                      <a:pt x="496" y="372"/>
                    </a:lnTo>
                    <a:lnTo>
                      <a:pt x="496" y="402"/>
                    </a:lnTo>
                    <a:cubicBezTo>
                      <a:pt x="496" y="434"/>
                      <a:pt x="496" y="434"/>
                      <a:pt x="465" y="465"/>
                    </a:cubicBezTo>
                    <a:lnTo>
                      <a:pt x="465" y="465"/>
                    </a:lnTo>
                    <a:cubicBezTo>
                      <a:pt x="465" y="465"/>
                      <a:pt x="434" y="496"/>
                      <a:pt x="404" y="526"/>
                    </a:cubicBezTo>
                    <a:cubicBezTo>
                      <a:pt x="404" y="558"/>
                      <a:pt x="404" y="558"/>
                      <a:pt x="372" y="558"/>
                    </a:cubicBezTo>
                    <a:lnTo>
                      <a:pt x="372" y="558"/>
                    </a:lnTo>
                    <a:lnTo>
                      <a:pt x="372" y="558"/>
                    </a:lnTo>
                    <a:cubicBezTo>
                      <a:pt x="341" y="558"/>
                      <a:pt x="341" y="558"/>
                      <a:pt x="341" y="558"/>
                    </a:cubicBezTo>
                    <a:cubicBezTo>
                      <a:pt x="310" y="558"/>
                      <a:pt x="310" y="558"/>
                      <a:pt x="310" y="558"/>
                    </a:cubicBezTo>
                    <a:cubicBezTo>
                      <a:pt x="280" y="558"/>
                      <a:pt x="280" y="589"/>
                      <a:pt x="248" y="589"/>
                    </a:cubicBezTo>
                    <a:cubicBezTo>
                      <a:pt x="248" y="620"/>
                      <a:pt x="217" y="620"/>
                      <a:pt x="217" y="620"/>
                    </a:cubicBezTo>
                    <a:cubicBezTo>
                      <a:pt x="186" y="620"/>
                      <a:pt x="186" y="620"/>
                      <a:pt x="186" y="620"/>
                    </a:cubicBezTo>
                    <a:lnTo>
                      <a:pt x="186" y="620"/>
                    </a:lnTo>
                    <a:lnTo>
                      <a:pt x="156" y="620"/>
                    </a:lnTo>
                    <a:lnTo>
                      <a:pt x="156" y="620"/>
                    </a:lnTo>
                    <a:cubicBezTo>
                      <a:pt x="124" y="650"/>
                      <a:pt x="93" y="682"/>
                      <a:pt x="62" y="682"/>
                    </a:cubicBezTo>
                    <a:cubicBezTo>
                      <a:pt x="62" y="682"/>
                      <a:pt x="62" y="682"/>
                      <a:pt x="62" y="713"/>
                    </a:cubicBezTo>
                    <a:cubicBezTo>
                      <a:pt x="62" y="713"/>
                      <a:pt x="62" y="713"/>
                      <a:pt x="32" y="713"/>
                    </a:cubicBezTo>
                    <a:lnTo>
                      <a:pt x="32" y="713"/>
                    </a:lnTo>
                    <a:cubicBezTo>
                      <a:pt x="32" y="744"/>
                      <a:pt x="32" y="744"/>
                      <a:pt x="32" y="744"/>
                    </a:cubicBezTo>
                    <a:cubicBezTo>
                      <a:pt x="32" y="774"/>
                      <a:pt x="32" y="774"/>
                      <a:pt x="0" y="806"/>
                    </a:cubicBezTo>
                    <a:lnTo>
                      <a:pt x="0" y="806"/>
                    </a:lnTo>
                    <a:cubicBezTo>
                      <a:pt x="0" y="837"/>
                      <a:pt x="0" y="837"/>
                      <a:pt x="32" y="868"/>
                    </a:cubicBezTo>
                    <a:cubicBezTo>
                      <a:pt x="32" y="868"/>
                      <a:pt x="62" y="898"/>
                      <a:pt x="62" y="930"/>
                    </a:cubicBezTo>
                    <a:cubicBezTo>
                      <a:pt x="32" y="930"/>
                      <a:pt x="32" y="961"/>
                      <a:pt x="32" y="961"/>
                    </a:cubicBezTo>
                    <a:cubicBezTo>
                      <a:pt x="32" y="961"/>
                      <a:pt x="32" y="961"/>
                      <a:pt x="0" y="961"/>
                    </a:cubicBezTo>
                    <a:cubicBezTo>
                      <a:pt x="0" y="992"/>
                      <a:pt x="32" y="992"/>
                      <a:pt x="32" y="992"/>
                    </a:cubicBezTo>
                    <a:cubicBezTo>
                      <a:pt x="32" y="992"/>
                      <a:pt x="32" y="1022"/>
                      <a:pt x="32" y="1054"/>
                    </a:cubicBezTo>
                    <a:lnTo>
                      <a:pt x="62" y="1085"/>
                    </a:lnTo>
                    <a:cubicBezTo>
                      <a:pt x="62" y="1116"/>
                      <a:pt x="93" y="1116"/>
                      <a:pt x="93" y="1146"/>
                    </a:cubicBezTo>
                    <a:lnTo>
                      <a:pt x="93" y="1209"/>
                    </a:lnTo>
                    <a:cubicBezTo>
                      <a:pt x="93" y="1209"/>
                      <a:pt x="93" y="1240"/>
                      <a:pt x="124" y="1302"/>
                    </a:cubicBezTo>
                    <a:lnTo>
                      <a:pt x="124" y="1302"/>
                    </a:lnTo>
                    <a:cubicBezTo>
                      <a:pt x="124" y="1333"/>
                      <a:pt x="124" y="1364"/>
                      <a:pt x="124" y="1364"/>
                    </a:cubicBezTo>
                    <a:cubicBezTo>
                      <a:pt x="124" y="1394"/>
                      <a:pt x="124" y="1394"/>
                      <a:pt x="124" y="1394"/>
                    </a:cubicBezTo>
                    <a:cubicBezTo>
                      <a:pt x="124" y="1426"/>
                      <a:pt x="124" y="1426"/>
                      <a:pt x="93" y="1426"/>
                    </a:cubicBezTo>
                    <a:cubicBezTo>
                      <a:pt x="93" y="1457"/>
                      <a:pt x="124" y="1457"/>
                      <a:pt x="124" y="1457"/>
                    </a:cubicBezTo>
                    <a:lnTo>
                      <a:pt x="124" y="1487"/>
                    </a:lnTo>
                    <a:cubicBezTo>
                      <a:pt x="156" y="1487"/>
                      <a:pt x="186" y="1487"/>
                      <a:pt x="186" y="1487"/>
                    </a:cubicBezTo>
                    <a:cubicBezTo>
                      <a:pt x="186" y="1487"/>
                      <a:pt x="186" y="1487"/>
                      <a:pt x="217" y="1487"/>
                    </a:cubicBezTo>
                    <a:lnTo>
                      <a:pt x="217" y="1487"/>
                    </a:lnTo>
                    <a:lnTo>
                      <a:pt x="248" y="1487"/>
                    </a:lnTo>
                    <a:lnTo>
                      <a:pt x="248" y="1487"/>
                    </a:lnTo>
                    <a:cubicBezTo>
                      <a:pt x="248" y="1457"/>
                      <a:pt x="310" y="1426"/>
                      <a:pt x="372" y="1426"/>
                    </a:cubicBezTo>
                    <a:cubicBezTo>
                      <a:pt x="372" y="1426"/>
                      <a:pt x="372" y="1426"/>
                      <a:pt x="404" y="1426"/>
                    </a:cubicBezTo>
                    <a:cubicBezTo>
                      <a:pt x="434" y="1426"/>
                      <a:pt x="465" y="1426"/>
                      <a:pt x="465" y="1426"/>
                    </a:cubicBezTo>
                    <a:lnTo>
                      <a:pt x="465" y="1426"/>
                    </a:lnTo>
                    <a:cubicBezTo>
                      <a:pt x="465" y="1426"/>
                      <a:pt x="496" y="1426"/>
                      <a:pt x="528" y="1426"/>
                    </a:cubicBezTo>
                    <a:lnTo>
                      <a:pt x="528" y="1426"/>
                    </a:lnTo>
                    <a:cubicBezTo>
                      <a:pt x="528" y="1426"/>
                      <a:pt x="528" y="1426"/>
                      <a:pt x="558" y="1426"/>
                    </a:cubicBezTo>
                    <a:cubicBezTo>
                      <a:pt x="558" y="1394"/>
                      <a:pt x="558" y="1394"/>
                      <a:pt x="558" y="1394"/>
                    </a:cubicBezTo>
                    <a:cubicBezTo>
                      <a:pt x="558" y="1394"/>
                      <a:pt x="558" y="1394"/>
                      <a:pt x="558" y="1364"/>
                    </a:cubicBezTo>
                    <a:cubicBezTo>
                      <a:pt x="558" y="1364"/>
                      <a:pt x="589" y="1333"/>
                      <a:pt x="652" y="1333"/>
                    </a:cubicBezTo>
                    <a:lnTo>
                      <a:pt x="652" y="1333"/>
                    </a:lnTo>
                    <a:cubicBezTo>
                      <a:pt x="682" y="1333"/>
                      <a:pt x="713" y="1302"/>
                      <a:pt x="775" y="1302"/>
                    </a:cubicBezTo>
                    <a:lnTo>
                      <a:pt x="806" y="1302"/>
                    </a:lnTo>
                    <a:cubicBezTo>
                      <a:pt x="806" y="1270"/>
                      <a:pt x="837" y="1270"/>
                      <a:pt x="837" y="1270"/>
                    </a:cubicBezTo>
                    <a:cubicBezTo>
                      <a:pt x="868" y="1270"/>
                      <a:pt x="868" y="1270"/>
                      <a:pt x="868" y="1270"/>
                    </a:cubicBezTo>
                    <a:lnTo>
                      <a:pt x="900" y="1270"/>
                    </a:lnTo>
                    <a:lnTo>
                      <a:pt x="900" y="1270"/>
                    </a:lnTo>
                    <a:lnTo>
                      <a:pt x="930" y="1270"/>
                    </a:lnTo>
                    <a:lnTo>
                      <a:pt x="961" y="1270"/>
                    </a:lnTo>
                    <a:cubicBezTo>
                      <a:pt x="992" y="1270"/>
                      <a:pt x="992" y="1270"/>
                      <a:pt x="1023" y="1270"/>
                    </a:cubicBezTo>
                    <a:cubicBezTo>
                      <a:pt x="1023" y="1302"/>
                      <a:pt x="1054" y="1302"/>
                      <a:pt x="1085" y="1302"/>
                    </a:cubicBezTo>
                    <a:cubicBezTo>
                      <a:pt x="1116" y="1302"/>
                      <a:pt x="1147" y="1333"/>
                      <a:pt x="1147" y="1364"/>
                    </a:cubicBezTo>
                    <a:lnTo>
                      <a:pt x="1178" y="1364"/>
                    </a:lnTo>
                    <a:cubicBezTo>
                      <a:pt x="1178" y="1394"/>
                      <a:pt x="1209" y="1426"/>
                      <a:pt x="1209" y="1457"/>
                    </a:cubicBezTo>
                    <a:cubicBezTo>
                      <a:pt x="1209" y="1457"/>
                      <a:pt x="1209" y="1457"/>
                      <a:pt x="1240" y="1457"/>
                    </a:cubicBezTo>
                    <a:cubicBezTo>
                      <a:pt x="1240" y="1426"/>
                      <a:pt x="1271" y="1394"/>
                      <a:pt x="1302" y="1394"/>
                    </a:cubicBezTo>
                    <a:lnTo>
                      <a:pt x="1302" y="1364"/>
                    </a:lnTo>
                    <a:cubicBezTo>
                      <a:pt x="1302" y="1333"/>
                      <a:pt x="1302" y="1333"/>
                      <a:pt x="1302" y="1333"/>
                    </a:cubicBezTo>
                    <a:cubicBezTo>
                      <a:pt x="1364" y="1333"/>
                      <a:pt x="1364" y="1333"/>
                      <a:pt x="1364" y="1333"/>
                    </a:cubicBezTo>
                    <a:cubicBezTo>
                      <a:pt x="1364" y="1364"/>
                      <a:pt x="1364" y="1364"/>
                      <a:pt x="1364" y="1364"/>
                    </a:cubicBezTo>
                    <a:cubicBezTo>
                      <a:pt x="1364" y="1394"/>
                      <a:pt x="1364" y="1394"/>
                      <a:pt x="1364" y="1426"/>
                    </a:cubicBezTo>
                    <a:lnTo>
                      <a:pt x="1364" y="1426"/>
                    </a:lnTo>
                    <a:cubicBezTo>
                      <a:pt x="1364" y="1457"/>
                      <a:pt x="1395" y="1487"/>
                      <a:pt x="1395" y="1487"/>
                    </a:cubicBezTo>
                    <a:cubicBezTo>
                      <a:pt x="1395" y="1518"/>
                      <a:pt x="1395" y="1518"/>
                      <a:pt x="1395" y="1518"/>
                    </a:cubicBezTo>
                    <a:lnTo>
                      <a:pt x="1426" y="1550"/>
                    </a:lnTo>
                    <a:cubicBezTo>
                      <a:pt x="1457" y="1581"/>
                      <a:pt x="1457" y="1611"/>
                      <a:pt x="1457" y="1642"/>
                    </a:cubicBezTo>
                    <a:lnTo>
                      <a:pt x="1457" y="1642"/>
                    </a:lnTo>
                    <a:lnTo>
                      <a:pt x="1488" y="1674"/>
                    </a:lnTo>
                    <a:cubicBezTo>
                      <a:pt x="1488" y="1674"/>
                      <a:pt x="1488" y="1705"/>
                      <a:pt x="1519" y="1705"/>
                    </a:cubicBezTo>
                    <a:cubicBezTo>
                      <a:pt x="1519" y="1705"/>
                      <a:pt x="1519" y="1705"/>
                      <a:pt x="1550" y="1705"/>
                    </a:cubicBezTo>
                    <a:cubicBezTo>
                      <a:pt x="1581" y="1705"/>
                      <a:pt x="1581" y="1705"/>
                      <a:pt x="1581" y="1705"/>
                    </a:cubicBezTo>
                    <a:lnTo>
                      <a:pt x="1581" y="1705"/>
                    </a:lnTo>
                    <a:cubicBezTo>
                      <a:pt x="1612" y="1705"/>
                      <a:pt x="1612" y="1705"/>
                      <a:pt x="1643" y="1735"/>
                    </a:cubicBezTo>
                    <a:lnTo>
                      <a:pt x="1643" y="1735"/>
                    </a:lnTo>
                    <a:cubicBezTo>
                      <a:pt x="1643" y="1735"/>
                      <a:pt x="1643" y="1735"/>
                      <a:pt x="1674" y="1735"/>
                    </a:cubicBezTo>
                    <a:lnTo>
                      <a:pt x="1674" y="1705"/>
                    </a:lnTo>
                    <a:cubicBezTo>
                      <a:pt x="1705" y="1705"/>
                      <a:pt x="1705" y="1705"/>
                      <a:pt x="1736" y="1705"/>
                    </a:cubicBezTo>
                    <a:lnTo>
                      <a:pt x="1736" y="1705"/>
                    </a:lnTo>
                    <a:lnTo>
                      <a:pt x="1736" y="1705"/>
                    </a:lnTo>
                    <a:cubicBezTo>
                      <a:pt x="1767" y="1705"/>
                      <a:pt x="1767" y="1705"/>
                      <a:pt x="1798" y="1735"/>
                    </a:cubicBezTo>
                    <a:lnTo>
                      <a:pt x="1798" y="1735"/>
                    </a:lnTo>
                    <a:cubicBezTo>
                      <a:pt x="1829" y="1735"/>
                      <a:pt x="1829" y="1705"/>
                      <a:pt x="1860" y="1705"/>
                    </a:cubicBezTo>
                    <a:lnTo>
                      <a:pt x="1860" y="1705"/>
                    </a:lnTo>
                    <a:cubicBezTo>
                      <a:pt x="1860" y="1674"/>
                      <a:pt x="1891" y="1674"/>
                      <a:pt x="1922" y="1674"/>
                    </a:cubicBezTo>
                    <a:lnTo>
                      <a:pt x="1922" y="1674"/>
                    </a:lnTo>
                    <a:lnTo>
                      <a:pt x="1922" y="1674"/>
                    </a:lnTo>
                    <a:cubicBezTo>
                      <a:pt x="1953" y="1674"/>
                      <a:pt x="1953" y="1674"/>
                      <a:pt x="1953" y="1674"/>
                    </a:cubicBezTo>
                    <a:cubicBezTo>
                      <a:pt x="1984" y="1674"/>
                      <a:pt x="1984" y="1674"/>
                      <a:pt x="1984" y="1674"/>
                    </a:cubicBezTo>
                    <a:cubicBezTo>
                      <a:pt x="1984" y="1674"/>
                      <a:pt x="1984" y="1674"/>
                      <a:pt x="1984" y="1642"/>
                    </a:cubicBezTo>
                    <a:lnTo>
                      <a:pt x="1984" y="1642"/>
                    </a:lnTo>
                    <a:cubicBezTo>
                      <a:pt x="1984" y="1642"/>
                      <a:pt x="1984" y="1611"/>
                      <a:pt x="1984" y="1581"/>
                    </a:cubicBezTo>
                    <a:cubicBezTo>
                      <a:pt x="2015" y="1518"/>
                      <a:pt x="2046" y="1487"/>
                      <a:pt x="2046" y="1457"/>
                    </a:cubicBezTo>
                    <a:lnTo>
                      <a:pt x="2046" y="1426"/>
                    </a:lnTo>
                    <a:lnTo>
                      <a:pt x="2046" y="1426"/>
                    </a:lnTo>
                    <a:cubicBezTo>
                      <a:pt x="2046" y="1394"/>
                      <a:pt x="2077" y="1364"/>
                      <a:pt x="2108" y="1364"/>
                    </a:cubicBezTo>
                    <a:cubicBezTo>
                      <a:pt x="2108" y="1333"/>
                      <a:pt x="2108" y="1333"/>
                      <a:pt x="2139" y="1333"/>
                    </a:cubicBezTo>
                    <a:cubicBezTo>
                      <a:pt x="2139" y="1302"/>
                      <a:pt x="2139" y="1270"/>
                      <a:pt x="2139" y="1270"/>
                    </a:cubicBezTo>
                    <a:cubicBezTo>
                      <a:pt x="2170" y="1240"/>
                      <a:pt x="2170" y="1209"/>
                      <a:pt x="2170" y="1209"/>
                    </a:cubicBezTo>
                    <a:cubicBezTo>
                      <a:pt x="2170" y="1209"/>
                      <a:pt x="2170" y="1146"/>
                      <a:pt x="2170" y="1116"/>
                    </a:cubicBezTo>
                    <a:lnTo>
                      <a:pt x="2170" y="1116"/>
                    </a:lnTo>
                    <a:lnTo>
                      <a:pt x="2170" y="1085"/>
                    </a:lnTo>
                    <a:cubicBezTo>
                      <a:pt x="2170" y="1085"/>
                      <a:pt x="2170" y="1085"/>
                      <a:pt x="2170" y="1054"/>
                    </a:cubicBezTo>
                  </a:path>
                </a:pathLst>
              </a:custGeom>
              <a:solidFill>
                <a:schemeClr val="accent5"/>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46" name="Freeform 143"/>
              <p:cNvSpPr>
                <a:spLocks noChangeArrowheads="1"/>
              </p:cNvSpPr>
              <p:nvPr/>
            </p:nvSpPr>
            <p:spPr bwMode="auto">
              <a:xfrm>
                <a:off x="5565775" y="2538413"/>
                <a:ext cx="201613" cy="246062"/>
              </a:xfrm>
              <a:custGeom>
                <a:avLst/>
                <a:gdLst>
                  <a:gd name="T0" fmla="*/ 465 w 559"/>
                  <a:gd name="T1" fmla="*/ 403 h 683"/>
                  <a:gd name="T2" fmla="*/ 434 w 559"/>
                  <a:gd name="T3" fmla="*/ 372 h 683"/>
                  <a:gd name="T4" fmla="*/ 434 w 559"/>
                  <a:gd name="T5" fmla="*/ 310 h 683"/>
                  <a:gd name="T6" fmla="*/ 404 w 559"/>
                  <a:gd name="T7" fmla="*/ 279 h 683"/>
                  <a:gd name="T8" fmla="*/ 372 w 559"/>
                  <a:gd name="T9" fmla="*/ 279 h 683"/>
                  <a:gd name="T10" fmla="*/ 341 w 559"/>
                  <a:gd name="T11" fmla="*/ 248 h 683"/>
                  <a:gd name="T12" fmla="*/ 341 w 559"/>
                  <a:gd name="T13" fmla="*/ 217 h 683"/>
                  <a:gd name="T14" fmla="*/ 341 w 559"/>
                  <a:gd name="T15" fmla="*/ 217 h 683"/>
                  <a:gd name="T16" fmla="*/ 280 w 559"/>
                  <a:gd name="T17" fmla="*/ 186 h 683"/>
                  <a:gd name="T18" fmla="*/ 217 w 559"/>
                  <a:gd name="T19" fmla="*/ 124 h 683"/>
                  <a:gd name="T20" fmla="*/ 155 w 559"/>
                  <a:gd name="T21" fmla="*/ 62 h 683"/>
                  <a:gd name="T22" fmla="*/ 124 w 559"/>
                  <a:gd name="T23" fmla="*/ 31 h 683"/>
                  <a:gd name="T24" fmla="*/ 93 w 559"/>
                  <a:gd name="T25" fmla="*/ 0 h 683"/>
                  <a:gd name="T26" fmla="*/ 93 w 559"/>
                  <a:gd name="T27" fmla="*/ 0 h 683"/>
                  <a:gd name="T28" fmla="*/ 32 w 559"/>
                  <a:gd name="T29" fmla="*/ 0 h 683"/>
                  <a:gd name="T30" fmla="*/ 0 w 559"/>
                  <a:gd name="T31" fmla="*/ 0 h 683"/>
                  <a:gd name="T32" fmla="*/ 32 w 559"/>
                  <a:gd name="T33" fmla="*/ 31 h 683"/>
                  <a:gd name="T34" fmla="*/ 63 w 559"/>
                  <a:gd name="T35" fmla="*/ 62 h 683"/>
                  <a:gd name="T36" fmla="*/ 93 w 559"/>
                  <a:gd name="T37" fmla="*/ 93 h 683"/>
                  <a:gd name="T38" fmla="*/ 124 w 559"/>
                  <a:gd name="T39" fmla="*/ 155 h 683"/>
                  <a:gd name="T40" fmla="*/ 187 w 559"/>
                  <a:gd name="T41" fmla="*/ 186 h 683"/>
                  <a:gd name="T42" fmla="*/ 217 w 559"/>
                  <a:gd name="T43" fmla="*/ 248 h 683"/>
                  <a:gd name="T44" fmla="*/ 217 w 559"/>
                  <a:gd name="T45" fmla="*/ 279 h 683"/>
                  <a:gd name="T46" fmla="*/ 310 w 559"/>
                  <a:gd name="T47" fmla="*/ 403 h 683"/>
                  <a:gd name="T48" fmla="*/ 372 w 559"/>
                  <a:gd name="T49" fmla="*/ 527 h 683"/>
                  <a:gd name="T50" fmla="*/ 434 w 559"/>
                  <a:gd name="T51" fmla="*/ 589 h 683"/>
                  <a:gd name="T52" fmla="*/ 465 w 559"/>
                  <a:gd name="T53" fmla="*/ 620 h 683"/>
                  <a:gd name="T54" fmla="*/ 496 w 559"/>
                  <a:gd name="T55" fmla="*/ 651 h 683"/>
                  <a:gd name="T56" fmla="*/ 528 w 559"/>
                  <a:gd name="T57" fmla="*/ 651 h 683"/>
                  <a:gd name="T58" fmla="*/ 558 w 559"/>
                  <a:gd name="T59" fmla="*/ 651 h 683"/>
                  <a:gd name="T60" fmla="*/ 558 w 559"/>
                  <a:gd name="T61" fmla="*/ 589 h 683"/>
                  <a:gd name="T62" fmla="*/ 558 w 559"/>
                  <a:gd name="T63" fmla="*/ 558 h 683"/>
                  <a:gd name="T64" fmla="*/ 528 w 559"/>
                  <a:gd name="T65" fmla="*/ 527 h 683"/>
                  <a:gd name="T66" fmla="*/ 528 w 559"/>
                  <a:gd name="T67" fmla="*/ 496 h 683"/>
                  <a:gd name="T68" fmla="*/ 496 w 559"/>
                  <a:gd name="T69" fmla="*/ 465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9" h="683">
                    <a:moveTo>
                      <a:pt x="465" y="403"/>
                    </a:moveTo>
                    <a:lnTo>
                      <a:pt x="465" y="403"/>
                    </a:lnTo>
                    <a:lnTo>
                      <a:pt x="465" y="403"/>
                    </a:lnTo>
                    <a:cubicBezTo>
                      <a:pt x="465" y="403"/>
                      <a:pt x="434" y="403"/>
                      <a:pt x="434" y="372"/>
                    </a:cubicBezTo>
                    <a:cubicBezTo>
                      <a:pt x="434" y="372"/>
                      <a:pt x="434" y="372"/>
                      <a:pt x="434" y="341"/>
                    </a:cubicBezTo>
                    <a:cubicBezTo>
                      <a:pt x="434" y="341"/>
                      <a:pt x="404" y="341"/>
                      <a:pt x="434" y="310"/>
                    </a:cubicBezTo>
                    <a:lnTo>
                      <a:pt x="434" y="310"/>
                    </a:lnTo>
                    <a:cubicBezTo>
                      <a:pt x="404" y="310"/>
                      <a:pt x="404" y="310"/>
                      <a:pt x="404" y="279"/>
                    </a:cubicBezTo>
                    <a:lnTo>
                      <a:pt x="404" y="279"/>
                    </a:lnTo>
                    <a:lnTo>
                      <a:pt x="372" y="279"/>
                    </a:lnTo>
                    <a:lnTo>
                      <a:pt x="372" y="279"/>
                    </a:lnTo>
                    <a:cubicBezTo>
                      <a:pt x="341" y="248"/>
                      <a:pt x="341" y="248"/>
                      <a:pt x="341" y="248"/>
                    </a:cubicBezTo>
                    <a:lnTo>
                      <a:pt x="341" y="248"/>
                    </a:lnTo>
                    <a:lnTo>
                      <a:pt x="341" y="217"/>
                    </a:lnTo>
                    <a:lnTo>
                      <a:pt x="341" y="217"/>
                    </a:lnTo>
                    <a:lnTo>
                      <a:pt x="341" y="217"/>
                    </a:lnTo>
                    <a:cubicBezTo>
                      <a:pt x="310" y="217"/>
                      <a:pt x="310" y="186"/>
                      <a:pt x="310" y="186"/>
                    </a:cubicBezTo>
                    <a:cubicBezTo>
                      <a:pt x="280" y="186"/>
                      <a:pt x="280" y="186"/>
                      <a:pt x="280" y="186"/>
                    </a:cubicBezTo>
                    <a:cubicBezTo>
                      <a:pt x="280" y="186"/>
                      <a:pt x="248" y="186"/>
                      <a:pt x="217" y="186"/>
                    </a:cubicBezTo>
                    <a:cubicBezTo>
                      <a:pt x="217" y="155"/>
                      <a:pt x="217" y="155"/>
                      <a:pt x="217" y="124"/>
                    </a:cubicBezTo>
                    <a:lnTo>
                      <a:pt x="217" y="124"/>
                    </a:lnTo>
                    <a:cubicBezTo>
                      <a:pt x="187" y="124"/>
                      <a:pt x="155" y="93"/>
                      <a:pt x="155" y="62"/>
                    </a:cubicBezTo>
                    <a:cubicBezTo>
                      <a:pt x="124" y="62"/>
                      <a:pt x="124" y="62"/>
                      <a:pt x="124" y="31"/>
                    </a:cubicBezTo>
                    <a:lnTo>
                      <a:pt x="124" y="31"/>
                    </a:lnTo>
                    <a:cubicBezTo>
                      <a:pt x="124" y="31"/>
                      <a:pt x="124" y="31"/>
                      <a:pt x="93" y="0"/>
                    </a:cubicBezTo>
                    <a:lnTo>
                      <a:pt x="93" y="0"/>
                    </a:lnTo>
                    <a:lnTo>
                      <a:pt x="93" y="0"/>
                    </a:lnTo>
                    <a:lnTo>
                      <a:pt x="93" y="0"/>
                    </a:lnTo>
                    <a:cubicBezTo>
                      <a:pt x="93" y="0"/>
                      <a:pt x="93" y="0"/>
                      <a:pt x="63" y="0"/>
                    </a:cubicBezTo>
                    <a:cubicBezTo>
                      <a:pt x="63" y="0"/>
                      <a:pt x="63" y="0"/>
                      <a:pt x="32" y="0"/>
                    </a:cubicBezTo>
                    <a:lnTo>
                      <a:pt x="0" y="0"/>
                    </a:lnTo>
                    <a:lnTo>
                      <a:pt x="0" y="0"/>
                    </a:lnTo>
                    <a:lnTo>
                      <a:pt x="0" y="0"/>
                    </a:lnTo>
                    <a:cubicBezTo>
                      <a:pt x="32" y="0"/>
                      <a:pt x="32" y="0"/>
                      <a:pt x="32" y="31"/>
                    </a:cubicBezTo>
                    <a:cubicBezTo>
                      <a:pt x="32" y="31"/>
                      <a:pt x="32" y="62"/>
                      <a:pt x="63" y="62"/>
                    </a:cubicBezTo>
                    <a:lnTo>
                      <a:pt x="63" y="62"/>
                    </a:lnTo>
                    <a:lnTo>
                      <a:pt x="93" y="62"/>
                    </a:lnTo>
                    <a:lnTo>
                      <a:pt x="93" y="93"/>
                    </a:lnTo>
                    <a:cubicBezTo>
                      <a:pt x="124" y="124"/>
                      <a:pt x="124" y="124"/>
                      <a:pt x="124" y="155"/>
                    </a:cubicBezTo>
                    <a:lnTo>
                      <a:pt x="124" y="155"/>
                    </a:lnTo>
                    <a:lnTo>
                      <a:pt x="155" y="155"/>
                    </a:lnTo>
                    <a:lnTo>
                      <a:pt x="187" y="186"/>
                    </a:lnTo>
                    <a:lnTo>
                      <a:pt x="187" y="186"/>
                    </a:lnTo>
                    <a:cubicBezTo>
                      <a:pt x="187" y="217"/>
                      <a:pt x="217" y="217"/>
                      <a:pt x="217" y="248"/>
                    </a:cubicBezTo>
                    <a:lnTo>
                      <a:pt x="217" y="248"/>
                    </a:lnTo>
                    <a:lnTo>
                      <a:pt x="217" y="279"/>
                    </a:lnTo>
                    <a:cubicBezTo>
                      <a:pt x="217" y="279"/>
                      <a:pt x="217" y="279"/>
                      <a:pt x="248" y="310"/>
                    </a:cubicBezTo>
                    <a:cubicBezTo>
                      <a:pt x="248" y="310"/>
                      <a:pt x="280" y="372"/>
                      <a:pt x="310" y="403"/>
                    </a:cubicBezTo>
                    <a:cubicBezTo>
                      <a:pt x="310" y="434"/>
                      <a:pt x="310" y="465"/>
                      <a:pt x="310" y="465"/>
                    </a:cubicBezTo>
                    <a:cubicBezTo>
                      <a:pt x="310" y="465"/>
                      <a:pt x="341" y="496"/>
                      <a:pt x="372" y="527"/>
                    </a:cubicBezTo>
                    <a:lnTo>
                      <a:pt x="404" y="589"/>
                    </a:lnTo>
                    <a:cubicBezTo>
                      <a:pt x="434" y="589"/>
                      <a:pt x="434" y="589"/>
                      <a:pt x="434" y="589"/>
                    </a:cubicBezTo>
                    <a:lnTo>
                      <a:pt x="465" y="620"/>
                    </a:lnTo>
                    <a:lnTo>
                      <a:pt x="465" y="620"/>
                    </a:lnTo>
                    <a:lnTo>
                      <a:pt x="465" y="620"/>
                    </a:lnTo>
                    <a:cubicBezTo>
                      <a:pt x="465" y="651"/>
                      <a:pt x="496" y="651"/>
                      <a:pt x="496" y="651"/>
                    </a:cubicBezTo>
                    <a:lnTo>
                      <a:pt x="496" y="682"/>
                    </a:lnTo>
                    <a:cubicBezTo>
                      <a:pt x="528" y="682"/>
                      <a:pt x="528" y="651"/>
                      <a:pt x="528" y="651"/>
                    </a:cubicBezTo>
                    <a:cubicBezTo>
                      <a:pt x="528" y="651"/>
                      <a:pt x="528" y="651"/>
                      <a:pt x="558" y="651"/>
                    </a:cubicBezTo>
                    <a:lnTo>
                      <a:pt x="558" y="651"/>
                    </a:lnTo>
                    <a:lnTo>
                      <a:pt x="558" y="651"/>
                    </a:lnTo>
                    <a:cubicBezTo>
                      <a:pt x="558" y="651"/>
                      <a:pt x="558" y="620"/>
                      <a:pt x="558" y="589"/>
                    </a:cubicBezTo>
                    <a:lnTo>
                      <a:pt x="558" y="589"/>
                    </a:lnTo>
                    <a:lnTo>
                      <a:pt x="558" y="558"/>
                    </a:lnTo>
                    <a:lnTo>
                      <a:pt x="558" y="558"/>
                    </a:lnTo>
                    <a:cubicBezTo>
                      <a:pt x="528" y="527"/>
                      <a:pt x="528" y="527"/>
                      <a:pt x="528" y="527"/>
                    </a:cubicBezTo>
                    <a:cubicBezTo>
                      <a:pt x="558" y="527"/>
                      <a:pt x="558" y="527"/>
                      <a:pt x="558" y="527"/>
                    </a:cubicBezTo>
                    <a:cubicBezTo>
                      <a:pt x="528" y="527"/>
                      <a:pt x="528" y="496"/>
                      <a:pt x="528" y="496"/>
                    </a:cubicBezTo>
                    <a:lnTo>
                      <a:pt x="528" y="496"/>
                    </a:lnTo>
                    <a:cubicBezTo>
                      <a:pt x="528" y="496"/>
                      <a:pt x="496" y="496"/>
                      <a:pt x="496" y="465"/>
                    </a:cubicBezTo>
                    <a:cubicBezTo>
                      <a:pt x="465" y="465"/>
                      <a:pt x="465" y="434"/>
                      <a:pt x="465" y="40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47" name="Freeform 144"/>
              <p:cNvSpPr>
                <a:spLocks noChangeArrowheads="1"/>
              </p:cNvSpPr>
              <p:nvPr/>
            </p:nvSpPr>
            <p:spPr bwMode="auto">
              <a:xfrm>
                <a:off x="3513138" y="1377950"/>
                <a:ext cx="33337" cy="11113"/>
              </a:xfrm>
              <a:custGeom>
                <a:avLst/>
                <a:gdLst>
                  <a:gd name="T0" fmla="*/ 62 w 94"/>
                  <a:gd name="T1" fmla="*/ 0 h 33"/>
                  <a:gd name="T2" fmla="*/ 62 w 94"/>
                  <a:gd name="T3" fmla="*/ 0 h 33"/>
                  <a:gd name="T4" fmla="*/ 62 w 94"/>
                  <a:gd name="T5" fmla="*/ 0 h 33"/>
                  <a:gd name="T6" fmla="*/ 32 w 94"/>
                  <a:gd name="T7" fmla="*/ 0 h 33"/>
                  <a:gd name="T8" fmla="*/ 32 w 94"/>
                  <a:gd name="T9" fmla="*/ 0 h 33"/>
                  <a:gd name="T10" fmla="*/ 32 w 94"/>
                  <a:gd name="T11" fmla="*/ 0 h 33"/>
                  <a:gd name="T12" fmla="*/ 0 w 94"/>
                  <a:gd name="T13" fmla="*/ 0 h 33"/>
                  <a:gd name="T14" fmla="*/ 0 w 94"/>
                  <a:gd name="T15" fmla="*/ 0 h 33"/>
                  <a:gd name="T16" fmla="*/ 0 w 94"/>
                  <a:gd name="T17" fmla="*/ 0 h 33"/>
                  <a:gd name="T18" fmla="*/ 0 w 94"/>
                  <a:gd name="T19" fmla="*/ 32 h 33"/>
                  <a:gd name="T20" fmla="*/ 0 w 94"/>
                  <a:gd name="T21" fmla="*/ 32 h 33"/>
                  <a:gd name="T22" fmla="*/ 0 w 94"/>
                  <a:gd name="T23" fmla="*/ 32 h 33"/>
                  <a:gd name="T24" fmla="*/ 0 w 94"/>
                  <a:gd name="T25" fmla="*/ 32 h 33"/>
                  <a:gd name="T26" fmla="*/ 32 w 94"/>
                  <a:gd name="T27" fmla="*/ 32 h 33"/>
                  <a:gd name="T28" fmla="*/ 62 w 94"/>
                  <a:gd name="T29" fmla="*/ 32 h 33"/>
                  <a:gd name="T30" fmla="*/ 62 w 94"/>
                  <a:gd name="T31" fmla="*/ 32 h 33"/>
                  <a:gd name="T32" fmla="*/ 93 w 94"/>
                  <a:gd name="T33" fmla="*/ 32 h 33"/>
                  <a:gd name="T34" fmla="*/ 93 w 94"/>
                  <a:gd name="T35" fmla="*/ 32 h 33"/>
                  <a:gd name="T36" fmla="*/ 62 w 94"/>
                  <a:gd name="T3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33">
                    <a:moveTo>
                      <a:pt x="62" y="0"/>
                    </a:moveTo>
                    <a:lnTo>
                      <a:pt x="62" y="0"/>
                    </a:lnTo>
                    <a:lnTo>
                      <a:pt x="62" y="0"/>
                    </a:lnTo>
                    <a:lnTo>
                      <a:pt x="32" y="0"/>
                    </a:lnTo>
                    <a:lnTo>
                      <a:pt x="32" y="0"/>
                    </a:lnTo>
                    <a:lnTo>
                      <a:pt x="32" y="0"/>
                    </a:lnTo>
                    <a:lnTo>
                      <a:pt x="0" y="0"/>
                    </a:lnTo>
                    <a:lnTo>
                      <a:pt x="0" y="0"/>
                    </a:lnTo>
                    <a:lnTo>
                      <a:pt x="0" y="0"/>
                    </a:lnTo>
                    <a:lnTo>
                      <a:pt x="0" y="32"/>
                    </a:lnTo>
                    <a:lnTo>
                      <a:pt x="0" y="32"/>
                    </a:lnTo>
                    <a:lnTo>
                      <a:pt x="0" y="32"/>
                    </a:lnTo>
                    <a:lnTo>
                      <a:pt x="0" y="32"/>
                    </a:lnTo>
                    <a:cubicBezTo>
                      <a:pt x="32" y="32"/>
                      <a:pt x="32" y="32"/>
                      <a:pt x="32" y="32"/>
                    </a:cubicBezTo>
                    <a:cubicBezTo>
                      <a:pt x="62" y="32"/>
                      <a:pt x="62" y="32"/>
                      <a:pt x="62" y="32"/>
                    </a:cubicBezTo>
                    <a:lnTo>
                      <a:pt x="62" y="32"/>
                    </a:lnTo>
                    <a:lnTo>
                      <a:pt x="93" y="32"/>
                    </a:lnTo>
                    <a:lnTo>
                      <a:pt x="93" y="32"/>
                    </a:lnTo>
                    <a:cubicBezTo>
                      <a:pt x="93" y="32"/>
                      <a:pt x="62" y="32"/>
                      <a:pt x="62"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48" name="Freeform 145"/>
              <p:cNvSpPr>
                <a:spLocks noChangeArrowheads="1"/>
              </p:cNvSpPr>
              <p:nvPr/>
            </p:nvSpPr>
            <p:spPr bwMode="auto">
              <a:xfrm>
                <a:off x="3467100" y="1401763"/>
                <a:ext cx="66675" cy="55562"/>
              </a:xfrm>
              <a:custGeom>
                <a:avLst/>
                <a:gdLst>
                  <a:gd name="T0" fmla="*/ 186 w 187"/>
                  <a:gd name="T1" fmla="*/ 62 h 155"/>
                  <a:gd name="T2" fmla="*/ 186 w 187"/>
                  <a:gd name="T3" fmla="*/ 62 h 155"/>
                  <a:gd name="T4" fmla="*/ 186 w 187"/>
                  <a:gd name="T5" fmla="*/ 30 h 155"/>
                  <a:gd name="T6" fmla="*/ 156 w 187"/>
                  <a:gd name="T7" fmla="*/ 30 h 155"/>
                  <a:gd name="T8" fmla="*/ 124 w 187"/>
                  <a:gd name="T9" fmla="*/ 30 h 155"/>
                  <a:gd name="T10" fmla="*/ 93 w 187"/>
                  <a:gd name="T11" fmla="*/ 0 h 155"/>
                  <a:gd name="T12" fmla="*/ 32 w 187"/>
                  <a:gd name="T13" fmla="*/ 0 h 155"/>
                  <a:gd name="T14" fmla="*/ 32 w 187"/>
                  <a:gd name="T15" fmla="*/ 0 h 155"/>
                  <a:gd name="T16" fmla="*/ 32 w 187"/>
                  <a:gd name="T17" fmla="*/ 0 h 155"/>
                  <a:gd name="T18" fmla="*/ 0 w 187"/>
                  <a:gd name="T19" fmla="*/ 0 h 155"/>
                  <a:gd name="T20" fmla="*/ 0 w 187"/>
                  <a:gd name="T21" fmla="*/ 0 h 155"/>
                  <a:gd name="T22" fmla="*/ 0 w 187"/>
                  <a:gd name="T23" fmla="*/ 0 h 155"/>
                  <a:gd name="T24" fmla="*/ 0 w 187"/>
                  <a:gd name="T25" fmla="*/ 0 h 155"/>
                  <a:gd name="T26" fmla="*/ 0 w 187"/>
                  <a:gd name="T27" fmla="*/ 30 h 155"/>
                  <a:gd name="T28" fmla="*/ 32 w 187"/>
                  <a:gd name="T29" fmla="*/ 30 h 155"/>
                  <a:gd name="T30" fmla="*/ 32 w 187"/>
                  <a:gd name="T31" fmla="*/ 30 h 155"/>
                  <a:gd name="T32" fmla="*/ 62 w 187"/>
                  <a:gd name="T33" fmla="*/ 62 h 155"/>
                  <a:gd name="T34" fmla="*/ 32 w 187"/>
                  <a:gd name="T35" fmla="*/ 93 h 155"/>
                  <a:gd name="T36" fmla="*/ 32 w 187"/>
                  <a:gd name="T37" fmla="*/ 124 h 155"/>
                  <a:gd name="T38" fmla="*/ 0 w 187"/>
                  <a:gd name="T39" fmla="*/ 124 h 155"/>
                  <a:gd name="T40" fmla="*/ 0 w 187"/>
                  <a:gd name="T41" fmla="*/ 154 h 155"/>
                  <a:gd name="T42" fmla="*/ 0 w 187"/>
                  <a:gd name="T43" fmla="*/ 154 h 155"/>
                  <a:gd name="T44" fmla="*/ 32 w 187"/>
                  <a:gd name="T45" fmla="*/ 154 h 155"/>
                  <a:gd name="T46" fmla="*/ 32 w 187"/>
                  <a:gd name="T47" fmla="*/ 154 h 155"/>
                  <a:gd name="T48" fmla="*/ 32 w 187"/>
                  <a:gd name="T49" fmla="*/ 154 h 155"/>
                  <a:gd name="T50" fmla="*/ 62 w 187"/>
                  <a:gd name="T51" fmla="*/ 154 h 155"/>
                  <a:gd name="T52" fmla="*/ 93 w 187"/>
                  <a:gd name="T53" fmla="*/ 124 h 155"/>
                  <a:gd name="T54" fmla="*/ 93 w 187"/>
                  <a:gd name="T55" fmla="*/ 124 h 155"/>
                  <a:gd name="T56" fmla="*/ 93 w 187"/>
                  <a:gd name="T57" fmla="*/ 124 h 155"/>
                  <a:gd name="T58" fmla="*/ 156 w 187"/>
                  <a:gd name="T59" fmla="*/ 93 h 155"/>
                  <a:gd name="T60" fmla="*/ 156 w 187"/>
                  <a:gd name="T61" fmla="*/ 93 h 155"/>
                  <a:gd name="T62" fmla="*/ 156 w 187"/>
                  <a:gd name="T63" fmla="*/ 93 h 155"/>
                  <a:gd name="T64" fmla="*/ 186 w 187"/>
                  <a:gd name="T65" fmla="*/ 93 h 155"/>
                  <a:gd name="T66" fmla="*/ 186 w 187"/>
                  <a:gd name="T67" fmla="*/ 93 h 155"/>
                  <a:gd name="T68" fmla="*/ 186 w 187"/>
                  <a:gd name="T69" fmla="*/ 93 h 155"/>
                  <a:gd name="T70" fmla="*/ 186 w 187"/>
                  <a:gd name="T71" fmla="*/ 6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7" h="155">
                    <a:moveTo>
                      <a:pt x="186" y="62"/>
                    </a:moveTo>
                    <a:lnTo>
                      <a:pt x="186" y="62"/>
                    </a:lnTo>
                    <a:lnTo>
                      <a:pt x="186" y="30"/>
                    </a:lnTo>
                    <a:lnTo>
                      <a:pt x="156" y="30"/>
                    </a:lnTo>
                    <a:lnTo>
                      <a:pt x="124" y="30"/>
                    </a:lnTo>
                    <a:cubicBezTo>
                      <a:pt x="124" y="30"/>
                      <a:pt x="93" y="30"/>
                      <a:pt x="93" y="0"/>
                    </a:cubicBezTo>
                    <a:cubicBezTo>
                      <a:pt x="62" y="0"/>
                      <a:pt x="62" y="0"/>
                      <a:pt x="32" y="0"/>
                    </a:cubicBezTo>
                    <a:lnTo>
                      <a:pt x="32" y="0"/>
                    </a:lnTo>
                    <a:lnTo>
                      <a:pt x="32" y="0"/>
                    </a:lnTo>
                    <a:cubicBezTo>
                      <a:pt x="32" y="0"/>
                      <a:pt x="32" y="0"/>
                      <a:pt x="0" y="0"/>
                    </a:cubicBezTo>
                    <a:lnTo>
                      <a:pt x="0" y="0"/>
                    </a:lnTo>
                    <a:lnTo>
                      <a:pt x="0" y="0"/>
                    </a:lnTo>
                    <a:lnTo>
                      <a:pt x="0" y="0"/>
                    </a:lnTo>
                    <a:cubicBezTo>
                      <a:pt x="0" y="30"/>
                      <a:pt x="0" y="30"/>
                      <a:pt x="0" y="30"/>
                    </a:cubicBezTo>
                    <a:cubicBezTo>
                      <a:pt x="0" y="30"/>
                      <a:pt x="0" y="30"/>
                      <a:pt x="32" y="30"/>
                    </a:cubicBezTo>
                    <a:lnTo>
                      <a:pt x="32" y="30"/>
                    </a:lnTo>
                    <a:cubicBezTo>
                      <a:pt x="32" y="62"/>
                      <a:pt x="62" y="62"/>
                      <a:pt x="62" y="62"/>
                    </a:cubicBezTo>
                    <a:cubicBezTo>
                      <a:pt x="32" y="93"/>
                      <a:pt x="32" y="93"/>
                      <a:pt x="32" y="93"/>
                    </a:cubicBezTo>
                    <a:cubicBezTo>
                      <a:pt x="32" y="124"/>
                      <a:pt x="32" y="124"/>
                      <a:pt x="32" y="124"/>
                    </a:cubicBezTo>
                    <a:cubicBezTo>
                      <a:pt x="0" y="124"/>
                      <a:pt x="0" y="124"/>
                      <a:pt x="0" y="124"/>
                    </a:cubicBezTo>
                    <a:cubicBezTo>
                      <a:pt x="0" y="124"/>
                      <a:pt x="0" y="124"/>
                      <a:pt x="0" y="154"/>
                    </a:cubicBezTo>
                    <a:lnTo>
                      <a:pt x="0" y="154"/>
                    </a:lnTo>
                    <a:lnTo>
                      <a:pt x="32" y="154"/>
                    </a:lnTo>
                    <a:lnTo>
                      <a:pt x="32" y="154"/>
                    </a:lnTo>
                    <a:lnTo>
                      <a:pt x="32" y="154"/>
                    </a:lnTo>
                    <a:lnTo>
                      <a:pt x="62" y="154"/>
                    </a:lnTo>
                    <a:cubicBezTo>
                      <a:pt x="62" y="124"/>
                      <a:pt x="62" y="124"/>
                      <a:pt x="93" y="124"/>
                    </a:cubicBezTo>
                    <a:lnTo>
                      <a:pt x="93" y="124"/>
                    </a:lnTo>
                    <a:lnTo>
                      <a:pt x="93" y="124"/>
                    </a:lnTo>
                    <a:cubicBezTo>
                      <a:pt x="124" y="93"/>
                      <a:pt x="124" y="93"/>
                      <a:pt x="156" y="93"/>
                    </a:cubicBezTo>
                    <a:lnTo>
                      <a:pt x="156" y="93"/>
                    </a:lnTo>
                    <a:lnTo>
                      <a:pt x="156" y="93"/>
                    </a:lnTo>
                    <a:lnTo>
                      <a:pt x="186" y="93"/>
                    </a:lnTo>
                    <a:lnTo>
                      <a:pt x="186" y="93"/>
                    </a:lnTo>
                    <a:lnTo>
                      <a:pt x="186" y="93"/>
                    </a:lnTo>
                    <a:lnTo>
                      <a:pt x="186" y="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49" name="Freeform 146"/>
              <p:cNvSpPr>
                <a:spLocks noChangeArrowheads="1"/>
              </p:cNvSpPr>
              <p:nvPr/>
            </p:nvSpPr>
            <p:spPr bwMode="auto">
              <a:xfrm>
                <a:off x="3557588" y="1311275"/>
                <a:ext cx="134937" cy="168275"/>
              </a:xfrm>
              <a:custGeom>
                <a:avLst/>
                <a:gdLst>
                  <a:gd name="T0" fmla="*/ 248 w 373"/>
                  <a:gd name="T1" fmla="*/ 434 h 466"/>
                  <a:gd name="T2" fmla="*/ 310 w 373"/>
                  <a:gd name="T3" fmla="*/ 434 h 466"/>
                  <a:gd name="T4" fmla="*/ 341 w 373"/>
                  <a:gd name="T5" fmla="*/ 434 h 466"/>
                  <a:gd name="T6" fmla="*/ 341 w 373"/>
                  <a:gd name="T7" fmla="*/ 372 h 466"/>
                  <a:gd name="T8" fmla="*/ 372 w 373"/>
                  <a:gd name="T9" fmla="*/ 341 h 466"/>
                  <a:gd name="T10" fmla="*/ 341 w 373"/>
                  <a:gd name="T11" fmla="*/ 341 h 466"/>
                  <a:gd name="T12" fmla="*/ 310 w 373"/>
                  <a:gd name="T13" fmla="*/ 341 h 466"/>
                  <a:gd name="T14" fmla="*/ 280 w 373"/>
                  <a:gd name="T15" fmla="*/ 310 h 466"/>
                  <a:gd name="T16" fmla="*/ 280 w 373"/>
                  <a:gd name="T17" fmla="*/ 278 h 466"/>
                  <a:gd name="T18" fmla="*/ 280 w 373"/>
                  <a:gd name="T19" fmla="*/ 248 h 466"/>
                  <a:gd name="T20" fmla="*/ 217 w 373"/>
                  <a:gd name="T21" fmla="*/ 217 h 466"/>
                  <a:gd name="T22" fmla="*/ 186 w 373"/>
                  <a:gd name="T23" fmla="*/ 185 h 466"/>
                  <a:gd name="T24" fmla="*/ 156 w 373"/>
                  <a:gd name="T25" fmla="*/ 154 h 466"/>
                  <a:gd name="T26" fmla="*/ 124 w 373"/>
                  <a:gd name="T27" fmla="*/ 154 h 466"/>
                  <a:gd name="T28" fmla="*/ 93 w 373"/>
                  <a:gd name="T29" fmla="*/ 124 h 466"/>
                  <a:gd name="T30" fmla="*/ 124 w 373"/>
                  <a:gd name="T31" fmla="*/ 93 h 466"/>
                  <a:gd name="T32" fmla="*/ 156 w 373"/>
                  <a:gd name="T33" fmla="*/ 93 h 466"/>
                  <a:gd name="T34" fmla="*/ 156 w 373"/>
                  <a:gd name="T35" fmla="*/ 30 h 466"/>
                  <a:gd name="T36" fmla="*/ 93 w 373"/>
                  <a:gd name="T37" fmla="*/ 30 h 466"/>
                  <a:gd name="T38" fmla="*/ 62 w 373"/>
                  <a:gd name="T39" fmla="*/ 0 h 466"/>
                  <a:gd name="T40" fmla="*/ 31 w 373"/>
                  <a:gd name="T41" fmla="*/ 0 h 466"/>
                  <a:gd name="T42" fmla="*/ 31 w 373"/>
                  <a:gd name="T43" fmla="*/ 30 h 466"/>
                  <a:gd name="T44" fmla="*/ 0 w 373"/>
                  <a:gd name="T45" fmla="*/ 62 h 466"/>
                  <a:gd name="T46" fmla="*/ 0 w 373"/>
                  <a:gd name="T47" fmla="*/ 93 h 466"/>
                  <a:gd name="T48" fmla="*/ 0 w 373"/>
                  <a:gd name="T49" fmla="*/ 93 h 466"/>
                  <a:gd name="T50" fmla="*/ 31 w 373"/>
                  <a:gd name="T51" fmla="*/ 93 h 466"/>
                  <a:gd name="T52" fmla="*/ 31 w 373"/>
                  <a:gd name="T53" fmla="*/ 154 h 466"/>
                  <a:gd name="T54" fmla="*/ 31 w 373"/>
                  <a:gd name="T55" fmla="*/ 185 h 466"/>
                  <a:gd name="T56" fmla="*/ 62 w 373"/>
                  <a:gd name="T57" fmla="*/ 185 h 466"/>
                  <a:gd name="T58" fmla="*/ 62 w 373"/>
                  <a:gd name="T59" fmla="*/ 185 h 466"/>
                  <a:gd name="T60" fmla="*/ 124 w 373"/>
                  <a:gd name="T61" fmla="*/ 185 h 466"/>
                  <a:gd name="T62" fmla="*/ 124 w 373"/>
                  <a:gd name="T63" fmla="*/ 217 h 466"/>
                  <a:gd name="T64" fmla="*/ 156 w 373"/>
                  <a:gd name="T65" fmla="*/ 278 h 466"/>
                  <a:gd name="T66" fmla="*/ 93 w 373"/>
                  <a:gd name="T67" fmla="*/ 341 h 466"/>
                  <a:gd name="T68" fmla="*/ 62 w 373"/>
                  <a:gd name="T69" fmla="*/ 372 h 466"/>
                  <a:gd name="T70" fmla="*/ 124 w 373"/>
                  <a:gd name="T71" fmla="*/ 402 h 466"/>
                  <a:gd name="T72" fmla="*/ 156 w 373"/>
                  <a:gd name="T73" fmla="*/ 372 h 466"/>
                  <a:gd name="T74" fmla="*/ 156 w 373"/>
                  <a:gd name="T75" fmla="*/ 434 h 466"/>
                  <a:gd name="T76" fmla="*/ 156 w 373"/>
                  <a:gd name="T77" fmla="*/ 434 h 466"/>
                  <a:gd name="T78" fmla="*/ 186 w 373"/>
                  <a:gd name="T79" fmla="*/ 434 h 466"/>
                  <a:gd name="T80" fmla="*/ 248 w 373"/>
                  <a:gd name="T81" fmla="*/ 434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3" h="466">
                    <a:moveTo>
                      <a:pt x="248" y="434"/>
                    </a:moveTo>
                    <a:lnTo>
                      <a:pt x="248" y="434"/>
                    </a:lnTo>
                    <a:lnTo>
                      <a:pt x="280" y="434"/>
                    </a:lnTo>
                    <a:cubicBezTo>
                      <a:pt x="310" y="434"/>
                      <a:pt x="310" y="434"/>
                      <a:pt x="310" y="434"/>
                    </a:cubicBezTo>
                    <a:lnTo>
                      <a:pt x="341" y="434"/>
                    </a:lnTo>
                    <a:lnTo>
                      <a:pt x="341" y="434"/>
                    </a:lnTo>
                    <a:lnTo>
                      <a:pt x="341" y="402"/>
                    </a:lnTo>
                    <a:lnTo>
                      <a:pt x="341" y="372"/>
                    </a:lnTo>
                    <a:cubicBezTo>
                      <a:pt x="372" y="372"/>
                      <a:pt x="372" y="372"/>
                      <a:pt x="372" y="341"/>
                    </a:cubicBezTo>
                    <a:lnTo>
                      <a:pt x="372" y="341"/>
                    </a:lnTo>
                    <a:lnTo>
                      <a:pt x="372" y="341"/>
                    </a:lnTo>
                    <a:cubicBezTo>
                      <a:pt x="341" y="341"/>
                      <a:pt x="341" y="341"/>
                      <a:pt x="341" y="341"/>
                    </a:cubicBezTo>
                    <a:cubicBezTo>
                      <a:pt x="310" y="341"/>
                      <a:pt x="310" y="341"/>
                      <a:pt x="310" y="341"/>
                    </a:cubicBezTo>
                    <a:lnTo>
                      <a:pt x="310" y="341"/>
                    </a:lnTo>
                    <a:cubicBezTo>
                      <a:pt x="280" y="341"/>
                      <a:pt x="280" y="341"/>
                      <a:pt x="280" y="341"/>
                    </a:cubicBezTo>
                    <a:cubicBezTo>
                      <a:pt x="280" y="310"/>
                      <a:pt x="280" y="310"/>
                      <a:pt x="280" y="310"/>
                    </a:cubicBezTo>
                    <a:lnTo>
                      <a:pt x="280" y="310"/>
                    </a:lnTo>
                    <a:cubicBezTo>
                      <a:pt x="280" y="310"/>
                      <a:pt x="280" y="310"/>
                      <a:pt x="280" y="278"/>
                    </a:cubicBezTo>
                    <a:lnTo>
                      <a:pt x="280" y="278"/>
                    </a:lnTo>
                    <a:lnTo>
                      <a:pt x="280" y="248"/>
                    </a:lnTo>
                    <a:cubicBezTo>
                      <a:pt x="280" y="248"/>
                      <a:pt x="280" y="248"/>
                      <a:pt x="248" y="248"/>
                    </a:cubicBezTo>
                    <a:cubicBezTo>
                      <a:pt x="248" y="248"/>
                      <a:pt x="248" y="217"/>
                      <a:pt x="217" y="217"/>
                    </a:cubicBezTo>
                    <a:lnTo>
                      <a:pt x="186" y="185"/>
                    </a:lnTo>
                    <a:lnTo>
                      <a:pt x="186" y="185"/>
                    </a:lnTo>
                    <a:cubicBezTo>
                      <a:pt x="186" y="154"/>
                      <a:pt x="186" y="154"/>
                      <a:pt x="156" y="154"/>
                    </a:cubicBezTo>
                    <a:lnTo>
                      <a:pt x="156" y="154"/>
                    </a:lnTo>
                    <a:lnTo>
                      <a:pt x="124" y="154"/>
                    </a:lnTo>
                    <a:lnTo>
                      <a:pt x="124" y="154"/>
                    </a:lnTo>
                    <a:lnTo>
                      <a:pt x="93" y="154"/>
                    </a:lnTo>
                    <a:cubicBezTo>
                      <a:pt x="93" y="124"/>
                      <a:pt x="93" y="124"/>
                      <a:pt x="93" y="124"/>
                    </a:cubicBezTo>
                    <a:cubicBezTo>
                      <a:pt x="93" y="93"/>
                      <a:pt x="93" y="93"/>
                      <a:pt x="124" y="93"/>
                    </a:cubicBezTo>
                    <a:lnTo>
                      <a:pt x="124" y="93"/>
                    </a:lnTo>
                    <a:lnTo>
                      <a:pt x="124" y="93"/>
                    </a:lnTo>
                    <a:cubicBezTo>
                      <a:pt x="156" y="93"/>
                      <a:pt x="156" y="93"/>
                      <a:pt x="156" y="93"/>
                    </a:cubicBezTo>
                    <a:cubicBezTo>
                      <a:pt x="156" y="62"/>
                      <a:pt x="156" y="62"/>
                      <a:pt x="156" y="62"/>
                    </a:cubicBezTo>
                    <a:lnTo>
                      <a:pt x="156" y="30"/>
                    </a:lnTo>
                    <a:cubicBezTo>
                      <a:pt x="156" y="30"/>
                      <a:pt x="124" y="30"/>
                      <a:pt x="93" y="30"/>
                    </a:cubicBezTo>
                    <a:lnTo>
                      <a:pt x="93" y="30"/>
                    </a:lnTo>
                    <a:cubicBezTo>
                      <a:pt x="62" y="30"/>
                      <a:pt x="62" y="30"/>
                      <a:pt x="62" y="0"/>
                    </a:cubicBezTo>
                    <a:lnTo>
                      <a:pt x="62" y="0"/>
                    </a:lnTo>
                    <a:lnTo>
                      <a:pt x="62" y="0"/>
                    </a:lnTo>
                    <a:cubicBezTo>
                      <a:pt x="31" y="0"/>
                      <a:pt x="31" y="0"/>
                      <a:pt x="31" y="0"/>
                    </a:cubicBezTo>
                    <a:lnTo>
                      <a:pt x="31" y="0"/>
                    </a:lnTo>
                    <a:lnTo>
                      <a:pt x="31" y="30"/>
                    </a:lnTo>
                    <a:cubicBezTo>
                      <a:pt x="31" y="30"/>
                      <a:pt x="31" y="62"/>
                      <a:pt x="0" y="62"/>
                    </a:cubicBezTo>
                    <a:lnTo>
                      <a:pt x="0" y="62"/>
                    </a:lnTo>
                    <a:cubicBezTo>
                      <a:pt x="0" y="62"/>
                      <a:pt x="0" y="62"/>
                      <a:pt x="0" y="93"/>
                    </a:cubicBezTo>
                    <a:lnTo>
                      <a:pt x="0" y="93"/>
                    </a:lnTo>
                    <a:lnTo>
                      <a:pt x="0" y="93"/>
                    </a:lnTo>
                    <a:lnTo>
                      <a:pt x="0" y="93"/>
                    </a:lnTo>
                    <a:cubicBezTo>
                      <a:pt x="0" y="93"/>
                      <a:pt x="0" y="93"/>
                      <a:pt x="31" y="93"/>
                    </a:cubicBezTo>
                    <a:lnTo>
                      <a:pt x="31" y="93"/>
                    </a:lnTo>
                    <a:cubicBezTo>
                      <a:pt x="31" y="93"/>
                      <a:pt x="62" y="124"/>
                      <a:pt x="31" y="124"/>
                    </a:cubicBezTo>
                    <a:cubicBezTo>
                      <a:pt x="31" y="124"/>
                      <a:pt x="31" y="124"/>
                      <a:pt x="31" y="154"/>
                    </a:cubicBezTo>
                    <a:lnTo>
                      <a:pt x="31" y="154"/>
                    </a:lnTo>
                    <a:lnTo>
                      <a:pt x="31" y="185"/>
                    </a:lnTo>
                    <a:lnTo>
                      <a:pt x="31" y="185"/>
                    </a:lnTo>
                    <a:cubicBezTo>
                      <a:pt x="31" y="185"/>
                      <a:pt x="31" y="185"/>
                      <a:pt x="62" y="185"/>
                    </a:cubicBezTo>
                    <a:lnTo>
                      <a:pt x="62" y="185"/>
                    </a:lnTo>
                    <a:lnTo>
                      <a:pt x="62" y="185"/>
                    </a:lnTo>
                    <a:cubicBezTo>
                      <a:pt x="62" y="185"/>
                      <a:pt x="93" y="154"/>
                      <a:pt x="124" y="154"/>
                    </a:cubicBezTo>
                    <a:cubicBezTo>
                      <a:pt x="124" y="154"/>
                      <a:pt x="124" y="154"/>
                      <a:pt x="124" y="185"/>
                    </a:cubicBezTo>
                    <a:lnTo>
                      <a:pt x="124" y="217"/>
                    </a:lnTo>
                    <a:lnTo>
                      <a:pt x="124" y="217"/>
                    </a:lnTo>
                    <a:cubicBezTo>
                      <a:pt x="156" y="217"/>
                      <a:pt x="156" y="217"/>
                      <a:pt x="156" y="248"/>
                    </a:cubicBezTo>
                    <a:lnTo>
                      <a:pt x="156" y="278"/>
                    </a:lnTo>
                    <a:cubicBezTo>
                      <a:pt x="156" y="310"/>
                      <a:pt x="124" y="341"/>
                      <a:pt x="93" y="341"/>
                    </a:cubicBezTo>
                    <a:lnTo>
                      <a:pt x="93" y="341"/>
                    </a:lnTo>
                    <a:lnTo>
                      <a:pt x="93" y="341"/>
                    </a:lnTo>
                    <a:cubicBezTo>
                      <a:pt x="93" y="372"/>
                      <a:pt x="93" y="372"/>
                      <a:pt x="62" y="372"/>
                    </a:cubicBezTo>
                    <a:cubicBezTo>
                      <a:pt x="93" y="372"/>
                      <a:pt x="93" y="372"/>
                      <a:pt x="93" y="372"/>
                    </a:cubicBezTo>
                    <a:cubicBezTo>
                      <a:pt x="93" y="372"/>
                      <a:pt x="93" y="372"/>
                      <a:pt x="124" y="402"/>
                    </a:cubicBezTo>
                    <a:lnTo>
                      <a:pt x="124" y="372"/>
                    </a:lnTo>
                    <a:lnTo>
                      <a:pt x="156" y="372"/>
                    </a:lnTo>
                    <a:cubicBezTo>
                      <a:pt x="156" y="372"/>
                      <a:pt x="186" y="372"/>
                      <a:pt x="186" y="402"/>
                    </a:cubicBezTo>
                    <a:cubicBezTo>
                      <a:pt x="186" y="402"/>
                      <a:pt x="186" y="402"/>
                      <a:pt x="156" y="434"/>
                    </a:cubicBezTo>
                    <a:lnTo>
                      <a:pt x="156" y="434"/>
                    </a:lnTo>
                    <a:lnTo>
                      <a:pt x="156" y="434"/>
                    </a:lnTo>
                    <a:cubicBezTo>
                      <a:pt x="156" y="434"/>
                      <a:pt x="156" y="465"/>
                      <a:pt x="186" y="465"/>
                    </a:cubicBezTo>
                    <a:lnTo>
                      <a:pt x="186" y="434"/>
                    </a:lnTo>
                    <a:lnTo>
                      <a:pt x="217" y="434"/>
                    </a:lnTo>
                    <a:lnTo>
                      <a:pt x="248" y="43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50" name="Freeform 147"/>
              <p:cNvSpPr>
                <a:spLocks noChangeArrowheads="1"/>
              </p:cNvSpPr>
              <p:nvPr/>
            </p:nvSpPr>
            <p:spPr bwMode="auto">
              <a:xfrm>
                <a:off x="2206625" y="2549525"/>
                <a:ext cx="758825" cy="849313"/>
              </a:xfrm>
              <a:custGeom>
                <a:avLst/>
                <a:gdLst>
                  <a:gd name="T0" fmla="*/ 1085 w 2108"/>
                  <a:gd name="T1" fmla="*/ 155 h 2357"/>
                  <a:gd name="T2" fmla="*/ 992 w 2108"/>
                  <a:gd name="T3" fmla="*/ 155 h 2357"/>
                  <a:gd name="T4" fmla="*/ 898 w 2108"/>
                  <a:gd name="T5" fmla="*/ 186 h 2357"/>
                  <a:gd name="T6" fmla="*/ 774 w 2108"/>
                  <a:gd name="T7" fmla="*/ 217 h 2357"/>
                  <a:gd name="T8" fmla="*/ 713 w 2108"/>
                  <a:gd name="T9" fmla="*/ 124 h 2357"/>
                  <a:gd name="T10" fmla="*/ 682 w 2108"/>
                  <a:gd name="T11" fmla="*/ 0 h 2357"/>
                  <a:gd name="T12" fmla="*/ 620 w 2108"/>
                  <a:gd name="T13" fmla="*/ 62 h 2357"/>
                  <a:gd name="T14" fmla="*/ 558 w 2108"/>
                  <a:gd name="T15" fmla="*/ 62 h 2357"/>
                  <a:gd name="T16" fmla="*/ 526 w 2108"/>
                  <a:gd name="T17" fmla="*/ 93 h 2357"/>
                  <a:gd name="T18" fmla="*/ 558 w 2108"/>
                  <a:gd name="T19" fmla="*/ 155 h 2357"/>
                  <a:gd name="T20" fmla="*/ 496 w 2108"/>
                  <a:gd name="T21" fmla="*/ 217 h 2357"/>
                  <a:gd name="T22" fmla="*/ 372 w 2108"/>
                  <a:gd name="T23" fmla="*/ 248 h 2357"/>
                  <a:gd name="T24" fmla="*/ 310 w 2108"/>
                  <a:gd name="T25" fmla="*/ 186 h 2357"/>
                  <a:gd name="T26" fmla="*/ 248 w 2108"/>
                  <a:gd name="T27" fmla="*/ 186 h 2357"/>
                  <a:gd name="T28" fmla="*/ 217 w 2108"/>
                  <a:gd name="T29" fmla="*/ 248 h 2357"/>
                  <a:gd name="T30" fmla="*/ 217 w 2108"/>
                  <a:gd name="T31" fmla="*/ 341 h 2357"/>
                  <a:gd name="T32" fmla="*/ 186 w 2108"/>
                  <a:gd name="T33" fmla="*/ 589 h 2357"/>
                  <a:gd name="T34" fmla="*/ 93 w 2108"/>
                  <a:gd name="T35" fmla="*/ 589 h 2357"/>
                  <a:gd name="T36" fmla="*/ 30 w 2108"/>
                  <a:gd name="T37" fmla="*/ 651 h 2357"/>
                  <a:gd name="T38" fmla="*/ 0 w 2108"/>
                  <a:gd name="T39" fmla="*/ 744 h 2357"/>
                  <a:gd name="T40" fmla="*/ 0 w 2108"/>
                  <a:gd name="T41" fmla="*/ 806 h 2357"/>
                  <a:gd name="T42" fmla="*/ 62 w 2108"/>
                  <a:gd name="T43" fmla="*/ 899 h 2357"/>
                  <a:gd name="T44" fmla="*/ 154 w 2108"/>
                  <a:gd name="T45" fmla="*/ 775 h 2357"/>
                  <a:gd name="T46" fmla="*/ 217 w 2108"/>
                  <a:gd name="T47" fmla="*/ 961 h 2357"/>
                  <a:gd name="T48" fmla="*/ 248 w 2108"/>
                  <a:gd name="T49" fmla="*/ 961 h 2357"/>
                  <a:gd name="T50" fmla="*/ 402 w 2108"/>
                  <a:gd name="T51" fmla="*/ 899 h 2357"/>
                  <a:gd name="T52" fmla="*/ 465 w 2108"/>
                  <a:gd name="T53" fmla="*/ 930 h 2357"/>
                  <a:gd name="T54" fmla="*/ 465 w 2108"/>
                  <a:gd name="T55" fmla="*/ 992 h 2357"/>
                  <a:gd name="T56" fmla="*/ 496 w 2108"/>
                  <a:gd name="T57" fmla="*/ 1054 h 2357"/>
                  <a:gd name="T58" fmla="*/ 589 w 2108"/>
                  <a:gd name="T59" fmla="*/ 1084 h 2357"/>
                  <a:gd name="T60" fmla="*/ 713 w 2108"/>
                  <a:gd name="T61" fmla="*/ 1178 h 2357"/>
                  <a:gd name="T62" fmla="*/ 744 w 2108"/>
                  <a:gd name="T63" fmla="*/ 1271 h 2357"/>
                  <a:gd name="T64" fmla="*/ 806 w 2108"/>
                  <a:gd name="T65" fmla="*/ 1301 h 2357"/>
                  <a:gd name="T66" fmla="*/ 837 w 2108"/>
                  <a:gd name="T67" fmla="*/ 1364 h 2357"/>
                  <a:gd name="T68" fmla="*/ 868 w 2108"/>
                  <a:gd name="T69" fmla="*/ 1425 h 2357"/>
                  <a:gd name="T70" fmla="*/ 868 w 2108"/>
                  <a:gd name="T71" fmla="*/ 1549 h 2357"/>
                  <a:gd name="T72" fmla="*/ 868 w 2108"/>
                  <a:gd name="T73" fmla="*/ 1673 h 2357"/>
                  <a:gd name="T74" fmla="*/ 898 w 2108"/>
                  <a:gd name="T75" fmla="*/ 1673 h 2357"/>
                  <a:gd name="T76" fmla="*/ 961 w 2108"/>
                  <a:gd name="T77" fmla="*/ 1673 h 2357"/>
                  <a:gd name="T78" fmla="*/ 1022 w 2108"/>
                  <a:gd name="T79" fmla="*/ 1767 h 2357"/>
                  <a:gd name="T80" fmla="*/ 1054 w 2108"/>
                  <a:gd name="T81" fmla="*/ 1860 h 2357"/>
                  <a:gd name="T82" fmla="*/ 1116 w 2108"/>
                  <a:gd name="T83" fmla="*/ 1984 h 2357"/>
                  <a:gd name="T84" fmla="*/ 1022 w 2108"/>
                  <a:gd name="T85" fmla="*/ 2077 h 2357"/>
                  <a:gd name="T86" fmla="*/ 930 w 2108"/>
                  <a:gd name="T87" fmla="*/ 2201 h 2357"/>
                  <a:gd name="T88" fmla="*/ 992 w 2108"/>
                  <a:gd name="T89" fmla="*/ 2263 h 2357"/>
                  <a:gd name="T90" fmla="*/ 1116 w 2108"/>
                  <a:gd name="T91" fmla="*/ 2356 h 2357"/>
                  <a:gd name="T92" fmla="*/ 1364 w 2108"/>
                  <a:gd name="T93" fmla="*/ 2045 h 2357"/>
                  <a:gd name="T94" fmla="*/ 1394 w 2108"/>
                  <a:gd name="T95" fmla="*/ 1891 h 2357"/>
                  <a:gd name="T96" fmla="*/ 1518 w 2108"/>
                  <a:gd name="T97" fmla="*/ 1797 h 2357"/>
                  <a:gd name="T98" fmla="*/ 1674 w 2108"/>
                  <a:gd name="T99" fmla="*/ 1736 h 2357"/>
                  <a:gd name="T100" fmla="*/ 1798 w 2108"/>
                  <a:gd name="T101" fmla="*/ 1549 h 2357"/>
                  <a:gd name="T102" fmla="*/ 1890 w 2108"/>
                  <a:gd name="T103" fmla="*/ 1271 h 2357"/>
                  <a:gd name="T104" fmla="*/ 1922 w 2108"/>
                  <a:gd name="T105" fmla="*/ 1054 h 2357"/>
                  <a:gd name="T106" fmla="*/ 2046 w 2108"/>
                  <a:gd name="T107" fmla="*/ 899 h 2357"/>
                  <a:gd name="T108" fmla="*/ 2107 w 2108"/>
                  <a:gd name="T109" fmla="*/ 682 h 2357"/>
                  <a:gd name="T110" fmla="*/ 1890 w 2108"/>
                  <a:gd name="T111" fmla="*/ 527 h 2357"/>
                  <a:gd name="T112" fmla="*/ 1735 w 2108"/>
                  <a:gd name="T113" fmla="*/ 465 h 2357"/>
                  <a:gd name="T114" fmla="*/ 1611 w 2108"/>
                  <a:gd name="T115" fmla="*/ 465 h 2357"/>
                  <a:gd name="T116" fmla="*/ 1487 w 2108"/>
                  <a:gd name="T117" fmla="*/ 372 h 2357"/>
                  <a:gd name="T118" fmla="*/ 1333 w 2108"/>
                  <a:gd name="T119" fmla="*/ 372 h 2357"/>
                  <a:gd name="T120" fmla="*/ 1270 w 2108"/>
                  <a:gd name="T121" fmla="*/ 310 h 2357"/>
                  <a:gd name="T122" fmla="*/ 1209 w 2108"/>
                  <a:gd name="T123" fmla="*/ 124 h 2357"/>
                  <a:gd name="T124" fmla="*/ 1178 w 2108"/>
                  <a:gd name="T125" fmla="*/ 93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8" h="2357">
                    <a:moveTo>
                      <a:pt x="1178" y="93"/>
                    </a:moveTo>
                    <a:lnTo>
                      <a:pt x="1178" y="93"/>
                    </a:lnTo>
                    <a:lnTo>
                      <a:pt x="1178" y="93"/>
                    </a:lnTo>
                    <a:cubicBezTo>
                      <a:pt x="1178" y="124"/>
                      <a:pt x="1178" y="124"/>
                      <a:pt x="1146" y="155"/>
                    </a:cubicBezTo>
                    <a:lnTo>
                      <a:pt x="1146" y="155"/>
                    </a:lnTo>
                    <a:lnTo>
                      <a:pt x="1116" y="155"/>
                    </a:lnTo>
                    <a:cubicBezTo>
                      <a:pt x="1085" y="155"/>
                      <a:pt x="1085" y="155"/>
                      <a:pt x="1085" y="155"/>
                    </a:cubicBezTo>
                    <a:lnTo>
                      <a:pt x="1085" y="155"/>
                    </a:lnTo>
                    <a:lnTo>
                      <a:pt x="1085" y="155"/>
                    </a:lnTo>
                    <a:cubicBezTo>
                      <a:pt x="1054" y="155"/>
                      <a:pt x="1054" y="155"/>
                      <a:pt x="1054" y="155"/>
                    </a:cubicBezTo>
                    <a:lnTo>
                      <a:pt x="1054" y="155"/>
                    </a:lnTo>
                    <a:cubicBezTo>
                      <a:pt x="1054" y="155"/>
                      <a:pt x="1054" y="155"/>
                      <a:pt x="1022" y="155"/>
                    </a:cubicBezTo>
                    <a:cubicBezTo>
                      <a:pt x="1022" y="155"/>
                      <a:pt x="1022" y="155"/>
                      <a:pt x="992" y="155"/>
                    </a:cubicBezTo>
                    <a:lnTo>
                      <a:pt x="992" y="155"/>
                    </a:lnTo>
                    <a:lnTo>
                      <a:pt x="992" y="155"/>
                    </a:lnTo>
                    <a:lnTo>
                      <a:pt x="992" y="155"/>
                    </a:lnTo>
                    <a:cubicBezTo>
                      <a:pt x="961" y="155"/>
                      <a:pt x="961" y="186"/>
                      <a:pt x="961" y="186"/>
                    </a:cubicBezTo>
                    <a:cubicBezTo>
                      <a:pt x="930" y="186"/>
                      <a:pt x="930" y="186"/>
                      <a:pt x="930" y="186"/>
                    </a:cubicBezTo>
                    <a:lnTo>
                      <a:pt x="930" y="186"/>
                    </a:lnTo>
                    <a:cubicBezTo>
                      <a:pt x="930" y="186"/>
                      <a:pt x="930" y="186"/>
                      <a:pt x="898" y="186"/>
                    </a:cubicBezTo>
                    <a:lnTo>
                      <a:pt x="898" y="186"/>
                    </a:lnTo>
                    <a:cubicBezTo>
                      <a:pt x="898" y="186"/>
                      <a:pt x="898" y="186"/>
                      <a:pt x="868" y="186"/>
                    </a:cubicBezTo>
                    <a:lnTo>
                      <a:pt x="868" y="186"/>
                    </a:lnTo>
                    <a:cubicBezTo>
                      <a:pt x="868" y="217"/>
                      <a:pt x="868" y="217"/>
                      <a:pt x="837" y="217"/>
                    </a:cubicBezTo>
                    <a:lnTo>
                      <a:pt x="837" y="217"/>
                    </a:lnTo>
                    <a:cubicBezTo>
                      <a:pt x="837" y="217"/>
                      <a:pt x="837" y="217"/>
                      <a:pt x="806" y="217"/>
                    </a:cubicBezTo>
                    <a:lnTo>
                      <a:pt x="806" y="217"/>
                    </a:lnTo>
                    <a:cubicBezTo>
                      <a:pt x="806" y="217"/>
                      <a:pt x="806" y="217"/>
                      <a:pt x="774" y="217"/>
                    </a:cubicBezTo>
                    <a:cubicBezTo>
                      <a:pt x="774" y="217"/>
                      <a:pt x="774" y="217"/>
                      <a:pt x="744" y="217"/>
                    </a:cubicBezTo>
                    <a:lnTo>
                      <a:pt x="744" y="217"/>
                    </a:lnTo>
                    <a:lnTo>
                      <a:pt x="744" y="217"/>
                    </a:lnTo>
                    <a:cubicBezTo>
                      <a:pt x="713" y="186"/>
                      <a:pt x="713" y="186"/>
                      <a:pt x="713" y="155"/>
                    </a:cubicBezTo>
                    <a:lnTo>
                      <a:pt x="713" y="155"/>
                    </a:lnTo>
                    <a:lnTo>
                      <a:pt x="713" y="155"/>
                    </a:lnTo>
                    <a:lnTo>
                      <a:pt x="713" y="124"/>
                    </a:lnTo>
                    <a:lnTo>
                      <a:pt x="713" y="124"/>
                    </a:lnTo>
                    <a:lnTo>
                      <a:pt x="713" y="93"/>
                    </a:lnTo>
                    <a:lnTo>
                      <a:pt x="713" y="93"/>
                    </a:lnTo>
                    <a:lnTo>
                      <a:pt x="713" y="93"/>
                    </a:lnTo>
                    <a:lnTo>
                      <a:pt x="713" y="62"/>
                    </a:lnTo>
                    <a:lnTo>
                      <a:pt x="713" y="31"/>
                    </a:lnTo>
                    <a:cubicBezTo>
                      <a:pt x="713" y="31"/>
                      <a:pt x="713" y="31"/>
                      <a:pt x="682" y="0"/>
                    </a:cubicBezTo>
                    <a:cubicBezTo>
                      <a:pt x="682" y="31"/>
                      <a:pt x="682" y="31"/>
                      <a:pt x="682" y="31"/>
                    </a:cubicBezTo>
                    <a:lnTo>
                      <a:pt x="650" y="31"/>
                    </a:lnTo>
                    <a:lnTo>
                      <a:pt x="650" y="31"/>
                    </a:lnTo>
                    <a:lnTo>
                      <a:pt x="650" y="31"/>
                    </a:lnTo>
                    <a:lnTo>
                      <a:pt x="620" y="62"/>
                    </a:lnTo>
                    <a:lnTo>
                      <a:pt x="620" y="62"/>
                    </a:lnTo>
                    <a:lnTo>
                      <a:pt x="620" y="62"/>
                    </a:lnTo>
                    <a:cubicBezTo>
                      <a:pt x="589" y="62"/>
                      <a:pt x="589" y="62"/>
                      <a:pt x="589" y="62"/>
                    </a:cubicBezTo>
                    <a:lnTo>
                      <a:pt x="589" y="62"/>
                    </a:lnTo>
                    <a:lnTo>
                      <a:pt x="589" y="62"/>
                    </a:lnTo>
                    <a:lnTo>
                      <a:pt x="589" y="93"/>
                    </a:lnTo>
                    <a:lnTo>
                      <a:pt x="589" y="93"/>
                    </a:lnTo>
                    <a:cubicBezTo>
                      <a:pt x="558" y="93"/>
                      <a:pt x="558" y="93"/>
                      <a:pt x="558" y="93"/>
                    </a:cubicBezTo>
                    <a:lnTo>
                      <a:pt x="558" y="62"/>
                    </a:lnTo>
                    <a:lnTo>
                      <a:pt x="558" y="62"/>
                    </a:lnTo>
                    <a:cubicBezTo>
                      <a:pt x="558" y="62"/>
                      <a:pt x="558" y="62"/>
                      <a:pt x="526" y="62"/>
                    </a:cubicBezTo>
                    <a:lnTo>
                      <a:pt x="526" y="62"/>
                    </a:lnTo>
                    <a:lnTo>
                      <a:pt x="526" y="62"/>
                    </a:lnTo>
                    <a:lnTo>
                      <a:pt x="526" y="62"/>
                    </a:lnTo>
                    <a:lnTo>
                      <a:pt x="526" y="62"/>
                    </a:lnTo>
                    <a:lnTo>
                      <a:pt x="526" y="93"/>
                    </a:lnTo>
                    <a:lnTo>
                      <a:pt x="526" y="93"/>
                    </a:lnTo>
                    <a:lnTo>
                      <a:pt x="558" y="93"/>
                    </a:lnTo>
                    <a:lnTo>
                      <a:pt x="558" y="93"/>
                    </a:lnTo>
                    <a:lnTo>
                      <a:pt x="589" y="124"/>
                    </a:lnTo>
                    <a:lnTo>
                      <a:pt x="589" y="124"/>
                    </a:lnTo>
                    <a:lnTo>
                      <a:pt x="589" y="124"/>
                    </a:lnTo>
                    <a:lnTo>
                      <a:pt x="558" y="155"/>
                    </a:lnTo>
                    <a:lnTo>
                      <a:pt x="558" y="155"/>
                    </a:lnTo>
                    <a:lnTo>
                      <a:pt x="526" y="155"/>
                    </a:lnTo>
                    <a:lnTo>
                      <a:pt x="526" y="155"/>
                    </a:lnTo>
                    <a:cubicBezTo>
                      <a:pt x="526" y="186"/>
                      <a:pt x="526" y="186"/>
                      <a:pt x="526" y="186"/>
                    </a:cubicBezTo>
                    <a:cubicBezTo>
                      <a:pt x="526" y="186"/>
                      <a:pt x="526" y="186"/>
                      <a:pt x="526" y="217"/>
                    </a:cubicBezTo>
                    <a:cubicBezTo>
                      <a:pt x="496" y="217"/>
                      <a:pt x="496" y="217"/>
                      <a:pt x="496" y="217"/>
                    </a:cubicBezTo>
                    <a:lnTo>
                      <a:pt x="496" y="217"/>
                    </a:lnTo>
                    <a:cubicBezTo>
                      <a:pt x="465" y="217"/>
                      <a:pt x="465" y="217"/>
                      <a:pt x="465" y="248"/>
                    </a:cubicBezTo>
                    <a:lnTo>
                      <a:pt x="465" y="248"/>
                    </a:lnTo>
                    <a:lnTo>
                      <a:pt x="434" y="248"/>
                    </a:lnTo>
                    <a:lnTo>
                      <a:pt x="434" y="248"/>
                    </a:lnTo>
                    <a:lnTo>
                      <a:pt x="402" y="248"/>
                    </a:lnTo>
                    <a:cubicBezTo>
                      <a:pt x="402" y="248"/>
                      <a:pt x="402" y="248"/>
                      <a:pt x="372" y="248"/>
                    </a:cubicBezTo>
                    <a:lnTo>
                      <a:pt x="372" y="248"/>
                    </a:lnTo>
                    <a:cubicBezTo>
                      <a:pt x="372" y="248"/>
                      <a:pt x="372" y="248"/>
                      <a:pt x="341" y="248"/>
                    </a:cubicBezTo>
                    <a:lnTo>
                      <a:pt x="341" y="248"/>
                    </a:lnTo>
                    <a:lnTo>
                      <a:pt x="341" y="248"/>
                    </a:lnTo>
                    <a:cubicBezTo>
                      <a:pt x="341" y="248"/>
                      <a:pt x="341" y="248"/>
                      <a:pt x="310" y="217"/>
                    </a:cubicBezTo>
                    <a:lnTo>
                      <a:pt x="310" y="217"/>
                    </a:lnTo>
                    <a:cubicBezTo>
                      <a:pt x="310" y="186"/>
                      <a:pt x="310" y="186"/>
                      <a:pt x="310" y="186"/>
                    </a:cubicBezTo>
                    <a:lnTo>
                      <a:pt x="310" y="186"/>
                    </a:lnTo>
                    <a:lnTo>
                      <a:pt x="310" y="186"/>
                    </a:lnTo>
                    <a:lnTo>
                      <a:pt x="310" y="186"/>
                    </a:lnTo>
                    <a:cubicBezTo>
                      <a:pt x="310" y="186"/>
                      <a:pt x="310" y="186"/>
                      <a:pt x="278" y="186"/>
                    </a:cubicBezTo>
                    <a:lnTo>
                      <a:pt x="278" y="186"/>
                    </a:lnTo>
                    <a:lnTo>
                      <a:pt x="278" y="186"/>
                    </a:lnTo>
                    <a:lnTo>
                      <a:pt x="248" y="186"/>
                    </a:lnTo>
                    <a:lnTo>
                      <a:pt x="248" y="186"/>
                    </a:lnTo>
                    <a:cubicBezTo>
                      <a:pt x="248" y="217"/>
                      <a:pt x="248" y="217"/>
                      <a:pt x="248" y="217"/>
                    </a:cubicBezTo>
                    <a:lnTo>
                      <a:pt x="248" y="248"/>
                    </a:lnTo>
                    <a:lnTo>
                      <a:pt x="248" y="248"/>
                    </a:lnTo>
                    <a:lnTo>
                      <a:pt x="217" y="248"/>
                    </a:lnTo>
                    <a:lnTo>
                      <a:pt x="217" y="248"/>
                    </a:lnTo>
                    <a:lnTo>
                      <a:pt x="217" y="248"/>
                    </a:lnTo>
                    <a:lnTo>
                      <a:pt x="217" y="248"/>
                    </a:lnTo>
                    <a:cubicBezTo>
                      <a:pt x="217" y="279"/>
                      <a:pt x="186" y="279"/>
                      <a:pt x="186" y="279"/>
                    </a:cubicBezTo>
                    <a:lnTo>
                      <a:pt x="186" y="279"/>
                    </a:lnTo>
                    <a:lnTo>
                      <a:pt x="186" y="279"/>
                    </a:lnTo>
                    <a:lnTo>
                      <a:pt x="186" y="279"/>
                    </a:lnTo>
                    <a:cubicBezTo>
                      <a:pt x="217" y="279"/>
                      <a:pt x="217" y="310"/>
                      <a:pt x="217" y="341"/>
                    </a:cubicBezTo>
                    <a:lnTo>
                      <a:pt x="217" y="341"/>
                    </a:lnTo>
                    <a:lnTo>
                      <a:pt x="217" y="341"/>
                    </a:lnTo>
                    <a:cubicBezTo>
                      <a:pt x="217" y="372"/>
                      <a:pt x="217" y="434"/>
                      <a:pt x="217" y="527"/>
                    </a:cubicBezTo>
                    <a:lnTo>
                      <a:pt x="217" y="527"/>
                    </a:lnTo>
                    <a:cubicBezTo>
                      <a:pt x="217" y="527"/>
                      <a:pt x="217" y="527"/>
                      <a:pt x="217" y="558"/>
                    </a:cubicBezTo>
                    <a:cubicBezTo>
                      <a:pt x="248" y="558"/>
                      <a:pt x="248" y="558"/>
                      <a:pt x="248" y="558"/>
                    </a:cubicBezTo>
                    <a:cubicBezTo>
                      <a:pt x="186" y="558"/>
                      <a:pt x="186" y="558"/>
                      <a:pt x="186" y="558"/>
                    </a:cubicBezTo>
                    <a:cubicBezTo>
                      <a:pt x="186" y="558"/>
                      <a:pt x="186" y="558"/>
                      <a:pt x="186" y="589"/>
                    </a:cubicBezTo>
                    <a:lnTo>
                      <a:pt x="186" y="589"/>
                    </a:lnTo>
                    <a:lnTo>
                      <a:pt x="154" y="589"/>
                    </a:lnTo>
                    <a:lnTo>
                      <a:pt x="154" y="589"/>
                    </a:lnTo>
                    <a:lnTo>
                      <a:pt x="154" y="589"/>
                    </a:lnTo>
                    <a:lnTo>
                      <a:pt x="154" y="589"/>
                    </a:lnTo>
                    <a:lnTo>
                      <a:pt x="154" y="589"/>
                    </a:lnTo>
                    <a:cubicBezTo>
                      <a:pt x="124" y="589"/>
                      <a:pt x="124" y="589"/>
                      <a:pt x="93" y="589"/>
                    </a:cubicBezTo>
                    <a:lnTo>
                      <a:pt x="93" y="589"/>
                    </a:lnTo>
                    <a:lnTo>
                      <a:pt x="93" y="589"/>
                    </a:lnTo>
                    <a:cubicBezTo>
                      <a:pt x="62" y="589"/>
                      <a:pt x="62" y="589"/>
                      <a:pt x="62" y="589"/>
                    </a:cubicBezTo>
                    <a:lnTo>
                      <a:pt x="62" y="589"/>
                    </a:lnTo>
                    <a:cubicBezTo>
                      <a:pt x="62" y="620"/>
                      <a:pt x="30" y="620"/>
                      <a:pt x="30" y="620"/>
                    </a:cubicBezTo>
                    <a:lnTo>
                      <a:pt x="30" y="620"/>
                    </a:lnTo>
                    <a:cubicBezTo>
                      <a:pt x="30" y="651"/>
                      <a:pt x="30" y="651"/>
                      <a:pt x="30" y="651"/>
                    </a:cubicBezTo>
                    <a:lnTo>
                      <a:pt x="30" y="651"/>
                    </a:lnTo>
                    <a:cubicBezTo>
                      <a:pt x="30" y="651"/>
                      <a:pt x="30" y="651"/>
                      <a:pt x="30" y="682"/>
                    </a:cubicBezTo>
                    <a:lnTo>
                      <a:pt x="30" y="682"/>
                    </a:lnTo>
                    <a:lnTo>
                      <a:pt x="30" y="682"/>
                    </a:lnTo>
                    <a:lnTo>
                      <a:pt x="30" y="682"/>
                    </a:lnTo>
                    <a:lnTo>
                      <a:pt x="30" y="682"/>
                    </a:lnTo>
                    <a:cubicBezTo>
                      <a:pt x="30" y="713"/>
                      <a:pt x="30" y="713"/>
                      <a:pt x="0" y="744"/>
                    </a:cubicBezTo>
                    <a:lnTo>
                      <a:pt x="0" y="744"/>
                    </a:lnTo>
                    <a:lnTo>
                      <a:pt x="0" y="744"/>
                    </a:lnTo>
                    <a:lnTo>
                      <a:pt x="0" y="744"/>
                    </a:lnTo>
                    <a:lnTo>
                      <a:pt x="0" y="775"/>
                    </a:lnTo>
                    <a:lnTo>
                      <a:pt x="0" y="775"/>
                    </a:lnTo>
                    <a:lnTo>
                      <a:pt x="0" y="806"/>
                    </a:lnTo>
                    <a:lnTo>
                      <a:pt x="0" y="806"/>
                    </a:lnTo>
                    <a:lnTo>
                      <a:pt x="0" y="806"/>
                    </a:lnTo>
                    <a:lnTo>
                      <a:pt x="0" y="806"/>
                    </a:lnTo>
                    <a:cubicBezTo>
                      <a:pt x="30" y="837"/>
                      <a:pt x="30" y="837"/>
                      <a:pt x="30" y="868"/>
                    </a:cubicBezTo>
                    <a:lnTo>
                      <a:pt x="30" y="868"/>
                    </a:lnTo>
                    <a:lnTo>
                      <a:pt x="30" y="868"/>
                    </a:lnTo>
                    <a:lnTo>
                      <a:pt x="62" y="868"/>
                    </a:lnTo>
                    <a:cubicBezTo>
                      <a:pt x="62" y="899"/>
                      <a:pt x="62" y="899"/>
                      <a:pt x="62" y="899"/>
                    </a:cubicBezTo>
                    <a:lnTo>
                      <a:pt x="62" y="899"/>
                    </a:lnTo>
                    <a:lnTo>
                      <a:pt x="62" y="899"/>
                    </a:lnTo>
                    <a:cubicBezTo>
                      <a:pt x="93" y="899"/>
                      <a:pt x="93" y="899"/>
                      <a:pt x="93" y="899"/>
                    </a:cubicBezTo>
                    <a:lnTo>
                      <a:pt x="93" y="899"/>
                    </a:lnTo>
                    <a:lnTo>
                      <a:pt x="93" y="899"/>
                    </a:lnTo>
                    <a:cubicBezTo>
                      <a:pt x="93" y="899"/>
                      <a:pt x="93" y="899"/>
                      <a:pt x="124" y="868"/>
                    </a:cubicBezTo>
                    <a:lnTo>
                      <a:pt x="124" y="868"/>
                    </a:lnTo>
                    <a:cubicBezTo>
                      <a:pt x="154" y="775"/>
                      <a:pt x="154" y="775"/>
                      <a:pt x="154" y="775"/>
                    </a:cubicBezTo>
                    <a:cubicBezTo>
                      <a:pt x="154" y="899"/>
                      <a:pt x="154" y="899"/>
                      <a:pt x="154" y="899"/>
                    </a:cubicBezTo>
                    <a:cubicBezTo>
                      <a:pt x="154" y="899"/>
                      <a:pt x="154" y="930"/>
                      <a:pt x="154" y="961"/>
                    </a:cubicBezTo>
                    <a:lnTo>
                      <a:pt x="186" y="961"/>
                    </a:lnTo>
                    <a:lnTo>
                      <a:pt x="186" y="961"/>
                    </a:lnTo>
                    <a:lnTo>
                      <a:pt x="186" y="961"/>
                    </a:lnTo>
                    <a:cubicBezTo>
                      <a:pt x="217" y="961"/>
                      <a:pt x="217" y="961"/>
                      <a:pt x="217" y="961"/>
                    </a:cubicBezTo>
                    <a:lnTo>
                      <a:pt x="217" y="961"/>
                    </a:lnTo>
                    <a:lnTo>
                      <a:pt x="217" y="961"/>
                    </a:lnTo>
                    <a:lnTo>
                      <a:pt x="217" y="961"/>
                    </a:lnTo>
                    <a:cubicBezTo>
                      <a:pt x="217" y="961"/>
                      <a:pt x="217" y="961"/>
                      <a:pt x="248" y="961"/>
                    </a:cubicBezTo>
                    <a:lnTo>
                      <a:pt x="248" y="961"/>
                    </a:lnTo>
                    <a:lnTo>
                      <a:pt x="248" y="961"/>
                    </a:lnTo>
                    <a:lnTo>
                      <a:pt x="248" y="961"/>
                    </a:lnTo>
                    <a:lnTo>
                      <a:pt x="248" y="961"/>
                    </a:lnTo>
                    <a:lnTo>
                      <a:pt x="248" y="961"/>
                    </a:lnTo>
                    <a:cubicBezTo>
                      <a:pt x="278" y="961"/>
                      <a:pt x="278" y="930"/>
                      <a:pt x="278" y="930"/>
                    </a:cubicBezTo>
                    <a:lnTo>
                      <a:pt x="278" y="930"/>
                    </a:lnTo>
                    <a:cubicBezTo>
                      <a:pt x="310" y="930"/>
                      <a:pt x="310" y="899"/>
                      <a:pt x="341" y="899"/>
                    </a:cubicBezTo>
                    <a:lnTo>
                      <a:pt x="341" y="899"/>
                    </a:lnTo>
                    <a:cubicBezTo>
                      <a:pt x="341" y="868"/>
                      <a:pt x="372" y="868"/>
                      <a:pt x="372" y="868"/>
                    </a:cubicBezTo>
                    <a:cubicBezTo>
                      <a:pt x="372" y="868"/>
                      <a:pt x="402" y="868"/>
                      <a:pt x="402" y="899"/>
                    </a:cubicBezTo>
                    <a:lnTo>
                      <a:pt x="402" y="899"/>
                    </a:lnTo>
                    <a:cubicBezTo>
                      <a:pt x="402" y="868"/>
                      <a:pt x="402" y="868"/>
                      <a:pt x="434" y="868"/>
                    </a:cubicBezTo>
                    <a:lnTo>
                      <a:pt x="434" y="868"/>
                    </a:lnTo>
                    <a:cubicBezTo>
                      <a:pt x="434" y="868"/>
                      <a:pt x="434" y="868"/>
                      <a:pt x="465" y="899"/>
                    </a:cubicBezTo>
                    <a:lnTo>
                      <a:pt x="465" y="899"/>
                    </a:lnTo>
                    <a:lnTo>
                      <a:pt x="465" y="899"/>
                    </a:lnTo>
                    <a:cubicBezTo>
                      <a:pt x="465" y="930"/>
                      <a:pt x="465" y="930"/>
                      <a:pt x="465" y="930"/>
                    </a:cubicBezTo>
                    <a:lnTo>
                      <a:pt x="465" y="930"/>
                    </a:lnTo>
                    <a:lnTo>
                      <a:pt x="465" y="961"/>
                    </a:lnTo>
                    <a:cubicBezTo>
                      <a:pt x="465" y="961"/>
                      <a:pt x="465" y="961"/>
                      <a:pt x="465" y="992"/>
                    </a:cubicBezTo>
                    <a:lnTo>
                      <a:pt x="465" y="992"/>
                    </a:lnTo>
                    <a:lnTo>
                      <a:pt x="465" y="992"/>
                    </a:lnTo>
                    <a:lnTo>
                      <a:pt x="465" y="992"/>
                    </a:lnTo>
                    <a:lnTo>
                      <a:pt x="465" y="992"/>
                    </a:lnTo>
                    <a:cubicBezTo>
                      <a:pt x="465" y="1023"/>
                      <a:pt x="465" y="1023"/>
                      <a:pt x="465" y="1023"/>
                    </a:cubicBezTo>
                    <a:lnTo>
                      <a:pt x="465" y="1023"/>
                    </a:lnTo>
                    <a:lnTo>
                      <a:pt x="465" y="1023"/>
                    </a:lnTo>
                    <a:lnTo>
                      <a:pt x="465" y="1023"/>
                    </a:lnTo>
                    <a:lnTo>
                      <a:pt x="496" y="1023"/>
                    </a:lnTo>
                    <a:lnTo>
                      <a:pt x="496" y="1054"/>
                    </a:lnTo>
                    <a:lnTo>
                      <a:pt x="496" y="1054"/>
                    </a:lnTo>
                    <a:lnTo>
                      <a:pt x="496" y="1054"/>
                    </a:lnTo>
                    <a:cubicBezTo>
                      <a:pt x="526" y="1054"/>
                      <a:pt x="526" y="1054"/>
                      <a:pt x="526" y="1054"/>
                    </a:cubicBezTo>
                    <a:lnTo>
                      <a:pt x="526" y="1054"/>
                    </a:lnTo>
                    <a:cubicBezTo>
                      <a:pt x="526" y="1084"/>
                      <a:pt x="558" y="1084"/>
                      <a:pt x="558" y="1084"/>
                    </a:cubicBezTo>
                    <a:lnTo>
                      <a:pt x="558" y="1084"/>
                    </a:lnTo>
                    <a:lnTo>
                      <a:pt x="589" y="1084"/>
                    </a:lnTo>
                    <a:lnTo>
                      <a:pt x="589" y="1084"/>
                    </a:lnTo>
                    <a:cubicBezTo>
                      <a:pt x="620" y="1084"/>
                      <a:pt x="620" y="1084"/>
                      <a:pt x="620" y="1084"/>
                    </a:cubicBezTo>
                    <a:lnTo>
                      <a:pt x="620" y="1084"/>
                    </a:lnTo>
                    <a:cubicBezTo>
                      <a:pt x="620" y="1084"/>
                      <a:pt x="620" y="1116"/>
                      <a:pt x="650" y="1116"/>
                    </a:cubicBezTo>
                    <a:lnTo>
                      <a:pt x="650" y="1116"/>
                    </a:lnTo>
                    <a:lnTo>
                      <a:pt x="650" y="1116"/>
                    </a:lnTo>
                    <a:cubicBezTo>
                      <a:pt x="682" y="1116"/>
                      <a:pt x="682" y="1116"/>
                      <a:pt x="682" y="1116"/>
                    </a:cubicBezTo>
                    <a:cubicBezTo>
                      <a:pt x="713" y="1116"/>
                      <a:pt x="713" y="1147"/>
                      <a:pt x="713" y="1178"/>
                    </a:cubicBezTo>
                    <a:lnTo>
                      <a:pt x="713" y="1178"/>
                    </a:lnTo>
                    <a:cubicBezTo>
                      <a:pt x="744" y="1178"/>
                      <a:pt x="744" y="1178"/>
                      <a:pt x="744" y="1209"/>
                    </a:cubicBezTo>
                    <a:lnTo>
                      <a:pt x="744" y="1209"/>
                    </a:lnTo>
                    <a:cubicBezTo>
                      <a:pt x="744" y="1209"/>
                      <a:pt x="713" y="1209"/>
                      <a:pt x="713" y="1240"/>
                    </a:cubicBezTo>
                    <a:lnTo>
                      <a:pt x="713" y="1240"/>
                    </a:lnTo>
                    <a:cubicBezTo>
                      <a:pt x="744" y="1240"/>
                      <a:pt x="744" y="1240"/>
                      <a:pt x="744" y="1240"/>
                    </a:cubicBezTo>
                    <a:cubicBezTo>
                      <a:pt x="744" y="1271"/>
                      <a:pt x="744" y="1271"/>
                      <a:pt x="744" y="1271"/>
                    </a:cubicBezTo>
                    <a:lnTo>
                      <a:pt x="744" y="1271"/>
                    </a:lnTo>
                    <a:lnTo>
                      <a:pt x="744" y="1301"/>
                    </a:lnTo>
                    <a:lnTo>
                      <a:pt x="744" y="1301"/>
                    </a:lnTo>
                    <a:lnTo>
                      <a:pt x="744" y="1301"/>
                    </a:lnTo>
                    <a:lnTo>
                      <a:pt x="744" y="1301"/>
                    </a:lnTo>
                    <a:lnTo>
                      <a:pt x="774" y="1301"/>
                    </a:lnTo>
                    <a:cubicBezTo>
                      <a:pt x="806" y="1301"/>
                      <a:pt x="806" y="1301"/>
                      <a:pt x="806" y="1301"/>
                    </a:cubicBezTo>
                    <a:cubicBezTo>
                      <a:pt x="837" y="1301"/>
                      <a:pt x="837" y="1301"/>
                      <a:pt x="837" y="1301"/>
                    </a:cubicBezTo>
                    <a:lnTo>
                      <a:pt x="837" y="1333"/>
                    </a:lnTo>
                    <a:lnTo>
                      <a:pt x="837" y="1333"/>
                    </a:lnTo>
                    <a:lnTo>
                      <a:pt x="837" y="1364"/>
                    </a:lnTo>
                    <a:lnTo>
                      <a:pt x="837" y="1364"/>
                    </a:lnTo>
                    <a:lnTo>
                      <a:pt x="837" y="1364"/>
                    </a:lnTo>
                    <a:lnTo>
                      <a:pt x="837" y="1364"/>
                    </a:lnTo>
                    <a:lnTo>
                      <a:pt x="837" y="1364"/>
                    </a:lnTo>
                    <a:lnTo>
                      <a:pt x="837" y="1364"/>
                    </a:lnTo>
                    <a:lnTo>
                      <a:pt x="837" y="1364"/>
                    </a:lnTo>
                    <a:lnTo>
                      <a:pt x="837" y="1364"/>
                    </a:lnTo>
                    <a:lnTo>
                      <a:pt x="868" y="1364"/>
                    </a:lnTo>
                    <a:cubicBezTo>
                      <a:pt x="868" y="1395"/>
                      <a:pt x="868" y="1395"/>
                      <a:pt x="868" y="1425"/>
                    </a:cubicBezTo>
                    <a:lnTo>
                      <a:pt x="868" y="1425"/>
                    </a:lnTo>
                    <a:lnTo>
                      <a:pt x="898" y="1457"/>
                    </a:lnTo>
                    <a:lnTo>
                      <a:pt x="898" y="1457"/>
                    </a:lnTo>
                    <a:lnTo>
                      <a:pt x="898" y="1457"/>
                    </a:lnTo>
                    <a:cubicBezTo>
                      <a:pt x="898" y="1488"/>
                      <a:pt x="898" y="1488"/>
                      <a:pt x="868" y="1488"/>
                    </a:cubicBezTo>
                    <a:lnTo>
                      <a:pt x="868" y="1519"/>
                    </a:lnTo>
                    <a:cubicBezTo>
                      <a:pt x="868" y="1549"/>
                      <a:pt x="868" y="1549"/>
                      <a:pt x="868" y="1549"/>
                    </a:cubicBezTo>
                    <a:lnTo>
                      <a:pt x="868" y="1549"/>
                    </a:lnTo>
                    <a:lnTo>
                      <a:pt x="868" y="1549"/>
                    </a:lnTo>
                    <a:lnTo>
                      <a:pt x="868" y="1549"/>
                    </a:lnTo>
                    <a:lnTo>
                      <a:pt x="868" y="1549"/>
                    </a:lnTo>
                    <a:cubicBezTo>
                      <a:pt x="868" y="1581"/>
                      <a:pt x="868" y="1581"/>
                      <a:pt x="868" y="1612"/>
                    </a:cubicBezTo>
                    <a:lnTo>
                      <a:pt x="868" y="1612"/>
                    </a:lnTo>
                    <a:lnTo>
                      <a:pt x="868" y="1643"/>
                    </a:lnTo>
                    <a:lnTo>
                      <a:pt x="868" y="1673"/>
                    </a:lnTo>
                    <a:lnTo>
                      <a:pt x="868" y="1673"/>
                    </a:lnTo>
                    <a:lnTo>
                      <a:pt x="868" y="1673"/>
                    </a:lnTo>
                    <a:lnTo>
                      <a:pt x="868" y="1673"/>
                    </a:lnTo>
                    <a:lnTo>
                      <a:pt x="868" y="1673"/>
                    </a:lnTo>
                    <a:cubicBezTo>
                      <a:pt x="898" y="1673"/>
                      <a:pt x="898" y="1673"/>
                      <a:pt x="898" y="1673"/>
                    </a:cubicBezTo>
                    <a:lnTo>
                      <a:pt x="898" y="1673"/>
                    </a:lnTo>
                    <a:lnTo>
                      <a:pt x="898" y="1673"/>
                    </a:lnTo>
                    <a:lnTo>
                      <a:pt x="898" y="1673"/>
                    </a:lnTo>
                    <a:lnTo>
                      <a:pt x="898" y="1673"/>
                    </a:lnTo>
                    <a:cubicBezTo>
                      <a:pt x="898" y="1673"/>
                      <a:pt x="898" y="1673"/>
                      <a:pt x="930" y="1673"/>
                    </a:cubicBezTo>
                    <a:lnTo>
                      <a:pt x="930" y="1673"/>
                    </a:lnTo>
                    <a:lnTo>
                      <a:pt x="930" y="1673"/>
                    </a:lnTo>
                    <a:lnTo>
                      <a:pt x="930" y="1673"/>
                    </a:lnTo>
                    <a:cubicBezTo>
                      <a:pt x="930" y="1673"/>
                      <a:pt x="930" y="1673"/>
                      <a:pt x="961" y="1673"/>
                    </a:cubicBezTo>
                    <a:lnTo>
                      <a:pt x="961" y="1705"/>
                    </a:lnTo>
                    <a:lnTo>
                      <a:pt x="961" y="1705"/>
                    </a:lnTo>
                    <a:lnTo>
                      <a:pt x="992" y="1705"/>
                    </a:lnTo>
                    <a:cubicBezTo>
                      <a:pt x="992" y="1736"/>
                      <a:pt x="992" y="1767"/>
                      <a:pt x="992" y="1767"/>
                    </a:cubicBezTo>
                    <a:cubicBezTo>
                      <a:pt x="992" y="1767"/>
                      <a:pt x="992" y="1767"/>
                      <a:pt x="992" y="1797"/>
                    </a:cubicBezTo>
                    <a:cubicBezTo>
                      <a:pt x="992" y="1797"/>
                      <a:pt x="992" y="1797"/>
                      <a:pt x="992" y="1767"/>
                    </a:cubicBezTo>
                    <a:cubicBezTo>
                      <a:pt x="1022" y="1767"/>
                      <a:pt x="1022" y="1767"/>
                      <a:pt x="1022" y="1767"/>
                    </a:cubicBezTo>
                    <a:lnTo>
                      <a:pt x="1022" y="1767"/>
                    </a:lnTo>
                    <a:cubicBezTo>
                      <a:pt x="1054" y="1767"/>
                      <a:pt x="1085" y="1797"/>
                      <a:pt x="1085" y="1829"/>
                    </a:cubicBezTo>
                    <a:lnTo>
                      <a:pt x="1085" y="1829"/>
                    </a:lnTo>
                    <a:cubicBezTo>
                      <a:pt x="1085" y="1860"/>
                      <a:pt x="1054" y="1860"/>
                      <a:pt x="1054" y="1860"/>
                    </a:cubicBezTo>
                    <a:lnTo>
                      <a:pt x="1054" y="1860"/>
                    </a:lnTo>
                    <a:lnTo>
                      <a:pt x="1054" y="1860"/>
                    </a:lnTo>
                    <a:lnTo>
                      <a:pt x="1054" y="1860"/>
                    </a:lnTo>
                    <a:cubicBezTo>
                      <a:pt x="1054" y="1891"/>
                      <a:pt x="1054" y="1891"/>
                      <a:pt x="1054" y="1891"/>
                    </a:cubicBezTo>
                    <a:cubicBezTo>
                      <a:pt x="1085" y="1891"/>
                      <a:pt x="1085" y="1891"/>
                      <a:pt x="1085" y="1921"/>
                    </a:cubicBezTo>
                    <a:lnTo>
                      <a:pt x="1085" y="1953"/>
                    </a:lnTo>
                    <a:lnTo>
                      <a:pt x="1085" y="1953"/>
                    </a:lnTo>
                    <a:cubicBezTo>
                      <a:pt x="1085" y="1953"/>
                      <a:pt x="1085" y="1953"/>
                      <a:pt x="1085" y="1984"/>
                    </a:cubicBezTo>
                    <a:lnTo>
                      <a:pt x="1116" y="1984"/>
                    </a:lnTo>
                    <a:lnTo>
                      <a:pt x="1116" y="1984"/>
                    </a:lnTo>
                    <a:cubicBezTo>
                      <a:pt x="1116" y="2015"/>
                      <a:pt x="1085" y="2015"/>
                      <a:pt x="1085" y="2015"/>
                    </a:cubicBezTo>
                    <a:lnTo>
                      <a:pt x="1085" y="2015"/>
                    </a:lnTo>
                    <a:lnTo>
                      <a:pt x="1085" y="2015"/>
                    </a:lnTo>
                    <a:cubicBezTo>
                      <a:pt x="1085" y="2045"/>
                      <a:pt x="1054" y="2077"/>
                      <a:pt x="1054" y="2077"/>
                    </a:cubicBezTo>
                    <a:lnTo>
                      <a:pt x="1022" y="2077"/>
                    </a:lnTo>
                    <a:lnTo>
                      <a:pt x="1022" y="2077"/>
                    </a:lnTo>
                    <a:lnTo>
                      <a:pt x="1022" y="2077"/>
                    </a:lnTo>
                    <a:cubicBezTo>
                      <a:pt x="1022" y="2077"/>
                      <a:pt x="1022" y="2077"/>
                      <a:pt x="992" y="2108"/>
                    </a:cubicBezTo>
                    <a:cubicBezTo>
                      <a:pt x="961" y="2108"/>
                      <a:pt x="961" y="2139"/>
                      <a:pt x="961" y="2139"/>
                    </a:cubicBezTo>
                    <a:lnTo>
                      <a:pt x="930" y="2169"/>
                    </a:lnTo>
                    <a:lnTo>
                      <a:pt x="930" y="2169"/>
                    </a:lnTo>
                    <a:cubicBezTo>
                      <a:pt x="930" y="2169"/>
                      <a:pt x="930" y="2169"/>
                      <a:pt x="930" y="2201"/>
                    </a:cubicBezTo>
                    <a:lnTo>
                      <a:pt x="930" y="2201"/>
                    </a:lnTo>
                    <a:lnTo>
                      <a:pt x="930" y="2201"/>
                    </a:lnTo>
                    <a:cubicBezTo>
                      <a:pt x="961" y="2201"/>
                      <a:pt x="961" y="2232"/>
                      <a:pt x="961" y="2232"/>
                    </a:cubicBezTo>
                    <a:lnTo>
                      <a:pt x="961" y="2232"/>
                    </a:lnTo>
                    <a:lnTo>
                      <a:pt x="961" y="2232"/>
                    </a:lnTo>
                    <a:lnTo>
                      <a:pt x="961" y="2232"/>
                    </a:lnTo>
                    <a:cubicBezTo>
                      <a:pt x="992" y="2232"/>
                      <a:pt x="992" y="2232"/>
                      <a:pt x="992" y="2263"/>
                    </a:cubicBezTo>
                    <a:lnTo>
                      <a:pt x="992" y="2263"/>
                    </a:lnTo>
                    <a:lnTo>
                      <a:pt x="992" y="2263"/>
                    </a:lnTo>
                    <a:cubicBezTo>
                      <a:pt x="1022" y="2263"/>
                      <a:pt x="1054" y="2293"/>
                      <a:pt x="1054" y="2293"/>
                    </a:cubicBezTo>
                    <a:lnTo>
                      <a:pt x="1054" y="2325"/>
                    </a:lnTo>
                    <a:cubicBezTo>
                      <a:pt x="1085" y="2325"/>
                      <a:pt x="1085" y="2325"/>
                      <a:pt x="1085" y="2325"/>
                    </a:cubicBezTo>
                    <a:cubicBezTo>
                      <a:pt x="1085" y="2325"/>
                      <a:pt x="1116" y="2325"/>
                      <a:pt x="1116" y="2356"/>
                    </a:cubicBezTo>
                    <a:lnTo>
                      <a:pt x="1116" y="2356"/>
                    </a:lnTo>
                    <a:lnTo>
                      <a:pt x="1116" y="2356"/>
                    </a:lnTo>
                    <a:lnTo>
                      <a:pt x="1116" y="2356"/>
                    </a:lnTo>
                    <a:cubicBezTo>
                      <a:pt x="1146" y="2325"/>
                      <a:pt x="1178" y="2325"/>
                      <a:pt x="1178" y="2293"/>
                    </a:cubicBezTo>
                    <a:lnTo>
                      <a:pt x="1178" y="2293"/>
                    </a:lnTo>
                    <a:cubicBezTo>
                      <a:pt x="1209" y="2293"/>
                      <a:pt x="1240" y="2232"/>
                      <a:pt x="1240" y="2232"/>
                    </a:cubicBezTo>
                    <a:lnTo>
                      <a:pt x="1240" y="2232"/>
                    </a:lnTo>
                    <a:cubicBezTo>
                      <a:pt x="1270" y="2169"/>
                      <a:pt x="1270" y="2139"/>
                      <a:pt x="1301" y="2139"/>
                    </a:cubicBezTo>
                    <a:lnTo>
                      <a:pt x="1333" y="2108"/>
                    </a:lnTo>
                    <a:cubicBezTo>
                      <a:pt x="1333" y="2077"/>
                      <a:pt x="1333" y="2045"/>
                      <a:pt x="1364" y="2045"/>
                    </a:cubicBezTo>
                    <a:cubicBezTo>
                      <a:pt x="1364" y="2045"/>
                      <a:pt x="1333" y="2045"/>
                      <a:pt x="1333" y="2015"/>
                    </a:cubicBezTo>
                    <a:lnTo>
                      <a:pt x="1333" y="2015"/>
                    </a:lnTo>
                    <a:cubicBezTo>
                      <a:pt x="1333" y="1984"/>
                      <a:pt x="1333" y="1984"/>
                      <a:pt x="1333" y="1984"/>
                    </a:cubicBezTo>
                    <a:lnTo>
                      <a:pt x="1333" y="1953"/>
                    </a:lnTo>
                    <a:cubicBezTo>
                      <a:pt x="1333" y="1921"/>
                      <a:pt x="1333" y="1921"/>
                      <a:pt x="1333" y="1921"/>
                    </a:cubicBezTo>
                    <a:cubicBezTo>
                      <a:pt x="1333" y="1921"/>
                      <a:pt x="1333" y="1891"/>
                      <a:pt x="1364" y="1891"/>
                    </a:cubicBezTo>
                    <a:cubicBezTo>
                      <a:pt x="1364" y="1891"/>
                      <a:pt x="1364" y="1891"/>
                      <a:pt x="1394" y="1891"/>
                    </a:cubicBezTo>
                    <a:cubicBezTo>
                      <a:pt x="1394" y="1891"/>
                      <a:pt x="1426" y="1860"/>
                      <a:pt x="1426" y="1829"/>
                    </a:cubicBezTo>
                    <a:lnTo>
                      <a:pt x="1426" y="1829"/>
                    </a:lnTo>
                    <a:cubicBezTo>
                      <a:pt x="1457" y="1829"/>
                      <a:pt x="1457" y="1797"/>
                      <a:pt x="1487" y="1797"/>
                    </a:cubicBezTo>
                    <a:lnTo>
                      <a:pt x="1487" y="1797"/>
                    </a:lnTo>
                    <a:lnTo>
                      <a:pt x="1487" y="1797"/>
                    </a:lnTo>
                    <a:cubicBezTo>
                      <a:pt x="1518" y="1797"/>
                      <a:pt x="1518" y="1797"/>
                      <a:pt x="1518" y="1797"/>
                    </a:cubicBezTo>
                    <a:lnTo>
                      <a:pt x="1518" y="1797"/>
                    </a:lnTo>
                    <a:lnTo>
                      <a:pt x="1518" y="1797"/>
                    </a:lnTo>
                    <a:lnTo>
                      <a:pt x="1550" y="1767"/>
                    </a:lnTo>
                    <a:lnTo>
                      <a:pt x="1550" y="1767"/>
                    </a:lnTo>
                    <a:cubicBezTo>
                      <a:pt x="1581" y="1736"/>
                      <a:pt x="1581" y="1736"/>
                      <a:pt x="1611" y="1736"/>
                    </a:cubicBezTo>
                    <a:cubicBezTo>
                      <a:pt x="1611" y="1736"/>
                      <a:pt x="1642" y="1736"/>
                      <a:pt x="1642" y="1705"/>
                    </a:cubicBezTo>
                    <a:cubicBezTo>
                      <a:pt x="1674" y="1705"/>
                      <a:pt x="1674" y="1705"/>
                      <a:pt x="1674" y="1705"/>
                    </a:cubicBezTo>
                    <a:cubicBezTo>
                      <a:pt x="1674" y="1736"/>
                      <a:pt x="1674" y="1736"/>
                      <a:pt x="1674" y="1736"/>
                    </a:cubicBezTo>
                    <a:lnTo>
                      <a:pt x="1674" y="1736"/>
                    </a:lnTo>
                    <a:lnTo>
                      <a:pt x="1705" y="1736"/>
                    </a:lnTo>
                    <a:cubicBezTo>
                      <a:pt x="1705" y="1705"/>
                      <a:pt x="1735" y="1705"/>
                      <a:pt x="1735" y="1705"/>
                    </a:cubicBezTo>
                    <a:cubicBezTo>
                      <a:pt x="1735" y="1673"/>
                      <a:pt x="1735" y="1673"/>
                      <a:pt x="1766" y="1673"/>
                    </a:cubicBezTo>
                    <a:cubicBezTo>
                      <a:pt x="1766" y="1643"/>
                      <a:pt x="1766" y="1612"/>
                      <a:pt x="1798" y="1581"/>
                    </a:cubicBezTo>
                    <a:cubicBezTo>
                      <a:pt x="1798" y="1581"/>
                      <a:pt x="1798" y="1581"/>
                      <a:pt x="1798" y="1549"/>
                    </a:cubicBezTo>
                    <a:lnTo>
                      <a:pt x="1798" y="1549"/>
                    </a:lnTo>
                    <a:cubicBezTo>
                      <a:pt x="1829" y="1549"/>
                      <a:pt x="1829" y="1519"/>
                      <a:pt x="1829" y="1519"/>
                    </a:cubicBezTo>
                    <a:lnTo>
                      <a:pt x="1829" y="1519"/>
                    </a:lnTo>
                    <a:cubicBezTo>
                      <a:pt x="1829" y="1488"/>
                      <a:pt x="1829" y="1457"/>
                      <a:pt x="1829" y="1425"/>
                    </a:cubicBezTo>
                    <a:lnTo>
                      <a:pt x="1859" y="1395"/>
                    </a:lnTo>
                    <a:cubicBezTo>
                      <a:pt x="1859" y="1395"/>
                      <a:pt x="1859" y="1364"/>
                      <a:pt x="1859" y="1333"/>
                    </a:cubicBezTo>
                    <a:cubicBezTo>
                      <a:pt x="1859" y="1333"/>
                      <a:pt x="1859" y="1333"/>
                      <a:pt x="1859" y="1301"/>
                    </a:cubicBezTo>
                    <a:cubicBezTo>
                      <a:pt x="1859" y="1301"/>
                      <a:pt x="1890" y="1301"/>
                      <a:pt x="1890" y="1271"/>
                    </a:cubicBezTo>
                    <a:cubicBezTo>
                      <a:pt x="1890" y="1271"/>
                      <a:pt x="1890" y="1240"/>
                      <a:pt x="1859" y="1240"/>
                    </a:cubicBezTo>
                    <a:cubicBezTo>
                      <a:pt x="1859" y="1240"/>
                      <a:pt x="1859" y="1209"/>
                      <a:pt x="1859" y="1147"/>
                    </a:cubicBezTo>
                    <a:cubicBezTo>
                      <a:pt x="1859" y="1116"/>
                      <a:pt x="1859" y="1116"/>
                      <a:pt x="1859" y="1116"/>
                    </a:cubicBezTo>
                    <a:cubicBezTo>
                      <a:pt x="1859" y="1084"/>
                      <a:pt x="1859" y="1084"/>
                      <a:pt x="1859" y="1084"/>
                    </a:cubicBezTo>
                    <a:cubicBezTo>
                      <a:pt x="1890" y="1084"/>
                      <a:pt x="1890" y="1084"/>
                      <a:pt x="1890" y="1084"/>
                    </a:cubicBezTo>
                    <a:cubicBezTo>
                      <a:pt x="1890" y="1084"/>
                      <a:pt x="1890" y="1084"/>
                      <a:pt x="1922" y="1084"/>
                    </a:cubicBezTo>
                    <a:cubicBezTo>
                      <a:pt x="1922" y="1084"/>
                      <a:pt x="1922" y="1084"/>
                      <a:pt x="1922" y="1054"/>
                    </a:cubicBezTo>
                    <a:cubicBezTo>
                      <a:pt x="1953" y="1054"/>
                      <a:pt x="1953" y="1054"/>
                      <a:pt x="1953" y="1054"/>
                    </a:cubicBezTo>
                    <a:cubicBezTo>
                      <a:pt x="1953" y="1054"/>
                      <a:pt x="1953" y="1054"/>
                      <a:pt x="1953" y="1023"/>
                    </a:cubicBezTo>
                    <a:lnTo>
                      <a:pt x="1953" y="1023"/>
                    </a:lnTo>
                    <a:lnTo>
                      <a:pt x="1953" y="992"/>
                    </a:lnTo>
                    <a:cubicBezTo>
                      <a:pt x="1953" y="961"/>
                      <a:pt x="1983" y="961"/>
                      <a:pt x="2014" y="930"/>
                    </a:cubicBezTo>
                    <a:lnTo>
                      <a:pt x="2014" y="930"/>
                    </a:lnTo>
                    <a:cubicBezTo>
                      <a:pt x="2046" y="930"/>
                      <a:pt x="2046" y="899"/>
                      <a:pt x="2046" y="899"/>
                    </a:cubicBezTo>
                    <a:cubicBezTo>
                      <a:pt x="2046" y="868"/>
                      <a:pt x="2046" y="868"/>
                      <a:pt x="2077" y="868"/>
                    </a:cubicBezTo>
                    <a:lnTo>
                      <a:pt x="2077" y="868"/>
                    </a:lnTo>
                    <a:lnTo>
                      <a:pt x="2077" y="837"/>
                    </a:lnTo>
                    <a:cubicBezTo>
                      <a:pt x="2107" y="837"/>
                      <a:pt x="2107" y="806"/>
                      <a:pt x="2107" y="806"/>
                    </a:cubicBezTo>
                    <a:cubicBezTo>
                      <a:pt x="2107" y="806"/>
                      <a:pt x="2107" y="806"/>
                      <a:pt x="2107" y="775"/>
                    </a:cubicBezTo>
                    <a:cubicBezTo>
                      <a:pt x="2107" y="775"/>
                      <a:pt x="2107" y="744"/>
                      <a:pt x="2107" y="713"/>
                    </a:cubicBezTo>
                    <a:lnTo>
                      <a:pt x="2107" y="682"/>
                    </a:lnTo>
                    <a:lnTo>
                      <a:pt x="2107" y="682"/>
                    </a:lnTo>
                    <a:cubicBezTo>
                      <a:pt x="2077" y="682"/>
                      <a:pt x="2077" y="682"/>
                      <a:pt x="2077" y="682"/>
                    </a:cubicBezTo>
                    <a:cubicBezTo>
                      <a:pt x="2077" y="651"/>
                      <a:pt x="2077" y="651"/>
                      <a:pt x="2077" y="651"/>
                    </a:cubicBezTo>
                    <a:lnTo>
                      <a:pt x="2046" y="651"/>
                    </a:lnTo>
                    <a:cubicBezTo>
                      <a:pt x="2046" y="651"/>
                      <a:pt x="2014" y="620"/>
                      <a:pt x="1983" y="620"/>
                    </a:cubicBezTo>
                    <a:cubicBezTo>
                      <a:pt x="1953" y="589"/>
                      <a:pt x="1922" y="589"/>
                      <a:pt x="1922" y="558"/>
                    </a:cubicBezTo>
                    <a:cubicBezTo>
                      <a:pt x="1890" y="527"/>
                      <a:pt x="1890" y="527"/>
                      <a:pt x="1890" y="527"/>
                    </a:cubicBezTo>
                    <a:cubicBezTo>
                      <a:pt x="1890" y="527"/>
                      <a:pt x="1890" y="527"/>
                      <a:pt x="1859" y="527"/>
                    </a:cubicBezTo>
                    <a:cubicBezTo>
                      <a:pt x="1859" y="496"/>
                      <a:pt x="1829" y="496"/>
                      <a:pt x="1829" y="496"/>
                    </a:cubicBezTo>
                    <a:lnTo>
                      <a:pt x="1798" y="496"/>
                    </a:lnTo>
                    <a:cubicBezTo>
                      <a:pt x="1766" y="496"/>
                      <a:pt x="1766" y="496"/>
                      <a:pt x="1766" y="496"/>
                    </a:cubicBezTo>
                    <a:lnTo>
                      <a:pt x="1735" y="496"/>
                    </a:lnTo>
                    <a:lnTo>
                      <a:pt x="1735" y="465"/>
                    </a:lnTo>
                    <a:lnTo>
                      <a:pt x="1735" y="465"/>
                    </a:lnTo>
                    <a:lnTo>
                      <a:pt x="1735" y="465"/>
                    </a:lnTo>
                    <a:cubicBezTo>
                      <a:pt x="1735" y="496"/>
                      <a:pt x="1705" y="496"/>
                      <a:pt x="1705" y="496"/>
                    </a:cubicBezTo>
                    <a:lnTo>
                      <a:pt x="1705" y="496"/>
                    </a:lnTo>
                    <a:cubicBezTo>
                      <a:pt x="1674" y="496"/>
                      <a:pt x="1674" y="496"/>
                      <a:pt x="1674" y="465"/>
                    </a:cubicBezTo>
                    <a:cubicBezTo>
                      <a:pt x="1674" y="465"/>
                      <a:pt x="1674" y="465"/>
                      <a:pt x="1642" y="465"/>
                    </a:cubicBezTo>
                    <a:cubicBezTo>
                      <a:pt x="1642" y="465"/>
                      <a:pt x="1642" y="465"/>
                      <a:pt x="1611" y="465"/>
                    </a:cubicBezTo>
                    <a:lnTo>
                      <a:pt x="1611" y="465"/>
                    </a:lnTo>
                    <a:cubicBezTo>
                      <a:pt x="1518" y="589"/>
                      <a:pt x="1518" y="589"/>
                      <a:pt x="1518" y="589"/>
                    </a:cubicBezTo>
                    <a:cubicBezTo>
                      <a:pt x="1550" y="496"/>
                      <a:pt x="1550" y="496"/>
                      <a:pt x="1550" y="496"/>
                    </a:cubicBezTo>
                    <a:cubicBezTo>
                      <a:pt x="1550" y="496"/>
                      <a:pt x="1550" y="465"/>
                      <a:pt x="1550" y="434"/>
                    </a:cubicBezTo>
                    <a:cubicBezTo>
                      <a:pt x="1550" y="434"/>
                      <a:pt x="1550" y="434"/>
                      <a:pt x="1550" y="403"/>
                    </a:cubicBezTo>
                    <a:lnTo>
                      <a:pt x="1550" y="403"/>
                    </a:lnTo>
                    <a:lnTo>
                      <a:pt x="1518" y="403"/>
                    </a:lnTo>
                    <a:cubicBezTo>
                      <a:pt x="1487" y="403"/>
                      <a:pt x="1487" y="372"/>
                      <a:pt x="1487" y="372"/>
                    </a:cubicBezTo>
                    <a:cubicBezTo>
                      <a:pt x="1457" y="372"/>
                      <a:pt x="1457" y="372"/>
                      <a:pt x="1457" y="372"/>
                    </a:cubicBezTo>
                    <a:lnTo>
                      <a:pt x="1457" y="372"/>
                    </a:lnTo>
                    <a:lnTo>
                      <a:pt x="1457" y="341"/>
                    </a:lnTo>
                    <a:cubicBezTo>
                      <a:pt x="1457" y="341"/>
                      <a:pt x="1457" y="341"/>
                      <a:pt x="1426" y="341"/>
                    </a:cubicBezTo>
                    <a:lnTo>
                      <a:pt x="1394" y="341"/>
                    </a:lnTo>
                    <a:cubicBezTo>
                      <a:pt x="1394" y="372"/>
                      <a:pt x="1394" y="372"/>
                      <a:pt x="1394" y="372"/>
                    </a:cubicBezTo>
                    <a:cubicBezTo>
                      <a:pt x="1333" y="372"/>
                      <a:pt x="1333" y="372"/>
                      <a:pt x="1333" y="372"/>
                    </a:cubicBezTo>
                    <a:cubicBezTo>
                      <a:pt x="1333" y="310"/>
                      <a:pt x="1333" y="310"/>
                      <a:pt x="1333" y="310"/>
                    </a:cubicBezTo>
                    <a:lnTo>
                      <a:pt x="1333" y="310"/>
                    </a:lnTo>
                    <a:cubicBezTo>
                      <a:pt x="1301" y="341"/>
                      <a:pt x="1301" y="341"/>
                      <a:pt x="1301" y="341"/>
                    </a:cubicBezTo>
                    <a:cubicBezTo>
                      <a:pt x="1270" y="341"/>
                      <a:pt x="1270" y="310"/>
                      <a:pt x="1270" y="310"/>
                    </a:cubicBezTo>
                    <a:lnTo>
                      <a:pt x="1270" y="310"/>
                    </a:lnTo>
                    <a:lnTo>
                      <a:pt x="1270" y="310"/>
                    </a:lnTo>
                    <a:lnTo>
                      <a:pt x="1270" y="310"/>
                    </a:lnTo>
                    <a:lnTo>
                      <a:pt x="1240" y="310"/>
                    </a:lnTo>
                    <a:cubicBezTo>
                      <a:pt x="1240" y="310"/>
                      <a:pt x="1240" y="310"/>
                      <a:pt x="1209" y="279"/>
                    </a:cubicBezTo>
                    <a:lnTo>
                      <a:pt x="1240" y="248"/>
                    </a:lnTo>
                    <a:lnTo>
                      <a:pt x="1240" y="248"/>
                    </a:lnTo>
                    <a:cubicBezTo>
                      <a:pt x="1240" y="217"/>
                      <a:pt x="1240" y="217"/>
                      <a:pt x="1270" y="217"/>
                    </a:cubicBezTo>
                    <a:cubicBezTo>
                      <a:pt x="1240" y="186"/>
                      <a:pt x="1240" y="186"/>
                      <a:pt x="1240" y="186"/>
                    </a:cubicBezTo>
                    <a:cubicBezTo>
                      <a:pt x="1240" y="186"/>
                      <a:pt x="1209" y="155"/>
                      <a:pt x="1209" y="124"/>
                    </a:cubicBezTo>
                    <a:cubicBezTo>
                      <a:pt x="1209" y="93"/>
                      <a:pt x="1209" y="93"/>
                      <a:pt x="1209" y="62"/>
                    </a:cubicBezTo>
                    <a:lnTo>
                      <a:pt x="1209" y="62"/>
                    </a:lnTo>
                    <a:lnTo>
                      <a:pt x="1209" y="62"/>
                    </a:lnTo>
                    <a:lnTo>
                      <a:pt x="1178" y="62"/>
                    </a:lnTo>
                    <a:lnTo>
                      <a:pt x="1178" y="62"/>
                    </a:lnTo>
                    <a:lnTo>
                      <a:pt x="1178" y="62"/>
                    </a:lnTo>
                    <a:cubicBezTo>
                      <a:pt x="1178" y="93"/>
                      <a:pt x="1178" y="93"/>
                      <a:pt x="1178" y="93"/>
                    </a:cubicBez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51" name="Freeform 148"/>
              <p:cNvSpPr>
                <a:spLocks noChangeArrowheads="1"/>
              </p:cNvSpPr>
              <p:nvPr/>
            </p:nvSpPr>
            <p:spPr bwMode="auto">
              <a:xfrm>
                <a:off x="2574925" y="3263900"/>
                <a:ext cx="11113" cy="11113"/>
              </a:xfrm>
              <a:custGeom>
                <a:avLst/>
                <a:gdLst>
                  <a:gd name="T0" fmla="*/ 0 w 33"/>
                  <a:gd name="T1" fmla="*/ 31 h 32"/>
                  <a:gd name="T2" fmla="*/ 0 w 33"/>
                  <a:gd name="T3" fmla="*/ 31 h 32"/>
                  <a:gd name="T4" fmla="*/ 0 w 33"/>
                  <a:gd name="T5" fmla="*/ 31 h 32"/>
                  <a:gd name="T6" fmla="*/ 0 w 33"/>
                  <a:gd name="T7" fmla="*/ 31 h 32"/>
                  <a:gd name="T8" fmla="*/ 32 w 33"/>
                  <a:gd name="T9" fmla="*/ 31 h 32"/>
                  <a:gd name="T10" fmla="*/ 32 w 33"/>
                  <a:gd name="T11" fmla="*/ 0 h 32"/>
                  <a:gd name="T12" fmla="*/ 32 w 33"/>
                  <a:gd name="T13" fmla="*/ 0 h 32"/>
                  <a:gd name="T14" fmla="*/ 32 w 33"/>
                  <a:gd name="T15" fmla="*/ 0 h 32"/>
                  <a:gd name="T16" fmla="*/ 0 w 33"/>
                  <a:gd name="T17"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0" y="31"/>
                    </a:moveTo>
                    <a:lnTo>
                      <a:pt x="0" y="31"/>
                    </a:lnTo>
                    <a:lnTo>
                      <a:pt x="0" y="31"/>
                    </a:lnTo>
                    <a:lnTo>
                      <a:pt x="0" y="31"/>
                    </a:lnTo>
                    <a:cubicBezTo>
                      <a:pt x="32" y="31"/>
                      <a:pt x="32" y="31"/>
                      <a:pt x="32" y="31"/>
                    </a:cubicBezTo>
                    <a:lnTo>
                      <a:pt x="32" y="0"/>
                    </a:lnTo>
                    <a:lnTo>
                      <a:pt x="32" y="0"/>
                    </a:lnTo>
                    <a:lnTo>
                      <a:pt x="32" y="0"/>
                    </a:lnTo>
                    <a:cubicBezTo>
                      <a:pt x="32" y="0"/>
                      <a:pt x="32" y="0"/>
                      <a:pt x="0"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52" name="Freeform 149"/>
              <p:cNvSpPr>
                <a:spLocks noChangeArrowheads="1"/>
              </p:cNvSpPr>
              <p:nvPr/>
            </p:nvSpPr>
            <p:spPr bwMode="auto">
              <a:xfrm>
                <a:off x="2206625" y="3175000"/>
                <a:ext cx="346075" cy="669925"/>
              </a:xfrm>
              <a:custGeom>
                <a:avLst/>
                <a:gdLst>
                  <a:gd name="T0" fmla="*/ 837 w 962"/>
                  <a:gd name="T1" fmla="*/ 837 h 1861"/>
                  <a:gd name="T2" fmla="*/ 806 w 962"/>
                  <a:gd name="T3" fmla="*/ 713 h 1861"/>
                  <a:gd name="T4" fmla="*/ 806 w 962"/>
                  <a:gd name="T5" fmla="*/ 557 h 1861"/>
                  <a:gd name="T6" fmla="*/ 806 w 962"/>
                  <a:gd name="T7" fmla="*/ 496 h 1861"/>
                  <a:gd name="T8" fmla="*/ 837 w 962"/>
                  <a:gd name="T9" fmla="*/ 465 h 1861"/>
                  <a:gd name="T10" fmla="*/ 930 w 962"/>
                  <a:gd name="T11" fmla="*/ 372 h 1861"/>
                  <a:gd name="T12" fmla="*/ 868 w 962"/>
                  <a:gd name="T13" fmla="*/ 341 h 1861"/>
                  <a:gd name="T14" fmla="*/ 806 w 962"/>
                  <a:gd name="T15" fmla="*/ 309 h 1861"/>
                  <a:gd name="T16" fmla="*/ 774 w 962"/>
                  <a:gd name="T17" fmla="*/ 279 h 1861"/>
                  <a:gd name="T18" fmla="*/ 806 w 962"/>
                  <a:gd name="T19" fmla="*/ 248 h 1861"/>
                  <a:gd name="T20" fmla="*/ 837 w 962"/>
                  <a:gd name="T21" fmla="*/ 185 h 1861"/>
                  <a:gd name="T22" fmla="*/ 713 w 962"/>
                  <a:gd name="T23" fmla="*/ 124 h 1861"/>
                  <a:gd name="T24" fmla="*/ 620 w 962"/>
                  <a:gd name="T25" fmla="*/ 61 h 1861"/>
                  <a:gd name="T26" fmla="*/ 589 w 962"/>
                  <a:gd name="T27" fmla="*/ 31 h 1861"/>
                  <a:gd name="T28" fmla="*/ 526 w 962"/>
                  <a:gd name="T29" fmla="*/ 0 h 1861"/>
                  <a:gd name="T30" fmla="*/ 434 w 962"/>
                  <a:gd name="T31" fmla="*/ 0 h 1861"/>
                  <a:gd name="T32" fmla="*/ 372 w 962"/>
                  <a:gd name="T33" fmla="*/ 0 h 1861"/>
                  <a:gd name="T34" fmla="*/ 341 w 962"/>
                  <a:gd name="T35" fmla="*/ 124 h 1861"/>
                  <a:gd name="T36" fmla="*/ 310 w 962"/>
                  <a:gd name="T37" fmla="*/ 124 h 1861"/>
                  <a:gd name="T38" fmla="*/ 278 w 962"/>
                  <a:gd name="T39" fmla="*/ 185 h 1861"/>
                  <a:gd name="T40" fmla="*/ 278 w 962"/>
                  <a:gd name="T41" fmla="*/ 217 h 1861"/>
                  <a:gd name="T42" fmla="*/ 310 w 962"/>
                  <a:gd name="T43" fmla="*/ 279 h 1861"/>
                  <a:gd name="T44" fmla="*/ 217 w 962"/>
                  <a:gd name="T45" fmla="*/ 403 h 1861"/>
                  <a:gd name="T46" fmla="*/ 217 w 962"/>
                  <a:gd name="T47" fmla="*/ 433 h 1861"/>
                  <a:gd name="T48" fmla="*/ 186 w 962"/>
                  <a:gd name="T49" fmla="*/ 527 h 1861"/>
                  <a:gd name="T50" fmla="*/ 186 w 962"/>
                  <a:gd name="T51" fmla="*/ 620 h 1861"/>
                  <a:gd name="T52" fmla="*/ 217 w 962"/>
                  <a:gd name="T53" fmla="*/ 744 h 1861"/>
                  <a:gd name="T54" fmla="*/ 154 w 962"/>
                  <a:gd name="T55" fmla="*/ 898 h 1861"/>
                  <a:gd name="T56" fmla="*/ 124 w 962"/>
                  <a:gd name="T57" fmla="*/ 929 h 1861"/>
                  <a:gd name="T58" fmla="*/ 154 w 962"/>
                  <a:gd name="T59" fmla="*/ 1022 h 1861"/>
                  <a:gd name="T60" fmla="*/ 124 w 962"/>
                  <a:gd name="T61" fmla="*/ 1085 h 1861"/>
                  <a:gd name="T62" fmla="*/ 93 w 962"/>
                  <a:gd name="T63" fmla="*/ 1146 h 1861"/>
                  <a:gd name="T64" fmla="*/ 93 w 962"/>
                  <a:gd name="T65" fmla="*/ 1270 h 1861"/>
                  <a:gd name="T66" fmla="*/ 93 w 962"/>
                  <a:gd name="T67" fmla="*/ 1364 h 1861"/>
                  <a:gd name="T68" fmla="*/ 124 w 962"/>
                  <a:gd name="T69" fmla="*/ 1425 h 1861"/>
                  <a:gd name="T70" fmla="*/ 124 w 962"/>
                  <a:gd name="T71" fmla="*/ 1488 h 1861"/>
                  <a:gd name="T72" fmla="*/ 93 w 962"/>
                  <a:gd name="T73" fmla="*/ 1518 h 1861"/>
                  <a:gd name="T74" fmla="*/ 93 w 962"/>
                  <a:gd name="T75" fmla="*/ 1581 h 1861"/>
                  <a:gd name="T76" fmla="*/ 62 w 962"/>
                  <a:gd name="T77" fmla="*/ 1612 h 1861"/>
                  <a:gd name="T78" fmla="*/ 30 w 962"/>
                  <a:gd name="T79" fmla="*/ 1705 h 1861"/>
                  <a:gd name="T80" fmla="*/ 0 w 962"/>
                  <a:gd name="T81" fmla="*/ 1766 h 1861"/>
                  <a:gd name="T82" fmla="*/ 93 w 962"/>
                  <a:gd name="T83" fmla="*/ 1797 h 1861"/>
                  <a:gd name="T84" fmla="*/ 124 w 962"/>
                  <a:gd name="T85" fmla="*/ 1860 h 1861"/>
                  <a:gd name="T86" fmla="*/ 217 w 962"/>
                  <a:gd name="T87" fmla="*/ 1860 h 1861"/>
                  <a:gd name="T88" fmla="*/ 217 w 962"/>
                  <a:gd name="T89" fmla="*/ 1766 h 1861"/>
                  <a:gd name="T90" fmla="*/ 278 w 962"/>
                  <a:gd name="T91" fmla="*/ 1705 h 1861"/>
                  <a:gd name="T92" fmla="*/ 372 w 962"/>
                  <a:gd name="T93" fmla="*/ 1581 h 1861"/>
                  <a:gd name="T94" fmla="*/ 278 w 962"/>
                  <a:gd name="T95" fmla="*/ 1488 h 1861"/>
                  <a:gd name="T96" fmla="*/ 402 w 962"/>
                  <a:gd name="T97" fmla="*/ 1425 h 1861"/>
                  <a:gd name="T98" fmla="*/ 465 w 962"/>
                  <a:gd name="T99" fmla="*/ 1301 h 1861"/>
                  <a:gd name="T100" fmla="*/ 434 w 962"/>
                  <a:gd name="T101" fmla="*/ 1209 h 1861"/>
                  <a:gd name="T102" fmla="*/ 526 w 962"/>
                  <a:gd name="T103" fmla="*/ 1177 h 1861"/>
                  <a:gd name="T104" fmla="*/ 589 w 962"/>
                  <a:gd name="T105" fmla="*/ 1146 h 1861"/>
                  <a:gd name="T106" fmla="*/ 434 w 962"/>
                  <a:gd name="T107" fmla="*/ 929 h 1861"/>
                  <a:gd name="T108" fmla="*/ 837 w 962"/>
                  <a:gd name="T109" fmla="*/ 992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2" h="1861">
                    <a:moveTo>
                      <a:pt x="868" y="898"/>
                    </a:moveTo>
                    <a:lnTo>
                      <a:pt x="868" y="898"/>
                    </a:lnTo>
                    <a:cubicBezTo>
                      <a:pt x="837" y="868"/>
                      <a:pt x="837" y="868"/>
                      <a:pt x="868" y="837"/>
                    </a:cubicBezTo>
                    <a:lnTo>
                      <a:pt x="868" y="837"/>
                    </a:lnTo>
                    <a:cubicBezTo>
                      <a:pt x="868" y="837"/>
                      <a:pt x="868" y="837"/>
                      <a:pt x="837" y="837"/>
                    </a:cubicBezTo>
                    <a:cubicBezTo>
                      <a:pt x="837" y="805"/>
                      <a:pt x="837" y="805"/>
                      <a:pt x="837" y="805"/>
                    </a:cubicBezTo>
                    <a:cubicBezTo>
                      <a:pt x="837" y="805"/>
                      <a:pt x="806" y="805"/>
                      <a:pt x="806" y="774"/>
                    </a:cubicBezTo>
                    <a:lnTo>
                      <a:pt x="806" y="744"/>
                    </a:lnTo>
                    <a:lnTo>
                      <a:pt x="774" y="713"/>
                    </a:lnTo>
                    <a:cubicBezTo>
                      <a:pt x="774" y="713"/>
                      <a:pt x="774" y="713"/>
                      <a:pt x="806" y="713"/>
                    </a:cubicBezTo>
                    <a:cubicBezTo>
                      <a:pt x="806" y="681"/>
                      <a:pt x="806" y="681"/>
                      <a:pt x="806" y="681"/>
                    </a:cubicBezTo>
                    <a:lnTo>
                      <a:pt x="806" y="681"/>
                    </a:lnTo>
                    <a:lnTo>
                      <a:pt x="806" y="681"/>
                    </a:lnTo>
                    <a:cubicBezTo>
                      <a:pt x="806" y="651"/>
                      <a:pt x="806" y="620"/>
                      <a:pt x="806" y="589"/>
                    </a:cubicBezTo>
                    <a:cubicBezTo>
                      <a:pt x="806" y="589"/>
                      <a:pt x="806" y="589"/>
                      <a:pt x="806" y="557"/>
                    </a:cubicBezTo>
                    <a:cubicBezTo>
                      <a:pt x="806" y="589"/>
                      <a:pt x="806" y="589"/>
                      <a:pt x="806" y="589"/>
                    </a:cubicBezTo>
                    <a:cubicBezTo>
                      <a:pt x="806" y="496"/>
                      <a:pt x="806" y="496"/>
                      <a:pt x="806" y="496"/>
                    </a:cubicBezTo>
                    <a:lnTo>
                      <a:pt x="806" y="496"/>
                    </a:lnTo>
                    <a:lnTo>
                      <a:pt x="806" y="496"/>
                    </a:lnTo>
                    <a:lnTo>
                      <a:pt x="806" y="496"/>
                    </a:lnTo>
                    <a:lnTo>
                      <a:pt x="806" y="496"/>
                    </a:lnTo>
                    <a:cubicBezTo>
                      <a:pt x="837" y="496"/>
                      <a:pt x="837" y="496"/>
                      <a:pt x="837" y="496"/>
                    </a:cubicBezTo>
                    <a:cubicBezTo>
                      <a:pt x="837" y="465"/>
                      <a:pt x="837" y="465"/>
                      <a:pt x="837" y="465"/>
                    </a:cubicBezTo>
                    <a:lnTo>
                      <a:pt x="837" y="465"/>
                    </a:lnTo>
                    <a:lnTo>
                      <a:pt x="837" y="465"/>
                    </a:lnTo>
                    <a:cubicBezTo>
                      <a:pt x="868" y="433"/>
                      <a:pt x="868" y="433"/>
                      <a:pt x="868" y="433"/>
                    </a:cubicBezTo>
                    <a:lnTo>
                      <a:pt x="868" y="403"/>
                    </a:lnTo>
                    <a:cubicBezTo>
                      <a:pt x="898" y="403"/>
                      <a:pt x="898" y="372"/>
                      <a:pt x="898" y="372"/>
                    </a:cubicBezTo>
                    <a:lnTo>
                      <a:pt x="898" y="372"/>
                    </a:lnTo>
                    <a:cubicBezTo>
                      <a:pt x="930" y="372"/>
                      <a:pt x="930" y="372"/>
                      <a:pt x="930" y="372"/>
                    </a:cubicBezTo>
                    <a:cubicBezTo>
                      <a:pt x="930" y="341"/>
                      <a:pt x="930" y="341"/>
                      <a:pt x="961" y="341"/>
                    </a:cubicBezTo>
                    <a:cubicBezTo>
                      <a:pt x="961" y="341"/>
                      <a:pt x="961" y="341"/>
                      <a:pt x="930" y="341"/>
                    </a:cubicBezTo>
                    <a:cubicBezTo>
                      <a:pt x="930" y="341"/>
                      <a:pt x="930" y="341"/>
                      <a:pt x="898" y="341"/>
                    </a:cubicBezTo>
                    <a:cubicBezTo>
                      <a:pt x="898" y="341"/>
                      <a:pt x="868" y="341"/>
                      <a:pt x="868" y="309"/>
                    </a:cubicBezTo>
                    <a:lnTo>
                      <a:pt x="868" y="341"/>
                    </a:lnTo>
                    <a:lnTo>
                      <a:pt x="837" y="341"/>
                    </a:lnTo>
                    <a:lnTo>
                      <a:pt x="806" y="309"/>
                    </a:lnTo>
                    <a:lnTo>
                      <a:pt x="806" y="309"/>
                    </a:lnTo>
                    <a:lnTo>
                      <a:pt x="806" y="309"/>
                    </a:lnTo>
                    <a:lnTo>
                      <a:pt x="806" y="309"/>
                    </a:lnTo>
                    <a:cubicBezTo>
                      <a:pt x="774" y="309"/>
                      <a:pt x="774" y="309"/>
                      <a:pt x="774" y="279"/>
                    </a:cubicBezTo>
                    <a:lnTo>
                      <a:pt x="774" y="279"/>
                    </a:lnTo>
                    <a:lnTo>
                      <a:pt x="774" y="279"/>
                    </a:lnTo>
                    <a:lnTo>
                      <a:pt x="774" y="279"/>
                    </a:lnTo>
                    <a:lnTo>
                      <a:pt x="774" y="279"/>
                    </a:lnTo>
                    <a:lnTo>
                      <a:pt x="774" y="279"/>
                    </a:lnTo>
                    <a:cubicBezTo>
                      <a:pt x="774" y="279"/>
                      <a:pt x="774" y="248"/>
                      <a:pt x="806" y="248"/>
                    </a:cubicBezTo>
                    <a:lnTo>
                      <a:pt x="806" y="248"/>
                    </a:lnTo>
                    <a:lnTo>
                      <a:pt x="806" y="248"/>
                    </a:lnTo>
                    <a:lnTo>
                      <a:pt x="806" y="248"/>
                    </a:lnTo>
                    <a:lnTo>
                      <a:pt x="806" y="217"/>
                    </a:lnTo>
                    <a:lnTo>
                      <a:pt x="806" y="217"/>
                    </a:lnTo>
                    <a:lnTo>
                      <a:pt x="806" y="217"/>
                    </a:lnTo>
                    <a:cubicBezTo>
                      <a:pt x="806" y="217"/>
                      <a:pt x="806" y="217"/>
                      <a:pt x="837" y="217"/>
                    </a:cubicBezTo>
                    <a:cubicBezTo>
                      <a:pt x="837" y="217"/>
                      <a:pt x="837" y="217"/>
                      <a:pt x="837" y="185"/>
                    </a:cubicBezTo>
                    <a:lnTo>
                      <a:pt x="837" y="185"/>
                    </a:lnTo>
                    <a:cubicBezTo>
                      <a:pt x="806" y="185"/>
                      <a:pt x="806" y="155"/>
                      <a:pt x="806" y="155"/>
                    </a:cubicBezTo>
                    <a:cubicBezTo>
                      <a:pt x="806" y="155"/>
                      <a:pt x="806" y="155"/>
                      <a:pt x="774" y="155"/>
                    </a:cubicBezTo>
                    <a:cubicBezTo>
                      <a:pt x="774" y="155"/>
                      <a:pt x="774" y="155"/>
                      <a:pt x="744" y="155"/>
                    </a:cubicBezTo>
                    <a:cubicBezTo>
                      <a:pt x="744" y="124"/>
                      <a:pt x="713" y="124"/>
                      <a:pt x="713" y="124"/>
                    </a:cubicBezTo>
                    <a:lnTo>
                      <a:pt x="713" y="124"/>
                    </a:lnTo>
                    <a:cubicBezTo>
                      <a:pt x="682" y="93"/>
                      <a:pt x="682" y="93"/>
                      <a:pt x="682" y="93"/>
                    </a:cubicBezTo>
                    <a:lnTo>
                      <a:pt x="682" y="93"/>
                    </a:lnTo>
                    <a:lnTo>
                      <a:pt x="650" y="93"/>
                    </a:lnTo>
                    <a:cubicBezTo>
                      <a:pt x="650" y="93"/>
                      <a:pt x="650" y="93"/>
                      <a:pt x="620" y="61"/>
                    </a:cubicBezTo>
                    <a:lnTo>
                      <a:pt x="620" y="61"/>
                    </a:lnTo>
                    <a:lnTo>
                      <a:pt x="620" y="61"/>
                    </a:lnTo>
                    <a:cubicBezTo>
                      <a:pt x="589" y="31"/>
                      <a:pt x="589" y="31"/>
                      <a:pt x="589" y="31"/>
                    </a:cubicBezTo>
                    <a:lnTo>
                      <a:pt x="589" y="31"/>
                    </a:lnTo>
                    <a:lnTo>
                      <a:pt x="589" y="31"/>
                    </a:lnTo>
                    <a:lnTo>
                      <a:pt x="589" y="31"/>
                    </a:lnTo>
                    <a:cubicBezTo>
                      <a:pt x="589" y="0"/>
                      <a:pt x="558" y="0"/>
                      <a:pt x="558" y="0"/>
                    </a:cubicBezTo>
                    <a:cubicBezTo>
                      <a:pt x="526" y="0"/>
                      <a:pt x="526" y="0"/>
                      <a:pt x="526" y="0"/>
                    </a:cubicBezTo>
                    <a:lnTo>
                      <a:pt x="526" y="0"/>
                    </a:lnTo>
                    <a:lnTo>
                      <a:pt x="526" y="0"/>
                    </a:lnTo>
                    <a:cubicBezTo>
                      <a:pt x="526" y="31"/>
                      <a:pt x="496" y="31"/>
                      <a:pt x="496" y="31"/>
                    </a:cubicBezTo>
                    <a:lnTo>
                      <a:pt x="496" y="31"/>
                    </a:lnTo>
                    <a:cubicBezTo>
                      <a:pt x="465" y="31"/>
                      <a:pt x="465" y="31"/>
                      <a:pt x="465" y="31"/>
                    </a:cubicBezTo>
                    <a:lnTo>
                      <a:pt x="465" y="31"/>
                    </a:lnTo>
                    <a:cubicBezTo>
                      <a:pt x="465" y="0"/>
                      <a:pt x="434" y="0"/>
                      <a:pt x="434" y="0"/>
                    </a:cubicBezTo>
                    <a:lnTo>
                      <a:pt x="434" y="0"/>
                    </a:lnTo>
                    <a:lnTo>
                      <a:pt x="434" y="0"/>
                    </a:lnTo>
                    <a:lnTo>
                      <a:pt x="402" y="0"/>
                    </a:lnTo>
                    <a:lnTo>
                      <a:pt x="402" y="0"/>
                    </a:lnTo>
                    <a:lnTo>
                      <a:pt x="372" y="0"/>
                    </a:lnTo>
                    <a:lnTo>
                      <a:pt x="372" y="0"/>
                    </a:lnTo>
                    <a:lnTo>
                      <a:pt x="372" y="0"/>
                    </a:lnTo>
                    <a:cubicBezTo>
                      <a:pt x="372" y="0"/>
                      <a:pt x="372" y="0"/>
                      <a:pt x="372" y="31"/>
                    </a:cubicBezTo>
                    <a:cubicBezTo>
                      <a:pt x="372" y="31"/>
                      <a:pt x="372" y="61"/>
                      <a:pt x="341" y="93"/>
                    </a:cubicBezTo>
                    <a:cubicBezTo>
                      <a:pt x="341" y="93"/>
                      <a:pt x="341" y="93"/>
                      <a:pt x="341" y="124"/>
                    </a:cubicBezTo>
                    <a:cubicBezTo>
                      <a:pt x="341" y="124"/>
                      <a:pt x="341" y="124"/>
                      <a:pt x="310" y="124"/>
                    </a:cubicBezTo>
                    <a:lnTo>
                      <a:pt x="310" y="124"/>
                    </a:lnTo>
                    <a:lnTo>
                      <a:pt x="310" y="124"/>
                    </a:lnTo>
                    <a:lnTo>
                      <a:pt x="310" y="124"/>
                    </a:lnTo>
                    <a:lnTo>
                      <a:pt x="310" y="124"/>
                    </a:lnTo>
                    <a:lnTo>
                      <a:pt x="278" y="124"/>
                    </a:lnTo>
                    <a:lnTo>
                      <a:pt x="278" y="124"/>
                    </a:lnTo>
                    <a:cubicBezTo>
                      <a:pt x="278" y="155"/>
                      <a:pt x="278" y="155"/>
                      <a:pt x="278" y="155"/>
                    </a:cubicBezTo>
                    <a:lnTo>
                      <a:pt x="278" y="155"/>
                    </a:lnTo>
                    <a:cubicBezTo>
                      <a:pt x="278" y="155"/>
                      <a:pt x="278" y="155"/>
                      <a:pt x="278" y="185"/>
                    </a:cubicBezTo>
                    <a:lnTo>
                      <a:pt x="278" y="185"/>
                    </a:lnTo>
                    <a:lnTo>
                      <a:pt x="278" y="185"/>
                    </a:lnTo>
                    <a:lnTo>
                      <a:pt x="278" y="185"/>
                    </a:lnTo>
                    <a:cubicBezTo>
                      <a:pt x="278" y="185"/>
                      <a:pt x="278" y="185"/>
                      <a:pt x="278" y="217"/>
                    </a:cubicBezTo>
                    <a:lnTo>
                      <a:pt x="278" y="217"/>
                    </a:lnTo>
                    <a:lnTo>
                      <a:pt x="278" y="217"/>
                    </a:lnTo>
                    <a:lnTo>
                      <a:pt x="278" y="217"/>
                    </a:lnTo>
                    <a:cubicBezTo>
                      <a:pt x="278" y="248"/>
                      <a:pt x="278" y="248"/>
                      <a:pt x="278" y="248"/>
                    </a:cubicBezTo>
                    <a:cubicBezTo>
                      <a:pt x="278" y="248"/>
                      <a:pt x="310" y="248"/>
                      <a:pt x="310" y="279"/>
                    </a:cubicBezTo>
                    <a:lnTo>
                      <a:pt x="310" y="279"/>
                    </a:lnTo>
                    <a:lnTo>
                      <a:pt x="310" y="279"/>
                    </a:lnTo>
                    <a:cubicBezTo>
                      <a:pt x="278" y="309"/>
                      <a:pt x="278" y="309"/>
                      <a:pt x="278" y="309"/>
                    </a:cubicBezTo>
                    <a:cubicBezTo>
                      <a:pt x="278" y="309"/>
                      <a:pt x="278" y="309"/>
                      <a:pt x="248" y="309"/>
                    </a:cubicBezTo>
                    <a:lnTo>
                      <a:pt x="248" y="341"/>
                    </a:lnTo>
                    <a:cubicBezTo>
                      <a:pt x="217" y="372"/>
                      <a:pt x="217" y="372"/>
                      <a:pt x="217" y="403"/>
                    </a:cubicBezTo>
                    <a:cubicBezTo>
                      <a:pt x="217" y="403"/>
                      <a:pt x="217" y="403"/>
                      <a:pt x="217" y="433"/>
                    </a:cubicBezTo>
                    <a:lnTo>
                      <a:pt x="217" y="433"/>
                    </a:lnTo>
                    <a:lnTo>
                      <a:pt x="217" y="433"/>
                    </a:lnTo>
                    <a:lnTo>
                      <a:pt x="217" y="433"/>
                    </a:lnTo>
                    <a:lnTo>
                      <a:pt x="217" y="433"/>
                    </a:lnTo>
                    <a:lnTo>
                      <a:pt x="217" y="433"/>
                    </a:lnTo>
                    <a:cubicBezTo>
                      <a:pt x="217" y="465"/>
                      <a:pt x="217" y="465"/>
                      <a:pt x="217" y="465"/>
                    </a:cubicBezTo>
                    <a:cubicBezTo>
                      <a:pt x="217" y="465"/>
                      <a:pt x="217" y="465"/>
                      <a:pt x="217" y="496"/>
                    </a:cubicBezTo>
                    <a:lnTo>
                      <a:pt x="217" y="496"/>
                    </a:lnTo>
                    <a:lnTo>
                      <a:pt x="186" y="527"/>
                    </a:lnTo>
                    <a:lnTo>
                      <a:pt x="186" y="527"/>
                    </a:lnTo>
                    <a:cubicBezTo>
                      <a:pt x="186" y="557"/>
                      <a:pt x="186" y="557"/>
                      <a:pt x="154" y="557"/>
                    </a:cubicBezTo>
                    <a:cubicBezTo>
                      <a:pt x="154" y="557"/>
                      <a:pt x="186" y="557"/>
                      <a:pt x="186" y="589"/>
                    </a:cubicBezTo>
                    <a:lnTo>
                      <a:pt x="186" y="589"/>
                    </a:lnTo>
                    <a:cubicBezTo>
                      <a:pt x="186" y="589"/>
                      <a:pt x="186" y="589"/>
                      <a:pt x="186" y="620"/>
                    </a:cubicBezTo>
                    <a:lnTo>
                      <a:pt x="186" y="651"/>
                    </a:lnTo>
                    <a:lnTo>
                      <a:pt x="186" y="651"/>
                    </a:lnTo>
                    <a:lnTo>
                      <a:pt x="186" y="651"/>
                    </a:lnTo>
                    <a:cubicBezTo>
                      <a:pt x="217" y="651"/>
                      <a:pt x="217" y="681"/>
                      <a:pt x="217" y="713"/>
                    </a:cubicBezTo>
                    <a:cubicBezTo>
                      <a:pt x="217" y="713"/>
                      <a:pt x="217" y="713"/>
                      <a:pt x="217" y="744"/>
                    </a:cubicBezTo>
                    <a:cubicBezTo>
                      <a:pt x="217" y="744"/>
                      <a:pt x="186" y="774"/>
                      <a:pt x="186" y="805"/>
                    </a:cubicBezTo>
                    <a:lnTo>
                      <a:pt x="186" y="805"/>
                    </a:lnTo>
                    <a:lnTo>
                      <a:pt x="186" y="837"/>
                    </a:lnTo>
                    <a:lnTo>
                      <a:pt x="186" y="837"/>
                    </a:lnTo>
                    <a:cubicBezTo>
                      <a:pt x="186" y="868"/>
                      <a:pt x="186" y="868"/>
                      <a:pt x="154" y="898"/>
                    </a:cubicBezTo>
                    <a:lnTo>
                      <a:pt x="154" y="898"/>
                    </a:lnTo>
                    <a:lnTo>
                      <a:pt x="154" y="898"/>
                    </a:lnTo>
                    <a:cubicBezTo>
                      <a:pt x="154" y="898"/>
                      <a:pt x="154" y="898"/>
                      <a:pt x="124" y="898"/>
                    </a:cubicBezTo>
                    <a:lnTo>
                      <a:pt x="124" y="929"/>
                    </a:lnTo>
                    <a:lnTo>
                      <a:pt x="124" y="929"/>
                    </a:lnTo>
                    <a:lnTo>
                      <a:pt x="124" y="929"/>
                    </a:lnTo>
                    <a:lnTo>
                      <a:pt x="124" y="929"/>
                    </a:lnTo>
                    <a:lnTo>
                      <a:pt x="124" y="929"/>
                    </a:lnTo>
                    <a:lnTo>
                      <a:pt x="124" y="961"/>
                    </a:lnTo>
                    <a:cubicBezTo>
                      <a:pt x="154" y="961"/>
                      <a:pt x="154" y="992"/>
                      <a:pt x="154" y="1022"/>
                    </a:cubicBezTo>
                    <a:lnTo>
                      <a:pt x="154" y="1022"/>
                    </a:lnTo>
                    <a:cubicBezTo>
                      <a:pt x="154" y="1053"/>
                      <a:pt x="124" y="1053"/>
                      <a:pt x="124" y="1053"/>
                    </a:cubicBezTo>
                    <a:cubicBezTo>
                      <a:pt x="124" y="1085"/>
                      <a:pt x="124" y="1085"/>
                      <a:pt x="124" y="1085"/>
                    </a:cubicBezTo>
                    <a:lnTo>
                      <a:pt x="124" y="1085"/>
                    </a:lnTo>
                    <a:lnTo>
                      <a:pt x="124" y="1085"/>
                    </a:lnTo>
                    <a:lnTo>
                      <a:pt x="124" y="1116"/>
                    </a:lnTo>
                    <a:cubicBezTo>
                      <a:pt x="124" y="1116"/>
                      <a:pt x="93" y="1116"/>
                      <a:pt x="93" y="1146"/>
                    </a:cubicBezTo>
                    <a:lnTo>
                      <a:pt x="93" y="1146"/>
                    </a:lnTo>
                    <a:lnTo>
                      <a:pt x="93" y="1146"/>
                    </a:lnTo>
                    <a:lnTo>
                      <a:pt x="93" y="1146"/>
                    </a:lnTo>
                    <a:lnTo>
                      <a:pt x="93" y="1146"/>
                    </a:lnTo>
                    <a:cubicBezTo>
                      <a:pt x="93" y="1177"/>
                      <a:pt x="93" y="1209"/>
                      <a:pt x="93" y="1209"/>
                    </a:cubicBezTo>
                    <a:cubicBezTo>
                      <a:pt x="93" y="1240"/>
                      <a:pt x="93" y="1240"/>
                      <a:pt x="93" y="1240"/>
                    </a:cubicBezTo>
                    <a:cubicBezTo>
                      <a:pt x="93" y="1270"/>
                      <a:pt x="93" y="1270"/>
                      <a:pt x="93" y="1270"/>
                    </a:cubicBezTo>
                    <a:lnTo>
                      <a:pt x="93" y="1270"/>
                    </a:lnTo>
                    <a:cubicBezTo>
                      <a:pt x="93" y="1301"/>
                      <a:pt x="93" y="1301"/>
                      <a:pt x="93" y="1301"/>
                    </a:cubicBezTo>
                    <a:lnTo>
                      <a:pt x="93" y="1301"/>
                    </a:lnTo>
                    <a:cubicBezTo>
                      <a:pt x="93" y="1333"/>
                      <a:pt x="93" y="1333"/>
                      <a:pt x="93" y="1333"/>
                    </a:cubicBezTo>
                    <a:lnTo>
                      <a:pt x="93" y="1364"/>
                    </a:lnTo>
                    <a:lnTo>
                      <a:pt x="93" y="1364"/>
                    </a:lnTo>
                    <a:lnTo>
                      <a:pt x="93" y="1364"/>
                    </a:lnTo>
                    <a:lnTo>
                      <a:pt x="124" y="1364"/>
                    </a:lnTo>
                    <a:lnTo>
                      <a:pt x="124" y="1394"/>
                    </a:lnTo>
                    <a:lnTo>
                      <a:pt x="124" y="1394"/>
                    </a:lnTo>
                    <a:lnTo>
                      <a:pt x="124" y="1425"/>
                    </a:lnTo>
                    <a:lnTo>
                      <a:pt x="124" y="1425"/>
                    </a:lnTo>
                    <a:cubicBezTo>
                      <a:pt x="124" y="1425"/>
                      <a:pt x="124" y="1425"/>
                      <a:pt x="124" y="1457"/>
                    </a:cubicBezTo>
                    <a:lnTo>
                      <a:pt x="124" y="1457"/>
                    </a:lnTo>
                    <a:lnTo>
                      <a:pt x="124" y="1457"/>
                    </a:lnTo>
                    <a:lnTo>
                      <a:pt x="124" y="1488"/>
                    </a:lnTo>
                    <a:lnTo>
                      <a:pt x="124" y="1488"/>
                    </a:lnTo>
                    <a:lnTo>
                      <a:pt x="124" y="1488"/>
                    </a:lnTo>
                    <a:cubicBezTo>
                      <a:pt x="124" y="1518"/>
                      <a:pt x="93" y="1518"/>
                      <a:pt x="93" y="1518"/>
                    </a:cubicBezTo>
                    <a:lnTo>
                      <a:pt x="93" y="1518"/>
                    </a:lnTo>
                    <a:lnTo>
                      <a:pt x="93" y="1518"/>
                    </a:lnTo>
                    <a:cubicBezTo>
                      <a:pt x="93" y="1549"/>
                      <a:pt x="93" y="1549"/>
                      <a:pt x="93" y="1549"/>
                    </a:cubicBezTo>
                    <a:lnTo>
                      <a:pt x="93" y="1549"/>
                    </a:lnTo>
                    <a:lnTo>
                      <a:pt x="93" y="1549"/>
                    </a:lnTo>
                    <a:lnTo>
                      <a:pt x="93" y="1549"/>
                    </a:lnTo>
                    <a:cubicBezTo>
                      <a:pt x="93" y="1581"/>
                      <a:pt x="93" y="1581"/>
                      <a:pt x="93" y="1581"/>
                    </a:cubicBezTo>
                    <a:lnTo>
                      <a:pt x="93" y="1581"/>
                    </a:lnTo>
                    <a:lnTo>
                      <a:pt x="93" y="1581"/>
                    </a:lnTo>
                    <a:lnTo>
                      <a:pt x="93" y="1612"/>
                    </a:lnTo>
                    <a:cubicBezTo>
                      <a:pt x="62" y="1612"/>
                      <a:pt x="62" y="1612"/>
                      <a:pt x="62" y="1612"/>
                    </a:cubicBezTo>
                    <a:lnTo>
                      <a:pt x="62" y="1612"/>
                    </a:lnTo>
                    <a:cubicBezTo>
                      <a:pt x="93" y="1612"/>
                      <a:pt x="93" y="1642"/>
                      <a:pt x="93" y="1642"/>
                    </a:cubicBezTo>
                    <a:lnTo>
                      <a:pt x="62" y="1673"/>
                    </a:lnTo>
                    <a:lnTo>
                      <a:pt x="62" y="1673"/>
                    </a:lnTo>
                    <a:lnTo>
                      <a:pt x="62" y="1673"/>
                    </a:lnTo>
                    <a:cubicBezTo>
                      <a:pt x="30" y="1705"/>
                      <a:pt x="30" y="1705"/>
                      <a:pt x="30" y="1705"/>
                    </a:cubicBezTo>
                    <a:lnTo>
                      <a:pt x="30" y="1705"/>
                    </a:lnTo>
                    <a:lnTo>
                      <a:pt x="30" y="1705"/>
                    </a:lnTo>
                    <a:cubicBezTo>
                      <a:pt x="0" y="1705"/>
                      <a:pt x="0" y="1705"/>
                      <a:pt x="0" y="1736"/>
                    </a:cubicBezTo>
                    <a:lnTo>
                      <a:pt x="0" y="1736"/>
                    </a:lnTo>
                    <a:cubicBezTo>
                      <a:pt x="0" y="1736"/>
                      <a:pt x="0" y="1736"/>
                      <a:pt x="0" y="1766"/>
                    </a:cubicBezTo>
                    <a:lnTo>
                      <a:pt x="30" y="1766"/>
                    </a:lnTo>
                    <a:lnTo>
                      <a:pt x="30" y="1766"/>
                    </a:lnTo>
                    <a:lnTo>
                      <a:pt x="30" y="1766"/>
                    </a:lnTo>
                    <a:cubicBezTo>
                      <a:pt x="62" y="1766"/>
                      <a:pt x="62" y="1766"/>
                      <a:pt x="62" y="1766"/>
                    </a:cubicBezTo>
                    <a:cubicBezTo>
                      <a:pt x="62" y="1766"/>
                      <a:pt x="93" y="1766"/>
                      <a:pt x="93" y="1797"/>
                    </a:cubicBezTo>
                    <a:lnTo>
                      <a:pt x="93" y="1829"/>
                    </a:lnTo>
                    <a:cubicBezTo>
                      <a:pt x="62" y="1829"/>
                      <a:pt x="62" y="1829"/>
                      <a:pt x="62" y="1860"/>
                    </a:cubicBezTo>
                    <a:cubicBezTo>
                      <a:pt x="93" y="1860"/>
                      <a:pt x="93" y="1860"/>
                      <a:pt x="93" y="1860"/>
                    </a:cubicBezTo>
                    <a:lnTo>
                      <a:pt x="93" y="1860"/>
                    </a:lnTo>
                    <a:cubicBezTo>
                      <a:pt x="124" y="1860"/>
                      <a:pt x="124" y="1860"/>
                      <a:pt x="124" y="1860"/>
                    </a:cubicBezTo>
                    <a:cubicBezTo>
                      <a:pt x="154" y="1860"/>
                      <a:pt x="154" y="1860"/>
                      <a:pt x="154" y="1860"/>
                    </a:cubicBezTo>
                    <a:lnTo>
                      <a:pt x="186" y="1860"/>
                    </a:lnTo>
                    <a:lnTo>
                      <a:pt x="186" y="1860"/>
                    </a:lnTo>
                    <a:lnTo>
                      <a:pt x="186" y="1860"/>
                    </a:lnTo>
                    <a:cubicBezTo>
                      <a:pt x="217" y="1860"/>
                      <a:pt x="217" y="1860"/>
                      <a:pt x="217" y="1860"/>
                    </a:cubicBezTo>
                    <a:lnTo>
                      <a:pt x="217" y="1860"/>
                    </a:lnTo>
                    <a:lnTo>
                      <a:pt x="217" y="1860"/>
                    </a:lnTo>
                    <a:lnTo>
                      <a:pt x="217" y="1860"/>
                    </a:lnTo>
                    <a:cubicBezTo>
                      <a:pt x="217" y="1860"/>
                      <a:pt x="186" y="1829"/>
                      <a:pt x="186" y="1797"/>
                    </a:cubicBezTo>
                    <a:cubicBezTo>
                      <a:pt x="186" y="1797"/>
                      <a:pt x="217" y="1797"/>
                      <a:pt x="217" y="1766"/>
                    </a:cubicBezTo>
                    <a:cubicBezTo>
                      <a:pt x="62" y="1736"/>
                      <a:pt x="62" y="1736"/>
                      <a:pt x="62" y="1736"/>
                    </a:cubicBezTo>
                    <a:cubicBezTo>
                      <a:pt x="248" y="1736"/>
                      <a:pt x="248" y="1736"/>
                      <a:pt x="248" y="1736"/>
                    </a:cubicBezTo>
                    <a:lnTo>
                      <a:pt x="278" y="1736"/>
                    </a:lnTo>
                    <a:lnTo>
                      <a:pt x="278" y="1736"/>
                    </a:lnTo>
                    <a:cubicBezTo>
                      <a:pt x="278" y="1705"/>
                      <a:pt x="278" y="1705"/>
                      <a:pt x="278" y="1705"/>
                    </a:cubicBezTo>
                    <a:cubicBezTo>
                      <a:pt x="278" y="1673"/>
                      <a:pt x="278" y="1673"/>
                      <a:pt x="278" y="1673"/>
                    </a:cubicBezTo>
                    <a:cubicBezTo>
                      <a:pt x="310" y="1673"/>
                      <a:pt x="310" y="1673"/>
                      <a:pt x="310" y="1673"/>
                    </a:cubicBezTo>
                    <a:cubicBezTo>
                      <a:pt x="310" y="1642"/>
                      <a:pt x="310" y="1642"/>
                      <a:pt x="310" y="1642"/>
                    </a:cubicBezTo>
                    <a:cubicBezTo>
                      <a:pt x="154" y="1642"/>
                      <a:pt x="154" y="1642"/>
                      <a:pt x="154" y="1642"/>
                    </a:cubicBezTo>
                    <a:cubicBezTo>
                      <a:pt x="372" y="1581"/>
                      <a:pt x="372" y="1581"/>
                      <a:pt x="372" y="1581"/>
                    </a:cubicBezTo>
                    <a:cubicBezTo>
                      <a:pt x="372" y="1581"/>
                      <a:pt x="372" y="1581"/>
                      <a:pt x="341" y="1581"/>
                    </a:cubicBezTo>
                    <a:lnTo>
                      <a:pt x="341" y="1581"/>
                    </a:lnTo>
                    <a:cubicBezTo>
                      <a:pt x="310" y="1581"/>
                      <a:pt x="310" y="1581"/>
                      <a:pt x="310" y="1581"/>
                    </a:cubicBezTo>
                    <a:lnTo>
                      <a:pt x="310" y="1549"/>
                    </a:lnTo>
                    <a:cubicBezTo>
                      <a:pt x="278" y="1518"/>
                      <a:pt x="278" y="1488"/>
                      <a:pt x="278" y="1488"/>
                    </a:cubicBezTo>
                    <a:cubicBezTo>
                      <a:pt x="278" y="1488"/>
                      <a:pt x="278" y="1488"/>
                      <a:pt x="341" y="1425"/>
                    </a:cubicBezTo>
                    <a:lnTo>
                      <a:pt x="341" y="1425"/>
                    </a:lnTo>
                    <a:lnTo>
                      <a:pt x="341" y="1425"/>
                    </a:lnTo>
                    <a:lnTo>
                      <a:pt x="372" y="1425"/>
                    </a:lnTo>
                    <a:cubicBezTo>
                      <a:pt x="372" y="1425"/>
                      <a:pt x="372" y="1425"/>
                      <a:pt x="402" y="1425"/>
                    </a:cubicBezTo>
                    <a:cubicBezTo>
                      <a:pt x="402" y="1394"/>
                      <a:pt x="402" y="1394"/>
                      <a:pt x="402" y="1394"/>
                    </a:cubicBezTo>
                    <a:lnTo>
                      <a:pt x="402" y="1333"/>
                    </a:lnTo>
                    <a:cubicBezTo>
                      <a:pt x="402" y="1301"/>
                      <a:pt x="402" y="1301"/>
                      <a:pt x="402" y="1301"/>
                    </a:cubicBezTo>
                    <a:cubicBezTo>
                      <a:pt x="434" y="1301"/>
                      <a:pt x="434" y="1301"/>
                      <a:pt x="434" y="1301"/>
                    </a:cubicBezTo>
                    <a:cubicBezTo>
                      <a:pt x="434" y="1301"/>
                      <a:pt x="434" y="1301"/>
                      <a:pt x="465" y="1301"/>
                    </a:cubicBezTo>
                    <a:cubicBezTo>
                      <a:pt x="465" y="1301"/>
                      <a:pt x="465" y="1301"/>
                      <a:pt x="465" y="1270"/>
                    </a:cubicBezTo>
                    <a:cubicBezTo>
                      <a:pt x="434" y="1270"/>
                      <a:pt x="434" y="1270"/>
                      <a:pt x="434" y="1270"/>
                    </a:cubicBezTo>
                    <a:lnTo>
                      <a:pt x="434" y="1270"/>
                    </a:lnTo>
                    <a:cubicBezTo>
                      <a:pt x="434" y="1240"/>
                      <a:pt x="434" y="1240"/>
                      <a:pt x="434" y="1240"/>
                    </a:cubicBezTo>
                    <a:cubicBezTo>
                      <a:pt x="434" y="1240"/>
                      <a:pt x="434" y="1240"/>
                      <a:pt x="434" y="1209"/>
                    </a:cubicBezTo>
                    <a:lnTo>
                      <a:pt x="434" y="1209"/>
                    </a:lnTo>
                    <a:lnTo>
                      <a:pt x="434" y="1177"/>
                    </a:lnTo>
                    <a:cubicBezTo>
                      <a:pt x="434" y="1146"/>
                      <a:pt x="465" y="1146"/>
                      <a:pt x="465" y="1146"/>
                    </a:cubicBezTo>
                    <a:cubicBezTo>
                      <a:pt x="465" y="1146"/>
                      <a:pt x="465" y="1146"/>
                      <a:pt x="496" y="1146"/>
                    </a:cubicBezTo>
                    <a:cubicBezTo>
                      <a:pt x="496" y="1177"/>
                      <a:pt x="526" y="1177"/>
                      <a:pt x="526" y="1177"/>
                    </a:cubicBezTo>
                    <a:lnTo>
                      <a:pt x="558" y="1177"/>
                    </a:lnTo>
                    <a:lnTo>
                      <a:pt x="558" y="1177"/>
                    </a:lnTo>
                    <a:lnTo>
                      <a:pt x="589" y="1146"/>
                    </a:lnTo>
                    <a:lnTo>
                      <a:pt x="589" y="1146"/>
                    </a:lnTo>
                    <a:lnTo>
                      <a:pt x="589" y="1146"/>
                    </a:lnTo>
                    <a:cubicBezTo>
                      <a:pt x="589" y="1146"/>
                      <a:pt x="589" y="1146"/>
                      <a:pt x="589" y="1116"/>
                    </a:cubicBezTo>
                    <a:lnTo>
                      <a:pt x="589" y="1116"/>
                    </a:lnTo>
                    <a:lnTo>
                      <a:pt x="589" y="1085"/>
                    </a:lnTo>
                    <a:cubicBezTo>
                      <a:pt x="589" y="1085"/>
                      <a:pt x="589" y="1085"/>
                      <a:pt x="589" y="1053"/>
                    </a:cubicBezTo>
                    <a:cubicBezTo>
                      <a:pt x="434" y="929"/>
                      <a:pt x="434" y="929"/>
                      <a:pt x="434" y="929"/>
                    </a:cubicBezTo>
                    <a:cubicBezTo>
                      <a:pt x="620" y="1022"/>
                      <a:pt x="620" y="1022"/>
                      <a:pt x="620" y="1022"/>
                    </a:cubicBezTo>
                    <a:lnTo>
                      <a:pt x="650" y="1022"/>
                    </a:lnTo>
                    <a:cubicBezTo>
                      <a:pt x="650" y="1022"/>
                      <a:pt x="713" y="1022"/>
                      <a:pt x="744" y="1022"/>
                    </a:cubicBezTo>
                    <a:lnTo>
                      <a:pt x="774" y="1022"/>
                    </a:lnTo>
                    <a:cubicBezTo>
                      <a:pt x="806" y="992"/>
                      <a:pt x="837" y="992"/>
                      <a:pt x="837" y="992"/>
                    </a:cubicBezTo>
                    <a:lnTo>
                      <a:pt x="837" y="992"/>
                    </a:lnTo>
                    <a:lnTo>
                      <a:pt x="868" y="961"/>
                    </a:lnTo>
                    <a:cubicBezTo>
                      <a:pt x="868" y="961"/>
                      <a:pt x="868" y="929"/>
                      <a:pt x="898" y="929"/>
                    </a:cubicBezTo>
                    <a:cubicBezTo>
                      <a:pt x="868" y="929"/>
                      <a:pt x="868" y="898"/>
                      <a:pt x="868" y="89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53" name="Freeform 150"/>
              <p:cNvSpPr>
                <a:spLocks noChangeArrowheads="1"/>
              </p:cNvSpPr>
              <p:nvPr/>
            </p:nvSpPr>
            <p:spPr bwMode="auto">
              <a:xfrm>
                <a:off x="2508250" y="3352800"/>
                <a:ext cx="77788" cy="100013"/>
              </a:xfrm>
              <a:custGeom>
                <a:avLst/>
                <a:gdLst>
                  <a:gd name="T0" fmla="*/ 217 w 218"/>
                  <a:gd name="T1" fmla="*/ 124 h 279"/>
                  <a:gd name="T2" fmla="*/ 217 w 218"/>
                  <a:gd name="T3" fmla="*/ 124 h 279"/>
                  <a:gd name="T4" fmla="*/ 155 w 218"/>
                  <a:gd name="T5" fmla="*/ 93 h 279"/>
                  <a:gd name="T6" fmla="*/ 155 w 218"/>
                  <a:gd name="T7" fmla="*/ 93 h 279"/>
                  <a:gd name="T8" fmla="*/ 124 w 218"/>
                  <a:gd name="T9" fmla="*/ 61 h 279"/>
                  <a:gd name="T10" fmla="*/ 124 w 218"/>
                  <a:gd name="T11" fmla="*/ 61 h 279"/>
                  <a:gd name="T12" fmla="*/ 124 w 218"/>
                  <a:gd name="T13" fmla="*/ 61 h 279"/>
                  <a:gd name="T14" fmla="*/ 124 w 218"/>
                  <a:gd name="T15" fmla="*/ 61 h 279"/>
                  <a:gd name="T16" fmla="*/ 124 w 218"/>
                  <a:gd name="T17" fmla="*/ 61 h 279"/>
                  <a:gd name="T18" fmla="*/ 124 w 218"/>
                  <a:gd name="T19" fmla="*/ 61 h 279"/>
                  <a:gd name="T20" fmla="*/ 93 w 218"/>
                  <a:gd name="T21" fmla="*/ 61 h 279"/>
                  <a:gd name="T22" fmla="*/ 93 w 218"/>
                  <a:gd name="T23" fmla="*/ 31 h 279"/>
                  <a:gd name="T24" fmla="*/ 93 w 218"/>
                  <a:gd name="T25" fmla="*/ 31 h 279"/>
                  <a:gd name="T26" fmla="*/ 61 w 218"/>
                  <a:gd name="T27" fmla="*/ 0 h 279"/>
                  <a:gd name="T28" fmla="*/ 61 w 218"/>
                  <a:gd name="T29" fmla="*/ 0 h 279"/>
                  <a:gd name="T30" fmla="*/ 61 w 218"/>
                  <a:gd name="T31" fmla="*/ 0 h 279"/>
                  <a:gd name="T32" fmla="*/ 61 w 218"/>
                  <a:gd name="T33" fmla="*/ 31 h 279"/>
                  <a:gd name="T34" fmla="*/ 31 w 218"/>
                  <a:gd name="T35" fmla="*/ 31 h 279"/>
                  <a:gd name="T36" fmla="*/ 31 w 218"/>
                  <a:gd name="T37" fmla="*/ 31 h 279"/>
                  <a:gd name="T38" fmla="*/ 31 w 218"/>
                  <a:gd name="T39" fmla="*/ 61 h 279"/>
                  <a:gd name="T40" fmla="*/ 31 w 218"/>
                  <a:gd name="T41" fmla="*/ 61 h 279"/>
                  <a:gd name="T42" fmla="*/ 31 w 218"/>
                  <a:gd name="T43" fmla="*/ 93 h 279"/>
                  <a:gd name="T44" fmla="*/ 31 w 218"/>
                  <a:gd name="T45" fmla="*/ 93 h 279"/>
                  <a:gd name="T46" fmla="*/ 31 w 218"/>
                  <a:gd name="T47" fmla="*/ 124 h 279"/>
                  <a:gd name="T48" fmla="*/ 0 w 218"/>
                  <a:gd name="T49" fmla="*/ 185 h 279"/>
                  <a:gd name="T50" fmla="*/ 0 w 218"/>
                  <a:gd name="T51" fmla="*/ 217 h 279"/>
                  <a:gd name="T52" fmla="*/ 0 w 218"/>
                  <a:gd name="T53" fmla="*/ 217 h 279"/>
                  <a:gd name="T54" fmla="*/ 0 w 218"/>
                  <a:gd name="T55" fmla="*/ 217 h 279"/>
                  <a:gd name="T56" fmla="*/ 0 w 218"/>
                  <a:gd name="T57" fmla="*/ 217 h 279"/>
                  <a:gd name="T58" fmla="*/ 31 w 218"/>
                  <a:gd name="T59" fmla="*/ 248 h 279"/>
                  <a:gd name="T60" fmla="*/ 31 w 218"/>
                  <a:gd name="T61" fmla="*/ 248 h 279"/>
                  <a:gd name="T62" fmla="*/ 61 w 218"/>
                  <a:gd name="T63" fmla="*/ 278 h 279"/>
                  <a:gd name="T64" fmla="*/ 93 w 218"/>
                  <a:gd name="T65" fmla="*/ 278 h 279"/>
                  <a:gd name="T66" fmla="*/ 93 w 218"/>
                  <a:gd name="T67" fmla="*/ 278 h 279"/>
                  <a:gd name="T68" fmla="*/ 124 w 218"/>
                  <a:gd name="T69" fmla="*/ 278 h 279"/>
                  <a:gd name="T70" fmla="*/ 155 w 218"/>
                  <a:gd name="T71" fmla="*/ 278 h 279"/>
                  <a:gd name="T72" fmla="*/ 185 w 218"/>
                  <a:gd name="T73" fmla="*/ 278 h 279"/>
                  <a:gd name="T74" fmla="*/ 185 w 218"/>
                  <a:gd name="T75" fmla="*/ 278 h 279"/>
                  <a:gd name="T76" fmla="*/ 217 w 218"/>
                  <a:gd name="T77" fmla="*/ 248 h 279"/>
                  <a:gd name="T78" fmla="*/ 217 w 218"/>
                  <a:gd name="T79" fmla="*/ 217 h 279"/>
                  <a:gd name="T80" fmla="*/ 217 w 218"/>
                  <a:gd name="T81" fmla="*/ 217 h 279"/>
                  <a:gd name="T82" fmla="*/ 217 w 218"/>
                  <a:gd name="T83" fmla="*/ 185 h 279"/>
                  <a:gd name="T84" fmla="*/ 217 w 218"/>
                  <a:gd name="T85" fmla="*/ 155 h 279"/>
                  <a:gd name="T86" fmla="*/ 217 w 218"/>
                  <a:gd name="T87" fmla="*/ 124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 h="279">
                    <a:moveTo>
                      <a:pt x="217" y="124"/>
                    </a:moveTo>
                    <a:lnTo>
                      <a:pt x="217" y="124"/>
                    </a:lnTo>
                    <a:cubicBezTo>
                      <a:pt x="185" y="124"/>
                      <a:pt x="185" y="124"/>
                      <a:pt x="155" y="93"/>
                    </a:cubicBezTo>
                    <a:lnTo>
                      <a:pt x="155" y="93"/>
                    </a:lnTo>
                    <a:cubicBezTo>
                      <a:pt x="155" y="93"/>
                      <a:pt x="124" y="93"/>
                      <a:pt x="124" y="61"/>
                    </a:cubicBezTo>
                    <a:lnTo>
                      <a:pt x="124" y="61"/>
                    </a:lnTo>
                    <a:lnTo>
                      <a:pt x="124" y="61"/>
                    </a:lnTo>
                    <a:lnTo>
                      <a:pt x="124" y="61"/>
                    </a:lnTo>
                    <a:lnTo>
                      <a:pt x="124" y="61"/>
                    </a:lnTo>
                    <a:lnTo>
                      <a:pt x="124" y="61"/>
                    </a:lnTo>
                    <a:cubicBezTo>
                      <a:pt x="93" y="61"/>
                      <a:pt x="93" y="61"/>
                      <a:pt x="93" y="61"/>
                    </a:cubicBezTo>
                    <a:lnTo>
                      <a:pt x="93" y="31"/>
                    </a:lnTo>
                    <a:lnTo>
                      <a:pt x="93" y="31"/>
                    </a:lnTo>
                    <a:cubicBezTo>
                      <a:pt x="61" y="31"/>
                      <a:pt x="61" y="31"/>
                      <a:pt x="61" y="0"/>
                    </a:cubicBezTo>
                    <a:lnTo>
                      <a:pt x="61" y="0"/>
                    </a:lnTo>
                    <a:lnTo>
                      <a:pt x="61" y="0"/>
                    </a:lnTo>
                    <a:lnTo>
                      <a:pt x="61" y="31"/>
                    </a:lnTo>
                    <a:lnTo>
                      <a:pt x="31" y="31"/>
                    </a:lnTo>
                    <a:lnTo>
                      <a:pt x="31" y="31"/>
                    </a:lnTo>
                    <a:cubicBezTo>
                      <a:pt x="31" y="31"/>
                      <a:pt x="31" y="31"/>
                      <a:pt x="31" y="61"/>
                    </a:cubicBezTo>
                    <a:lnTo>
                      <a:pt x="31" y="61"/>
                    </a:lnTo>
                    <a:cubicBezTo>
                      <a:pt x="31" y="93"/>
                      <a:pt x="31" y="93"/>
                      <a:pt x="31" y="93"/>
                    </a:cubicBezTo>
                    <a:lnTo>
                      <a:pt x="31" y="93"/>
                    </a:lnTo>
                    <a:lnTo>
                      <a:pt x="31" y="124"/>
                    </a:lnTo>
                    <a:cubicBezTo>
                      <a:pt x="0" y="155"/>
                      <a:pt x="0" y="155"/>
                      <a:pt x="0" y="185"/>
                    </a:cubicBezTo>
                    <a:lnTo>
                      <a:pt x="0" y="217"/>
                    </a:lnTo>
                    <a:lnTo>
                      <a:pt x="0" y="217"/>
                    </a:lnTo>
                    <a:lnTo>
                      <a:pt x="0" y="217"/>
                    </a:lnTo>
                    <a:lnTo>
                      <a:pt x="0" y="217"/>
                    </a:lnTo>
                    <a:cubicBezTo>
                      <a:pt x="0" y="217"/>
                      <a:pt x="0" y="217"/>
                      <a:pt x="31" y="248"/>
                    </a:cubicBezTo>
                    <a:lnTo>
                      <a:pt x="31" y="248"/>
                    </a:lnTo>
                    <a:cubicBezTo>
                      <a:pt x="31" y="248"/>
                      <a:pt x="61" y="248"/>
                      <a:pt x="61" y="278"/>
                    </a:cubicBezTo>
                    <a:cubicBezTo>
                      <a:pt x="93" y="278"/>
                      <a:pt x="93" y="278"/>
                      <a:pt x="93" y="278"/>
                    </a:cubicBezTo>
                    <a:lnTo>
                      <a:pt x="93" y="278"/>
                    </a:lnTo>
                    <a:cubicBezTo>
                      <a:pt x="124" y="278"/>
                      <a:pt x="124" y="278"/>
                      <a:pt x="124" y="278"/>
                    </a:cubicBezTo>
                    <a:cubicBezTo>
                      <a:pt x="155" y="278"/>
                      <a:pt x="155" y="278"/>
                      <a:pt x="155" y="278"/>
                    </a:cubicBezTo>
                    <a:lnTo>
                      <a:pt x="185" y="278"/>
                    </a:lnTo>
                    <a:lnTo>
                      <a:pt x="185" y="278"/>
                    </a:lnTo>
                    <a:cubicBezTo>
                      <a:pt x="185" y="248"/>
                      <a:pt x="217" y="248"/>
                      <a:pt x="217" y="248"/>
                    </a:cubicBezTo>
                    <a:lnTo>
                      <a:pt x="217" y="217"/>
                    </a:lnTo>
                    <a:lnTo>
                      <a:pt x="217" y="217"/>
                    </a:lnTo>
                    <a:lnTo>
                      <a:pt x="217" y="185"/>
                    </a:lnTo>
                    <a:lnTo>
                      <a:pt x="217" y="155"/>
                    </a:lnTo>
                    <a:cubicBezTo>
                      <a:pt x="217" y="155"/>
                      <a:pt x="217" y="155"/>
                      <a:pt x="217" y="12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54" name="Freeform 151"/>
              <p:cNvSpPr>
                <a:spLocks noChangeArrowheads="1"/>
              </p:cNvSpPr>
              <p:nvPr/>
            </p:nvSpPr>
            <p:spPr bwMode="auto">
              <a:xfrm>
                <a:off x="2430463" y="3106738"/>
                <a:ext cx="144462" cy="168275"/>
              </a:xfrm>
              <a:custGeom>
                <a:avLst/>
                <a:gdLst>
                  <a:gd name="T0" fmla="*/ 186 w 403"/>
                  <a:gd name="T1" fmla="*/ 124 h 467"/>
                  <a:gd name="T2" fmla="*/ 186 w 403"/>
                  <a:gd name="T3" fmla="*/ 94 h 467"/>
                  <a:gd name="T4" fmla="*/ 186 w 403"/>
                  <a:gd name="T5" fmla="*/ 63 h 467"/>
                  <a:gd name="T6" fmla="*/ 186 w 403"/>
                  <a:gd name="T7" fmla="*/ 0 h 467"/>
                  <a:gd name="T8" fmla="*/ 186 w 403"/>
                  <a:gd name="T9" fmla="*/ 0 h 467"/>
                  <a:gd name="T10" fmla="*/ 124 w 403"/>
                  <a:gd name="T11" fmla="*/ 0 h 467"/>
                  <a:gd name="T12" fmla="*/ 124 w 403"/>
                  <a:gd name="T13" fmla="*/ 0 h 467"/>
                  <a:gd name="T14" fmla="*/ 93 w 403"/>
                  <a:gd name="T15" fmla="*/ 0 h 467"/>
                  <a:gd name="T16" fmla="*/ 30 w 403"/>
                  <a:gd name="T17" fmla="*/ 32 h 467"/>
                  <a:gd name="T18" fmla="*/ 0 w 403"/>
                  <a:gd name="T19" fmla="*/ 94 h 467"/>
                  <a:gd name="T20" fmla="*/ 0 w 403"/>
                  <a:gd name="T21" fmla="*/ 124 h 467"/>
                  <a:gd name="T22" fmla="*/ 0 w 403"/>
                  <a:gd name="T23" fmla="*/ 156 h 467"/>
                  <a:gd name="T24" fmla="*/ 0 w 403"/>
                  <a:gd name="T25" fmla="*/ 156 h 467"/>
                  <a:gd name="T26" fmla="*/ 0 w 403"/>
                  <a:gd name="T27" fmla="*/ 156 h 467"/>
                  <a:gd name="T28" fmla="*/ 0 w 403"/>
                  <a:gd name="T29" fmla="*/ 187 h 467"/>
                  <a:gd name="T30" fmla="*/ 62 w 403"/>
                  <a:gd name="T31" fmla="*/ 218 h 467"/>
                  <a:gd name="T32" fmla="*/ 62 w 403"/>
                  <a:gd name="T33" fmla="*/ 218 h 467"/>
                  <a:gd name="T34" fmla="*/ 62 w 403"/>
                  <a:gd name="T35" fmla="*/ 218 h 467"/>
                  <a:gd name="T36" fmla="*/ 93 w 403"/>
                  <a:gd name="T37" fmla="*/ 248 h 467"/>
                  <a:gd name="T38" fmla="*/ 154 w 403"/>
                  <a:gd name="T39" fmla="*/ 280 h 467"/>
                  <a:gd name="T40" fmla="*/ 186 w 403"/>
                  <a:gd name="T41" fmla="*/ 311 h 467"/>
                  <a:gd name="T42" fmla="*/ 217 w 403"/>
                  <a:gd name="T43" fmla="*/ 311 h 467"/>
                  <a:gd name="T44" fmla="*/ 248 w 403"/>
                  <a:gd name="T45" fmla="*/ 311 h 467"/>
                  <a:gd name="T46" fmla="*/ 278 w 403"/>
                  <a:gd name="T47" fmla="*/ 372 h 467"/>
                  <a:gd name="T48" fmla="*/ 248 w 403"/>
                  <a:gd name="T49" fmla="*/ 404 h 467"/>
                  <a:gd name="T50" fmla="*/ 217 w 403"/>
                  <a:gd name="T51" fmla="*/ 435 h 467"/>
                  <a:gd name="T52" fmla="*/ 217 w 403"/>
                  <a:gd name="T53" fmla="*/ 435 h 467"/>
                  <a:gd name="T54" fmla="*/ 217 w 403"/>
                  <a:gd name="T55" fmla="*/ 466 h 467"/>
                  <a:gd name="T56" fmla="*/ 217 w 403"/>
                  <a:gd name="T57" fmla="*/ 466 h 467"/>
                  <a:gd name="T58" fmla="*/ 248 w 403"/>
                  <a:gd name="T59" fmla="*/ 466 h 467"/>
                  <a:gd name="T60" fmla="*/ 278 w 403"/>
                  <a:gd name="T61" fmla="*/ 466 h 467"/>
                  <a:gd name="T62" fmla="*/ 310 w 403"/>
                  <a:gd name="T63" fmla="*/ 466 h 467"/>
                  <a:gd name="T64" fmla="*/ 372 w 403"/>
                  <a:gd name="T65" fmla="*/ 435 h 467"/>
                  <a:gd name="T66" fmla="*/ 372 w 403"/>
                  <a:gd name="T67" fmla="*/ 435 h 467"/>
                  <a:gd name="T68" fmla="*/ 372 w 403"/>
                  <a:gd name="T69" fmla="*/ 435 h 467"/>
                  <a:gd name="T70" fmla="*/ 372 w 403"/>
                  <a:gd name="T71" fmla="*/ 404 h 467"/>
                  <a:gd name="T72" fmla="*/ 372 w 403"/>
                  <a:gd name="T73" fmla="*/ 372 h 467"/>
                  <a:gd name="T74" fmla="*/ 402 w 403"/>
                  <a:gd name="T75" fmla="*/ 311 h 467"/>
                  <a:gd name="T76" fmla="*/ 402 w 403"/>
                  <a:gd name="T77" fmla="*/ 311 h 467"/>
                  <a:gd name="T78" fmla="*/ 402 w 403"/>
                  <a:gd name="T79" fmla="*/ 311 h 467"/>
                  <a:gd name="T80" fmla="*/ 341 w 403"/>
                  <a:gd name="T81" fmla="*/ 280 h 467"/>
                  <a:gd name="T82" fmla="*/ 341 w 403"/>
                  <a:gd name="T83" fmla="*/ 248 h 467"/>
                  <a:gd name="T84" fmla="*/ 341 w 403"/>
                  <a:gd name="T85" fmla="*/ 218 h 467"/>
                  <a:gd name="T86" fmla="*/ 310 w 403"/>
                  <a:gd name="T87" fmla="*/ 187 h 467"/>
                  <a:gd name="T88" fmla="*/ 310 w 403"/>
                  <a:gd name="T89" fmla="*/ 187 h 467"/>
                  <a:gd name="T90" fmla="*/ 278 w 403"/>
                  <a:gd name="T91" fmla="*/ 187 h 467"/>
                  <a:gd name="T92" fmla="*/ 278 w 403"/>
                  <a:gd name="T93" fmla="*/ 187 h 467"/>
                  <a:gd name="T94" fmla="*/ 278 w 403"/>
                  <a:gd name="T95" fmla="*/ 187 h 467"/>
                  <a:gd name="T96" fmla="*/ 248 w 403"/>
                  <a:gd name="T97" fmla="*/ 187 h 467"/>
                  <a:gd name="T98" fmla="*/ 217 w 403"/>
                  <a:gd name="T99" fmla="*/ 156 h 467"/>
                  <a:gd name="T100" fmla="*/ 186 w 403"/>
                  <a:gd name="T101" fmla="*/ 1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3" h="467">
                    <a:moveTo>
                      <a:pt x="186" y="124"/>
                    </a:moveTo>
                    <a:lnTo>
                      <a:pt x="186" y="124"/>
                    </a:lnTo>
                    <a:lnTo>
                      <a:pt x="186" y="124"/>
                    </a:lnTo>
                    <a:lnTo>
                      <a:pt x="186" y="94"/>
                    </a:lnTo>
                    <a:lnTo>
                      <a:pt x="186" y="94"/>
                    </a:lnTo>
                    <a:cubicBezTo>
                      <a:pt x="186" y="94"/>
                      <a:pt x="186" y="94"/>
                      <a:pt x="186" y="63"/>
                    </a:cubicBezTo>
                    <a:lnTo>
                      <a:pt x="186" y="63"/>
                    </a:lnTo>
                    <a:cubicBezTo>
                      <a:pt x="186" y="63"/>
                      <a:pt x="186" y="32"/>
                      <a:pt x="186" y="0"/>
                    </a:cubicBezTo>
                    <a:lnTo>
                      <a:pt x="186" y="0"/>
                    </a:lnTo>
                    <a:lnTo>
                      <a:pt x="186" y="0"/>
                    </a:lnTo>
                    <a:cubicBezTo>
                      <a:pt x="186" y="0"/>
                      <a:pt x="154" y="0"/>
                      <a:pt x="124" y="0"/>
                    </a:cubicBezTo>
                    <a:lnTo>
                      <a:pt x="124" y="0"/>
                    </a:lnTo>
                    <a:lnTo>
                      <a:pt x="124" y="0"/>
                    </a:lnTo>
                    <a:lnTo>
                      <a:pt x="124" y="0"/>
                    </a:lnTo>
                    <a:lnTo>
                      <a:pt x="124" y="0"/>
                    </a:lnTo>
                    <a:lnTo>
                      <a:pt x="93" y="0"/>
                    </a:lnTo>
                    <a:cubicBezTo>
                      <a:pt x="62" y="0"/>
                      <a:pt x="30" y="0"/>
                      <a:pt x="30" y="0"/>
                    </a:cubicBezTo>
                    <a:cubicBezTo>
                      <a:pt x="30" y="32"/>
                      <a:pt x="30" y="32"/>
                      <a:pt x="30" y="32"/>
                    </a:cubicBezTo>
                    <a:cubicBezTo>
                      <a:pt x="30" y="63"/>
                      <a:pt x="0" y="63"/>
                      <a:pt x="0" y="63"/>
                    </a:cubicBezTo>
                    <a:cubicBezTo>
                      <a:pt x="0" y="63"/>
                      <a:pt x="0" y="63"/>
                      <a:pt x="0" y="94"/>
                    </a:cubicBezTo>
                    <a:cubicBezTo>
                      <a:pt x="0" y="94"/>
                      <a:pt x="0" y="94"/>
                      <a:pt x="0" y="124"/>
                    </a:cubicBezTo>
                    <a:lnTo>
                      <a:pt x="0" y="124"/>
                    </a:lnTo>
                    <a:lnTo>
                      <a:pt x="0" y="124"/>
                    </a:lnTo>
                    <a:cubicBezTo>
                      <a:pt x="0" y="124"/>
                      <a:pt x="0" y="124"/>
                      <a:pt x="0" y="156"/>
                    </a:cubicBezTo>
                    <a:lnTo>
                      <a:pt x="0" y="156"/>
                    </a:lnTo>
                    <a:lnTo>
                      <a:pt x="0" y="156"/>
                    </a:lnTo>
                    <a:lnTo>
                      <a:pt x="0" y="156"/>
                    </a:lnTo>
                    <a:lnTo>
                      <a:pt x="0" y="156"/>
                    </a:lnTo>
                    <a:lnTo>
                      <a:pt x="0" y="187"/>
                    </a:lnTo>
                    <a:lnTo>
                      <a:pt x="0" y="187"/>
                    </a:lnTo>
                    <a:cubicBezTo>
                      <a:pt x="30" y="187"/>
                      <a:pt x="30" y="187"/>
                      <a:pt x="30" y="187"/>
                    </a:cubicBezTo>
                    <a:cubicBezTo>
                      <a:pt x="30" y="187"/>
                      <a:pt x="30" y="187"/>
                      <a:pt x="62" y="218"/>
                    </a:cubicBezTo>
                    <a:lnTo>
                      <a:pt x="62" y="218"/>
                    </a:lnTo>
                    <a:lnTo>
                      <a:pt x="62" y="218"/>
                    </a:lnTo>
                    <a:lnTo>
                      <a:pt x="62" y="218"/>
                    </a:lnTo>
                    <a:lnTo>
                      <a:pt x="62" y="218"/>
                    </a:lnTo>
                    <a:cubicBezTo>
                      <a:pt x="93" y="218"/>
                      <a:pt x="93" y="218"/>
                      <a:pt x="93" y="218"/>
                    </a:cubicBezTo>
                    <a:lnTo>
                      <a:pt x="93" y="248"/>
                    </a:lnTo>
                    <a:cubicBezTo>
                      <a:pt x="124" y="248"/>
                      <a:pt x="124" y="248"/>
                      <a:pt x="124" y="248"/>
                    </a:cubicBezTo>
                    <a:cubicBezTo>
                      <a:pt x="124" y="248"/>
                      <a:pt x="124" y="280"/>
                      <a:pt x="154" y="280"/>
                    </a:cubicBezTo>
                    <a:lnTo>
                      <a:pt x="186" y="280"/>
                    </a:lnTo>
                    <a:lnTo>
                      <a:pt x="186" y="311"/>
                    </a:lnTo>
                    <a:cubicBezTo>
                      <a:pt x="217" y="311"/>
                      <a:pt x="217" y="311"/>
                      <a:pt x="217" y="311"/>
                    </a:cubicBezTo>
                    <a:lnTo>
                      <a:pt x="217" y="311"/>
                    </a:lnTo>
                    <a:cubicBezTo>
                      <a:pt x="248" y="311"/>
                      <a:pt x="248" y="311"/>
                      <a:pt x="248" y="311"/>
                    </a:cubicBezTo>
                    <a:lnTo>
                      <a:pt x="248" y="311"/>
                    </a:lnTo>
                    <a:cubicBezTo>
                      <a:pt x="248" y="311"/>
                      <a:pt x="248" y="342"/>
                      <a:pt x="278" y="342"/>
                    </a:cubicBezTo>
                    <a:cubicBezTo>
                      <a:pt x="278" y="342"/>
                      <a:pt x="278" y="342"/>
                      <a:pt x="278" y="372"/>
                    </a:cubicBezTo>
                    <a:cubicBezTo>
                      <a:pt x="278" y="372"/>
                      <a:pt x="278" y="372"/>
                      <a:pt x="248" y="404"/>
                    </a:cubicBezTo>
                    <a:lnTo>
                      <a:pt x="248" y="404"/>
                    </a:lnTo>
                    <a:lnTo>
                      <a:pt x="248" y="404"/>
                    </a:lnTo>
                    <a:cubicBezTo>
                      <a:pt x="248" y="435"/>
                      <a:pt x="248" y="435"/>
                      <a:pt x="217" y="435"/>
                    </a:cubicBezTo>
                    <a:lnTo>
                      <a:pt x="217" y="435"/>
                    </a:lnTo>
                    <a:lnTo>
                      <a:pt x="217" y="435"/>
                    </a:lnTo>
                    <a:lnTo>
                      <a:pt x="217" y="466"/>
                    </a:lnTo>
                    <a:lnTo>
                      <a:pt x="217" y="466"/>
                    </a:lnTo>
                    <a:lnTo>
                      <a:pt x="217" y="466"/>
                    </a:lnTo>
                    <a:lnTo>
                      <a:pt x="217" y="466"/>
                    </a:lnTo>
                    <a:cubicBezTo>
                      <a:pt x="248" y="466"/>
                      <a:pt x="248" y="466"/>
                      <a:pt x="248" y="466"/>
                    </a:cubicBezTo>
                    <a:lnTo>
                      <a:pt x="248" y="466"/>
                    </a:lnTo>
                    <a:lnTo>
                      <a:pt x="248" y="466"/>
                    </a:lnTo>
                    <a:cubicBezTo>
                      <a:pt x="278" y="466"/>
                      <a:pt x="278" y="466"/>
                      <a:pt x="278" y="466"/>
                    </a:cubicBezTo>
                    <a:lnTo>
                      <a:pt x="278" y="466"/>
                    </a:lnTo>
                    <a:cubicBezTo>
                      <a:pt x="310" y="466"/>
                      <a:pt x="310" y="466"/>
                      <a:pt x="310" y="466"/>
                    </a:cubicBezTo>
                    <a:cubicBezTo>
                      <a:pt x="341" y="466"/>
                      <a:pt x="341" y="466"/>
                      <a:pt x="341" y="466"/>
                    </a:cubicBezTo>
                    <a:cubicBezTo>
                      <a:pt x="341" y="435"/>
                      <a:pt x="341" y="435"/>
                      <a:pt x="372" y="435"/>
                    </a:cubicBezTo>
                    <a:lnTo>
                      <a:pt x="372" y="435"/>
                    </a:lnTo>
                    <a:lnTo>
                      <a:pt x="372" y="435"/>
                    </a:lnTo>
                    <a:lnTo>
                      <a:pt x="372" y="435"/>
                    </a:lnTo>
                    <a:lnTo>
                      <a:pt x="372" y="435"/>
                    </a:lnTo>
                    <a:cubicBezTo>
                      <a:pt x="372" y="404"/>
                      <a:pt x="372" y="404"/>
                      <a:pt x="372" y="404"/>
                    </a:cubicBezTo>
                    <a:lnTo>
                      <a:pt x="372" y="404"/>
                    </a:lnTo>
                    <a:lnTo>
                      <a:pt x="372" y="404"/>
                    </a:lnTo>
                    <a:lnTo>
                      <a:pt x="372" y="372"/>
                    </a:lnTo>
                    <a:cubicBezTo>
                      <a:pt x="372" y="372"/>
                      <a:pt x="372" y="342"/>
                      <a:pt x="402" y="342"/>
                    </a:cubicBezTo>
                    <a:lnTo>
                      <a:pt x="402" y="311"/>
                    </a:lnTo>
                    <a:lnTo>
                      <a:pt x="402" y="311"/>
                    </a:lnTo>
                    <a:lnTo>
                      <a:pt x="402" y="311"/>
                    </a:lnTo>
                    <a:lnTo>
                      <a:pt x="402" y="311"/>
                    </a:lnTo>
                    <a:lnTo>
                      <a:pt x="402" y="311"/>
                    </a:lnTo>
                    <a:lnTo>
                      <a:pt x="372" y="311"/>
                    </a:lnTo>
                    <a:cubicBezTo>
                      <a:pt x="372" y="311"/>
                      <a:pt x="372" y="311"/>
                      <a:pt x="341" y="280"/>
                    </a:cubicBezTo>
                    <a:cubicBezTo>
                      <a:pt x="341" y="280"/>
                      <a:pt x="341" y="280"/>
                      <a:pt x="341" y="248"/>
                    </a:cubicBezTo>
                    <a:lnTo>
                      <a:pt x="341" y="248"/>
                    </a:lnTo>
                    <a:lnTo>
                      <a:pt x="341" y="248"/>
                    </a:lnTo>
                    <a:cubicBezTo>
                      <a:pt x="341" y="218"/>
                      <a:pt x="341" y="218"/>
                      <a:pt x="341" y="218"/>
                    </a:cubicBezTo>
                    <a:lnTo>
                      <a:pt x="341" y="187"/>
                    </a:lnTo>
                    <a:lnTo>
                      <a:pt x="310" y="187"/>
                    </a:lnTo>
                    <a:lnTo>
                      <a:pt x="310" y="187"/>
                    </a:lnTo>
                    <a:lnTo>
                      <a:pt x="310" y="187"/>
                    </a:lnTo>
                    <a:lnTo>
                      <a:pt x="310" y="187"/>
                    </a:lnTo>
                    <a:cubicBezTo>
                      <a:pt x="278" y="187"/>
                      <a:pt x="278" y="187"/>
                      <a:pt x="278" y="187"/>
                    </a:cubicBezTo>
                    <a:lnTo>
                      <a:pt x="278" y="187"/>
                    </a:lnTo>
                    <a:lnTo>
                      <a:pt x="278" y="187"/>
                    </a:lnTo>
                    <a:lnTo>
                      <a:pt x="278" y="187"/>
                    </a:lnTo>
                    <a:lnTo>
                      <a:pt x="278" y="187"/>
                    </a:lnTo>
                    <a:cubicBezTo>
                      <a:pt x="278" y="187"/>
                      <a:pt x="278" y="187"/>
                      <a:pt x="248" y="187"/>
                    </a:cubicBezTo>
                    <a:lnTo>
                      <a:pt x="248" y="187"/>
                    </a:lnTo>
                    <a:cubicBezTo>
                      <a:pt x="217" y="187"/>
                      <a:pt x="217" y="187"/>
                      <a:pt x="217" y="156"/>
                    </a:cubicBezTo>
                    <a:lnTo>
                      <a:pt x="217" y="156"/>
                    </a:lnTo>
                    <a:lnTo>
                      <a:pt x="217" y="156"/>
                    </a:lnTo>
                    <a:lnTo>
                      <a:pt x="186" y="156"/>
                    </a:lnTo>
                    <a:cubicBezTo>
                      <a:pt x="186" y="156"/>
                      <a:pt x="186" y="156"/>
                      <a:pt x="186" y="12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55" name="Freeform 152"/>
              <p:cNvSpPr>
                <a:spLocks noChangeArrowheads="1"/>
              </p:cNvSpPr>
              <p:nvPr/>
            </p:nvSpPr>
            <p:spPr bwMode="auto">
              <a:xfrm>
                <a:off x="2062163" y="2627313"/>
                <a:ext cx="100012" cy="123825"/>
              </a:xfrm>
              <a:custGeom>
                <a:avLst/>
                <a:gdLst>
                  <a:gd name="T0" fmla="*/ 62 w 280"/>
                  <a:gd name="T1" fmla="*/ 186 h 342"/>
                  <a:gd name="T2" fmla="*/ 62 w 280"/>
                  <a:gd name="T3" fmla="*/ 186 h 342"/>
                  <a:gd name="T4" fmla="*/ 62 w 280"/>
                  <a:gd name="T5" fmla="*/ 248 h 342"/>
                  <a:gd name="T6" fmla="*/ 62 w 280"/>
                  <a:gd name="T7" fmla="*/ 248 h 342"/>
                  <a:gd name="T8" fmla="*/ 31 w 280"/>
                  <a:gd name="T9" fmla="*/ 279 h 342"/>
                  <a:gd name="T10" fmla="*/ 31 w 280"/>
                  <a:gd name="T11" fmla="*/ 279 h 342"/>
                  <a:gd name="T12" fmla="*/ 31 w 280"/>
                  <a:gd name="T13" fmla="*/ 310 h 342"/>
                  <a:gd name="T14" fmla="*/ 31 w 280"/>
                  <a:gd name="T15" fmla="*/ 310 h 342"/>
                  <a:gd name="T16" fmla="*/ 31 w 280"/>
                  <a:gd name="T17" fmla="*/ 310 h 342"/>
                  <a:gd name="T18" fmla="*/ 31 w 280"/>
                  <a:gd name="T19" fmla="*/ 310 h 342"/>
                  <a:gd name="T20" fmla="*/ 31 w 280"/>
                  <a:gd name="T21" fmla="*/ 310 h 342"/>
                  <a:gd name="T22" fmla="*/ 62 w 280"/>
                  <a:gd name="T23" fmla="*/ 341 h 342"/>
                  <a:gd name="T24" fmla="*/ 62 w 280"/>
                  <a:gd name="T25" fmla="*/ 341 h 342"/>
                  <a:gd name="T26" fmla="*/ 92 w 280"/>
                  <a:gd name="T27" fmla="*/ 341 h 342"/>
                  <a:gd name="T28" fmla="*/ 124 w 280"/>
                  <a:gd name="T29" fmla="*/ 248 h 342"/>
                  <a:gd name="T30" fmla="*/ 186 w 280"/>
                  <a:gd name="T31" fmla="*/ 186 h 342"/>
                  <a:gd name="T32" fmla="*/ 248 w 280"/>
                  <a:gd name="T33" fmla="*/ 155 h 342"/>
                  <a:gd name="T34" fmla="*/ 248 w 280"/>
                  <a:gd name="T35" fmla="*/ 155 h 342"/>
                  <a:gd name="T36" fmla="*/ 248 w 280"/>
                  <a:gd name="T37" fmla="*/ 155 h 342"/>
                  <a:gd name="T38" fmla="*/ 248 w 280"/>
                  <a:gd name="T39" fmla="*/ 155 h 342"/>
                  <a:gd name="T40" fmla="*/ 248 w 280"/>
                  <a:gd name="T41" fmla="*/ 155 h 342"/>
                  <a:gd name="T42" fmla="*/ 248 w 280"/>
                  <a:gd name="T43" fmla="*/ 155 h 342"/>
                  <a:gd name="T44" fmla="*/ 248 w 280"/>
                  <a:gd name="T45" fmla="*/ 124 h 342"/>
                  <a:gd name="T46" fmla="*/ 248 w 280"/>
                  <a:gd name="T47" fmla="*/ 124 h 342"/>
                  <a:gd name="T48" fmla="*/ 279 w 280"/>
                  <a:gd name="T49" fmla="*/ 124 h 342"/>
                  <a:gd name="T50" fmla="*/ 279 w 280"/>
                  <a:gd name="T51" fmla="*/ 93 h 342"/>
                  <a:gd name="T52" fmla="*/ 248 w 280"/>
                  <a:gd name="T53" fmla="*/ 93 h 342"/>
                  <a:gd name="T54" fmla="*/ 248 w 280"/>
                  <a:gd name="T55" fmla="*/ 93 h 342"/>
                  <a:gd name="T56" fmla="*/ 248 w 280"/>
                  <a:gd name="T57" fmla="*/ 93 h 342"/>
                  <a:gd name="T58" fmla="*/ 248 w 280"/>
                  <a:gd name="T59" fmla="*/ 93 h 342"/>
                  <a:gd name="T60" fmla="*/ 248 w 280"/>
                  <a:gd name="T61" fmla="*/ 62 h 342"/>
                  <a:gd name="T62" fmla="*/ 248 w 280"/>
                  <a:gd name="T63" fmla="*/ 62 h 342"/>
                  <a:gd name="T64" fmla="*/ 217 w 280"/>
                  <a:gd name="T65" fmla="*/ 93 h 342"/>
                  <a:gd name="T66" fmla="*/ 186 w 280"/>
                  <a:gd name="T67" fmla="*/ 62 h 342"/>
                  <a:gd name="T68" fmla="*/ 186 w 280"/>
                  <a:gd name="T69" fmla="*/ 62 h 342"/>
                  <a:gd name="T70" fmla="*/ 186 w 280"/>
                  <a:gd name="T71" fmla="*/ 62 h 342"/>
                  <a:gd name="T72" fmla="*/ 155 w 280"/>
                  <a:gd name="T73" fmla="*/ 62 h 342"/>
                  <a:gd name="T74" fmla="*/ 155 w 280"/>
                  <a:gd name="T75" fmla="*/ 62 h 342"/>
                  <a:gd name="T76" fmla="*/ 124 w 280"/>
                  <a:gd name="T77" fmla="*/ 31 h 342"/>
                  <a:gd name="T78" fmla="*/ 92 w 280"/>
                  <a:gd name="T79" fmla="*/ 31 h 342"/>
                  <a:gd name="T80" fmla="*/ 92 w 280"/>
                  <a:gd name="T81" fmla="*/ 0 h 342"/>
                  <a:gd name="T82" fmla="*/ 92 w 280"/>
                  <a:gd name="T83" fmla="*/ 0 h 342"/>
                  <a:gd name="T84" fmla="*/ 62 w 280"/>
                  <a:gd name="T85" fmla="*/ 31 h 342"/>
                  <a:gd name="T86" fmla="*/ 31 w 280"/>
                  <a:gd name="T87" fmla="*/ 31 h 342"/>
                  <a:gd name="T88" fmla="*/ 31 w 280"/>
                  <a:gd name="T89" fmla="*/ 62 h 342"/>
                  <a:gd name="T90" fmla="*/ 31 w 280"/>
                  <a:gd name="T91" fmla="*/ 62 h 342"/>
                  <a:gd name="T92" fmla="*/ 31 w 280"/>
                  <a:gd name="T93" fmla="*/ 93 h 342"/>
                  <a:gd name="T94" fmla="*/ 31 w 280"/>
                  <a:gd name="T95" fmla="*/ 93 h 342"/>
                  <a:gd name="T96" fmla="*/ 0 w 280"/>
                  <a:gd name="T97" fmla="*/ 155 h 342"/>
                  <a:gd name="T98" fmla="*/ 0 w 280"/>
                  <a:gd name="T99" fmla="*/ 186 h 342"/>
                  <a:gd name="T100" fmla="*/ 0 w 280"/>
                  <a:gd name="T101" fmla="*/ 186 h 342"/>
                  <a:gd name="T102" fmla="*/ 31 w 280"/>
                  <a:gd name="T103" fmla="*/ 186 h 342"/>
                  <a:gd name="T104" fmla="*/ 62 w 280"/>
                  <a:gd name="T105" fmla="*/ 186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342">
                    <a:moveTo>
                      <a:pt x="62" y="186"/>
                    </a:moveTo>
                    <a:lnTo>
                      <a:pt x="62" y="186"/>
                    </a:lnTo>
                    <a:cubicBezTo>
                      <a:pt x="62" y="217"/>
                      <a:pt x="62" y="217"/>
                      <a:pt x="62" y="248"/>
                    </a:cubicBezTo>
                    <a:lnTo>
                      <a:pt x="62" y="248"/>
                    </a:lnTo>
                    <a:cubicBezTo>
                      <a:pt x="31" y="248"/>
                      <a:pt x="31" y="248"/>
                      <a:pt x="31" y="279"/>
                    </a:cubicBezTo>
                    <a:lnTo>
                      <a:pt x="31" y="279"/>
                    </a:lnTo>
                    <a:cubicBezTo>
                      <a:pt x="31" y="310"/>
                      <a:pt x="31" y="310"/>
                      <a:pt x="31" y="310"/>
                    </a:cubicBezTo>
                    <a:lnTo>
                      <a:pt x="31" y="310"/>
                    </a:lnTo>
                    <a:lnTo>
                      <a:pt x="31" y="310"/>
                    </a:lnTo>
                    <a:lnTo>
                      <a:pt x="31" y="310"/>
                    </a:lnTo>
                    <a:lnTo>
                      <a:pt x="31" y="310"/>
                    </a:lnTo>
                    <a:cubicBezTo>
                      <a:pt x="62" y="310"/>
                      <a:pt x="62" y="341"/>
                      <a:pt x="62" y="341"/>
                    </a:cubicBezTo>
                    <a:lnTo>
                      <a:pt x="62" y="341"/>
                    </a:lnTo>
                    <a:cubicBezTo>
                      <a:pt x="62" y="341"/>
                      <a:pt x="62" y="341"/>
                      <a:pt x="92" y="341"/>
                    </a:cubicBezTo>
                    <a:cubicBezTo>
                      <a:pt x="92" y="310"/>
                      <a:pt x="92" y="279"/>
                      <a:pt x="124" y="248"/>
                    </a:cubicBezTo>
                    <a:cubicBezTo>
                      <a:pt x="124" y="217"/>
                      <a:pt x="155" y="217"/>
                      <a:pt x="186" y="186"/>
                    </a:cubicBezTo>
                    <a:cubicBezTo>
                      <a:pt x="217" y="186"/>
                      <a:pt x="217" y="186"/>
                      <a:pt x="248" y="155"/>
                    </a:cubicBezTo>
                    <a:lnTo>
                      <a:pt x="248" y="155"/>
                    </a:lnTo>
                    <a:lnTo>
                      <a:pt x="248" y="155"/>
                    </a:lnTo>
                    <a:lnTo>
                      <a:pt x="248" y="155"/>
                    </a:lnTo>
                    <a:lnTo>
                      <a:pt x="248" y="155"/>
                    </a:lnTo>
                    <a:lnTo>
                      <a:pt x="248" y="155"/>
                    </a:lnTo>
                    <a:lnTo>
                      <a:pt x="248" y="124"/>
                    </a:lnTo>
                    <a:lnTo>
                      <a:pt x="248" y="124"/>
                    </a:lnTo>
                    <a:cubicBezTo>
                      <a:pt x="248" y="124"/>
                      <a:pt x="248" y="124"/>
                      <a:pt x="279" y="124"/>
                    </a:cubicBezTo>
                    <a:cubicBezTo>
                      <a:pt x="279" y="124"/>
                      <a:pt x="279" y="124"/>
                      <a:pt x="279" y="93"/>
                    </a:cubicBezTo>
                    <a:lnTo>
                      <a:pt x="248" y="93"/>
                    </a:lnTo>
                    <a:lnTo>
                      <a:pt x="248" y="93"/>
                    </a:lnTo>
                    <a:lnTo>
                      <a:pt x="248" y="93"/>
                    </a:lnTo>
                    <a:lnTo>
                      <a:pt x="248" y="93"/>
                    </a:lnTo>
                    <a:lnTo>
                      <a:pt x="248" y="62"/>
                    </a:lnTo>
                    <a:lnTo>
                      <a:pt x="248" y="62"/>
                    </a:lnTo>
                    <a:cubicBezTo>
                      <a:pt x="217" y="62"/>
                      <a:pt x="217" y="93"/>
                      <a:pt x="217" y="93"/>
                    </a:cubicBezTo>
                    <a:cubicBezTo>
                      <a:pt x="217" y="93"/>
                      <a:pt x="186" y="93"/>
                      <a:pt x="186" y="62"/>
                    </a:cubicBezTo>
                    <a:lnTo>
                      <a:pt x="186" y="62"/>
                    </a:lnTo>
                    <a:lnTo>
                      <a:pt x="186" y="62"/>
                    </a:lnTo>
                    <a:cubicBezTo>
                      <a:pt x="155" y="62"/>
                      <a:pt x="155" y="62"/>
                      <a:pt x="155" y="62"/>
                    </a:cubicBezTo>
                    <a:lnTo>
                      <a:pt x="155" y="62"/>
                    </a:lnTo>
                    <a:cubicBezTo>
                      <a:pt x="155" y="62"/>
                      <a:pt x="124" y="62"/>
                      <a:pt x="124" y="31"/>
                    </a:cubicBezTo>
                    <a:cubicBezTo>
                      <a:pt x="124" y="31"/>
                      <a:pt x="124" y="31"/>
                      <a:pt x="92" y="31"/>
                    </a:cubicBezTo>
                    <a:lnTo>
                      <a:pt x="92" y="0"/>
                    </a:lnTo>
                    <a:lnTo>
                      <a:pt x="92" y="0"/>
                    </a:lnTo>
                    <a:cubicBezTo>
                      <a:pt x="62" y="0"/>
                      <a:pt x="62" y="0"/>
                      <a:pt x="62" y="31"/>
                    </a:cubicBezTo>
                    <a:lnTo>
                      <a:pt x="31" y="31"/>
                    </a:lnTo>
                    <a:cubicBezTo>
                      <a:pt x="31" y="31"/>
                      <a:pt x="31" y="31"/>
                      <a:pt x="31" y="62"/>
                    </a:cubicBezTo>
                    <a:lnTo>
                      <a:pt x="31" y="62"/>
                    </a:lnTo>
                    <a:cubicBezTo>
                      <a:pt x="31" y="93"/>
                      <a:pt x="31" y="93"/>
                      <a:pt x="31" y="93"/>
                    </a:cubicBezTo>
                    <a:lnTo>
                      <a:pt x="31" y="93"/>
                    </a:lnTo>
                    <a:cubicBezTo>
                      <a:pt x="31" y="124"/>
                      <a:pt x="0" y="124"/>
                      <a:pt x="0" y="155"/>
                    </a:cubicBezTo>
                    <a:cubicBezTo>
                      <a:pt x="0" y="155"/>
                      <a:pt x="0" y="155"/>
                      <a:pt x="0" y="186"/>
                    </a:cubicBezTo>
                    <a:lnTo>
                      <a:pt x="0" y="186"/>
                    </a:lnTo>
                    <a:lnTo>
                      <a:pt x="31" y="186"/>
                    </a:lnTo>
                    <a:cubicBezTo>
                      <a:pt x="31" y="155"/>
                      <a:pt x="31" y="186"/>
                      <a:pt x="62" y="186"/>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56" name="Freeform 153"/>
              <p:cNvSpPr>
                <a:spLocks noChangeArrowheads="1"/>
              </p:cNvSpPr>
              <p:nvPr/>
            </p:nvSpPr>
            <p:spPr bwMode="auto">
              <a:xfrm>
                <a:off x="2106613" y="2393950"/>
                <a:ext cx="201612" cy="312738"/>
              </a:xfrm>
              <a:custGeom>
                <a:avLst/>
                <a:gdLst>
                  <a:gd name="T0" fmla="*/ 62 w 558"/>
                  <a:gd name="T1" fmla="*/ 310 h 869"/>
                  <a:gd name="T2" fmla="*/ 62 w 558"/>
                  <a:gd name="T3" fmla="*/ 403 h 869"/>
                  <a:gd name="T4" fmla="*/ 62 w 558"/>
                  <a:gd name="T5" fmla="*/ 434 h 869"/>
                  <a:gd name="T6" fmla="*/ 62 w 558"/>
                  <a:gd name="T7" fmla="*/ 527 h 869"/>
                  <a:gd name="T8" fmla="*/ 0 w 558"/>
                  <a:gd name="T9" fmla="*/ 589 h 869"/>
                  <a:gd name="T10" fmla="*/ 0 w 558"/>
                  <a:gd name="T11" fmla="*/ 589 h 869"/>
                  <a:gd name="T12" fmla="*/ 0 w 558"/>
                  <a:gd name="T13" fmla="*/ 620 h 869"/>
                  <a:gd name="T14" fmla="*/ 62 w 558"/>
                  <a:gd name="T15" fmla="*/ 651 h 869"/>
                  <a:gd name="T16" fmla="*/ 93 w 558"/>
                  <a:gd name="T17" fmla="*/ 682 h 869"/>
                  <a:gd name="T18" fmla="*/ 124 w 558"/>
                  <a:gd name="T19" fmla="*/ 651 h 869"/>
                  <a:gd name="T20" fmla="*/ 155 w 558"/>
                  <a:gd name="T21" fmla="*/ 682 h 869"/>
                  <a:gd name="T22" fmla="*/ 155 w 558"/>
                  <a:gd name="T23" fmla="*/ 682 h 869"/>
                  <a:gd name="T24" fmla="*/ 217 w 558"/>
                  <a:gd name="T25" fmla="*/ 713 h 869"/>
                  <a:gd name="T26" fmla="*/ 248 w 558"/>
                  <a:gd name="T27" fmla="*/ 775 h 869"/>
                  <a:gd name="T28" fmla="*/ 279 w 558"/>
                  <a:gd name="T29" fmla="*/ 806 h 869"/>
                  <a:gd name="T30" fmla="*/ 309 w 558"/>
                  <a:gd name="T31" fmla="*/ 837 h 869"/>
                  <a:gd name="T32" fmla="*/ 309 w 558"/>
                  <a:gd name="T33" fmla="*/ 837 h 869"/>
                  <a:gd name="T34" fmla="*/ 341 w 558"/>
                  <a:gd name="T35" fmla="*/ 837 h 869"/>
                  <a:gd name="T36" fmla="*/ 433 w 558"/>
                  <a:gd name="T37" fmla="*/ 837 h 869"/>
                  <a:gd name="T38" fmla="*/ 433 w 558"/>
                  <a:gd name="T39" fmla="*/ 744 h 869"/>
                  <a:gd name="T40" fmla="*/ 433 w 558"/>
                  <a:gd name="T41" fmla="*/ 713 h 869"/>
                  <a:gd name="T42" fmla="*/ 433 w 558"/>
                  <a:gd name="T43" fmla="*/ 682 h 869"/>
                  <a:gd name="T44" fmla="*/ 433 w 558"/>
                  <a:gd name="T45" fmla="*/ 651 h 869"/>
                  <a:gd name="T46" fmla="*/ 433 w 558"/>
                  <a:gd name="T47" fmla="*/ 589 h 869"/>
                  <a:gd name="T48" fmla="*/ 465 w 558"/>
                  <a:gd name="T49" fmla="*/ 558 h 869"/>
                  <a:gd name="T50" fmla="*/ 527 w 558"/>
                  <a:gd name="T51" fmla="*/ 589 h 869"/>
                  <a:gd name="T52" fmla="*/ 527 w 558"/>
                  <a:gd name="T53" fmla="*/ 589 h 869"/>
                  <a:gd name="T54" fmla="*/ 557 w 558"/>
                  <a:gd name="T55" fmla="*/ 558 h 869"/>
                  <a:gd name="T56" fmla="*/ 557 w 558"/>
                  <a:gd name="T57" fmla="*/ 527 h 869"/>
                  <a:gd name="T58" fmla="*/ 557 w 558"/>
                  <a:gd name="T59" fmla="*/ 434 h 869"/>
                  <a:gd name="T60" fmla="*/ 557 w 558"/>
                  <a:gd name="T61" fmla="*/ 403 h 869"/>
                  <a:gd name="T62" fmla="*/ 557 w 558"/>
                  <a:gd name="T63" fmla="*/ 372 h 869"/>
                  <a:gd name="T64" fmla="*/ 527 w 558"/>
                  <a:gd name="T65" fmla="*/ 341 h 869"/>
                  <a:gd name="T66" fmla="*/ 496 w 558"/>
                  <a:gd name="T67" fmla="*/ 341 h 869"/>
                  <a:gd name="T68" fmla="*/ 465 w 558"/>
                  <a:gd name="T69" fmla="*/ 310 h 869"/>
                  <a:gd name="T70" fmla="*/ 403 w 558"/>
                  <a:gd name="T71" fmla="*/ 280 h 869"/>
                  <a:gd name="T72" fmla="*/ 341 w 558"/>
                  <a:gd name="T73" fmla="*/ 280 h 869"/>
                  <a:gd name="T74" fmla="*/ 279 w 558"/>
                  <a:gd name="T75" fmla="*/ 217 h 869"/>
                  <a:gd name="T76" fmla="*/ 309 w 558"/>
                  <a:gd name="T77" fmla="*/ 186 h 869"/>
                  <a:gd name="T78" fmla="*/ 279 w 558"/>
                  <a:gd name="T79" fmla="*/ 156 h 869"/>
                  <a:gd name="T80" fmla="*/ 248 w 558"/>
                  <a:gd name="T81" fmla="*/ 124 h 869"/>
                  <a:gd name="T82" fmla="*/ 248 w 558"/>
                  <a:gd name="T83" fmla="*/ 124 h 869"/>
                  <a:gd name="T84" fmla="*/ 279 w 558"/>
                  <a:gd name="T85" fmla="*/ 93 h 869"/>
                  <a:gd name="T86" fmla="*/ 279 w 558"/>
                  <a:gd name="T87" fmla="*/ 0 h 869"/>
                  <a:gd name="T88" fmla="*/ 248 w 558"/>
                  <a:gd name="T89" fmla="*/ 0 h 869"/>
                  <a:gd name="T90" fmla="*/ 185 w 558"/>
                  <a:gd name="T91" fmla="*/ 32 h 869"/>
                  <a:gd name="T92" fmla="*/ 155 w 558"/>
                  <a:gd name="T93" fmla="*/ 93 h 869"/>
                  <a:gd name="T94" fmla="*/ 93 w 558"/>
                  <a:gd name="T95" fmla="*/ 186 h 869"/>
                  <a:gd name="T96" fmla="*/ 93 w 558"/>
                  <a:gd name="T97" fmla="*/ 186 h 869"/>
                  <a:gd name="T98" fmla="*/ 62 w 558"/>
                  <a:gd name="T99" fmla="*/ 248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8" h="869">
                    <a:moveTo>
                      <a:pt x="31" y="248"/>
                    </a:moveTo>
                    <a:lnTo>
                      <a:pt x="31" y="248"/>
                    </a:lnTo>
                    <a:lnTo>
                      <a:pt x="62" y="310"/>
                    </a:lnTo>
                    <a:cubicBezTo>
                      <a:pt x="93" y="341"/>
                      <a:pt x="62" y="372"/>
                      <a:pt x="62" y="372"/>
                    </a:cubicBezTo>
                    <a:lnTo>
                      <a:pt x="62" y="372"/>
                    </a:lnTo>
                    <a:lnTo>
                      <a:pt x="62" y="403"/>
                    </a:lnTo>
                    <a:lnTo>
                      <a:pt x="62" y="403"/>
                    </a:lnTo>
                    <a:lnTo>
                      <a:pt x="62" y="434"/>
                    </a:lnTo>
                    <a:lnTo>
                      <a:pt x="62" y="434"/>
                    </a:lnTo>
                    <a:cubicBezTo>
                      <a:pt x="93" y="465"/>
                      <a:pt x="62" y="496"/>
                      <a:pt x="62" y="496"/>
                    </a:cubicBezTo>
                    <a:lnTo>
                      <a:pt x="62" y="496"/>
                    </a:lnTo>
                    <a:cubicBezTo>
                      <a:pt x="62" y="527"/>
                      <a:pt x="62" y="527"/>
                      <a:pt x="62" y="527"/>
                    </a:cubicBezTo>
                    <a:cubicBezTo>
                      <a:pt x="62" y="558"/>
                      <a:pt x="31" y="558"/>
                      <a:pt x="31" y="558"/>
                    </a:cubicBezTo>
                    <a:cubicBezTo>
                      <a:pt x="31" y="558"/>
                      <a:pt x="31" y="589"/>
                      <a:pt x="0" y="589"/>
                    </a:cubicBezTo>
                    <a:lnTo>
                      <a:pt x="0" y="589"/>
                    </a:lnTo>
                    <a:lnTo>
                      <a:pt x="0" y="589"/>
                    </a:lnTo>
                    <a:lnTo>
                      <a:pt x="0" y="589"/>
                    </a:lnTo>
                    <a:lnTo>
                      <a:pt x="0" y="589"/>
                    </a:lnTo>
                    <a:lnTo>
                      <a:pt x="0" y="620"/>
                    </a:lnTo>
                    <a:lnTo>
                      <a:pt x="0" y="620"/>
                    </a:lnTo>
                    <a:lnTo>
                      <a:pt x="0" y="620"/>
                    </a:lnTo>
                    <a:cubicBezTo>
                      <a:pt x="31" y="620"/>
                      <a:pt x="31" y="651"/>
                      <a:pt x="31" y="651"/>
                    </a:cubicBezTo>
                    <a:cubicBezTo>
                      <a:pt x="31" y="651"/>
                      <a:pt x="31" y="651"/>
                      <a:pt x="62" y="651"/>
                    </a:cubicBezTo>
                    <a:lnTo>
                      <a:pt x="62" y="651"/>
                    </a:lnTo>
                    <a:cubicBezTo>
                      <a:pt x="62" y="651"/>
                      <a:pt x="62" y="651"/>
                      <a:pt x="62" y="682"/>
                    </a:cubicBezTo>
                    <a:lnTo>
                      <a:pt x="62" y="682"/>
                    </a:lnTo>
                    <a:lnTo>
                      <a:pt x="93" y="682"/>
                    </a:lnTo>
                    <a:cubicBezTo>
                      <a:pt x="93" y="651"/>
                      <a:pt x="93" y="651"/>
                      <a:pt x="93" y="651"/>
                    </a:cubicBezTo>
                    <a:cubicBezTo>
                      <a:pt x="124" y="651"/>
                      <a:pt x="124" y="651"/>
                      <a:pt x="124" y="651"/>
                    </a:cubicBezTo>
                    <a:lnTo>
                      <a:pt x="124" y="651"/>
                    </a:lnTo>
                    <a:lnTo>
                      <a:pt x="155" y="682"/>
                    </a:lnTo>
                    <a:lnTo>
                      <a:pt x="155" y="682"/>
                    </a:lnTo>
                    <a:lnTo>
                      <a:pt x="155" y="682"/>
                    </a:lnTo>
                    <a:lnTo>
                      <a:pt x="155" y="682"/>
                    </a:lnTo>
                    <a:lnTo>
                      <a:pt x="155" y="682"/>
                    </a:lnTo>
                    <a:lnTo>
                      <a:pt x="155" y="682"/>
                    </a:lnTo>
                    <a:cubicBezTo>
                      <a:pt x="185" y="682"/>
                      <a:pt x="185" y="682"/>
                      <a:pt x="185" y="682"/>
                    </a:cubicBezTo>
                    <a:lnTo>
                      <a:pt x="185" y="682"/>
                    </a:lnTo>
                    <a:cubicBezTo>
                      <a:pt x="185" y="713"/>
                      <a:pt x="185" y="713"/>
                      <a:pt x="217" y="713"/>
                    </a:cubicBezTo>
                    <a:cubicBezTo>
                      <a:pt x="217" y="713"/>
                      <a:pt x="217" y="713"/>
                      <a:pt x="217" y="744"/>
                    </a:cubicBezTo>
                    <a:lnTo>
                      <a:pt x="217" y="744"/>
                    </a:lnTo>
                    <a:cubicBezTo>
                      <a:pt x="248" y="744"/>
                      <a:pt x="248" y="775"/>
                      <a:pt x="248" y="775"/>
                    </a:cubicBezTo>
                    <a:cubicBezTo>
                      <a:pt x="279" y="775"/>
                      <a:pt x="279" y="775"/>
                      <a:pt x="279" y="775"/>
                    </a:cubicBezTo>
                    <a:lnTo>
                      <a:pt x="279" y="775"/>
                    </a:lnTo>
                    <a:cubicBezTo>
                      <a:pt x="279" y="806"/>
                      <a:pt x="279" y="806"/>
                      <a:pt x="279" y="806"/>
                    </a:cubicBezTo>
                    <a:cubicBezTo>
                      <a:pt x="309" y="806"/>
                      <a:pt x="309" y="837"/>
                      <a:pt x="309" y="837"/>
                    </a:cubicBezTo>
                    <a:lnTo>
                      <a:pt x="309" y="837"/>
                    </a:lnTo>
                    <a:lnTo>
                      <a:pt x="309" y="837"/>
                    </a:lnTo>
                    <a:lnTo>
                      <a:pt x="309" y="837"/>
                    </a:lnTo>
                    <a:lnTo>
                      <a:pt x="309" y="837"/>
                    </a:lnTo>
                    <a:lnTo>
                      <a:pt x="309" y="837"/>
                    </a:lnTo>
                    <a:lnTo>
                      <a:pt x="309" y="837"/>
                    </a:lnTo>
                    <a:cubicBezTo>
                      <a:pt x="341" y="837"/>
                      <a:pt x="341" y="837"/>
                      <a:pt x="341" y="837"/>
                    </a:cubicBezTo>
                    <a:lnTo>
                      <a:pt x="341" y="837"/>
                    </a:lnTo>
                    <a:cubicBezTo>
                      <a:pt x="372" y="837"/>
                      <a:pt x="372" y="837"/>
                      <a:pt x="372" y="837"/>
                    </a:cubicBezTo>
                    <a:lnTo>
                      <a:pt x="403" y="837"/>
                    </a:lnTo>
                    <a:cubicBezTo>
                      <a:pt x="433" y="837"/>
                      <a:pt x="433" y="837"/>
                      <a:pt x="433" y="837"/>
                    </a:cubicBezTo>
                    <a:cubicBezTo>
                      <a:pt x="433" y="837"/>
                      <a:pt x="433" y="868"/>
                      <a:pt x="465" y="868"/>
                    </a:cubicBezTo>
                    <a:cubicBezTo>
                      <a:pt x="465" y="837"/>
                      <a:pt x="465" y="806"/>
                      <a:pt x="465" y="775"/>
                    </a:cubicBezTo>
                    <a:cubicBezTo>
                      <a:pt x="465" y="775"/>
                      <a:pt x="433" y="775"/>
                      <a:pt x="433" y="744"/>
                    </a:cubicBezTo>
                    <a:cubicBezTo>
                      <a:pt x="433" y="744"/>
                      <a:pt x="433" y="744"/>
                      <a:pt x="433" y="713"/>
                    </a:cubicBezTo>
                    <a:lnTo>
                      <a:pt x="433" y="713"/>
                    </a:lnTo>
                    <a:lnTo>
                      <a:pt x="433" y="713"/>
                    </a:lnTo>
                    <a:lnTo>
                      <a:pt x="433" y="713"/>
                    </a:lnTo>
                    <a:cubicBezTo>
                      <a:pt x="433" y="682"/>
                      <a:pt x="433" y="682"/>
                      <a:pt x="433" y="682"/>
                    </a:cubicBezTo>
                    <a:lnTo>
                      <a:pt x="433" y="682"/>
                    </a:lnTo>
                    <a:lnTo>
                      <a:pt x="433" y="682"/>
                    </a:lnTo>
                    <a:lnTo>
                      <a:pt x="433" y="651"/>
                    </a:lnTo>
                    <a:lnTo>
                      <a:pt x="433" y="651"/>
                    </a:lnTo>
                    <a:lnTo>
                      <a:pt x="433" y="651"/>
                    </a:lnTo>
                    <a:cubicBezTo>
                      <a:pt x="433" y="620"/>
                      <a:pt x="433" y="620"/>
                      <a:pt x="433" y="620"/>
                    </a:cubicBezTo>
                    <a:cubicBezTo>
                      <a:pt x="433" y="620"/>
                      <a:pt x="433" y="620"/>
                      <a:pt x="433" y="589"/>
                    </a:cubicBezTo>
                    <a:lnTo>
                      <a:pt x="433" y="589"/>
                    </a:lnTo>
                    <a:lnTo>
                      <a:pt x="465" y="558"/>
                    </a:lnTo>
                    <a:lnTo>
                      <a:pt x="465" y="558"/>
                    </a:lnTo>
                    <a:cubicBezTo>
                      <a:pt x="465" y="558"/>
                      <a:pt x="465" y="558"/>
                      <a:pt x="496" y="589"/>
                    </a:cubicBezTo>
                    <a:lnTo>
                      <a:pt x="496" y="589"/>
                    </a:lnTo>
                    <a:lnTo>
                      <a:pt x="527" y="589"/>
                    </a:lnTo>
                    <a:lnTo>
                      <a:pt x="527" y="589"/>
                    </a:lnTo>
                    <a:lnTo>
                      <a:pt x="527" y="589"/>
                    </a:lnTo>
                    <a:lnTo>
                      <a:pt x="527" y="589"/>
                    </a:lnTo>
                    <a:cubicBezTo>
                      <a:pt x="527" y="558"/>
                      <a:pt x="557" y="558"/>
                      <a:pt x="557" y="558"/>
                    </a:cubicBezTo>
                    <a:lnTo>
                      <a:pt x="557" y="558"/>
                    </a:lnTo>
                    <a:lnTo>
                      <a:pt x="557" y="558"/>
                    </a:lnTo>
                    <a:lnTo>
                      <a:pt x="557" y="558"/>
                    </a:lnTo>
                    <a:lnTo>
                      <a:pt x="557" y="527"/>
                    </a:lnTo>
                    <a:lnTo>
                      <a:pt x="557" y="527"/>
                    </a:lnTo>
                    <a:lnTo>
                      <a:pt x="557" y="496"/>
                    </a:lnTo>
                    <a:lnTo>
                      <a:pt x="557" y="496"/>
                    </a:lnTo>
                    <a:cubicBezTo>
                      <a:pt x="557" y="465"/>
                      <a:pt x="557" y="434"/>
                      <a:pt x="557" y="434"/>
                    </a:cubicBezTo>
                    <a:lnTo>
                      <a:pt x="557" y="403"/>
                    </a:lnTo>
                    <a:lnTo>
                      <a:pt x="557" y="403"/>
                    </a:lnTo>
                    <a:lnTo>
                      <a:pt x="557" y="403"/>
                    </a:lnTo>
                    <a:lnTo>
                      <a:pt x="557" y="372"/>
                    </a:lnTo>
                    <a:lnTo>
                      <a:pt x="557" y="372"/>
                    </a:lnTo>
                    <a:lnTo>
                      <a:pt x="557" y="372"/>
                    </a:lnTo>
                    <a:cubicBezTo>
                      <a:pt x="557" y="341"/>
                      <a:pt x="557" y="341"/>
                      <a:pt x="557" y="341"/>
                    </a:cubicBezTo>
                    <a:cubicBezTo>
                      <a:pt x="557" y="341"/>
                      <a:pt x="557" y="341"/>
                      <a:pt x="527" y="341"/>
                    </a:cubicBezTo>
                    <a:lnTo>
                      <a:pt x="527" y="341"/>
                    </a:lnTo>
                    <a:lnTo>
                      <a:pt x="527" y="341"/>
                    </a:lnTo>
                    <a:lnTo>
                      <a:pt x="527" y="341"/>
                    </a:lnTo>
                    <a:cubicBezTo>
                      <a:pt x="496" y="341"/>
                      <a:pt x="496" y="341"/>
                      <a:pt x="496" y="341"/>
                    </a:cubicBezTo>
                    <a:lnTo>
                      <a:pt x="496" y="341"/>
                    </a:lnTo>
                    <a:cubicBezTo>
                      <a:pt x="465" y="341"/>
                      <a:pt x="465" y="341"/>
                      <a:pt x="465" y="341"/>
                    </a:cubicBezTo>
                    <a:cubicBezTo>
                      <a:pt x="465" y="341"/>
                      <a:pt x="465" y="341"/>
                      <a:pt x="465" y="310"/>
                    </a:cubicBezTo>
                    <a:cubicBezTo>
                      <a:pt x="465" y="310"/>
                      <a:pt x="465" y="310"/>
                      <a:pt x="433" y="310"/>
                    </a:cubicBezTo>
                    <a:lnTo>
                      <a:pt x="433" y="280"/>
                    </a:lnTo>
                    <a:lnTo>
                      <a:pt x="403" y="280"/>
                    </a:lnTo>
                    <a:lnTo>
                      <a:pt x="403" y="280"/>
                    </a:lnTo>
                    <a:lnTo>
                      <a:pt x="372" y="310"/>
                    </a:lnTo>
                    <a:cubicBezTo>
                      <a:pt x="341" y="310"/>
                      <a:pt x="341" y="280"/>
                      <a:pt x="341" y="280"/>
                    </a:cubicBezTo>
                    <a:cubicBezTo>
                      <a:pt x="309" y="280"/>
                      <a:pt x="309" y="280"/>
                      <a:pt x="309" y="248"/>
                    </a:cubicBezTo>
                    <a:cubicBezTo>
                      <a:pt x="309" y="248"/>
                      <a:pt x="279" y="248"/>
                      <a:pt x="279" y="217"/>
                    </a:cubicBezTo>
                    <a:lnTo>
                      <a:pt x="279" y="217"/>
                    </a:lnTo>
                    <a:lnTo>
                      <a:pt x="279" y="217"/>
                    </a:lnTo>
                    <a:cubicBezTo>
                      <a:pt x="279" y="217"/>
                      <a:pt x="279" y="217"/>
                      <a:pt x="309" y="217"/>
                    </a:cubicBezTo>
                    <a:cubicBezTo>
                      <a:pt x="309" y="186"/>
                      <a:pt x="309" y="186"/>
                      <a:pt x="309" y="186"/>
                    </a:cubicBezTo>
                    <a:cubicBezTo>
                      <a:pt x="279" y="186"/>
                      <a:pt x="279" y="186"/>
                      <a:pt x="279" y="156"/>
                    </a:cubicBezTo>
                    <a:lnTo>
                      <a:pt x="279" y="156"/>
                    </a:lnTo>
                    <a:lnTo>
                      <a:pt x="279" y="156"/>
                    </a:lnTo>
                    <a:lnTo>
                      <a:pt x="279" y="156"/>
                    </a:lnTo>
                    <a:cubicBezTo>
                      <a:pt x="248" y="156"/>
                      <a:pt x="248" y="124"/>
                      <a:pt x="248" y="124"/>
                    </a:cubicBezTo>
                    <a:lnTo>
                      <a:pt x="248" y="124"/>
                    </a:lnTo>
                    <a:lnTo>
                      <a:pt x="248" y="124"/>
                    </a:lnTo>
                    <a:lnTo>
                      <a:pt x="248" y="124"/>
                    </a:lnTo>
                    <a:lnTo>
                      <a:pt x="248" y="124"/>
                    </a:lnTo>
                    <a:lnTo>
                      <a:pt x="248" y="93"/>
                    </a:lnTo>
                    <a:lnTo>
                      <a:pt x="248" y="93"/>
                    </a:lnTo>
                    <a:cubicBezTo>
                      <a:pt x="248" y="93"/>
                      <a:pt x="248" y="93"/>
                      <a:pt x="279" y="93"/>
                    </a:cubicBezTo>
                    <a:lnTo>
                      <a:pt x="279" y="62"/>
                    </a:lnTo>
                    <a:cubicBezTo>
                      <a:pt x="279" y="62"/>
                      <a:pt x="279" y="32"/>
                      <a:pt x="279" y="0"/>
                    </a:cubicBezTo>
                    <a:lnTo>
                      <a:pt x="279" y="0"/>
                    </a:lnTo>
                    <a:lnTo>
                      <a:pt x="279" y="0"/>
                    </a:lnTo>
                    <a:lnTo>
                      <a:pt x="248" y="0"/>
                    </a:lnTo>
                    <a:lnTo>
                      <a:pt x="248" y="0"/>
                    </a:lnTo>
                    <a:cubicBezTo>
                      <a:pt x="217" y="124"/>
                      <a:pt x="217" y="124"/>
                      <a:pt x="217" y="124"/>
                    </a:cubicBezTo>
                    <a:cubicBezTo>
                      <a:pt x="185" y="32"/>
                      <a:pt x="185" y="32"/>
                      <a:pt x="185" y="32"/>
                    </a:cubicBezTo>
                    <a:lnTo>
                      <a:pt x="185" y="32"/>
                    </a:lnTo>
                    <a:lnTo>
                      <a:pt x="185" y="62"/>
                    </a:lnTo>
                    <a:lnTo>
                      <a:pt x="155" y="93"/>
                    </a:lnTo>
                    <a:lnTo>
                      <a:pt x="155" y="93"/>
                    </a:lnTo>
                    <a:cubicBezTo>
                      <a:pt x="155" y="124"/>
                      <a:pt x="155" y="124"/>
                      <a:pt x="155" y="156"/>
                    </a:cubicBezTo>
                    <a:lnTo>
                      <a:pt x="124" y="156"/>
                    </a:lnTo>
                    <a:cubicBezTo>
                      <a:pt x="93" y="156"/>
                      <a:pt x="93" y="156"/>
                      <a:pt x="93" y="186"/>
                    </a:cubicBezTo>
                    <a:lnTo>
                      <a:pt x="93" y="186"/>
                    </a:lnTo>
                    <a:lnTo>
                      <a:pt x="93" y="186"/>
                    </a:lnTo>
                    <a:lnTo>
                      <a:pt x="93" y="186"/>
                    </a:lnTo>
                    <a:cubicBezTo>
                      <a:pt x="93" y="217"/>
                      <a:pt x="93" y="217"/>
                      <a:pt x="93" y="217"/>
                    </a:cubicBezTo>
                    <a:lnTo>
                      <a:pt x="93" y="217"/>
                    </a:lnTo>
                    <a:cubicBezTo>
                      <a:pt x="93" y="248"/>
                      <a:pt x="62" y="248"/>
                      <a:pt x="62" y="248"/>
                    </a:cubicBezTo>
                    <a:cubicBezTo>
                      <a:pt x="62" y="248"/>
                      <a:pt x="62" y="248"/>
                      <a:pt x="31" y="24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57" name="Freeform 154"/>
              <p:cNvSpPr>
                <a:spLocks noChangeArrowheads="1"/>
              </p:cNvSpPr>
              <p:nvPr/>
            </p:nvSpPr>
            <p:spPr bwMode="auto">
              <a:xfrm>
                <a:off x="2228850" y="2393950"/>
                <a:ext cx="223838" cy="223838"/>
              </a:xfrm>
              <a:custGeom>
                <a:avLst/>
                <a:gdLst>
                  <a:gd name="T0" fmla="*/ 62 w 621"/>
                  <a:gd name="T1" fmla="*/ 124 h 621"/>
                  <a:gd name="T2" fmla="*/ 0 w 621"/>
                  <a:gd name="T3" fmla="*/ 124 h 621"/>
                  <a:gd name="T4" fmla="*/ 0 w 621"/>
                  <a:gd name="T5" fmla="*/ 186 h 621"/>
                  <a:gd name="T6" fmla="*/ 0 w 621"/>
                  <a:gd name="T7" fmla="*/ 217 h 621"/>
                  <a:gd name="T8" fmla="*/ 31 w 621"/>
                  <a:gd name="T9" fmla="*/ 248 h 621"/>
                  <a:gd name="T10" fmla="*/ 92 w 621"/>
                  <a:gd name="T11" fmla="*/ 248 h 621"/>
                  <a:gd name="T12" fmla="*/ 155 w 621"/>
                  <a:gd name="T13" fmla="*/ 280 h 621"/>
                  <a:gd name="T14" fmla="*/ 186 w 621"/>
                  <a:gd name="T15" fmla="*/ 280 h 621"/>
                  <a:gd name="T16" fmla="*/ 248 w 621"/>
                  <a:gd name="T17" fmla="*/ 280 h 621"/>
                  <a:gd name="T18" fmla="*/ 279 w 621"/>
                  <a:gd name="T19" fmla="*/ 310 h 621"/>
                  <a:gd name="T20" fmla="*/ 279 w 621"/>
                  <a:gd name="T21" fmla="*/ 341 h 621"/>
                  <a:gd name="T22" fmla="*/ 248 w 621"/>
                  <a:gd name="T23" fmla="*/ 403 h 621"/>
                  <a:gd name="T24" fmla="*/ 279 w 621"/>
                  <a:gd name="T25" fmla="*/ 465 h 621"/>
                  <a:gd name="T26" fmla="*/ 279 w 621"/>
                  <a:gd name="T27" fmla="*/ 527 h 621"/>
                  <a:gd name="T28" fmla="*/ 279 w 621"/>
                  <a:gd name="T29" fmla="*/ 527 h 621"/>
                  <a:gd name="T30" fmla="*/ 279 w 621"/>
                  <a:gd name="T31" fmla="*/ 589 h 621"/>
                  <a:gd name="T32" fmla="*/ 310 w 621"/>
                  <a:gd name="T33" fmla="*/ 620 h 621"/>
                  <a:gd name="T34" fmla="*/ 310 w 621"/>
                  <a:gd name="T35" fmla="*/ 620 h 621"/>
                  <a:gd name="T36" fmla="*/ 372 w 621"/>
                  <a:gd name="T37" fmla="*/ 620 h 621"/>
                  <a:gd name="T38" fmla="*/ 372 w 621"/>
                  <a:gd name="T39" fmla="*/ 620 h 621"/>
                  <a:gd name="T40" fmla="*/ 434 w 621"/>
                  <a:gd name="T41" fmla="*/ 558 h 621"/>
                  <a:gd name="T42" fmla="*/ 403 w 621"/>
                  <a:gd name="T43" fmla="*/ 496 h 621"/>
                  <a:gd name="T44" fmla="*/ 403 w 621"/>
                  <a:gd name="T45" fmla="*/ 465 h 621"/>
                  <a:gd name="T46" fmla="*/ 403 w 621"/>
                  <a:gd name="T47" fmla="*/ 434 h 621"/>
                  <a:gd name="T48" fmla="*/ 434 w 621"/>
                  <a:gd name="T49" fmla="*/ 403 h 621"/>
                  <a:gd name="T50" fmla="*/ 464 w 621"/>
                  <a:gd name="T51" fmla="*/ 403 h 621"/>
                  <a:gd name="T52" fmla="*/ 464 w 621"/>
                  <a:gd name="T53" fmla="*/ 434 h 621"/>
                  <a:gd name="T54" fmla="*/ 527 w 621"/>
                  <a:gd name="T55" fmla="*/ 434 h 621"/>
                  <a:gd name="T56" fmla="*/ 527 w 621"/>
                  <a:gd name="T57" fmla="*/ 434 h 621"/>
                  <a:gd name="T58" fmla="*/ 558 w 621"/>
                  <a:gd name="T59" fmla="*/ 434 h 621"/>
                  <a:gd name="T60" fmla="*/ 588 w 621"/>
                  <a:gd name="T61" fmla="*/ 403 h 621"/>
                  <a:gd name="T62" fmla="*/ 588 w 621"/>
                  <a:gd name="T63" fmla="*/ 403 h 621"/>
                  <a:gd name="T64" fmla="*/ 588 w 621"/>
                  <a:gd name="T65" fmla="*/ 403 h 621"/>
                  <a:gd name="T66" fmla="*/ 588 w 621"/>
                  <a:gd name="T67" fmla="*/ 372 h 621"/>
                  <a:gd name="T68" fmla="*/ 558 w 621"/>
                  <a:gd name="T69" fmla="*/ 310 h 621"/>
                  <a:gd name="T70" fmla="*/ 588 w 621"/>
                  <a:gd name="T71" fmla="*/ 280 h 621"/>
                  <a:gd name="T72" fmla="*/ 620 w 621"/>
                  <a:gd name="T73" fmla="*/ 217 h 621"/>
                  <a:gd name="T74" fmla="*/ 588 w 621"/>
                  <a:gd name="T75" fmla="*/ 156 h 621"/>
                  <a:gd name="T76" fmla="*/ 588 w 621"/>
                  <a:gd name="T77" fmla="*/ 124 h 621"/>
                  <a:gd name="T78" fmla="*/ 496 w 621"/>
                  <a:gd name="T79" fmla="*/ 62 h 621"/>
                  <a:gd name="T80" fmla="*/ 464 w 621"/>
                  <a:gd name="T81" fmla="*/ 62 h 621"/>
                  <a:gd name="T82" fmla="*/ 403 w 621"/>
                  <a:gd name="T83" fmla="*/ 93 h 621"/>
                  <a:gd name="T84" fmla="*/ 310 w 621"/>
                  <a:gd name="T85" fmla="*/ 62 h 621"/>
                  <a:gd name="T86" fmla="*/ 248 w 621"/>
                  <a:gd name="T87" fmla="*/ 62 h 621"/>
                  <a:gd name="T88" fmla="*/ 186 w 621"/>
                  <a:gd name="T89" fmla="*/ 0 h 621"/>
                  <a:gd name="T90" fmla="*/ 92 w 621"/>
                  <a:gd name="T91" fmla="*/ 0 h 621"/>
                  <a:gd name="T92" fmla="*/ 62 w 621"/>
                  <a:gd name="T93" fmla="*/ 3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1" h="621">
                    <a:moveTo>
                      <a:pt x="62" y="62"/>
                    </a:moveTo>
                    <a:lnTo>
                      <a:pt x="62" y="62"/>
                    </a:lnTo>
                    <a:cubicBezTo>
                      <a:pt x="62" y="93"/>
                      <a:pt x="62" y="124"/>
                      <a:pt x="62" y="124"/>
                    </a:cubicBezTo>
                    <a:lnTo>
                      <a:pt x="31" y="156"/>
                    </a:lnTo>
                    <a:lnTo>
                      <a:pt x="0" y="156"/>
                    </a:lnTo>
                    <a:cubicBezTo>
                      <a:pt x="0" y="156"/>
                      <a:pt x="0" y="156"/>
                      <a:pt x="0" y="124"/>
                    </a:cubicBezTo>
                    <a:cubicBezTo>
                      <a:pt x="0" y="156"/>
                      <a:pt x="0" y="156"/>
                      <a:pt x="0" y="156"/>
                    </a:cubicBezTo>
                    <a:lnTo>
                      <a:pt x="0" y="156"/>
                    </a:lnTo>
                    <a:cubicBezTo>
                      <a:pt x="0" y="186"/>
                      <a:pt x="0" y="186"/>
                      <a:pt x="0" y="186"/>
                    </a:cubicBezTo>
                    <a:lnTo>
                      <a:pt x="0" y="217"/>
                    </a:lnTo>
                    <a:lnTo>
                      <a:pt x="0" y="217"/>
                    </a:lnTo>
                    <a:lnTo>
                      <a:pt x="0" y="217"/>
                    </a:lnTo>
                    <a:cubicBezTo>
                      <a:pt x="0" y="217"/>
                      <a:pt x="0" y="248"/>
                      <a:pt x="31" y="248"/>
                    </a:cubicBezTo>
                    <a:lnTo>
                      <a:pt x="31" y="248"/>
                    </a:lnTo>
                    <a:lnTo>
                      <a:pt x="31" y="248"/>
                    </a:lnTo>
                    <a:cubicBezTo>
                      <a:pt x="62" y="217"/>
                      <a:pt x="62" y="217"/>
                      <a:pt x="62" y="217"/>
                    </a:cubicBezTo>
                    <a:cubicBezTo>
                      <a:pt x="62" y="217"/>
                      <a:pt x="92" y="217"/>
                      <a:pt x="92" y="248"/>
                    </a:cubicBezTo>
                    <a:lnTo>
                      <a:pt x="92" y="248"/>
                    </a:lnTo>
                    <a:cubicBezTo>
                      <a:pt x="124" y="248"/>
                      <a:pt x="155" y="280"/>
                      <a:pt x="155" y="280"/>
                    </a:cubicBezTo>
                    <a:lnTo>
                      <a:pt x="155" y="280"/>
                    </a:lnTo>
                    <a:lnTo>
                      <a:pt x="155" y="280"/>
                    </a:lnTo>
                    <a:lnTo>
                      <a:pt x="155" y="280"/>
                    </a:lnTo>
                    <a:lnTo>
                      <a:pt x="186" y="280"/>
                    </a:lnTo>
                    <a:lnTo>
                      <a:pt x="186" y="280"/>
                    </a:lnTo>
                    <a:lnTo>
                      <a:pt x="186" y="280"/>
                    </a:lnTo>
                    <a:cubicBezTo>
                      <a:pt x="216" y="280"/>
                      <a:pt x="216" y="280"/>
                      <a:pt x="216" y="280"/>
                    </a:cubicBezTo>
                    <a:cubicBezTo>
                      <a:pt x="216" y="280"/>
                      <a:pt x="216" y="280"/>
                      <a:pt x="248" y="280"/>
                    </a:cubicBezTo>
                    <a:lnTo>
                      <a:pt x="248" y="280"/>
                    </a:lnTo>
                    <a:lnTo>
                      <a:pt x="248" y="280"/>
                    </a:lnTo>
                    <a:cubicBezTo>
                      <a:pt x="248" y="280"/>
                      <a:pt x="279" y="280"/>
                      <a:pt x="279" y="310"/>
                    </a:cubicBezTo>
                    <a:lnTo>
                      <a:pt x="279" y="310"/>
                    </a:lnTo>
                    <a:cubicBezTo>
                      <a:pt x="279" y="341"/>
                      <a:pt x="279" y="341"/>
                      <a:pt x="279" y="341"/>
                    </a:cubicBezTo>
                    <a:lnTo>
                      <a:pt x="279" y="341"/>
                    </a:lnTo>
                    <a:cubicBezTo>
                      <a:pt x="279" y="372"/>
                      <a:pt x="248" y="372"/>
                      <a:pt x="248" y="372"/>
                    </a:cubicBezTo>
                    <a:lnTo>
                      <a:pt x="248" y="372"/>
                    </a:lnTo>
                    <a:lnTo>
                      <a:pt x="248" y="403"/>
                    </a:lnTo>
                    <a:lnTo>
                      <a:pt x="248" y="403"/>
                    </a:lnTo>
                    <a:cubicBezTo>
                      <a:pt x="248" y="403"/>
                      <a:pt x="248" y="403"/>
                      <a:pt x="248" y="434"/>
                    </a:cubicBezTo>
                    <a:cubicBezTo>
                      <a:pt x="248" y="434"/>
                      <a:pt x="279" y="434"/>
                      <a:pt x="279" y="465"/>
                    </a:cubicBezTo>
                    <a:lnTo>
                      <a:pt x="279" y="465"/>
                    </a:lnTo>
                    <a:cubicBezTo>
                      <a:pt x="279" y="496"/>
                      <a:pt x="279" y="496"/>
                      <a:pt x="279" y="496"/>
                    </a:cubicBezTo>
                    <a:lnTo>
                      <a:pt x="279" y="527"/>
                    </a:lnTo>
                    <a:lnTo>
                      <a:pt x="279" y="527"/>
                    </a:lnTo>
                    <a:lnTo>
                      <a:pt x="279" y="527"/>
                    </a:lnTo>
                    <a:lnTo>
                      <a:pt x="279" y="527"/>
                    </a:lnTo>
                    <a:cubicBezTo>
                      <a:pt x="279" y="558"/>
                      <a:pt x="279" y="558"/>
                      <a:pt x="279" y="558"/>
                    </a:cubicBezTo>
                    <a:cubicBezTo>
                      <a:pt x="279" y="558"/>
                      <a:pt x="279" y="558"/>
                      <a:pt x="279" y="589"/>
                    </a:cubicBezTo>
                    <a:lnTo>
                      <a:pt x="279" y="589"/>
                    </a:lnTo>
                    <a:lnTo>
                      <a:pt x="279" y="589"/>
                    </a:lnTo>
                    <a:cubicBezTo>
                      <a:pt x="310" y="589"/>
                      <a:pt x="310" y="589"/>
                      <a:pt x="310" y="620"/>
                    </a:cubicBezTo>
                    <a:lnTo>
                      <a:pt x="310" y="620"/>
                    </a:lnTo>
                    <a:lnTo>
                      <a:pt x="310" y="620"/>
                    </a:lnTo>
                    <a:lnTo>
                      <a:pt x="310" y="620"/>
                    </a:lnTo>
                    <a:lnTo>
                      <a:pt x="310" y="620"/>
                    </a:lnTo>
                    <a:cubicBezTo>
                      <a:pt x="340" y="620"/>
                      <a:pt x="340" y="620"/>
                      <a:pt x="340" y="620"/>
                    </a:cubicBezTo>
                    <a:lnTo>
                      <a:pt x="372" y="620"/>
                    </a:lnTo>
                    <a:lnTo>
                      <a:pt x="372" y="620"/>
                    </a:lnTo>
                    <a:lnTo>
                      <a:pt x="372" y="620"/>
                    </a:lnTo>
                    <a:lnTo>
                      <a:pt x="372" y="620"/>
                    </a:lnTo>
                    <a:lnTo>
                      <a:pt x="372" y="620"/>
                    </a:lnTo>
                    <a:cubicBezTo>
                      <a:pt x="403" y="589"/>
                      <a:pt x="403" y="589"/>
                      <a:pt x="403" y="589"/>
                    </a:cubicBezTo>
                    <a:lnTo>
                      <a:pt x="403" y="589"/>
                    </a:lnTo>
                    <a:cubicBezTo>
                      <a:pt x="434" y="589"/>
                      <a:pt x="434" y="589"/>
                      <a:pt x="434" y="558"/>
                    </a:cubicBezTo>
                    <a:cubicBezTo>
                      <a:pt x="434" y="558"/>
                      <a:pt x="403" y="558"/>
                      <a:pt x="403" y="527"/>
                    </a:cubicBezTo>
                    <a:lnTo>
                      <a:pt x="403" y="527"/>
                    </a:lnTo>
                    <a:cubicBezTo>
                      <a:pt x="403" y="527"/>
                      <a:pt x="403" y="527"/>
                      <a:pt x="403" y="496"/>
                    </a:cubicBezTo>
                    <a:lnTo>
                      <a:pt x="403" y="496"/>
                    </a:lnTo>
                    <a:cubicBezTo>
                      <a:pt x="403" y="496"/>
                      <a:pt x="403" y="496"/>
                      <a:pt x="403" y="465"/>
                    </a:cubicBezTo>
                    <a:lnTo>
                      <a:pt x="403" y="465"/>
                    </a:lnTo>
                    <a:cubicBezTo>
                      <a:pt x="403" y="465"/>
                      <a:pt x="372" y="465"/>
                      <a:pt x="372" y="434"/>
                    </a:cubicBezTo>
                    <a:lnTo>
                      <a:pt x="372" y="434"/>
                    </a:lnTo>
                    <a:lnTo>
                      <a:pt x="403" y="434"/>
                    </a:lnTo>
                    <a:cubicBezTo>
                      <a:pt x="403" y="403"/>
                      <a:pt x="403" y="403"/>
                      <a:pt x="403" y="403"/>
                    </a:cubicBezTo>
                    <a:lnTo>
                      <a:pt x="403" y="403"/>
                    </a:lnTo>
                    <a:lnTo>
                      <a:pt x="434" y="403"/>
                    </a:lnTo>
                    <a:lnTo>
                      <a:pt x="434" y="403"/>
                    </a:lnTo>
                    <a:cubicBezTo>
                      <a:pt x="434" y="434"/>
                      <a:pt x="434" y="434"/>
                      <a:pt x="434" y="434"/>
                    </a:cubicBezTo>
                    <a:cubicBezTo>
                      <a:pt x="434" y="434"/>
                      <a:pt x="434" y="403"/>
                      <a:pt x="464" y="403"/>
                    </a:cubicBezTo>
                    <a:lnTo>
                      <a:pt x="464" y="403"/>
                    </a:lnTo>
                    <a:lnTo>
                      <a:pt x="464" y="434"/>
                    </a:lnTo>
                    <a:lnTo>
                      <a:pt x="464" y="434"/>
                    </a:lnTo>
                    <a:lnTo>
                      <a:pt x="464" y="434"/>
                    </a:lnTo>
                    <a:cubicBezTo>
                      <a:pt x="496" y="434"/>
                      <a:pt x="496" y="434"/>
                      <a:pt x="496" y="434"/>
                    </a:cubicBezTo>
                    <a:lnTo>
                      <a:pt x="527" y="434"/>
                    </a:lnTo>
                    <a:lnTo>
                      <a:pt x="527" y="434"/>
                    </a:lnTo>
                    <a:lnTo>
                      <a:pt x="527" y="434"/>
                    </a:lnTo>
                    <a:lnTo>
                      <a:pt x="527" y="434"/>
                    </a:lnTo>
                    <a:cubicBezTo>
                      <a:pt x="527" y="434"/>
                      <a:pt x="527" y="434"/>
                      <a:pt x="558" y="434"/>
                    </a:cubicBezTo>
                    <a:lnTo>
                      <a:pt x="558" y="434"/>
                    </a:lnTo>
                    <a:lnTo>
                      <a:pt x="558" y="434"/>
                    </a:lnTo>
                    <a:lnTo>
                      <a:pt x="558" y="434"/>
                    </a:lnTo>
                    <a:cubicBezTo>
                      <a:pt x="558" y="403"/>
                      <a:pt x="588" y="403"/>
                      <a:pt x="588" y="403"/>
                    </a:cubicBezTo>
                    <a:lnTo>
                      <a:pt x="588" y="403"/>
                    </a:lnTo>
                    <a:lnTo>
                      <a:pt x="588" y="403"/>
                    </a:lnTo>
                    <a:lnTo>
                      <a:pt x="588" y="403"/>
                    </a:lnTo>
                    <a:lnTo>
                      <a:pt x="588" y="403"/>
                    </a:lnTo>
                    <a:cubicBezTo>
                      <a:pt x="588" y="403"/>
                      <a:pt x="588" y="403"/>
                      <a:pt x="620" y="403"/>
                    </a:cubicBezTo>
                    <a:cubicBezTo>
                      <a:pt x="588" y="403"/>
                      <a:pt x="588" y="403"/>
                      <a:pt x="588" y="403"/>
                    </a:cubicBezTo>
                    <a:lnTo>
                      <a:pt x="588" y="403"/>
                    </a:lnTo>
                    <a:lnTo>
                      <a:pt x="588" y="403"/>
                    </a:lnTo>
                    <a:cubicBezTo>
                      <a:pt x="588" y="403"/>
                      <a:pt x="588" y="403"/>
                      <a:pt x="588" y="372"/>
                    </a:cubicBezTo>
                    <a:lnTo>
                      <a:pt x="588" y="372"/>
                    </a:lnTo>
                    <a:cubicBezTo>
                      <a:pt x="588" y="341"/>
                      <a:pt x="558" y="341"/>
                      <a:pt x="558" y="341"/>
                    </a:cubicBezTo>
                    <a:cubicBezTo>
                      <a:pt x="558" y="341"/>
                      <a:pt x="558" y="341"/>
                      <a:pt x="558" y="310"/>
                    </a:cubicBezTo>
                    <a:lnTo>
                      <a:pt x="558" y="310"/>
                    </a:lnTo>
                    <a:cubicBezTo>
                      <a:pt x="558" y="310"/>
                      <a:pt x="558" y="310"/>
                      <a:pt x="588" y="280"/>
                    </a:cubicBezTo>
                    <a:lnTo>
                      <a:pt x="588" y="280"/>
                    </a:lnTo>
                    <a:lnTo>
                      <a:pt x="588" y="280"/>
                    </a:lnTo>
                    <a:cubicBezTo>
                      <a:pt x="588" y="280"/>
                      <a:pt x="588" y="248"/>
                      <a:pt x="620" y="248"/>
                    </a:cubicBezTo>
                    <a:lnTo>
                      <a:pt x="620" y="217"/>
                    </a:lnTo>
                    <a:lnTo>
                      <a:pt x="620" y="217"/>
                    </a:lnTo>
                    <a:lnTo>
                      <a:pt x="620" y="217"/>
                    </a:lnTo>
                    <a:cubicBezTo>
                      <a:pt x="620" y="186"/>
                      <a:pt x="620" y="186"/>
                      <a:pt x="620" y="186"/>
                    </a:cubicBezTo>
                    <a:cubicBezTo>
                      <a:pt x="620" y="186"/>
                      <a:pt x="588" y="186"/>
                      <a:pt x="588" y="156"/>
                    </a:cubicBezTo>
                    <a:cubicBezTo>
                      <a:pt x="558" y="186"/>
                      <a:pt x="558" y="186"/>
                      <a:pt x="558" y="186"/>
                    </a:cubicBezTo>
                    <a:cubicBezTo>
                      <a:pt x="588" y="124"/>
                      <a:pt x="588" y="124"/>
                      <a:pt x="588" y="124"/>
                    </a:cubicBezTo>
                    <a:lnTo>
                      <a:pt x="588" y="124"/>
                    </a:lnTo>
                    <a:lnTo>
                      <a:pt x="588" y="124"/>
                    </a:lnTo>
                    <a:cubicBezTo>
                      <a:pt x="558" y="124"/>
                      <a:pt x="527" y="93"/>
                      <a:pt x="527" y="93"/>
                    </a:cubicBezTo>
                    <a:cubicBezTo>
                      <a:pt x="496" y="93"/>
                      <a:pt x="496" y="62"/>
                      <a:pt x="496" y="62"/>
                    </a:cubicBezTo>
                    <a:lnTo>
                      <a:pt x="496" y="62"/>
                    </a:lnTo>
                    <a:cubicBezTo>
                      <a:pt x="496" y="62"/>
                      <a:pt x="496" y="62"/>
                      <a:pt x="464" y="62"/>
                    </a:cubicBezTo>
                    <a:lnTo>
                      <a:pt x="464" y="62"/>
                    </a:lnTo>
                    <a:lnTo>
                      <a:pt x="464" y="62"/>
                    </a:lnTo>
                    <a:cubicBezTo>
                      <a:pt x="403" y="93"/>
                      <a:pt x="403" y="93"/>
                      <a:pt x="403" y="93"/>
                    </a:cubicBezTo>
                    <a:lnTo>
                      <a:pt x="403" y="93"/>
                    </a:lnTo>
                    <a:cubicBezTo>
                      <a:pt x="403" y="93"/>
                      <a:pt x="372" y="62"/>
                      <a:pt x="340" y="62"/>
                    </a:cubicBezTo>
                    <a:cubicBezTo>
                      <a:pt x="340" y="62"/>
                      <a:pt x="340" y="62"/>
                      <a:pt x="310" y="62"/>
                    </a:cubicBezTo>
                    <a:lnTo>
                      <a:pt x="310" y="62"/>
                    </a:lnTo>
                    <a:cubicBezTo>
                      <a:pt x="279" y="62"/>
                      <a:pt x="279" y="62"/>
                      <a:pt x="248" y="62"/>
                    </a:cubicBezTo>
                    <a:lnTo>
                      <a:pt x="248" y="62"/>
                    </a:lnTo>
                    <a:lnTo>
                      <a:pt x="248" y="62"/>
                    </a:lnTo>
                    <a:cubicBezTo>
                      <a:pt x="216" y="62"/>
                      <a:pt x="216" y="62"/>
                      <a:pt x="216" y="62"/>
                    </a:cubicBezTo>
                    <a:cubicBezTo>
                      <a:pt x="216" y="62"/>
                      <a:pt x="186" y="62"/>
                      <a:pt x="186" y="32"/>
                    </a:cubicBezTo>
                    <a:cubicBezTo>
                      <a:pt x="186" y="32"/>
                      <a:pt x="186" y="32"/>
                      <a:pt x="186" y="0"/>
                    </a:cubicBezTo>
                    <a:cubicBezTo>
                      <a:pt x="186" y="0"/>
                      <a:pt x="155" y="0"/>
                      <a:pt x="124" y="0"/>
                    </a:cubicBezTo>
                    <a:lnTo>
                      <a:pt x="124" y="0"/>
                    </a:lnTo>
                    <a:lnTo>
                      <a:pt x="92" y="0"/>
                    </a:lnTo>
                    <a:lnTo>
                      <a:pt x="62" y="32"/>
                    </a:lnTo>
                    <a:lnTo>
                      <a:pt x="62" y="32"/>
                    </a:lnTo>
                    <a:lnTo>
                      <a:pt x="62" y="32"/>
                    </a:lnTo>
                    <a:lnTo>
                      <a:pt x="62" y="32"/>
                    </a:lnTo>
                    <a:lnTo>
                      <a:pt x="62" y="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58" name="Freeform 155"/>
              <p:cNvSpPr>
                <a:spLocks noChangeArrowheads="1"/>
              </p:cNvSpPr>
              <p:nvPr/>
            </p:nvSpPr>
            <p:spPr bwMode="auto">
              <a:xfrm>
                <a:off x="2486025" y="2605088"/>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59" name="Freeform 156"/>
              <p:cNvSpPr>
                <a:spLocks noChangeArrowheads="1"/>
              </p:cNvSpPr>
              <p:nvPr/>
            </p:nvSpPr>
            <p:spPr bwMode="auto">
              <a:xfrm>
                <a:off x="2452688" y="2471738"/>
                <a:ext cx="66675" cy="134937"/>
              </a:xfrm>
              <a:custGeom>
                <a:avLst/>
                <a:gdLst>
                  <a:gd name="T0" fmla="*/ 31 w 187"/>
                  <a:gd name="T1" fmla="*/ 0 h 373"/>
                  <a:gd name="T2" fmla="*/ 62 w 187"/>
                  <a:gd name="T3" fmla="*/ 63 h 373"/>
                  <a:gd name="T4" fmla="*/ 31 w 187"/>
                  <a:gd name="T5" fmla="*/ 93 h 373"/>
                  <a:gd name="T6" fmla="*/ 31 w 187"/>
                  <a:gd name="T7" fmla="*/ 93 h 373"/>
                  <a:gd name="T8" fmla="*/ 0 w 187"/>
                  <a:gd name="T9" fmla="*/ 93 h 373"/>
                  <a:gd name="T10" fmla="*/ 0 w 187"/>
                  <a:gd name="T11" fmla="*/ 93 h 373"/>
                  <a:gd name="T12" fmla="*/ 31 w 187"/>
                  <a:gd name="T13" fmla="*/ 124 h 373"/>
                  <a:gd name="T14" fmla="*/ 31 w 187"/>
                  <a:gd name="T15" fmla="*/ 124 h 373"/>
                  <a:gd name="T16" fmla="*/ 92 w 187"/>
                  <a:gd name="T17" fmla="*/ 155 h 373"/>
                  <a:gd name="T18" fmla="*/ 62 w 187"/>
                  <a:gd name="T19" fmla="*/ 186 h 373"/>
                  <a:gd name="T20" fmla="*/ 92 w 187"/>
                  <a:gd name="T21" fmla="*/ 248 h 373"/>
                  <a:gd name="T22" fmla="*/ 62 w 187"/>
                  <a:gd name="T23" fmla="*/ 279 h 373"/>
                  <a:gd name="T24" fmla="*/ 92 w 187"/>
                  <a:gd name="T25" fmla="*/ 310 h 373"/>
                  <a:gd name="T26" fmla="*/ 92 w 187"/>
                  <a:gd name="T27" fmla="*/ 372 h 373"/>
                  <a:gd name="T28" fmla="*/ 92 w 187"/>
                  <a:gd name="T29" fmla="*/ 372 h 373"/>
                  <a:gd name="T30" fmla="*/ 92 w 187"/>
                  <a:gd name="T31" fmla="*/ 372 h 373"/>
                  <a:gd name="T32" fmla="*/ 124 w 187"/>
                  <a:gd name="T33" fmla="*/ 372 h 373"/>
                  <a:gd name="T34" fmla="*/ 155 w 187"/>
                  <a:gd name="T35" fmla="*/ 372 h 373"/>
                  <a:gd name="T36" fmla="*/ 186 w 187"/>
                  <a:gd name="T37" fmla="*/ 341 h 373"/>
                  <a:gd name="T38" fmla="*/ 186 w 187"/>
                  <a:gd name="T39" fmla="*/ 341 h 373"/>
                  <a:gd name="T40" fmla="*/ 155 w 187"/>
                  <a:gd name="T41" fmla="*/ 310 h 373"/>
                  <a:gd name="T42" fmla="*/ 124 w 187"/>
                  <a:gd name="T43" fmla="*/ 248 h 373"/>
                  <a:gd name="T44" fmla="*/ 124 w 187"/>
                  <a:gd name="T45" fmla="*/ 186 h 373"/>
                  <a:gd name="T46" fmla="*/ 124 w 187"/>
                  <a:gd name="T47" fmla="*/ 186 h 373"/>
                  <a:gd name="T48" fmla="*/ 124 w 187"/>
                  <a:gd name="T49" fmla="*/ 186 h 373"/>
                  <a:gd name="T50" fmla="*/ 155 w 187"/>
                  <a:gd name="T51" fmla="*/ 155 h 373"/>
                  <a:gd name="T52" fmla="*/ 186 w 187"/>
                  <a:gd name="T53" fmla="*/ 155 h 373"/>
                  <a:gd name="T54" fmla="*/ 186 w 187"/>
                  <a:gd name="T55" fmla="*/ 124 h 373"/>
                  <a:gd name="T56" fmla="*/ 186 w 187"/>
                  <a:gd name="T57" fmla="*/ 124 h 373"/>
                  <a:gd name="T58" fmla="*/ 186 w 187"/>
                  <a:gd name="T59" fmla="*/ 124 h 373"/>
                  <a:gd name="T60" fmla="*/ 155 w 187"/>
                  <a:gd name="T61" fmla="*/ 93 h 373"/>
                  <a:gd name="T62" fmla="*/ 92 w 187"/>
                  <a:gd name="T63" fmla="*/ 31 h 373"/>
                  <a:gd name="T64" fmla="*/ 62 w 187"/>
                  <a:gd name="T65" fmla="*/ 0 h 373"/>
                  <a:gd name="T66" fmla="*/ 62 w 187"/>
                  <a:gd name="T6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373">
                    <a:moveTo>
                      <a:pt x="31" y="0"/>
                    </a:moveTo>
                    <a:lnTo>
                      <a:pt x="31" y="0"/>
                    </a:lnTo>
                    <a:cubicBezTo>
                      <a:pt x="62" y="31"/>
                      <a:pt x="62" y="31"/>
                      <a:pt x="62" y="63"/>
                    </a:cubicBezTo>
                    <a:lnTo>
                      <a:pt x="62" y="63"/>
                    </a:lnTo>
                    <a:lnTo>
                      <a:pt x="62" y="63"/>
                    </a:lnTo>
                    <a:cubicBezTo>
                      <a:pt x="31" y="93"/>
                      <a:pt x="31" y="93"/>
                      <a:pt x="31" y="93"/>
                    </a:cubicBezTo>
                    <a:lnTo>
                      <a:pt x="31" y="93"/>
                    </a:lnTo>
                    <a:lnTo>
                      <a:pt x="31" y="93"/>
                    </a:lnTo>
                    <a:lnTo>
                      <a:pt x="0" y="93"/>
                    </a:lnTo>
                    <a:lnTo>
                      <a:pt x="0" y="93"/>
                    </a:lnTo>
                    <a:lnTo>
                      <a:pt x="0" y="93"/>
                    </a:lnTo>
                    <a:lnTo>
                      <a:pt x="0" y="93"/>
                    </a:lnTo>
                    <a:cubicBezTo>
                      <a:pt x="0" y="124"/>
                      <a:pt x="0" y="124"/>
                      <a:pt x="0" y="124"/>
                    </a:cubicBezTo>
                    <a:cubicBezTo>
                      <a:pt x="31" y="124"/>
                      <a:pt x="31" y="124"/>
                      <a:pt x="31" y="124"/>
                    </a:cubicBezTo>
                    <a:lnTo>
                      <a:pt x="31" y="124"/>
                    </a:lnTo>
                    <a:lnTo>
                      <a:pt x="31" y="124"/>
                    </a:lnTo>
                    <a:cubicBezTo>
                      <a:pt x="62" y="124"/>
                      <a:pt x="62" y="124"/>
                      <a:pt x="62" y="155"/>
                    </a:cubicBezTo>
                    <a:cubicBezTo>
                      <a:pt x="92" y="155"/>
                      <a:pt x="92" y="155"/>
                      <a:pt x="92" y="155"/>
                    </a:cubicBezTo>
                    <a:cubicBezTo>
                      <a:pt x="92" y="186"/>
                      <a:pt x="92" y="186"/>
                      <a:pt x="92" y="186"/>
                    </a:cubicBezTo>
                    <a:lnTo>
                      <a:pt x="62" y="186"/>
                    </a:lnTo>
                    <a:cubicBezTo>
                      <a:pt x="92" y="217"/>
                      <a:pt x="92" y="217"/>
                      <a:pt x="92" y="248"/>
                    </a:cubicBezTo>
                    <a:lnTo>
                      <a:pt x="92" y="248"/>
                    </a:lnTo>
                    <a:lnTo>
                      <a:pt x="92" y="248"/>
                    </a:lnTo>
                    <a:cubicBezTo>
                      <a:pt x="92" y="248"/>
                      <a:pt x="92" y="279"/>
                      <a:pt x="62" y="279"/>
                    </a:cubicBezTo>
                    <a:lnTo>
                      <a:pt x="62" y="279"/>
                    </a:lnTo>
                    <a:cubicBezTo>
                      <a:pt x="62" y="310"/>
                      <a:pt x="92" y="310"/>
                      <a:pt x="92" y="310"/>
                    </a:cubicBezTo>
                    <a:cubicBezTo>
                      <a:pt x="92" y="310"/>
                      <a:pt x="62" y="310"/>
                      <a:pt x="62" y="341"/>
                    </a:cubicBezTo>
                    <a:cubicBezTo>
                      <a:pt x="92" y="341"/>
                      <a:pt x="92" y="372"/>
                      <a:pt x="92" y="372"/>
                    </a:cubicBezTo>
                    <a:lnTo>
                      <a:pt x="92" y="372"/>
                    </a:lnTo>
                    <a:lnTo>
                      <a:pt x="92" y="372"/>
                    </a:lnTo>
                    <a:lnTo>
                      <a:pt x="92" y="372"/>
                    </a:lnTo>
                    <a:lnTo>
                      <a:pt x="92" y="372"/>
                    </a:lnTo>
                    <a:cubicBezTo>
                      <a:pt x="124" y="372"/>
                      <a:pt x="124" y="372"/>
                      <a:pt x="124" y="372"/>
                    </a:cubicBezTo>
                    <a:lnTo>
                      <a:pt x="124" y="372"/>
                    </a:lnTo>
                    <a:lnTo>
                      <a:pt x="124" y="372"/>
                    </a:lnTo>
                    <a:cubicBezTo>
                      <a:pt x="155" y="372"/>
                      <a:pt x="155" y="372"/>
                      <a:pt x="155" y="372"/>
                    </a:cubicBezTo>
                    <a:lnTo>
                      <a:pt x="155" y="372"/>
                    </a:lnTo>
                    <a:cubicBezTo>
                      <a:pt x="155" y="372"/>
                      <a:pt x="155" y="341"/>
                      <a:pt x="186" y="341"/>
                    </a:cubicBezTo>
                    <a:lnTo>
                      <a:pt x="186" y="341"/>
                    </a:lnTo>
                    <a:lnTo>
                      <a:pt x="186" y="341"/>
                    </a:lnTo>
                    <a:lnTo>
                      <a:pt x="155" y="310"/>
                    </a:lnTo>
                    <a:lnTo>
                      <a:pt x="155" y="310"/>
                    </a:lnTo>
                    <a:lnTo>
                      <a:pt x="155" y="279"/>
                    </a:lnTo>
                    <a:cubicBezTo>
                      <a:pt x="124" y="279"/>
                      <a:pt x="124" y="248"/>
                      <a:pt x="124" y="248"/>
                    </a:cubicBezTo>
                    <a:cubicBezTo>
                      <a:pt x="124" y="217"/>
                      <a:pt x="124" y="217"/>
                      <a:pt x="124" y="217"/>
                    </a:cubicBezTo>
                    <a:cubicBezTo>
                      <a:pt x="124" y="217"/>
                      <a:pt x="124" y="217"/>
                      <a:pt x="124" y="186"/>
                    </a:cubicBezTo>
                    <a:lnTo>
                      <a:pt x="124" y="186"/>
                    </a:lnTo>
                    <a:lnTo>
                      <a:pt x="124" y="186"/>
                    </a:lnTo>
                    <a:lnTo>
                      <a:pt x="124" y="186"/>
                    </a:lnTo>
                    <a:lnTo>
                      <a:pt x="124" y="186"/>
                    </a:lnTo>
                    <a:lnTo>
                      <a:pt x="155" y="155"/>
                    </a:lnTo>
                    <a:lnTo>
                      <a:pt x="155" y="155"/>
                    </a:lnTo>
                    <a:cubicBezTo>
                      <a:pt x="155" y="155"/>
                      <a:pt x="155" y="155"/>
                      <a:pt x="186" y="155"/>
                    </a:cubicBezTo>
                    <a:lnTo>
                      <a:pt x="186" y="155"/>
                    </a:lnTo>
                    <a:lnTo>
                      <a:pt x="186" y="155"/>
                    </a:lnTo>
                    <a:cubicBezTo>
                      <a:pt x="186" y="124"/>
                      <a:pt x="186" y="124"/>
                      <a:pt x="186" y="124"/>
                    </a:cubicBezTo>
                    <a:lnTo>
                      <a:pt x="186" y="124"/>
                    </a:lnTo>
                    <a:lnTo>
                      <a:pt x="186" y="124"/>
                    </a:lnTo>
                    <a:lnTo>
                      <a:pt x="186" y="124"/>
                    </a:lnTo>
                    <a:lnTo>
                      <a:pt x="186" y="124"/>
                    </a:lnTo>
                    <a:cubicBezTo>
                      <a:pt x="155" y="93"/>
                      <a:pt x="155" y="93"/>
                      <a:pt x="155" y="93"/>
                    </a:cubicBezTo>
                    <a:lnTo>
                      <a:pt x="155" y="93"/>
                    </a:lnTo>
                    <a:cubicBezTo>
                      <a:pt x="124" y="93"/>
                      <a:pt x="124" y="93"/>
                      <a:pt x="124" y="93"/>
                    </a:cubicBezTo>
                    <a:cubicBezTo>
                      <a:pt x="92" y="63"/>
                      <a:pt x="92" y="63"/>
                      <a:pt x="92" y="31"/>
                    </a:cubicBezTo>
                    <a:cubicBezTo>
                      <a:pt x="92" y="31"/>
                      <a:pt x="92" y="0"/>
                      <a:pt x="62" y="0"/>
                    </a:cubicBezTo>
                    <a:lnTo>
                      <a:pt x="62" y="0"/>
                    </a:lnTo>
                    <a:lnTo>
                      <a:pt x="62" y="0"/>
                    </a:lnTo>
                    <a:lnTo>
                      <a:pt x="62" y="0"/>
                    </a:lnTo>
                    <a:lnTo>
                      <a:pt x="31"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60" name="Freeform 157"/>
              <p:cNvSpPr>
                <a:spLocks noChangeArrowheads="1"/>
              </p:cNvSpPr>
              <p:nvPr/>
            </p:nvSpPr>
            <p:spPr bwMode="auto">
              <a:xfrm>
                <a:off x="2519363" y="2527300"/>
                <a:ext cx="100012" cy="66675"/>
              </a:xfrm>
              <a:custGeom>
                <a:avLst/>
                <a:gdLst>
                  <a:gd name="T0" fmla="*/ 0 w 279"/>
                  <a:gd name="T1" fmla="*/ 62 h 187"/>
                  <a:gd name="T2" fmla="*/ 0 w 279"/>
                  <a:gd name="T3" fmla="*/ 62 h 187"/>
                  <a:gd name="T4" fmla="*/ 0 w 279"/>
                  <a:gd name="T5" fmla="*/ 62 h 187"/>
                  <a:gd name="T6" fmla="*/ 0 w 279"/>
                  <a:gd name="T7" fmla="*/ 93 h 187"/>
                  <a:gd name="T8" fmla="*/ 0 w 279"/>
                  <a:gd name="T9" fmla="*/ 93 h 187"/>
                  <a:gd name="T10" fmla="*/ 30 w 279"/>
                  <a:gd name="T11" fmla="*/ 93 h 187"/>
                  <a:gd name="T12" fmla="*/ 30 w 279"/>
                  <a:gd name="T13" fmla="*/ 93 h 187"/>
                  <a:gd name="T14" fmla="*/ 30 w 279"/>
                  <a:gd name="T15" fmla="*/ 155 h 187"/>
                  <a:gd name="T16" fmla="*/ 30 w 279"/>
                  <a:gd name="T17" fmla="*/ 155 h 187"/>
                  <a:gd name="T18" fmla="*/ 30 w 279"/>
                  <a:gd name="T19" fmla="*/ 155 h 187"/>
                  <a:gd name="T20" fmla="*/ 30 w 279"/>
                  <a:gd name="T21" fmla="*/ 155 h 187"/>
                  <a:gd name="T22" fmla="*/ 30 w 279"/>
                  <a:gd name="T23" fmla="*/ 155 h 187"/>
                  <a:gd name="T24" fmla="*/ 30 w 279"/>
                  <a:gd name="T25" fmla="*/ 155 h 187"/>
                  <a:gd name="T26" fmla="*/ 62 w 279"/>
                  <a:gd name="T27" fmla="*/ 155 h 187"/>
                  <a:gd name="T28" fmla="*/ 62 w 279"/>
                  <a:gd name="T29" fmla="*/ 155 h 187"/>
                  <a:gd name="T30" fmla="*/ 93 w 279"/>
                  <a:gd name="T31" fmla="*/ 155 h 187"/>
                  <a:gd name="T32" fmla="*/ 93 w 279"/>
                  <a:gd name="T33" fmla="*/ 155 h 187"/>
                  <a:gd name="T34" fmla="*/ 124 w 279"/>
                  <a:gd name="T35" fmla="*/ 155 h 187"/>
                  <a:gd name="T36" fmla="*/ 154 w 279"/>
                  <a:gd name="T37" fmla="*/ 155 h 187"/>
                  <a:gd name="T38" fmla="*/ 154 w 279"/>
                  <a:gd name="T39" fmla="*/ 155 h 187"/>
                  <a:gd name="T40" fmla="*/ 154 w 279"/>
                  <a:gd name="T41" fmla="*/ 155 h 187"/>
                  <a:gd name="T42" fmla="*/ 186 w 279"/>
                  <a:gd name="T43" fmla="*/ 186 h 187"/>
                  <a:gd name="T44" fmla="*/ 186 w 279"/>
                  <a:gd name="T45" fmla="*/ 186 h 187"/>
                  <a:gd name="T46" fmla="*/ 186 w 279"/>
                  <a:gd name="T47" fmla="*/ 186 h 187"/>
                  <a:gd name="T48" fmla="*/ 217 w 279"/>
                  <a:gd name="T49" fmla="*/ 186 h 187"/>
                  <a:gd name="T50" fmla="*/ 248 w 279"/>
                  <a:gd name="T51" fmla="*/ 186 h 187"/>
                  <a:gd name="T52" fmla="*/ 248 w 279"/>
                  <a:gd name="T53" fmla="*/ 186 h 187"/>
                  <a:gd name="T54" fmla="*/ 248 w 279"/>
                  <a:gd name="T55" fmla="*/ 186 h 187"/>
                  <a:gd name="T56" fmla="*/ 248 w 279"/>
                  <a:gd name="T57" fmla="*/ 155 h 187"/>
                  <a:gd name="T58" fmla="*/ 248 w 279"/>
                  <a:gd name="T59" fmla="*/ 155 h 187"/>
                  <a:gd name="T60" fmla="*/ 248 w 279"/>
                  <a:gd name="T61" fmla="*/ 155 h 187"/>
                  <a:gd name="T62" fmla="*/ 278 w 279"/>
                  <a:gd name="T63" fmla="*/ 93 h 187"/>
                  <a:gd name="T64" fmla="*/ 278 w 279"/>
                  <a:gd name="T65" fmla="*/ 93 h 187"/>
                  <a:gd name="T66" fmla="*/ 278 w 279"/>
                  <a:gd name="T67" fmla="*/ 93 h 187"/>
                  <a:gd name="T68" fmla="*/ 278 w 279"/>
                  <a:gd name="T69" fmla="*/ 62 h 187"/>
                  <a:gd name="T70" fmla="*/ 278 w 279"/>
                  <a:gd name="T71" fmla="*/ 62 h 187"/>
                  <a:gd name="T72" fmla="*/ 278 w 279"/>
                  <a:gd name="T73" fmla="*/ 62 h 187"/>
                  <a:gd name="T74" fmla="*/ 278 w 279"/>
                  <a:gd name="T75" fmla="*/ 31 h 187"/>
                  <a:gd name="T76" fmla="*/ 248 w 279"/>
                  <a:gd name="T77" fmla="*/ 31 h 187"/>
                  <a:gd name="T78" fmla="*/ 248 w 279"/>
                  <a:gd name="T79" fmla="*/ 31 h 187"/>
                  <a:gd name="T80" fmla="*/ 217 w 279"/>
                  <a:gd name="T81" fmla="*/ 31 h 187"/>
                  <a:gd name="T82" fmla="*/ 154 w 279"/>
                  <a:gd name="T83" fmla="*/ 62 h 187"/>
                  <a:gd name="T84" fmla="*/ 154 w 279"/>
                  <a:gd name="T85" fmla="*/ 31 h 187"/>
                  <a:gd name="T86" fmla="*/ 124 w 279"/>
                  <a:gd name="T87" fmla="*/ 0 h 187"/>
                  <a:gd name="T88" fmla="*/ 124 w 279"/>
                  <a:gd name="T89" fmla="*/ 0 h 187"/>
                  <a:gd name="T90" fmla="*/ 93 w 279"/>
                  <a:gd name="T91" fmla="*/ 0 h 187"/>
                  <a:gd name="T92" fmla="*/ 62 w 279"/>
                  <a:gd name="T93" fmla="*/ 0 h 187"/>
                  <a:gd name="T94" fmla="*/ 30 w 279"/>
                  <a:gd name="T95" fmla="*/ 0 h 187"/>
                  <a:gd name="T96" fmla="*/ 30 w 279"/>
                  <a:gd name="T97" fmla="*/ 0 h 187"/>
                  <a:gd name="T98" fmla="*/ 30 w 279"/>
                  <a:gd name="T99" fmla="*/ 31 h 187"/>
                  <a:gd name="T100" fmla="*/ 0 w 279"/>
                  <a:gd name="T101" fmla="*/ 6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9" h="187">
                    <a:moveTo>
                      <a:pt x="0" y="62"/>
                    </a:moveTo>
                    <a:lnTo>
                      <a:pt x="0" y="62"/>
                    </a:lnTo>
                    <a:lnTo>
                      <a:pt x="0" y="62"/>
                    </a:lnTo>
                    <a:cubicBezTo>
                      <a:pt x="0" y="93"/>
                      <a:pt x="0" y="93"/>
                      <a:pt x="0" y="93"/>
                    </a:cubicBezTo>
                    <a:lnTo>
                      <a:pt x="0" y="93"/>
                    </a:lnTo>
                    <a:cubicBezTo>
                      <a:pt x="0" y="93"/>
                      <a:pt x="0" y="93"/>
                      <a:pt x="30" y="93"/>
                    </a:cubicBezTo>
                    <a:lnTo>
                      <a:pt x="30" y="93"/>
                    </a:lnTo>
                    <a:cubicBezTo>
                      <a:pt x="30" y="124"/>
                      <a:pt x="30" y="124"/>
                      <a:pt x="30" y="155"/>
                    </a:cubicBezTo>
                    <a:lnTo>
                      <a:pt x="30" y="155"/>
                    </a:lnTo>
                    <a:lnTo>
                      <a:pt x="30" y="155"/>
                    </a:lnTo>
                    <a:lnTo>
                      <a:pt x="30" y="155"/>
                    </a:lnTo>
                    <a:lnTo>
                      <a:pt x="30" y="155"/>
                    </a:lnTo>
                    <a:lnTo>
                      <a:pt x="30" y="155"/>
                    </a:lnTo>
                    <a:lnTo>
                      <a:pt x="62" y="155"/>
                    </a:lnTo>
                    <a:lnTo>
                      <a:pt x="62" y="155"/>
                    </a:lnTo>
                    <a:lnTo>
                      <a:pt x="93" y="155"/>
                    </a:lnTo>
                    <a:lnTo>
                      <a:pt x="93" y="155"/>
                    </a:lnTo>
                    <a:cubicBezTo>
                      <a:pt x="124" y="155"/>
                      <a:pt x="124" y="155"/>
                      <a:pt x="124" y="155"/>
                    </a:cubicBezTo>
                    <a:lnTo>
                      <a:pt x="154" y="155"/>
                    </a:lnTo>
                    <a:lnTo>
                      <a:pt x="154" y="155"/>
                    </a:lnTo>
                    <a:lnTo>
                      <a:pt x="154" y="155"/>
                    </a:lnTo>
                    <a:cubicBezTo>
                      <a:pt x="154" y="155"/>
                      <a:pt x="186" y="155"/>
                      <a:pt x="186" y="186"/>
                    </a:cubicBezTo>
                    <a:lnTo>
                      <a:pt x="186" y="186"/>
                    </a:lnTo>
                    <a:lnTo>
                      <a:pt x="186" y="186"/>
                    </a:lnTo>
                    <a:cubicBezTo>
                      <a:pt x="217" y="186"/>
                      <a:pt x="217" y="186"/>
                      <a:pt x="217" y="186"/>
                    </a:cubicBezTo>
                    <a:lnTo>
                      <a:pt x="248" y="186"/>
                    </a:lnTo>
                    <a:lnTo>
                      <a:pt x="248" y="186"/>
                    </a:lnTo>
                    <a:lnTo>
                      <a:pt x="248" y="186"/>
                    </a:lnTo>
                    <a:cubicBezTo>
                      <a:pt x="248" y="155"/>
                      <a:pt x="248" y="155"/>
                      <a:pt x="248" y="155"/>
                    </a:cubicBezTo>
                    <a:lnTo>
                      <a:pt x="248" y="155"/>
                    </a:lnTo>
                    <a:lnTo>
                      <a:pt x="248" y="155"/>
                    </a:lnTo>
                    <a:cubicBezTo>
                      <a:pt x="248" y="124"/>
                      <a:pt x="278" y="124"/>
                      <a:pt x="278" y="93"/>
                    </a:cubicBezTo>
                    <a:lnTo>
                      <a:pt x="278" y="93"/>
                    </a:lnTo>
                    <a:lnTo>
                      <a:pt x="278" y="93"/>
                    </a:lnTo>
                    <a:lnTo>
                      <a:pt x="278" y="62"/>
                    </a:lnTo>
                    <a:lnTo>
                      <a:pt x="278" y="62"/>
                    </a:lnTo>
                    <a:lnTo>
                      <a:pt x="278" y="62"/>
                    </a:lnTo>
                    <a:cubicBezTo>
                      <a:pt x="278" y="31"/>
                      <a:pt x="278" y="31"/>
                      <a:pt x="278" y="31"/>
                    </a:cubicBezTo>
                    <a:cubicBezTo>
                      <a:pt x="248" y="31"/>
                      <a:pt x="248" y="31"/>
                      <a:pt x="248" y="31"/>
                    </a:cubicBezTo>
                    <a:lnTo>
                      <a:pt x="248" y="31"/>
                    </a:lnTo>
                    <a:lnTo>
                      <a:pt x="217" y="31"/>
                    </a:lnTo>
                    <a:cubicBezTo>
                      <a:pt x="154" y="62"/>
                      <a:pt x="154" y="62"/>
                      <a:pt x="154" y="62"/>
                    </a:cubicBezTo>
                    <a:cubicBezTo>
                      <a:pt x="154" y="31"/>
                      <a:pt x="154" y="31"/>
                      <a:pt x="154" y="31"/>
                    </a:cubicBezTo>
                    <a:cubicBezTo>
                      <a:pt x="154" y="0"/>
                      <a:pt x="154" y="0"/>
                      <a:pt x="124" y="0"/>
                    </a:cubicBezTo>
                    <a:lnTo>
                      <a:pt x="124" y="0"/>
                    </a:lnTo>
                    <a:cubicBezTo>
                      <a:pt x="124" y="0"/>
                      <a:pt x="124" y="0"/>
                      <a:pt x="93" y="0"/>
                    </a:cubicBezTo>
                    <a:cubicBezTo>
                      <a:pt x="93" y="0"/>
                      <a:pt x="93" y="0"/>
                      <a:pt x="62" y="0"/>
                    </a:cubicBezTo>
                    <a:cubicBezTo>
                      <a:pt x="62" y="0"/>
                      <a:pt x="62" y="0"/>
                      <a:pt x="30" y="0"/>
                    </a:cubicBezTo>
                    <a:lnTo>
                      <a:pt x="30" y="0"/>
                    </a:lnTo>
                    <a:lnTo>
                      <a:pt x="30" y="31"/>
                    </a:lnTo>
                    <a:lnTo>
                      <a:pt x="0" y="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61" name="Freeform 158"/>
              <p:cNvSpPr>
                <a:spLocks noChangeArrowheads="1"/>
              </p:cNvSpPr>
              <p:nvPr/>
            </p:nvSpPr>
            <p:spPr bwMode="auto">
              <a:xfrm>
                <a:off x="2286000" y="2884488"/>
                <a:ext cx="223838" cy="279400"/>
              </a:xfrm>
              <a:custGeom>
                <a:avLst/>
                <a:gdLst>
                  <a:gd name="T0" fmla="*/ 185 w 621"/>
                  <a:gd name="T1" fmla="*/ 31 h 776"/>
                  <a:gd name="T2" fmla="*/ 185 w 621"/>
                  <a:gd name="T3" fmla="*/ 0 h 776"/>
                  <a:gd name="T4" fmla="*/ 124 w 621"/>
                  <a:gd name="T5" fmla="*/ 31 h 776"/>
                  <a:gd name="T6" fmla="*/ 93 w 621"/>
                  <a:gd name="T7" fmla="*/ 62 h 776"/>
                  <a:gd name="T8" fmla="*/ 61 w 621"/>
                  <a:gd name="T9" fmla="*/ 93 h 776"/>
                  <a:gd name="T10" fmla="*/ 31 w 621"/>
                  <a:gd name="T11" fmla="*/ 93 h 776"/>
                  <a:gd name="T12" fmla="*/ 61 w 621"/>
                  <a:gd name="T13" fmla="*/ 154 h 776"/>
                  <a:gd name="T14" fmla="*/ 31 w 621"/>
                  <a:gd name="T15" fmla="*/ 217 h 776"/>
                  <a:gd name="T16" fmla="*/ 31 w 621"/>
                  <a:gd name="T17" fmla="*/ 248 h 776"/>
                  <a:gd name="T18" fmla="*/ 31 w 621"/>
                  <a:gd name="T19" fmla="*/ 310 h 776"/>
                  <a:gd name="T20" fmla="*/ 31 w 621"/>
                  <a:gd name="T21" fmla="*/ 341 h 776"/>
                  <a:gd name="T22" fmla="*/ 31 w 621"/>
                  <a:gd name="T23" fmla="*/ 403 h 776"/>
                  <a:gd name="T24" fmla="*/ 0 w 621"/>
                  <a:gd name="T25" fmla="*/ 465 h 776"/>
                  <a:gd name="T26" fmla="*/ 0 w 621"/>
                  <a:gd name="T27" fmla="*/ 465 h 776"/>
                  <a:gd name="T28" fmla="*/ 61 w 621"/>
                  <a:gd name="T29" fmla="*/ 558 h 776"/>
                  <a:gd name="T30" fmla="*/ 61 w 621"/>
                  <a:gd name="T31" fmla="*/ 619 h 776"/>
                  <a:gd name="T32" fmla="*/ 61 w 621"/>
                  <a:gd name="T33" fmla="*/ 651 h 776"/>
                  <a:gd name="T34" fmla="*/ 61 w 621"/>
                  <a:gd name="T35" fmla="*/ 651 h 776"/>
                  <a:gd name="T36" fmla="*/ 93 w 621"/>
                  <a:gd name="T37" fmla="*/ 743 h 776"/>
                  <a:gd name="T38" fmla="*/ 93 w 621"/>
                  <a:gd name="T39" fmla="*/ 775 h 776"/>
                  <a:gd name="T40" fmla="*/ 124 w 621"/>
                  <a:gd name="T41" fmla="*/ 743 h 776"/>
                  <a:gd name="T42" fmla="*/ 155 w 621"/>
                  <a:gd name="T43" fmla="*/ 743 h 776"/>
                  <a:gd name="T44" fmla="*/ 185 w 621"/>
                  <a:gd name="T45" fmla="*/ 743 h 776"/>
                  <a:gd name="T46" fmla="*/ 217 w 621"/>
                  <a:gd name="T47" fmla="*/ 743 h 776"/>
                  <a:gd name="T48" fmla="*/ 217 w 621"/>
                  <a:gd name="T49" fmla="*/ 743 h 776"/>
                  <a:gd name="T50" fmla="*/ 309 w 621"/>
                  <a:gd name="T51" fmla="*/ 743 h 776"/>
                  <a:gd name="T52" fmla="*/ 341 w 621"/>
                  <a:gd name="T53" fmla="*/ 743 h 776"/>
                  <a:gd name="T54" fmla="*/ 372 w 621"/>
                  <a:gd name="T55" fmla="*/ 713 h 776"/>
                  <a:gd name="T56" fmla="*/ 372 w 621"/>
                  <a:gd name="T57" fmla="*/ 682 h 776"/>
                  <a:gd name="T58" fmla="*/ 372 w 621"/>
                  <a:gd name="T59" fmla="*/ 651 h 776"/>
                  <a:gd name="T60" fmla="*/ 403 w 621"/>
                  <a:gd name="T61" fmla="*/ 589 h 776"/>
                  <a:gd name="T62" fmla="*/ 496 w 621"/>
                  <a:gd name="T63" fmla="*/ 558 h 776"/>
                  <a:gd name="T64" fmla="*/ 589 w 621"/>
                  <a:gd name="T65" fmla="*/ 558 h 776"/>
                  <a:gd name="T66" fmla="*/ 620 w 621"/>
                  <a:gd name="T67" fmla="*/ 527 h 776"/>
                  <a:gd name="T68" fmla="*/ 620 w 621"/>
                  <a:gd name="T69" fmla="*/ 495 h 776"/>
                  <a:gd name="T70" fmla="*/ 557 w 621"/>
                  <a:gd name="T71" fmla="*/ 434 h 776"/>
                  <a:gd name="T72" fmla="*/ 527 w 621"/>
                  <a:gd name="T73" fmla="*/ 434 h 776"/>
                  <a:gd name="T74" fmla="*/ 496 w 621"/>
                  <a:gd name="T75" fmla="*/ 434 h 776"/>
                  <a:gd name="T76" fmla="*/ 465 w 621"/>
                  <a:gd name="T77" fmla="*/ 341 h 776"/>
                  <a:gd name="T78" fmla="*/ 465 w 621"/>
                  <a:gd name="T79" fmla="*/ 310 h 776"/>
                  <a:gd name="T80" fmla="*/ 465 w 621"/>
                  <a:gd name="T81" fmla="*/ 279 h 776"/>
                  <a:gd name="T82" fmla="*/ 465 w 621"/>
                  <a:gd name="T83" fmla="*/ 248 h 776"/>
                  <a:gd name="T84" fmla="*/ 403 w 621"/>
                  <a:gd name="T85" fmla="*/ 248 h 776"/>
                  <a:gd name="T86" fmla="*/ 341 w 621"/>
                  <a:gd name="T87" fmla="*/ 186 h 776"/>
                  <a:gd name="T88" fmla="*/ 279 w 621"/>
                  <a:gd name="T89" fmla="*/ 186 h 776"/>
                  <a:gd name="T90" fmla="*/ 279 w 621"/>
                  <a:gd name="T91" fmla="*/ 186 h 776"/>
                  <a:gd name="T92" fmla="*/ 248 w 621"/>
                  <a:gd name="T93" fmla="*/ 154 h 776"/>
                  <a:gd name="T94" fmla="*/ 217 w 621"/>
                  <a:gd name="T95" fmla="*/ 124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1" h="776">
                    <a:moveTo>
                      <a:pt x="185" y="62"/>
                    </a:moveTo>
                    <a:lnTo>
                      <a:pt x="185" y="62"/>
                    </a:lnTo>
                    <a:cubicBezTo>
                      <a:pt x="185" y="31"/>
                      <a:pt x="185" y="31"/>
                      <a:pt x="185" y="31"/>
                    </a:cubicBezTo>
                    <a:lnTo>
                      <a:pt x="185" y="31"/>
                    </a:lnTo>
                    <a:lnTo>
                      <a:pt x="185" y="0"/>
                    </a:lnTo>
                    <a:lnTo>
                      <a:pt x="185" y="0"/>
                    </a:lnTo>
                    <a:cubicBezTo>
                      <a:pt x="185" y="0"/>
                      <a:pt x="185" y="0"/>
                      <a:pt x="155" y="0"/>
                    </a:cubicBezTo>
                    <a:lnTo>
                      <a:pt x="155" y="0"/>
                    </a:lnTo>
                    <a:cubicBezTo>
                      <a:pt x="155" y="0"/>
                      <a:pt x="155" y="31"/>
                      <a:pt x="124" y="31"/>
                    </a:cubicBezTo>
                    <a:lnTo>
                      <a:pt x="124" y="31"/>
                    </a:lnTo>
                    <a:cubicBezTo>
                      <a:pt x="93" y="62"/>
                      <a:pt x="93" y="62"/>
                      <a:pt x="93" y="62"/>
                    </a:cubicBezTo>
                    <a:lnTo>
                      <a:pt x="93" y="62"/>
                    </a:lnTo>
                    <a:cubicBezTo>
                      <a:pt x="93" y="62"/>
                      <a:pt x="93" y="62"/>
                      <a:pt x="61" y="62"/>
                    </a:cubicBezTo>
                    <a:lnTo>
                      <a:pt x="61" y="62"/>
                    </a:lnTo>
                    <a:lnTo>
                      <a:pt x="61" y="93"/>
                    </a:lnTo>
                    <a:cubicBezTo>
                      <a:pt x="61" y="93"/>
                      <a:pt x="61" y="93"/>
                      <a:pt x="31" y="93"/>
                    </a:cubicBezTo>
                    <a:lnTo>
                      <a:pt x="31" y="93"/>
                    </a:lnTo>
                    <a:lnTo>
                      <a:pt x="31" y="93"/>
                    </a:lnTo>
                    <a:cubicBezTo>
                      <a:pt x="31" y="93"/>
                      <a:pt x="31" y="93"/>
                      <a:pt x="31" y="124"/>
                    </a:cubicBezTo>
                    <a:cubicBezTo>
                      <a:pt x="31" y="124"/>
                      <a:pt x="61" y="124"/>
                      <a:pt x="61" y="154"/>
                    </a:cubicBezTo>
                    <a:lnTo>
                      <a:pt x="61" y="154"/>
                    </a:lnTo>
                    <a:cubicBezTo>
                      <a:pt x="61" y="154"/>
                      <a:pt x="61" y="186"/>
                      <a:pt x="31" y="186"/>
                    </a:cubicBezTo>
                    <a:lnTo>
                      <a:pt x="31" y="186"/>
                    </a:lnTo>
                    <a:cubicBezTo>
                      <a:pt x="31" y="217"/>
                      <a:pt x="31" y="217"/>
                      <a:pt x="31" y="217"/>
                    </a:cubicBezTo>
                    <a:lnTo>
                      <a:pt x="31" y="248"/>
                    </a:lnTo>
                    <a:lnTo>
                      <a:pt x="31" y="248"/>
                    </a:lnTo>
                    <a:lnTo>
                      <a:pt x="31" y="248"/>
                    </a:lnTo>
                    <a:cubicBezTo>
                      <a:pt x="31" y="248"/>
                      <a:pt x="31" y="248"/>
                      <a:pt x="31" y="279"/>
                    </a:cubicBezTo>
                    <a:lnTo>
                      <a:pt x="31" y="310"/>
                    </a:lnTo>
                    <a:lnTo>
                      <a:pt x="31" y="310"/>
                    </a:lnTo>
                    <a:lnTo>
                      <a:pt x="31" y="341"/>
                    </a:lnTo>
                    <a:lnTo>
                      <a:pt x="31" y="341"/>
                    </a:lnTo>
                    <a:lnTo>
                      <a:pt x="31" y="341"/>
                    </a:lnTo>
                    <a:cubicBezTo>
                      <a:pt x="31" y="341"/>
                      <a:pt x="31" y="341"/>
                      <a:pt x="31" y="371"/>
                    </a:cubicBezTo>
                    <a:cubicBezTo>
                      <a:pt x="31" y="371"/>
                      <a:pt x="31" y="371"/>
                      <a:pt x="31" y="403"/>
                    </a:cubicBezTo>
                    <a:lnTo>
                      <a:pt x="31" y="403"/>
                    </a:lnTo>
                    <a:cubicBezTo>
                      <a:pt x="31" y="403"/>
                      <a:pt x="31" y="403"/>
                      <a:pt x="31" y="434"/>
                    </a:cubicBezTo>
                    <a:lnTo>
                      <a:pt x="31" y="434"/>
                    </a:lnTo>
                    <a:cubicBezTo>
                      <a:pt x="31" y="434"/>
                      <a:pt x="31" y="434"/>
                      <a:pt x="0" y="465"/>
                    </a:cubicBezTo>
                    <a:lnTo>
                      <a:pt x="0" y="465"/>
                    </a:lnTo>
                    <a:lnTo>
                      <a:pt x="0" y="465"/>
                    </a:lnTo>
                    <a:lnTo>
                      <a:pt x="0" y="465"/>
                    </a:lnTo>
                    <a:cubicBezTo>
                      <a:pt x="0" y="495"/>
                      <a:pt x="31" y="495"/>
                      <a:pt x="31" y="495"/>
                    </a:cubicBezTo>
                    <a:cubicBezTo>
                      <a:pt x="31" y="527"/>
                      <a:pt x="31" y="527"/>
                      <a:pt x="31" y="558"/>
                    </a:cubicBezTo>
                    <a:cubicBezTo>
                      <a:pt x="31" y="558"/>
                      <a:pt x="31" y="558"/>
                      <a:pt x="61" y="558"/>
                    </a:cubicBezTo>
                    <a:lnTo>
                      <a:pt x="61" y="558"/>
                    </a:lnTo>
                    <a:lnTo>
                      <a:pt x="61" y="589"/>
                    </a:lnTo>
                    <a:cubicBezTo>
                      <a:pt x="61" y="589"/>
                      <a:pt x="61" y="589"/>
                      <a:pt x="61" y="619"/>
                    </a:cubicBezTo>
                    <a:cubicBezTo>
                      <a:pt x="61" y="619"/>
                      <a:pt x="61" y="619"/>
                      <a:pt x="61" y="651"/>
                    </a:cubicBezTo>
                    <a:lnTo>
                      <a:pt x="61" y="651"/>
                    </a:lnTo>
                    <a:lnTo>
                      <a:pt x="61" y="651"/>
                    </a:lnTo>
                    <a:lnTo>
                      <a:pt x="61" y="651"/>
                    </a:lnTo>
                    <a:lnTo>
                      <a:pt x="61" y="651"/>
                    </a:lnTo>
                    <a:lnTo>
                      <a:pt x="61" y="651"/>
                    </a:lnTo>
                    <a:cubicBezTo>
                      <a:pt x="61" y="682"/>
                      <a:pt x="61" y="682"/>
                      <a:pt x="61" y="713"/>
                    </a:cubicBezTo>
                    <a:lnTo>
                      <a:pt x="61" y="713"/>
                    </a:lnTo>
                    <a:cubicBezTo>
                      <a:pt x="93" y="713"/>
                      <a:pt x="93" y="743"/>
                      <a:pt x="93" y="743"/>
                    </a:cubicBezTo>
                    <a:lnTo>
                      <a:pt x="93" y="775"/>
                    </a:lnTo>
                    <a:lnTo>
                      <a:pt x="93" y="775"/>
                    </a:lnTo>
                    <a:lnTo>
                      <a:pt x="93" y="775"/>
                    </a:lnTo>
                    <a:lnTo>
                      <a:pt x="93" y="775"/>
                    </a:lnTo>
                    <a:lnTo>
                      <a:pt x="93" y="775"/>
                    </a:lnTo>
                    <a:cubicBezTo>
                      <a:pt x="124" y="775"/>
                      <a:pt x="124" y="743"/>
                      <a:pt x="124" y="743"/>
                    </a:cubicBezTo>
                    <a:cubicBezTo>
                      <a:pt x="124" y="743"/>
                      <a:pt x="124" y="743"/>
                      <a:pt x="155" y="743"/>
                    </a:cubicBezTo>
                    <a:lnTo>
                      <a:pt x="155" y="743"/>
                    </a:lnTo>
                    <a:lnTo>
                      <a:pt x="155" y="743"/>
                    </a:lnTo>
                    <a:cubicBezTo>
                      <a:pt x="185" y="713"/>
                      <a:pt x="185" y="713"/>
                      <a:pt x="185" y="713"/>
                    </a:cubicBezTo>
                    <a:cubicBezTo>
                      <a:pt x="185" y="743"/>
                      <a:pt x="185" y="743"/>
                      <a:pt x="185" y="743"/>
                    </a:cubicBezTo>
                    <a:lnTo>
                      <a:pt x="185" y="743"/>
                    </a:lnTo>
                    <a:cubicBezTo>
                      <a:pt x="185" y="743"/>
                      <a:pt x="185" y="743"/>
                      <a:pt x="217" y="743"/>
                    </a:cubicBezTo>
                    <a:lnTo>
                      <a:pt x="217" y="743"/>
                    </a:lnTo>
                    <a:lnTo>
                      <a:pt x="217" y="743"/>
                    </a:lnTo>
                    <a:lnTo>
                      <a:pt x="217" y="743"/>
                    </a:lnTo>
                    <a:lnTo>
                      <a:pt x="217" y="743"/>
                    </a:lnTo>
                    <a:lnTo>
                      <a:pt x="217" y="743"/>
                    </a:lnTo>
                    <a:cubicBezTo>
                      <a:pt x="248" y="743"/>
                      <a:pt x="248" y="743"/>
                      <a:pt x="279" y="743"/>
                    </a:cubicBezTo>
                    <a:cubicBezTo>
                      <a:pt x="279" y="743"/>
                      <a:pt x="279" y="743"/>
                      <a:pt x="309" y="743"/>
                    </a:cubicBezTo>
                    <a:lnTo>
                      <a:pt x="309" y="743"/>
                    </a:lnTo>
                    <a:lnTo>
                      <a:pt x="309" y="743"/>
                    </a:lnTo>
                    <a:lnTo>
                      <a:pt x="309" y="743"/>
                    </a:lnTo>
                    <a:lnTo>
                      <a:pt x="341" y="743"/>
                    </a:lnTo>
                    <a:lnTo>
                      <a:pt x="341" y="713"/>
                    </a:lnTo>
                    <a:lnTo>
                      <a:pt x="341" y="713"/>
                    </a:lnTo>
                    <a:lnTo>
                      <a:pt x="372" y="713"/>
                    </a:lnTo>
                    <a:lnTo>
                      <a:pt x="372" y="713"/>
                    </a:lnTo>
                    <a:cubicBezTo>
                      <a:pt x="372" y="682"/>
                      <a:pt x="372" y="682"/>
                      <a:pt x="372" y="682"/>
                    </a:cubicBezTo>
                    <a:lnTo>
                      <a:pt x="372" y="682"/>
                    </a:lnTo>
                    <a:cubicBezTo>
                      <a:pt x="372" y="651"/>
                      <a:pt x="372" y="651"/>
                      <a:pt x="372" y="651"/>
                    </a:cubicBezTo>
                    <a:lnTo>
                      <a:pt x="372" y="651"/>
                    </a:lnTo>
                    <a:lnTo>
                      <a:pt x="372" y="651"/>
                    </a:lnTo>
                    <a:cubicBezTo>
                      <a:pt x="372" y="619"/>
                      <a:pt x="372" y="619"/>
                      <a:pt x="372" y="619"/>
                    </a:cubicBezTo>
                    <a:lnTo>
                      <a:pt x="372" y="619"/>
                    </a:lnTo>
                    <a:lnTo>
                      <a:pt x="403" y="589"/>
                    </a:lnTo>
                    <a:cubicBezTo>
                      <a:pt x="433" y="589"/>
                      <a:pt x="465" y="558"/>
                      <a:pt x="496" y="558"/>
                    </a:cubicBezTo>
                    <a:lnTo>
                      <a:pt x="496" y="558"/>
                    </a:lnTo>
                    <a:lnTo>
                      <a:pt x="496" y="558"/>
                    </a:lnTo>
                    <a:lnTo>
                      <a:pt x="527" y="558"/>
                    </a:lnTo>
                    <a:lnTo>
                      <a:pt x="527" y="558"/>
                    </a:lnTo>
                    <a:cubicBezTo>
                      <a:pt x="557" y="558"/>
                      <a:pt x="589" y="558"/>
                      <a:pt x="589" y="558"/>
                    </a:cubicBezTo>
                    <a:lnTo>
                      <a:pt x="589" y="558"/>
                    </a:lnTo>
                    <a:cubicBezTo>
                      <a:pt x="620" y="558"/>
                      <a:pt x="620" y="527"/>
                      <a:pt x="620" y="527"/>
                    </a:cubicBezTo>
                    <a:lnTo>
                      <a:pt x="620" y="527"/>
                    </a:lnTo>
                    <a:cubicBezTo>
                      <a:pt x="620" y="495"/>
                      <a:pt x="620" y="495"/>
                      <a:pt x="620" y="495"/>
                    </a:cubicBezTo>
                    <a:lnTo>
                      <a:pt x="620" y="495"/>
                    </a:lnTo>
                    <a:lnTo>
                      <a:pt x="620" y="495"/>
                    </a:lnTo>
                    <a:lnTo>
                      <a:pt x="589" y="495"/>
                    </a:lnTo>
                    <a:cubicBezTo>
                      <a:pt x="589" y="495"/>
                      <a:pt x="557" y="465"/>
                      <a:pt x="557" y="434"/>
                    </a:cubicBezTo>
                    <a:lnTo>
                      <a:pt x="557" y="434"/>
                    </a:lnTo>
                    <a:lnTo>
                      <a:pt x="557" y="434"/>
                    </a:lnTo>
                    <a:lnTo>
                      <a:pt x="557" y="434"/>
                    </a:lnTo>
                    <a:lnTo>
                      <a:pt x="527" y="434"/>
                    </a:lnTo>
                    <a:lnTo>
                      <a:pt x="527" y="434"/>
                    </a:lnTo>
                    <a:cubicBezTo>
                      <a:pt x="527" y="434"/>
                      <a:pt x="527" y="434"/>
                      <a:pt x="496" y="434"/>
                    </a:cubicBezTo>
                    <a:lnTo>
                      <a:pt x="496" y="434"/>
                    </a:lnTo>
                    <a:cubicBezTo>
                      <a:pt x="496" y="434"/>
                      <a:pt x="496" y="434"/>
                      <a:pt x="465" y="403"/>
                    </a:cubicBezTo>
                    <a:lnTo>
                      <a:pt x="465" y="371"/>
                    </a:lnTo>
                    <a:cubicBezTo>
                      <a:pt x="465" y="341"/>
                      <a:pt x="465" y="341"/>
                      <a:pt x="465" y="341"/>
                    </a:cubicBezTo>
                    <a:lnTo>
                      <a:pt x="465" y="341"/>
                    </a:lnTo>
                    <a:lnTo>
                      <a:pt x="465" y="341"/>
                    </a:lnTo>
                    <a:lnTo>
                      <a:pt x="465" y="310"/>
                    </a:lnTo>
                    <a:lnTo>
                      <a:pt x="465" y="310"/>
                    </a:lnTo>
                    <a:cubicBezTo>
                      <a:pt x="465" y="279"/>
                      <a:pt x="465" y="279"/>
                      <a:pt x="465" y="279"/>
                    </a:cubicBezTo>
                    <a:lnTo>
                      <a:pt x="465" y="279"/>
                    </a:lnTo>
                    <a:lnTo>
                      <a:pt x="465" y="279"/>
                    </a:lnTo>
                    <a:cubicBezTo>
                      <a:pt x="465" y="248"/>
                      <a:pt x="465" y="248"/>
                      <a:pt x="465" y="248"/>
                    </a:cubicBezTo>
                    <a:lnTo>
                      <a:pt x="465" y="248"/>
                    </a:lnTo>
                    <a:lnTo>
                      <a:pt x="465" y="248"/>
                    </a:lnTo>
                    <a:lnTo>
                      <a:pt x="433" y="248"/>
                    </a:lnTo>
                    <a:cubicBezTo>
                      <a:pt x="433" y="248"/>
                      <a:pt x="433" y="248"/>
                      <a:pt x="403" y="248"/>
                    </a:cubicBezTo>
                    <a:cubicBezTo>
                      <a:pt x="403" y="248"/>
                      <a:pt x="372" y="248"/>
                      <a:pt x="372" y="217"/>
                    </a:cubicBezTo>
                    <a:cubicBezTo>
                      <a:pt x="372" y="217"/>
                      <a:pt x="372" y="217"/>
                      <a:pt x="341" y="217"/>
                    </a:cubicBezTo>
                    <a:cubicBezTo>
                      <a:pt x="341" y="186"/>
                      <a:pt x="341" y="186"/>
                      <a:pt x="341" y="186"/>
                    </a:cubicBezTo>
                    <a:lnTo>
                      <a:pt x="341" y="186"/>
                    </a:lnTo>
                    <a:lnTo>
                      <a:pt x="341" y="186"/>
                    </a:lnTo>
                    <a:cubicBezTo>
                      <a:pt x="309" y="186"/>
                      <a:pt x="309" y="186"/>
                      <a:pt x="279" y="186"/>
                    </a:cubicBezTo>
                    <a:lnTo>
                      <a:pt x="279" y="186"/>
                    </a:lnTo>
                    <a:lnTo>
                      <a:pt x="279" y="186"/>
                    </a:lnTo>
                    <a:lnTo>
                      <a:pt x="279" y="186"/>
                    </a:lnTo>
                    <a:lnTo>
                      <a:pt x="279" y="186"/>
                    </a:lnTo>
                    <a:lnTo>
                      <a:pt x="279" y="186"/>
                    </a:lnTo>
                    <a:cubicBezTo>
                      <a:pt x="279" y="186"/>
                      <a:pt x="248" y="186"/>
                      <a:pt x="248" y="154"/>
                    </a:cubicBezTo>
                    <a:lnTo>
                      <a:pt x="248" y="154"/>
                    </a:lnTo>
                    <a:cubicBezTo>
                      <a:pt x="217" y="154"/>
                      <a:pt x="217" y="154"/>
                      <a:pt x="217" y="124"/>
                    </a:cubicBezTo>
                    <a:lnTo>
                      <a:pt x="217" y="124"/>
                    </a:lnTo>
                    <a:cubicBezTo>
                      <a:pt x="185" y="124"/>
                      <a:pt x="185" y="93"/>
                      <a:pt x="185" y="6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62" name="Freeform 159"/>
              <p:cNvSpPr>
                <a:spLocks noChangeArrowheads="1"/>
              </p:cNvSpPr>
              <p:nvPr/>
            </p:nvSpPr>
            <p:spPr bwMode="auto">
              <a:xfrm>
                <a:off x="2195513" y="3632200"/>
                <a:ext cx="1587" cy="11113"/>
              </a:xfrm>
              <a:custGeom>
                <a:avLst/>
                <a:gdLst>
                  <a:gd name="T0" fmla="*/ 0 w 1"/>
                  <a:gd name="T1" fmla="*/ 0 h 32"/>
                  <a:gd name="T2" fmla="*/ 0 w 1"/>
                  <a:gd name="T3" fmla="*/ 0 h 32"/>
                  <a:gd name="T4" fmla="*/ 0 w 1"/>
                  <a:gd name="T5" fmla="*/ 31 h 32"/>
                  <a:gd name="T6" fmla="*/ 0 w 1"/>
                  <a:gd name="T7" fmla="*/ 31 h 32"/>
                  <a:gd name="T8" fmla="*/ 0 w 1"/>
                  <a:gd name="T9" fmla="*/ 31 h 32"/>
                  <a:gd name="T10" fmla="*/ 0 w 1"/>
                  <a:gd name="T11" fmla="*/ 0 h 32"/>
                </a:gdLst>
                <a:ahLst/>
                <a:cxnLst>
                  <a:cxn ang="0">
                    <a:pos x="T0" y="T1"/>
                  </a:cxn>
                  <a:cxn ang="0">
                    <a:pos x="T2" y="T3"/>
                  </a:cxn>
                  <a:cxn ang="0">
                    <a:pos x="T4" y="T5"/>
                  </a:cxn>
                  <a:cxn ang="0">
                    <a:pos x="T6" y="T7"/>
                  </a:cxn>
                  <a:cxn ang="0">
                    <a:pos x="T8" y="T9"/>
                  </a:cxn>
                  <a:cxn ang="0">
                    <a:pos x="T10" y="T11"/>
                  </a:cxn>
                </a:cxnLst>
                <a:rect l="0" t="0" r="r" b="b"/>
                <a:pathLst>
                  <a:path w="1" h="32">
                    <a:moveTo>
                      <a:pt x="0" y="0"/>
                    </a:moveTo>
                    <a:lnTo>
                      <a:pt x="0" y="0"/>
                    </a:lnTo>
                    <a:lnTo>
                      <a:pt x="0" y="31"/>
                    </a:lnTo>
                    <a:lnTo>
                      <a:pt x="0" y="31"/>
                    </a:lnTo>
                    <a:lnTo>
                      <a:pt x="0" y="31"/>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63" name="Freeform 160"/>
              <p:cNvSpPr>
                <a:spLocks noChangeArrowheads="1"/>
              </p:cNvSpPr>
              <p:nvPr/>
            </p:nvSpPr>
            <p:spPr bwMode="auto">
              <a:xfrm>
                <a:off x="2062163" y="2673350"/>
                <a:ext cx="257175" cy="938213"/>
              </a:xfrm>
              <a:custGeom>
                <a:avLst/>
                <a:gdLst>
                  <a:gd name="T0" fmla="*/ 465 w 714"/>
                  <a:gd name="T1" fmla="*/ 2511 h 2605"/>
                  <a:gd name="T2" fmla="*/ 465 w 714"/>
                  <a:gd name="T3" fmla="*/ 2448 h 2605"/>
                  <a:gd name="T4" fmla="*/ 496 w 714"/>
                  <a:gd name="T5" fmla="*/ 2356 h 2605"/>
                  <a:gd name="T6" fmla="*/ 496 w 714"/>
                  <a:gd name="T7" fmla="*/ 2293 h 2605"/>
                  <a:gd name="T8" fmla="*/ 527 w 714"/>
                  <a:gd name="T9" fmla="*/ 2232 h 2605"/>
                  <a:gd name="T10" fmla="*/ 557 w 714"/>
                  <a:gd name="T11" fmla="*/ 2108 h 2605"/>
                  <a:gd name="T12" fmla="*/ 527 w 714"/>
                  <a:gd name="T13" fmla="*/ 1984 h 2605"/>
                  <a:gd name="T14" fmla="*/ 527 w 714"/>
                  <a:gd name="T15" fmla="*/ 1922 h 2605"/>
                  <a:gd name="T16" fmla="*/ 557 w 714"/>
                  <a:gd name="T17" fmla="*/ 1828 h 2605"/>
                  <a:gd name="T18" fmla="*/ 589 w 714"/>
                  <a:gd name="T19" fmla="*/ 1704 h 2605"/>
                  <a:gd name="T20" fmla="*/ 620 w 714"/>
                  <a:gd name="T21" fmla="*/ 1674 h 2605"/>
                  <a:gd name="T22" fmla="*/ 651 w 714"/>
                  <a:gd name="T23" fmla="*/ 1612 h 2605"/>
                  <a:gd name="T24" fmla="*/ 651 w 714"/>
                  <a:gd name="T25" fmla="*/ 1550 h 2605"/>
                  <a:gd name="T26" fmla="*/ 713 w 714"/>
                  <a:gd name="T27" fmla="*/ 1456 h 2605"/>
                  <a:gd name="T28" fmla="*/ 681 w 714"/>
                  <a:gd name="T29" fmla="*/ 1395 h 2605"/>
                  <a:gd name="T30" fmla="*/ 651 w 714"/>
                  <a:gd name="T31" fmla="*/ 1302 h 2605"/>
                  <a:gd name="T32" fmla="*/ 620 w 714"/>
                  <a:gd name="T33" fmla="*/ 1208 h 2605"/>
                  <a:gd name="T34" fmla="*/ 620 w 714"/>
                  <a:gd name="T35" fmla="*/ 1178 h 2605"/>
                  <a:gd name="T36" fmla="*/ 589 w 714"/>
                  <a:gd name="T37" fmla="*/ 1116 h 2605"/>
                  <a:gd name="T38" fmla="*/ 557 w 714"/>
                  <a:gd name="T39" fmla="*/ 1054 h 2605"/>
                  <a:gd name="T40" fmla="*/ 620 w 714"/>
                  <a:gd name="T41" fmla="*/ 992 h 2605"/>
                  <a:gd name="T42" fmla="*/ 589 w 714"/>
                  <a:gd name="T43" fmla="*/ 930 h 2605"/>
                  <a:gd name="T44" fmla="*/ 620 w 714"/>
                  <a:gd name="T45" fmla="*/ 868 h 2605"/>
                  <a:gd name="T46" fmla="*/ 620 w 714"/>
                  <a:gd name="T47" fmla="*/ 775 h 2605"/>
                  <a:gd name="T48" fmla="*/ 620 w 714"/>
                  <a:gd name="T49" fmla="*/ 743 h 2605"/>
                  <a:gd name="T50" fmla="*/ 589 w 714"/>
                  <a:gd name="T51" fmla="*/ 682 h 2605"/>
                  <a:gd name="T52" fmla="*/ 557 w 714"/>
                  <a:gd name="T53" fmla="*/ 682 h 2605"/>
                  <a:gd name="T54" fmla="*/ 465 w 714"/>
                  <a:gd name="T55" fmla="*/ 620 h 2605"/>
                  <a:gd name="T56" fmla="*/ 433 w 714"/>
                  <a:gd name="T57" fmla="*/ 589 h 2605"/>
                  <a:gd name="T58" fmla="*/ 372 w 714"/>
                  <a:gd name="T59" fmla="*/ 527 h 2605"/>
                  <a:gd name="T60" fmla="*/ 341 w 714"/>
                  <a:gd name="T61" fmla="*/ 465 h 2605"/>
                  <a:gd name="T62" fmla="*/ 341 w 714"/>
                  <a:gd name="T63" fmla="*/ 403 h 2605"/>
                  <a:gd name="T64" fmla="*/ 372 w 714"/>
                  <a:gd name="T65" fmla="*/ 341 h 2605"/>
                  <a:gd name="T66" fmla="*/ 372 w 714"/>
                  <a:gd name="T67" fmla="*/ 310 h 2605"/>
                  <a:gd name="T68" fmla="*/ 403 w 714"/>
                  <a:gd name="T69" fmla="*/ 248 h 2605"/>
                  <a:gd name="T70" fmla="*/ 527 w 714"/>
                  <a:gd name="T71" fmla="*/ 186 h 2605"/>
                  <a:gd name="T72" fmla="*/ 527 w 714"/>
                  <a:gd name="T73" fmla="*/ 124 h 2605"/>
                  <a:gd name="T74" fmla="*/ 433 w 714"/>
                  <a:gd name="T75" fmla="*/ 124 h 2605"/>
                  <a:gd name="T76" fmla="*/ 372 w 714"/>
                  <a:gd name="T77" fmla="*/ 31 h 2605"/>
                  <a:gd name="T78" fmla="*/ 309 w 714"/>
                  <a:gd name="T79" fmla="*/ 31 h 2605"/>
                  <a:gd name="T80" fmla="*/ 186 w 714"/>
                  <a:gd name="T81" fmla="*/ 124 h 2605"/>
                  <a:gd name="T82" fmla="*/ 92 w 714"/>
                  <a:gd name="T83" fmla="*/ 310 h 2605"/>
                  <a:gd name="T84" fmla="*/ 31 w 714"/>
                  <a:gd name="T85" fmla="*/ 248 h 2605"/>
                  <a:gd name="T86" fmla="*/ 0 w 714"/>
                  <a:gd name="T87" fmla="*/ 279 h 2605"/>
                  <a:gd name="T88" fmla="*/ 62 w 714"/>
                  <a:gd name="T89" fmla="*/ 434 h 2605"/>
                  <a:gd name="T90" fmla="*/ 124 w 714"/>
                  <a:gd name="T91" fmla="*/ 558 h 2605"/>
                  <a:gd name="T92" fmla="*/ 186 w 714"/>
                  <a:gd name="T93" fmla="*/ 682 h 2605"/>
                  <a:gd name="T94" fmla="*/ 279 w 714"/>
                  <a:gd name="T95" fmla="*/ 868 h 2605"/>
                  <a:gd name="T96" fmla="*/ 433 w 714"/>
                  <a:gd name="T97" fmla="*/ 992 h 2605"/>
                  <a:gd name="T98" fmla="*/ 557 w 714"/>
                  <a:gd name="T99" fmla="*/ 1116 h 2605"/>
                  <a:gd name="T100" fmla="*/ 589 w 714"/>
                  <a:gd name="T101" fmla="*/ 1271 h 2605"/>
                  <a:gd name="T102" fmla="*/ 557 w 714"/>
                  <a:gd name="T103" fmla="*/ 1426 h 2605"/>
                  <a:gd name="T104" fmla="*/ 557 w 714"/>
                  <a:gd name="T105" fmla="*/ 1550 h 2605"/>
                  <a:gd name="T106" fmla="*/ 527 w 714"/>
                  <a:gd name="T107" fmla="*/ 1736 h 2605"/>
                  <a:gd name="T108" fmla="*/ 527 w 714"/>
                  <a:gd name="T109" fmla="*/ 1828 h 2605"/>
                  <a:gd name="T110" fmla="*/ 496 w 714"/>
                  <a:gd name="T111" fmla="*/ 1952 h 2605"/>
                  <a:gd name="T112" fmla="*/ 496 w 714"/>
                  <a:gd name="T113" fmla="*/ 2139 h 2605"/>
                  <a:gd name="T114" fmla="*/ 433 w 714"/>
                  <a:gd name="T115" fmla="*/ 2293 h 2605"/>
                  <a:gd name="T116" fmla="*/ 403 w 714"/>
                  <a:gd name="T117" fmla="*/ 2356 h 2605"/>
                  <a:gd name="T118" fmla="*/ 372 w 714"/>
                  <a:gd name="T119" fmla="*/ 2572 h 2605"/>
                  <a:gd name="T120" fmla="*/ 433 w 714"/>
                  <a:gd name="T121" fmla="*/ 2572 h 2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4" h="2605">
                    <a:moveTo>
                      <a:pt x="433" y="2541"/>
                    </a:moveTo>
                    <a:lnTo>
                      <a:pt x="433" y="2541"/>
                    </a:lnTo>
                    <a:lnTo>
                      <a:pt x="433" y="2541"/>
                    </a:lnTo>
                    <a:cubicBezTo>
                      <a:pt x="433" y="2541"/>
                      <a:pt x="433" y="2541"/>
                      <a:pt x="465" y="2511"/>
                    </a:cubicBezTo>
                    <a:lnTo>
                      <a:pt x="465" y="2511"/>
                    </a:lnTo>
                    <a:lnTo>
                      <a:pt x="465" y="2511"/>
                    </a:lnTo>
                    <a:lnTo>
                      <a:pt x="465" y="2511"/>
                    </a:lnTo>
                    <a:lnTo>
                      <a:pt x="465" y="2480"/>
                    </a:lnTo>
                    <a:lnTo>
                      <a:pt x="465" y="2480"/>
                    </a:lnTo>
                    <a:cubicBezTo>
                      <a:pt x="465" y="2480"/>
                      <a:pt x="465" y="2480"/>
                      <a:pt x="465" y="2448"/>
                    </a:cubicBezTo>
                    <a:lnTo>
                      <a:pt x="465" y="2448"/>
                    </a:lnTo>
                    <a:lnTo>
                      <a:pt x="465" y="2448"/>
                    </a:lnTo>
                    <a:cubicBezTo>
                      <a:pt x="465" y="2417"/>
                      <a:pt x="465" y="2417"/>
                      <a:pt x="496" y="2417"/>
                    </a:cubicBezTo>
                    <a:lnTo>
                      <a:pt x="496" y="2387"/>
                    </a:lnTo>
                    <a:cubicBezTo>
                      <a:pt x="496" y="2387"/>
                      <a:pt x="496" y="2387"/>
                      <a:pt x="496" y="2356"/>
                    </a:cubicBezTo>
                    <a:lnTo>
                      <a:pt x="496" y="2356"/>
                    </a:lnTo>
                    <a:cubicBezTo>
                      <a:pt x="496" y="2356"/>
                      <a:pt x="496" y="2356"/>
                      <a:pt x="496" y="2324"/>
                    </a:cubicBezTo>
                    <a:lnTo>
                      <a:pt x="496" y="2324"/>
                    </a:lnTo>
                    <a:lnTo>
                      <a:pt x="496" y="2324"/>
                    </a:lnTo>
                    <a:lnTo>
                      <a:pt x="496" y="2293"/>
                    </a:lnTo>
                    <a:lnTo>
                      <a:pt x="496" y="2293"/>
                    </a:lnTo>
                    <a:cubicBezTo>
                      <a:pt x="496" y="2263"/>
                      <a:pt x="496" y="2263"/>
                      <a:pt x="496" y="2263"/>
                    </a:cubicBezTo>
                    <a:cubicBezTo>
                      <a:pt x="496" y="2263"/>
                      <a:pt x="527" y="2263"/>
                      <a:pt x="527" y="2232"/>
                    </a:cubicBezTo>
                    <a:lnTo>
                      <a:pt x="527" y="2232"/>
                    </a:lnTo>
                    <a:lnTo>
                      <a:pt x="527" y="2232"/>
                    </a:lnTo>
                    <a:lnTo>
                      <a:pt x="527" y="2232"/>
                    </a:lnTo>
                    <a:lnTo>
                      <a:pt x="527" y="2200"/>
                    </a:lnTo>
                    <a:cubicBezTo>
                      <a:pt x="527" y="2200"/>
                      <a:pt x="527" y="2200"/>
                      <a:pt x="527" y="2169"/>
                    </a:cubicBezTo>
                    <a:cubicBezTo>
                      <a:pt x="527" y="2169"/>
                      <a:pt x="527" y="2169"/>
                      <a:pt x="557" y="2169"/>
                    </a:cubicBezTo>
                    <a:cubicBezTo>
                      <a:pt x="557" y="2169"/>
                      <a:pt x="557" y="2139"/>
                      <a:pt x="557" y="2108"/>
                    </a:cubicBezTo>
                    <a:lnTo>
                      <a:pt x="557" y="2108"/>
                    </a:lnTo>
                    <a:lnTo>
                      <a:pt x="557" y="2076"/>
                    </a:lnTo>
                    <a:cubicBezTo>
                      <a:pt x="557" y="2076"/>
                      <a:pt x="557" y="2076"/>
                      <a:pt x="557" y="2046"/>
                    </a:cubicBezTo>
                    <a:cubicBezTo>
                      <a:pt x="557" y="2046"/>
                      <a:pt x="527" y="2046"/>
                      <a:pt x="527" y="2015"/>
                    </a:cubicBezTo>
                    <a:cubicBezTo>
                      <a:pt x="527" y="2015"/>
                      <a:pt x="527" y="2015"/>
                      <a:pt x="527" y="1984"/>
                    </a:cubicBezTo>
                    <a:lnTo>
                      <a:pt x="527" y="1984"/>
                    </a:lnTo>
                    <a:lnTo>
                      <a:pt x="527" y="1952"/>
                    </a:lnTo>
                    <a:lnTo>
                      <a:pt x="527" y="1952"/>
                    </a:lnTo>
                    <a:cubicBezTo>
                      <a:pt x="527" y="1922"/>
                      <a:pt x="527" y="1922"/>
                      <a:pt x="527" y="1922"/>
                    </a:cubicBezTo>
                    <a:lnTo>
                      <a:pt x="527" y="1922"/>
                    </a:lnTo>
                    <a:lnTo>
                      <a:pt x="527" y="1922"/>
                    </a:lnTo>
                    <a:cubicBezTo>
                      <a:pt x="557" y="1891"/>
                      <a:pt x="557" y="1891"/>
                      <a:pt x="557" y="1891"/>
                    </a:cubicBezTo>
                    <a:lnTo>
                      <a:pt x="557" y="1860"/>
                    </a:lnTo>
                    <a:lnTo>
                      <a:pt x="557" y="1860"/>
                    </a:lnTo>
                    <a:cubicBezTo>
                      <a:pt x="557" y="1828"/>
                      <a:pt x="557" y="1828"/>
                      <a:pt x="557" y="1828"/>
                    </a:cubicBezTo>
                    <a:lnTo>
                      <a:pt x="557" y="1828"/>
                    </a:lnTo>
                    <a:lnTo>
                      <a:pt x="557" y="1798"/>
                    </a:lnTo>
                    <a:lnTo>
                      <a:pt x="557" y="1798"/>
                    </a:lnTo>
                    <a:lnTo>
                      <a:pt x="557" y="1798"/>
                    </a:lnTo>
                    <a:cubicBezTo>
                      <a:pt x="557" y="1767"/>
                      <a:pt x="589" y="1736"/>
                      <a:pt x="589" y="1704"/>
                    </a:cubicBezTo>
                    <a:cubicBezTo>
                      <a:pt x="620" y="1704"/>
                      <a:pt x="620" y="1674"/>
                      <a:pt x="620" y="1674"/>
                    </a:cubicBezTo>
                    <a:lnTo>
                      <a:pt x="620" y="1674"/>
                    </a:lnTo>
                    <a:lnTo>
                      <a:pt x="620" y="1674"/>
                    </a:lnTo>
                    <a:lnTo>
                      <a:pt x="620" y="1674"/>
                    </a:lnTo>
                    <a:lnTo>
                      <a:pt x="620" y="1674"/>
                    </a:lnTo>
                    <a:cubicBezTo>
                      <a:pt x="620" y="1643"/>
                      <a:pt x="620" y="1643"/>
                      <a:pt x="620" y="1643"/>
                    </a:cubicBezTo>
                    <a:lnTo>
                      <a:pt x="651" y="1643"/>
                    </a:lnTo>
                    <a:lnTo>
                      <a:pt x="651" y="1643"/>
                    </a:lnTo>
                    <a:lnTo>
                      <a:pt x="651" y="1612"/>
                    </a:lnTo>
                    <a:lnTo>
                      <a:pt x="651" y="1612"/>
                    </a:lnTo>
                    <a:lnTo>
                      <a:pt x="651" y="1612"/>
                    </a:lnTo>
                    <a:lnTo>
                      <a:pt x="651" y="1580"/>
                    </a:lnTo>
                    <a:lnTo>
                      <a:pt x="620" y="1580"/>
                    </a:lnTo>
                    <a:lnTo>
                      <a:pt x="651" y="1550"/>
                    </a:lnTo>
                    <a:lnTo>
                      <a:pt x="651" y="1550"/>
                    </a:lnTo>
                    <a:lnTo>
                      <a:pt x="620" y="1519"/>
                    </a:lnTo>
                    <a:lnTo>
                      <a:pt x="651" y="1488"/>
                    </a:lnTo>
                    <a:lnTo>
                      <a:pt x="651" y="1488"/>
                    </a:lnTo>
                    <a:cubicBezTo>
                      <a:pt x="681" y="1488"/>
                      <a:pt x="681" y="1456"/>
                      <a:pt x="713" y="1456"/>
                    </a:cubicBezTo>
                    <a:lnTo>
                      <a:pt x="713" y="1456"/>
                    </a:lnTo>
                    <a:lnTo>
                      <a:pt x="713" y="1456"/>
                    </a:lnTo>
                    <a:lnTo>
                      <a:pt x="713" y="1426"/>
                    </a:lnTo>
                    <a:lnTo>
                      <a:pt x="713" y="1426"/>
                    </a:lnTo>
                    <a:lnTo>
                      <a:pt x="713" y="1426"/>
                    </a:lnTo>
                    <a:cubicBezTo>
                      <a:pt x="681" y="1426"/>
                      <a:pt x="681" y="1426"/>
                      <a:pt x="681" y="1395"/>
                    </a:cubicBezTo>
                    <a:lnTo>
                      <a:pt x="681" y="1395"/>
                    </a:lnTo>
                    <a:cubicBezTo>
                      <a:pt x="681" y="1364"/>
                      <a:pt x="681" y="1364"/>
                      <a:pt x="681" y="1364"/>
                    </a:cubicBezTo>
                    <a:lnTo>
                      <a:pt x="681" y="1364"/>
                    </a:lnTo>
                    <a:cubicBezTo>
                      <a:pt x="651" y="1364"/>
                      <a:pt x="651" y="1332"/>
                      <a:pt x="651" y="1302"/>
                    </a:cubicBezTo>
                    <a:lnTo>
                      <a:pt x="651" y="1302"/>
                    </a:lnTo>
                    <a:lnTo>
                      <a:pt x="651" y="1302"/>
                    </a:lnTo>
                    <a:lnTo>
                      <a:pt x="651" y="1302"/>
                    </a:lnTo>
                    <a:cubicBezTo>
                      <a:pt x="620" y="1271"/>
                      <a:pt x="620" y="1240"/>
                      <a:pt x="620" y="1240"/>
                    </a:cubicBezTo>
                    <a:lnTo>
                      <a:pt x="620" y="1240"/>
                    </a:lnTo>
                    <a:lnTo>
                      <a:pt x="620" y="1208"/>
                    </a:lnTo>
                    <a:lnTo>
                      <a:pt x="620" y="1208"/>
                    </a:lnTo>
                    <a:lnTo>
                      <a:pt x="620" y="1178"/>
                    </a:lnTo>
                    <a:lnTo>
                      <a:pt x="620" y="1178"/>
                    </a:lnTo>
                    <a:lnTo>
                      <a:pt x="620" y="1178"/>
                    </a:lnTo>
                    <a:lnTo>
                      <a:pt x="620" y="1178"/>
                    </a:lnTo>
                    <a:lnTo>
                      <a:pt x="620" y="1178"/>
                    </a:lnTo>
                    <a:lnTo>
                      <a:pt x="620" y="1147"/>
                    </a:lnTo>
                    <a:lnTo>
                      <a:pt x="620" y="1147"/>
                    </a:lnTo>
                    <a:lnTo>
                      <a:pt x="620" y="1116"/>
                    </a:lnTo>
                    <a:lnTo>
                      <a:pt x="589" y="1116"/>
                    </a:lnTo>
                    <a:lnTo>
                      <a:pt x="589" y="1116"/>
                    </a:lnTo>
                    <a:cubicBezTo>
                      <a:pt x="589" y="1116"/>
                      <a:pt x="589" y="1116"/>
                      <a:pt x="589" y="1084"/>
                    </a:cubicBezTo>
                    <a:lnTo>
                      <a:pt x="589" y="1084"/>
                    </a:lnTo>
                    <a:lnTo>
                      <a:pt x="557" y="1054"/>
                    </a:lnTo>
                    <a:lnTo>
                      <a:pt x="557" y="1054"/>
                    </a:lnTo>
                    <a:cubicBezTo>
                      <a:pt x="557" y="1054"/>
                      <a:pt x="557" y="1054"/>
                      <a:pt x="589" y="1023"/>
                    </a:cubicBezTo>
                    <a:cubicBezTo>
                      <a:pt x="589" y="1023"/>
                      <a:pt x="589" y="1023"/>
                      <a:pt x="589" y="992"/>
                    </a:cubicBezTo>
                    <a:lnTo>
                      <a:pt x="589" y="992"/>
                    </a:lnTo>
                    <a:lnTo>
                      <a:pt x="620" y="992"/>
                    </a:lnTo>
                    <a:lnTo>
                      <a:pt x="620" y="992"/>
                    </a:lnTo>
                    <a:lnTo>
                      <a:pt x="620" y="992"/>
                    </a:lnTo>
                    <a:cubicBezTo>
                      <a:pt x="589" y="992"/>
                      <a:pt x="589" y="960"/>
                      <a:pt x="589" y="930"/>
                    </a:cubicBezTo>
                    <a:lnTo>
                      <a:pt x="589" y="930"/>
                    </a:lnTo>
                    <a:lnTo>
                      <a:pt x="589" y="930"/>
                    </a:lnTo>
                    <a:lnTo>
                      <a:pt x="589" y="930"/>
                    </a:lnTo>
                    <a:cubicBezTo>
                      <a:pt x="589" y="899"/>
                      <a:pt x="589" y="899"/>
                      <a:pt x="589" y="899"/>
                    </a:cubicBezTo>
                    <a:lnTo>
                      <a:pt x="589" y="899"/>
                    </a:lnTo>
                    <a:cubicBezTo>
                      <a:pt x="589" y="868"/>
                      <a:pt x="589" y="868"/>
                      <a:pt x="589" y="868"/>
                    </a:cubicBezTo>
                    <a:lnTo>
                      <a:pt x="620" y="868"/>
                    </a:lnTo>
                    <a:lnTo>
                      <a:pt x="620" y="868"/>
                    </a:lnTo>
                    <a:cubicBezTo>
                      <a:pt x="620" y="868"/>
                      <a:pt x="620" y="868"/>
                      <a:pt x="620" y="837"/>
                    </a:cubicBezTo>
                    <a:lnTo>
                      <a:pt x="589" y="837"/>
                    </a:lnTo>
                    <a:cubicBezTo>
                      <a:pt x="589" y="806"/>
                      <a:pt x="589" y="806"/>
                      <a:pt x="620" y="806"/>
                    </a:cubicBezTo>
                    <a:lnTo>
                      <a:pt x="620" y="806"/>
                    </a:lnTo>
                    <a:cubicBezTo>
                      <a:pt x="620" y="775"/>
                      <a:pt x="620" y="775"/>
                      <a:pt x="620" y="775"/>
                    </a:cubicBezTo>
                    <a:lnTo>
                      <a:pt x="620" y="775"/>
                    </a:lnTo>
                    <a:lnTo>
                      <a:pt x="620" y="775"/>
                    </a:lnTo>
                    <a:lnTo>
                      <a:pt x="620" y="775"/>
                    </a:lnTo>
                    <a:lnTo>
                      <a:pt x="620" y="775"/>
                    </a:lnTo>
                    <a:cubicBezTo>
                      <a:pt x="620" y="743"/>
                      <a:pt x="620" y="743"/>
                      <a:pt x="620" y="743"/>
                    </a:cubicBezTo>
                    <a:lnTo>
                      <a:pt x="620" y="743"/>
                    </a:lnTo>
                    <a:cubicBezTo>
                      <a:pt x="620" y="713"/>
                      <a:pt x="589" y="682"/>
                      <a:pt x="589" y="682"/>
                    </a:cubicBezTo>
                    <a:lnTo>
                      <a:pt x="589" y="682"/>
                    </a:lnTo>
                    <a:lnTo>
                      <a:pt x="589" y="682"/>
                    </a:lnTo>
                    <a:lnTo>
                      <a:pt x="589" y="682"/>
                    </a:lnTo>
                    <a:cubicBezTo>
                      <a:pt x="557" y="682"/>
                      <a:pt x="557" y="682"/>
                      <a:pt x="557" y="682"/>
                    </a:cubicBezTo>
                    <a:lnTo>
                      <a:pt x="557" y="682"/>
                    </a:lnTo>
                    <a:lnTo>
                      <a:pt x="557" y="682"/>
                    </a:lnTo>
                    <a:lnTo>
                      <a:pt x="557" y="682"/>
                    </a:lnTo>
                    <a:lnTo>
                      <a:pt x="557" y="682"/>
                    </a:lnTo>
                    <a:cubicBezTo>
                      <a:pt x="527" y="682"/>
                      <a:pt x="527" y="651"/>
                      <a:pt x="527" y="620"/>
                    </a:cubicBezTo>
                    <a:lnTo>
                      <a:pt x="527" y="620"/>
                    </a:lnTo>
                    <a:lnTo>
                      <a:pt x="527" y="620"/>
                    </a:lnTo>
                    <a:cubicBezTo>
                      <a:pt x="496" y="620"/>
                      <a:pt x="496" y="620"/>
                      <a:pt x="496" y="620"/>
                    </a:cubicBezTo>
                    <a:cubicBezTo>
                      <a:pt x="496" y="620"/>
                      <a:pt x="496" y="620"/>
                      <a:pt x="465" y="620"/>
                    </a:cubicBezTo>
                    <a:lnTo>
                      <a:pt x="465" y="620"/>
                    </a:lnTo>
                    <a:lnTo>
                      <a:pt x="465" y="620"/>
                    </a:lnTo>
                    <a:lnTo>
                      <a:pt x="465" y="620"/>
                    </a:lnTo>
                    <a:lnTo>
                      <a:pt x="465" y="620"/>
                    </a:lnTo>
                    <a:cubicBezTo>
                      <a:pt x="465" y="620"/>
                      <a:pt x="433" y="620"/>
                      <a:pt x="433" y="589"/>
                    </a:cubicBezTo>
                    <a:lnTo>
                      <a:pt x="433" y="589"/>
                    </a:lnTo>
                    <a:lnTo>
                      <a:pt x="433" y="589"/>
                    </a:lnTo>
                    <a:cubicBezTo>
                      <a:pt x="403" y="589"/>
                      <a:pt x="403" y="589"/>
                      <a:pt x="403" y="558"/>
                    </a:cubicBezTo>
                    <a:cubicBezTo>
                      <a:pt x="403" y="558"/>
                      <a:pt x="372" y="558"/>
                      <a:pt x="372" y="527"/>
                    </a:cubicBezTo>
                    <a:lnTo>
                      <a:pt x="372" y="527"/>
                    </a:lnTo>
                    <a:lnTo>
                      <a:pt x="372" y="527"/>
                    </a:lnTo>
                    <a:lnTo>
                      <a:pt x="372" y="527"/>
                    </a:lnTo>
                    <a:cubicBezTo>
                      <a:pt x="372" y="527"/>
                      <a:pt x="372" y="527"/>
                      <a:pt x="372" y="496"/>
                    </a:cubicBezTo>
                    <a:lnTo>
                      <a:pt x="372" y="496"/>
                    </a:lnTo>
                    <a:lnTo>
                      <a:pt x="341" y="465"/>
                    </a:lnTo>
                    <a:cubicBezTo>
                      <a:pt x="341" y="434"/>
                      <a:pt x="341" y="434"/>
                      <a:pt x="341" y="434"/>
                    </a:cubicBezTo>
                    <a:lnTo>
                      <a:pt x="341" y="434"/>
                    </a:lnTo>
                    <a:cubicBezTo>
                      <a:pt x="341" y="403"/>
                      <a:pt x="341" y="403"/>
                      <a:pt x="341" y="403"/>
                    </a:cubicBezTo>
                    <a:lnTo>
                      <a:pt x="341" y="403"/>
                    </a:lnTo>
                    <a:lnTo>
                      <a:pt x="341" y="403"/>
                    </a:lnTo>
                    <a:lnTo>
                      <a:pt x="341" y="372"/>
                    </a:lnTo>
                    <a:lnTo>
                      <a:pt x="341" y="372"/>
                    </a:lnTo>
                    <a:lnTo>
                      <a:pt x="341" y="372"/>
                    </a:lnTo>
                    <a:lnTo>
                      <a:pt x="372" y="341"/>
                    </a:lnTo>
                    <a:lnTo>
                      <a:pt x="372" y="341"/>
                    </a:lnTo>
                    <a:lnTo>
                      <a:pt x="372" y="341"/>
                    </a:lnTo>
                    <a:lnTo>
                      <a:pt x="372" y="341"/>
                    </a:lnTo>
                    <a:lnTo>
                      <a:pt x="372" y="341"/>
                    </a:lnTo>
                    <a:lnTo>
                      <a:pt x="372" y="341"/>
                    </a:lnTo>
                    <a:cubicBezTo>
                      <a:pt x="372" y="310"/>
                      <a:pt x="372" y="310"/>
                      <a:pt x="372" y="310"/>
                    </a:cubicBezTo>
                    <a:lnTo>
                      <a:pt x="372" y="310"/>
                    </a:lnTo>
                    <a:cubicBezTo>
                      <a:pt x="372" y="279"/>
                      <a:pt x="372" y="279"/>
                      <a:pt x="372" y="279"/>
                    </a:cubicBezTo>
                    <a:cubicBezTo>
                      <a:pt x="403" y="248"/>
                      <a:pt x="403" y="248"/>
                      <a:pt x="403" y="248"/>
                    </a:cubicBezTo>
                    <a:lnTo>
                      <a:pt x="403" y="248"/>
                    </a:lnTo>
                    <a:lnTo>
                      <a:pt x="403" y="248"/>
                    </a:lnTo>
                    <a:cubicBezTo>
                      <a:pt x="433" y="248"/>
                      <a:pt x="433" y="248"/>
                      <a:pt x="433" y="217"/>
                    </a:cubicBezTo>
                    <a:cubicBezTo>
                      <a:pt x="433" y="217"/>
                      <a:pt x="465" y="217"/>
                      <a:pt x="465" y="186"/>
                    </a:cubicBezTo>
                    <a:lnTo>
                      <a:pt x="496" y="186"/>
                    </a:lnTo>
                    <a:lnTo>
                      <a:pt x="496" y="186"/>
                    </a:lnTo>
                    <a:lnTo>
                      <a:pt x="527" y="186"/>
                    </a:lnTo>
                    <a:lnTo>
                      <a:pt x="527" y="186"/>
                    </a:lnTo>
                    <a:lnTo>
                      <a:pt x="527" y="186"/>
                    </a:lnTo>
                    <a:cubicBezTo>
                      <a:pt x="527" y="155"/>
                      <a:pt x="527" y="155"/>
                      <a:pt x="527" y="155"/>
                    </a:cubicBezTo>
                    <a:lnTo>
                      <a:pt x="527" y="124"/>
                    </a:lnTo>
                    <a:lnTo>
                      <a:pt x="527" y="124"/>
                    </a:lnTo>
                    <a:lnTo>
                      <a:pt x="527" y="124"/>
                    </a:lnTo>
                    <a:lnTo>
                      <a:pt x="527" y="124"/>
                    </a:lnTo>
                    <a:lnTo>
                      <a:pt x="496" y="124"/>
                    </a:lnTo>
                    <a:lnTo>
                      <a:pt x="465" y="124"/>
                    </a:lnTo>
                    <a:cubicBezTo>
                      <a:pt x="465" y="124"/>
                      <a:pt x="465" y="124"/>
                      <a:pt x="433" y="124"/>
                    </a:cubicBezTo>
                    <a:lnTo>
                      <a:pt x="433" y="124"/>
                    </a:lnTo>
                    <a:cubicBezTo>
                      <a:pt x="403" y="124"/>
                      <a:pt x="372" y="124"/>
                      <a:pt x="372" y="93"/>
                    </a:cubicBezTo>
                    <a:lnTo>
                      <a:pt x="372" y="62"/>
                    </a:lnTo>
                    <a:lnTo>
                      <a:pt x="372" y="62"/>
                    </a:lnTo>
                    <a:lnTo>
                      <a:pt x="372" y="31"/>
                    </a:lnTo>
                    <a:lnTo>
                      <a:pt x="372" y="31"/>
                    </a:lnTo>
                    <a:lnTo>
                      <a:pt x="341" y="31"/>
                    </a:lnTo>
                    <a:cubicBezTo>
                      <a:pt x="341" y="31"/>
                      <a:pt x="309" y="31"/>
                      <a:pt x="309" y="0"/>
                    </a:cubicBezTo>
                    <a:lnTo>
                      <a:pt x="309" y="0"/>
                    </a:lnTo>
                    <a:lnTo>
                      <a:pt x="309" y="31"/>
                    </a:lnTo>
                    <a:cubicBezTo>
                      <a:pt x="309" y="31"/>
                      <a:pt x="309" y="31"/>
                      <a:pt x="279" y="31"/>
                    </a:cubicBezTo>
                    <a:cubicBezTo>
                      <a:pt x="279" y="62"/>
                      <a:pt x="279" y="62"/>
                      <a:pt x="279" y="62"/>
                    </a:cubicBezTo>
                    <a:lnTo>
                      <a:pt x="279" y="62"/>
                    </a:lnTo>
                    <a:lnTo>
                      <a:pt x="279" y="62"/>
                    </a:lnTo>
                    <a:cubicBezTo>
                      <a:pt x="279" y="93"/>
                      <a:pt x="248" y="124"/>
                      <a:pt x="186" y="124"/>
                    </a:cubicBezTo>
                    <a:cubicBezTo>
                      <a:pt x="155" y="124"/>
                      <a:pt x="155" y="155"/>
                      <a:pt x="155" y="155"/>
                    </a:cubicBezTo>
                    <a:cubicBezTo>
                      <a:pt x="155" y="186"/>
                      <a:pt x="124" y="217"/>
                      <a:pt x="124" y="248"/>
                    </a:cubicBezTo>
                    <a:cubicBezTo>
                      <a:pt x="124" y="248"/>
                      <a:pt x="124" y="248"/>
                      <a:pt x="124" y="279"/>
                    </a:cubicBezTo>
                    <a:lnTo>
                      <a:pt x="92" y="279"/>
                    </a:lnTo>
                    <a:cubicBezTo>
                      <a:pt x="92" y="310"/>
                      <a:pt x="92" y="310"/>
                      <a:pt x="92" y="310"/>
                    </a:cubicBezTo>
                    <a:cubicBezTo>
                      <a:pt x="62" y="310"/>
                      <a:pt x="62" y="310"/>
                      <a:pt x="62" y="310"/>
                    </a:cubicBezTo>
                    <a:lnTo>
                      <a:pt x="62" y="310"/>
                    </a:lnTo>
                    <a:cubicBezTo>
                      <a:pt x="62" y="279"/>
                      <a:pt x="31" y="279"/>
                      <a:pt x="31" y="248"/>
                    </a:cubicBezTo>
                    <a:lnTo>
                      <a:pt x="31" y="248"/>
                    </a:lnTo>
                    <a:lnTo>
                      <a:pt x="31" y="248"/>
                    </a:lnTo>
                    <a:lnTo>
                      <a:pt x="31" y="248"/>
                    </a:lnTo>
                    <a:cubicBezTo>
                      <a:pt x="31" y="248"/>
                      <a:pt x="31" y="248"/>
                      <a:pt x="0" y="248"/>
                    </a:cubicBezTo>
                    <a:lnTo>
                      <a:pt x="0" y="248"/>
                    </a:lnTo>
                    <a:cubicBezTo>
                      <a:pt x="0" y="279"/>
                      <a:pt x="0" y="279"/>
                      <a:pt x="0" y="279"/>
                    </a:cubicBezTo>
                    <a:lnTo>
                      <a:pt x="0" y="279"/>
                    </a:lnTo>
                    <a:lnTo>
                      <a:pt x="0" y="310"/>
                    </a:lnTo>
                    <a:lnTo>
                      <a:pt x="0" y="310"/>
                    </a:lnTo>
                    <a:cubicBezTo>
                      <a:pt x="0" y="310"/>
                      <a:pt x="31" y="341"/>
                      <a:pt x="62" y="372"/>
                    </a:cubicBezTo>
                    <a:lnTo>
                      <a:pt x="62" y="372"/>
                    </a:lnTo>
                    <a:cubicBezTo>
                      <a:pt x="62" y="403"/>
                      <a:pt x="62" y="403"/>
                      <a:pt x="62" y="434"/>
                    </a:cubicBezTo>
                    <a:lnTo>
                      <a:pt x="92" y="434"/>
                    </a:lnTo>
                    <a:lnTo>
                      <a:pt x="92" y="465"/>
                    </a:lnTo>
                    <a:cubicBezTo>
                      <a:pt x="92" y="465"/>
                      <a:pt x="92" y="465"/>
                      <a:pt x="124" y="465"/>
                    </a:cubicBezTo>
                    <a:cubicBezTo>
                      <a:pt x="124" y="496"/>
                      <a:pt x="124" y="527"/>
                      <a:pt x="124" y="527"/>
                    </a:cubicBezTo>
                    <a:cubicBezTo>
                      <a:pt x="124" y="527"/>
                      <a:pt x="124" y="527"/>
                      <a:pt x="124" y="558"/>
                    </a:cubicBezTo>
                    <a:lnTo>
                      <a:pt x="155" y="589"/>
                    </a:lnTo>
                    <a:cubicBezTo>
                      <a:pt x="186" y="620"/>
                      <a:pt x="186" y="620"/>
                      <a:pt x="186" y="651"/>
                    </a:cubicBezTo>
                    <a:cubicBezTo>
                      <a:pt x="186" y="682"/>
                      <a:pt x="186" y="682"/>
                      <a:pt x="186" y="682"/>
                    </a:cubicBezTo>
                    <a:lnTo>
                      <a:pt x="186" y="682"/>
                    </a:lnTo>
                    <a:lnTo>
                      <a:pt x="186" y="682"/>
                    </a:lnTo>
                    <a:cubicBezTo>
                      <a:pt x="186" y="682"/>
                      <a:pt x="186" y="682"/>
                      <a:pt x="217" y="713"/>
                    </a:cubicBezTo>
                    <a:cubicBezTo>
                      <a:pt x="217" y="713"/>
                      <a:pt x="217" y="743"/>
                      <a:pt x="248" y="743"/>
                    </a:cubicBezTo>
                    <a:cubicBezTo>
                      <a:pt x="248" y="775"/>
                      <a:pt x="248" y="806"/>
                      <a:pt x="248" y="806"/>
                    </a:cubicBezTo>
                    <a:cubicBezTo>
                      <a:pt x="248" y="837"/>
                      <a:pt x="248" y="837"/>
                      <a:pt x="248" y="837"/>
                    </a:cubicBezTo>
                    <a:cubicBezTo>
                      <a:pt x="248" y="868"/>
                      <a:pt x="248" y="868"/>
                      <a:pt x="279" y="868"/>
                    </a:cubicBezTo>
                    <a:lnTo>
                      <a:pt x="279" y="868"/>
                    </a:lnTo>
                    <a:lnTo>
                      <a:pt x="309" y="899"/>
                    </a:lnTo>
                    <a:cubicBezTo>
                      <a:pt x="341" y="899"/>
                      <a:pt x="341" y="930"/>
                      <a:pt x="341" y="930"/>
                    </a:cubicBezTo>
                    <a:cubicBezTo>
                      <a:pt x="372" y="930"/>
                      <a:pt x="372" y="960"/>
                      <a:pt x="372" y="960"/>
                    </a:cubicBezTo>
                    <a:cubicBezTo>
                      <a:pt x="403" y="960"/>
                      <a:pt x="433" y="992"/>
                      <a:pt x="433" y="992"/>
                    </a:cubicBezTo>
                    <a:cubicBezTo>
                      <a:pt x="433" y="992"/>
                      <a:pt x="433" y="992"/>
                      <a:pt x="465" y="992"/>
                    </a:cubicBezTo>
                    <a:lnTo>
                      <a:pt x="496" y="1023"/>
                    </a:lnTo>
                    <a:cubicBezTo>
                      <a:pt x="496" y="1054"/>
                      <a:pt x="496" y="1054"/>
                      <a:pt x="527" y="1054"/>
                    </a:cubicBezTo>
                    <a:lnTo>
                      <a:pt x="527" y="1054"/>
                    </a:lnTo>
                    <a:cubicBezTo>
                      <a:pt x="557" y="1084"/>
                      <a:pt x="557" y="1084"/>
                      <a:pt x="557" y="1116"/>
                    </a:cubicBezTo>
                    <a:cubicBezTo>
                      <a:pt x="589" y="1116"/>
                      <a:pt x="589" y="1147"/>
                      <a:pt x="589" y="1208"/>
                    </a:cubicBezTo>
                    <a:lnTo>
                      <a:pt x="589" y="1208"/>
                    </a:lnTo>
                    <a:lnTo>
                      <a:pt x="589" y="1240"/>
                    </a:lnTo>
                    <a:lnTo>
                      <a:pt x="589" y="1271"/>
                    </a:lnTo>
                    <a:lnTo>
                      <a:pt x="589" y="1271"/>
                    </a:lnTo>
                    <a:lnTo>
                      <a:pt x="589" y="1271"/>
                    </a:lnTo>
                    <a:cubicBezTo>
                      <a:pt x="589" y="1271"/>
                      <a:pt x="589" y="1302"/>
                      <a:pt x="589" y="1332"/>
                    </a:cubicBezTo>
                    <a:cubicBezTo>
                      <a:pt x="589" y="1364"/>
                      <a:pt x="589" y="1364"/>
                      <a:pt x="589" y="1395"/>
                    </a:cubicBezTo>
                    <a:lnTo>
                      <a:pt x="589" y="1395"/>
                    </a:lnTo>
                    <a:cubicBezTo>
                      <a:pt x="589" y="1426"/>
                      <a:pt x="589" y="1426"/>
                      <a:pt x="557" y="1426"/>
                    </a:cubicBezTo>
                    <a:cubicBezTo>
                      <a:pt x="557" y="1456"/>
                      <a:pt x="557" y="1456"/>
                      <a:pt x="557" y="1456"/>
                    </a:cubicBezTo>
                    <a:cubicBezTo>
                      <a:pt x="589" y="1456"/>
                      <a:pt x="557" y="1488"/>
                      <a:pt x="557" y="1519"/>
                    </a:cubicBezTo>
                    <a:lnTo>
                      <a:pt x="557" y="1519"/>
                    </a:lnTo>
                    <a:cubicBezTo>
                      <a:pt x="557" y="1519"/>
                      <a:pt x="557" y="1519"/>
                      <a:pt x="557" y="1550"/>
                    </a:cubicBezTo>
                    <a:lnTo>
                      <a:pt x="557" y="1550"/>
                    </a:lnTo>
                    <a:cubicBezTo>
                      <a:pt x="557" y="1580"/>
                      <a:pt x="557" y="1580"/>
                      <a:pt x="557" y="1612"/>
                    </a:cubicBezTo>
                    <a:lnTo>
                      <a:pt x="557" y="1643"/>
                    </a:lnTo>
                    <a:cubicBezTo>
                      <a:pt x="557" y="1643"/>
                      <a:pt x="557" y="1643"/>
                      <a:pt x="557" y="1674"/>
                    </a:cubicBezTo>
                    <a:lnTo>
                      <a:pt x="557" y="1704"/>
                    </a:lnTo>
                    <a:cubicBezTo>
                      <a:pt x="557" y="1704"/>
                      <a:pt x="557" y="1736"/>
                      <a:pt x="527" y="1736"/>
                    </a:cubicBezTo>
                    <a:lnTo>
                      <a:pt x="527" y="1767"/>
                    </a:lnTo>
                    <a:cubicBezTo>
                      <a:pt x="527" y="1798"/>
                      <a:pt x="527" y="1798"/>
                      <a:pt x="527" y="1798"/>
                    </a:cubicBezTo>
                    <a:lnTo>
                      <a:pt x="527" y="1798"/>
                    </a:lnTo>
                    <a:lnTo>
                      <a:pt x="527" y="1798"/>
                    </a:lnTo>
                    <a:lnTo>
                      <a:pt x="527" y="1828"/>
                    </a:lnTo>
                    <a:lnTo>
                      <a:pt x="527" y="1828"/>
                    </a:lnTo>
                    <a:cubicBezTo>
                      <a:pt x="527" y="1828"/>
                      <a:pt x="527" y="1828"/>
                      <a:pt x="527" y="1860"/>
                    </a:cubicBezTo>
                    <a:cubicBezTo>
                      <a:pt x="527" y="1860"/>
                      <a:pt x="527" y="1891"/>
                      <a:pt x="496" y="1891"/>
                    </a:cubicBezTo>
                    <a:lnTo>
                      <a:pt x="496" y="1922"/>
                    </a:lnTo>
                    <a:cubicBezTo>
                      <a:pt x="496" y="1922"/>
                      <a:pt x="496" y="1922"/>
                      <a:pt x="496" y="1952"/>
                    </a:cubicBezTo>
                    <a:cubicBezTo>
                      <a:pt x="496" y="1952"/>
                      <a:pt x="496" y="1952"/>
                      <a:pt x="496" y="1984"/>
                    </a:cubicBezTo>
                    <a:cubicBezTo>
                      <a:pt x="527" y="1984"/>
                      <a:pt x="496" y="2046"/>
                      <a:pt x="496" y="2046"/>
                    </a:cubicBezTo>
                    <a:lnTo>
                      <a:pt x="496" y="2076"/>
                    </a:lnTo>
                    <a:cubicBezTo>
                      <a:pt x="496" y="2076"/>
                      <a:pt x="496" y="2108"/>
                      <a:pt x="496" y="2139"/>
                    </a:cubicBezTo>
                    <a:lnTo>
                      <a:pt x="496" y="2139"/>
                    </a:lnTo>
                    <a:cubicBezTo>
                      <a:pt x="496" y="2139"/>
                      <a:pt x="496" y="2139"/>
                      <a:pt x="496" y="2169"/>
                    </a:cubicBezTo>
                    <a:cubicBezTo>
                      <a:pt x="496" y="2169"/>
                      <a:pt x="496" y="2200"/>
                      <a:pt x="465" y="2232"/>
                    </a:cubicBezTo>
                    <a:lnTo>
                      <a:pt x="433" y="2263"/>
                    </a:lnTo>
                    <a:lnTo>
                      <a:pt x="433" y="2293"/>
                    </a:lnTo>
                    <a:lnTo>
                      <a:pt x="433" y="2293"/>
                    </a:lnTo>
                    <a:cubicBezTo>
                      <a:pt x="433" y="2293"/>
                      <a:pt x="433" y="2293"/>
                      <a:pt x="433" y="2324"/>
                    </a:cubicBezTo>
                    <a:lnTo>
                      <a:pt x="403" y="2324"/>
                    </a:lnTo>
                    <a:lnTo>
                      <a:pt x="403" y="2324"/>
                    </a:lnTo>
                    <a:cubicBezTo>
                      <a:pt x="403" y="2356"/>
                      <a:pt x="403" y="2356"/>
                      <a:pt x="403" y="2356"/>
                    </a:cubicBezTo>
                    <a:lnTo>
                      <a:pt x="403" y="2356"/>
                    </a:lnTo>
                    <a:cubicBezTo>
                      <a:pt x="403" y="2387"/>
                      <a:pt x="403" y="2387"/>
                      <a:pt x="403" y="2417"/>
                    </a:cubicBezTo>
                    <a:lnTo>
                      <a:pt x="403" y="2417"/>
                    </a:lnTo>
                    <a:lnTo>
                      <a:pt x="403" y="2448"/>
                    </a:lnTo>
                    <a:cubicBezTo>
                      <a:pt x="403" y="2448"/>
                      <a:pt x="433" y="2480"/>
                      <a:pt x="403" y="2511"/>
                    </a:cubicBezTo>
                    <a:cubicBezTo>
                      <a:pt x="403" y="2541"/>
                      <a:pt x="372" y="2572"/>
                      <a:pt x="372" y="2572"/>
                    </a:cubicBezTo>
                    <a:lnTo>
                      <a:pt x="372" y="2572"/>
                    </a:lnTo>
                    <a:cubicBezTo>
                      <a:pt x="403" y="2572"/>
                      <a:pt x="403" y="2572"/>
                      <a:pt x="403" y="2572"/>
                    </a:cubicBezTo>
                    <a:lnTo>
                      <a:pt x="433" y="2572"/>
                    </a:lnTo>
                    <a:lnTo>
                      <a:pt x="433" y="2572"/>
                    </a:lnTo>
                    <a:lnTo>
                      <a:pt x="433" y="2572"/>
                    </a:lnTo>
                    <a:lnTo>
                      <a:pt x="433" y="2572"/>
                    </a:lnTo>
                    <a:cubicBezTo>
                      <a:pt x="465" y="2604"/>
                      <a:pt x="465" y="2604"/>
                      <a:pt x="465" y="2604"/>
                    </a:cubicBezTo>
                    <a:cubicBezTo>
                      <a:pt x="465" y="2604"/>
                      <a:pt x="433" y="2572"/>
                      <a:pt x="433" y="254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64" name="Freeform 161"/>
              <p:cNvSpPr>
                <a:spLocks noChangeArrowheads="1"/>
              </p:cNvSpPr>
              <p:nvPr/>
            </p:nvSpPr>
            <p:spPr bwMode="auto">
              <a:xfrm>
                <a:off x="2184400" y="3810000"/>
                <a:ext cx="33338" cy="34925"/>
              </a:xfrm>
              <a:custGeom>
                <a:avLst/>
                <a:gdLst>
                  <a:gd name="T0" fmla="*/ 92 w 93"/>
                  <a:gd name="T1" fmla="*/ 63 h 95"/>
                  <a:gd name="T2" fmla="*/ 92 w 93"/>
                  <a:gd name="T3" fmla="*/ 63 h 95"/>
                  <a:gd name="T4" fmla="*/ 31 w 93"/>
                  <a:gd name="T5" fmla="*/ 31 h 95"/>
                  <a:gd name="T6" fmla="*/ 31 w 93"/>
                  <a:gd name="T7" fmla="*/ 0 h 95"/>
                  <a:gd name="T8" fmla="*/ 31 w 93"/>
                  <a:gd name="T9" fmla="*/ 0 h 95"/>
                  <a:gd name="T10" fmla="*/ 31 w 93"/>
                  <a:gd name="T11" fmla="*/ 0 h 95"/>
                  <a:gd name="T12" fmla="*/ 0 w 93"/>
                  <a:gd name="T13" fmla="*/ 0 h 95"/>
                  <a:gd name="T14" fmla="*/ 0 w 93"/>
                  <a:gd name="T15" fmla="*/ 0 h 95"/>
                  <a:gd name="T16" fmla="*/ 31 w 93"/>
                  <a:gd name="T17" fmla="*/ 63 h 95"/>
                  <a:gd name="T18" fmla="*/ 31 w 93"/>
                  <a:gd name="T19" fmla="*/ 94 h 95"/>
                  <a:gd name="T20" fmla="*/ 31 w 93"/>
                  <a:gd name="T21" fmla="*/ 94 h 95"/>
                  <a:gd name="T22" fmla="*/ 62 w 93"/>
                  <a:gd name="T23" fmla="*/ 94 h 95"/>
                  <a:gd name="T24" fmla="*/ 92 w 93"/>
                  <a:gd name="T25" fmla="*/ 94 h 95"/>
                  <a:gd name="T26" fmla="*/ 92 w 93"/>
                  <a:gd name="T27" fmla="*/ 94 h 95"/>
                  <a:gd name="T28" fmla="*/ 92 w 93"/>
                  <a:gd name="T29" fmla="*/ 94 h 95"/>
                  <a:gd name="T30" fmla="*/ 92 w 93"/>
                  <a:gd name="T31" fmla="*/ 6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5">
                    <a:moveTo>
                      <a:pt x="92" y="63"/>
                    </a:moveTo>
                    <a:lnTo>
                      <a:pt x="92" y="63"/>
                    </a:lnTo>
                    <a:cubicBezTo>
                      <a:pt x="62" y="63"/>
                      <a:pt x="62" y="63"/>
                      <a:pt x="31" y="31"/>
                    </a:cubicBezTo>
                    <a:cubicBezTo>
                      <a:pt x="31" y="31"/>
                      <a:pt x="31" y="31"/>
                      <a:pt x="31" y="0"/>
                    </a:cubicBezTo>
                    <a:lnTo>
                      <a:pt x="31" y="0"/>
                    </a:lnTo>
                    <a:lnTo>
                      <a:pt x="31" y="0"/>
                    </a:lnTo>
                    <a:cubicBezTo>
                      <a:pt x="0" y="0"/>
                      <a:pt x="0" y="0"/>
                      <a:pt x="0" y="0"/>
                    </a:cubicBezTo>
                    <a:lnTo>
                      <a:pt x="0" y="0"/>
                    </a:lnTo>
                    <a:cubicBezTo>
                      <a:pt x="31" y="0"/>
                      <a:pt x="31" y="31"/>
                      <a:pt x="31" y="63"/>
                    </a:cubicBezTo>
                    <a:cubicBezTo>
                      <a:pt x="31" y="63"/>
                      <a:pt x="31" y="63"/>
                      <a:pt x="31" y="94"/>
                    </a:cubicBezTo>
                    <a:lnTo>
                      <a:pt x="31" y="94"/>
                    </a:lnTo>
                    <a:lnTo>
                      <a:pt x="62" y="94"/>
                    </a:lnTo>
                    <a:cubicBezTo>
                      <a:pt x="92" y="94"/>
                      <a:pt x="92" y="94"/>
                      <a:pt x="92" y="94"/>
                    </a:cubicBezTo>
                    <a:lnTo>
                      <a:pt x="92" y="94"/>
                    </a:lnTo>
                    <a:lnTo>
                      <a:pt x="92" y="94"/>
                    </a:lnTo>
                    <a:cubicBezTo>
                      <a:pt x="92" y="63"/>
                      <a:pt x="92" y="63"/>
                      <a:pt x="92" y="63"/>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65" name="Freeform 162"/>
              <p:cNvSpPr>
                <a:spLocks noChangeArrowheads="1"/>
              </p:cNvSpPr>
              <p:nvPr/>
            </p:nvSpPr>
            <p:spPr bwMode="auto">
              <a:xfrm>
                <a:off x="2051050" y="2751138"/>
                <a:ext cx="1588" cy="11112"/>
              </a:xfrm>
              <a:custGeom>
                <a:avLst/>
                <a:gdLst>
                  <a:gd name="T0" fmla="*/ 0 w 1"/>
                  <a:gd name="T1" fmla="*/ 31 h 32"/>
                  <a:gd name="T2" fmla="*/ 0 w 1"/>
                  <a:gd name="T3" fmla="*/ 31 h 32"/>
                  <a:gd name="T4" fmla="*/ 0 w 1"/>
                  <a:gd name="T5" fmla="*/ 31 h 32"/>
                  <a:gd name="T6" fmla="*/ 0 w 1"/>
                  <a:gd name="T7" fmla="*/ 0 h 32"/>
                  <a:gd name="T8" fmla="*/ 0 w 1"/>
                  <a:gd name="T9" fmla="*/ 0 h 32"/>
                  <a:gd name="T10" fmla="*/ 0 w 1"/>
                  <a:gd name="T11" fmla="*/ 0 h 32"/>
                  <a:gd name="T12" fmla="*/ 0 w 1"/>
                  <a:gd name="T13" fmla="*/ 31 h 32"/>
                </a:gdLst>
                <a:ahLst/>
                <a:cxnLst>
                  <a:cxn ang="0">
                    <a:pos x="T0" y="T1"/>
                  </a:cxn>
                  <a:cxn ang="0">
                    <a:pos x="T2" y="T3"/>
                  </a:cxn>
                  <a:cxn ang="0">
                    <a:pos x="T4" y="T5"/>
                  </a:cxn>
                  <a:cxn ang="0">
                    <a:pos x="T6" y="T7"/>
                  </a:cxn>
                  <a:cxn ang="0">
                    <a:pos x="T8" y="T9"/>
                  </a:cxn>
                  <a:cxn ang="0">
                    <a:pos x="T10" y="T11"/>
                  </a:cxn>
                  <a:cxn ang="0">
                    <a:pos x="T12" y="T13"/>
                  </a:cxn>
                </a:cxnLst>
                <a:rect l="0" t="0" r="r" b="b"/>
                <a:pathLst>
                  <a:path w="1" h="32">
                    <a:moveTo>
                      <a:pt x="0" y="31"/>
                    </a:moveTo>
                    <a:lnTo>
                      <a:pt x="0" y="31"/>
                    </a:lnTo>
                    <a:lnTo>
                      <a:pt x="0" y="31"/>
                    </a:lnTo>
                    <a:lnTo>
                      <a:pt x="0" y="0"/>
                    </a:lnTo>
                    <a:lnTo>
                      <a:pt x="0" y="0"/>
                    </a:lnTo>
                    <a:lnTo>
                      <a:pt x="0" y="0"/>
                    </a:lnTo>
                    <a:lnTo>
                      <a:pt x="0" y="3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66" name="Freeform 163"/>
              <p:cNvSpPr>
                <a:spLocks noChangeArrowheads="1"/>
              </p:cNvSpPr>
              <p:nvPr/>
            </p:nvSpPr>
            <p:spPr bwMode="auto">
              <a:xfrm>
                <a:off x="2239963" y="3867150"/>
                <a:ext cx="1587" cy="158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67" name="Freeform 164"/>
              <p:cNvSpPr>
                <a:spLocks noChangeArrowheads="1"/>
              </p:cNvSpPr>
              <p:nvPr/>
            </p:nvSpPr>
            <p:spPr bwMode="auto">
              <a:xfrm>
                <a:off x="2217738" y="3654425"/>
                <a:ext cx="11112" cy="22225"/>
              </a:xfrm>
              <a:custGeom>
                <a:avLst/>
                <a:gdLst>
                  <a:gd name="T0" fmla="*/ 0 w 33"/>
                  <a:gd name="T1" fmla="*/ 31 h 62"/>
                  <a:gd name="T2" fmla="*/ 0 w 33"/>
                  <a:gd name="T3" fmla="*/ 31 h 62"/>
                  <a:gd name="T4" fmla="*/ 32 w 33"/>
                  <a:gd name="T5" fmla="*/ 61 h 62"/>
                  <a:gd name="T6" fmla="*/ 32 w 33"/>
                  <a:gd name="T7" fmla="*/ 61 h 62"/>
                  <a:gd name="T8" fmla="*/ 32 w 33"/>
                  <a:gd name="T9" fmla="*/ 61 h 62"/>
                  <a:gd name="T10" fmla="*/ 32 w 33"/>
                  <a:gd name="T11" fmla="*/ 31 h 62"/>
                  <a:gd name="T12" fmla="*/ 32 w 33"/>
                  <a:gd name="T13" fmla="*/ 31 h 62"/>
                  <a:gd name="T14" fmla="*/ 32 w 33"/>
                  <a:gd name="T15" fmla="*/ 31 h 62"/>
                  <a:gd name="T16" fmla="*/ 0 w 33"/>
                  <a:gd name="T17" fmla="*/ 0 h 62"/>
                  <a:gd name="T18" fmla="*/ 0 w 33"/>
                  <a:gd name="T19" fmla="*/ 0 h 62"/>
                  <a:gd name="T20" fmla="*/ 0 w 33"/>
                  <a:gd name="T21" fmla="*/ 0 h 62"/>
                  <a:gd name="T22" fmla="*/ 0 w 33"/>
                  <a:gd name="T23" fmla="*/ 0 h 62"/>
                  <a:gd name="T24" fmla="*/ 0 w 33"/>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31"/>
                    </a:moveTo>
                    <a:lnTo>
                      <a:pt x="0" y="31"/>
                    </a:lnTo>
                    <a:lnTo>
                      <a:pt x="32" y="61"/>
                    </a:lnTo>
                    <a:lnTo>
                      <a:pt x="32" y="61"/>
                    </a:lnTo>
                    <a:lnTo>
                      <a:pt x="32" y="61"/>
                    </a:lnTo>
                    <a:cubicBezTo>
                      <a:pt x="32" y="61"/>
                      <a:pt x="32" y="61"/>
                      <a:pt x="32" y="31"/>
                    </a:cubicBezTo>
                    <a:lnTo>
                      <a:pt x="32" y="31"/>
                    </a:lnTo>
                    <a:lnTo>
                      <a:pt x="32" y="31"/>
                    </a:lnTo>
                    <a:cubicBezTo>
                      <a:pt x="0" y="31"/>
                      <a:pt x="0" y="0"/>
                      <a:pt x="0" y="0"/>
                    </a:cubicBezTo>
                    <a:lnTo>
                      <a:pt x="0" y="0"/>
                    </a:lnTo>
                    <a:lnTo>
                      <a:pt x="0" y="0"/>
                    </a:lnTo>
                    <a:lnTo>
                      <a:pt x="0" y="0"/>
                    </a:lnTo>
                    <a:cubicBezTo>
                      <a:pt x="0" y="31"/>
                      <a:pt x="0" y="31"/>
                      <a:pt x="0"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68" name="Freeform 165"/>
              <p:cNvSpPr>
                <a:spLocks noChangeArrowheads="1"/>
              </p:cNvSpPr>
              <p:nvPr/>
            </p:nvSpPr>
            <p:spPr bwMode="auto">
              <a:xfrm>
                <a:off x="2173288" y="3687763"/>
                <a:ext cx="57150" cy="88900"/>
              </a:xfrm>
              <a:custGeom>
                <a:avLst/>
                <a:gdLst>
                  <a:gd name="T0" fmla="*/ 63 w 157"/>
                  <a:gd name="T1" fmla="*/ 248 h 249"/>
                  <a:gd name="T2" fmla="*/ 63 w 157"/>
                  <a:gd name="T3" fmla="*/ 248 h 249"/>
                  <a:gd name="T4" fmla="*/ 63 w 157"/>
                  <a:gd name="T5" fmla="*/ 248 h 249"/>
                  <a:gd name="T6" fmla="*/ 94 w 157"/>
                  <a:gd name="T7" fmla="*/ 248 h 249"/>
                  <a:gd name="T8" fmla="*/ 94 w 157"/>
                  <a:gd name="T9" fmla="*/ 248 h 249"/>
                  <a:gd name="T10" fmla="*/ 124 w 157"/>
                  <a:gd name="T11" fmla="*/ 217 h 249"/>
                  <a:gd name="T12" fmla="*/ 124 w 157"/>
                  <a:gd name="T13" fmla="*/ 217 h 249"/>
                  <a:gd name="T14" fmla="*/ 124 w 157"/>
                  <a:gd name="T15" fmla="*/ 217 h 249"/>
                  <a:gd name="T16" fmla="*/ 124 w 157"/>
                  <a:gd name="T17" fmla="*/ 217 h 249"/>
                  <a:gd name="T18" fmla="*/ 124 w 157"/>
                  <a:gd name="T19" fmla="*/ 187 h 249"/>
                  <a:gd name="T20" fmla="*/ 124 w 157"/>
                  <a:gd name="T21" fmla="*/ 156 h 249"/>
                  <a:gd name="T22" fmla="*/ 124 w 157"/>
                  <a:gd name="T23" fmla="*/ 124 h 249"/>
                  <a:gd name="T24" fmla="*/ 124 w 157"/>
                  <a:gd name="T25" fmla="*/ 124 h 249"/>
                  <a:gd name="T26" fmla="*/ 124 w 157"/>
                  <a:gd name="T27" fmla="*/ 124 h 249"/>
                  <a:gd name="T28" fmla="*/ 156 w 157"/>
                  <a:gd name="T29" fmla="*/ 93 h 249"/>
                  <a:gd name="T30" fmla="*/ 156 w 157"/>
                  <a:gd name="T31" fmla="*/ 93 h 249"/>
                  <a:gd name="T32" fmla="*/ 156 w 157"/>
                  <a:gd name="T33" fmla="*/ 93 h 249"/>
                  <a:gd name="T34" fmla="*/ 156 w 157"/>
                  <a:gd name="T35" fmla="*/ 93 h 249"/>
                  <a:gd name="T36" fmla="*/ 156 w 157"/>
                  <a:gd name="T37" fmla="*/ 63 h 249"/>
                  <a:gd name="T38" fmla="*/ 156 w 157"/>
                  <a:gd name="T39" fmla="*/ 63 h 249"/>
                  <a:gd name="T40" fmla="*/ 156 w 157"/>
                  <a:gd name="T41" fmla="*/ 63 h 249"/>
                  <a:gd name="T42" fmla="*/ 156 w 157"/>
                  <a:gd name="T43" fmla="*/ 32 h 249"/>
                  <a:gd name="T44" fmla="*/ 156 w 157"/>
                  <a:gd name="T45" fmla="*/ 32 h 249"/>
                  <a:gd name="T46" fmla="*/ 156 w 157"/>
                  <a:gd name="T47" fmla="*/ 32 h 249"/>
                  <a:gd name="T48" fmla="*/ 156 w 157"/>
                  <a:gd name="T49" fmla="*/ 0 h 249"/>
                  <a:gd name="T50" fmla="*/ 124 w 157"/>
                  <a:gd name="T51" fmla="*/ 32 h 249"/>
                  <a:gd name="T52" fmla="*/ 124 w 157"/>
                  <a:gd name="T53" fmla="*/ 32 h 249"/>
                  <a:gd name="T54" fmla="*/ 124 w 157"/>
                  <a:gd name="T55" fmla="*/ 63 h 249"/>
                  <a:gd name="T56" fmla="*/ 94 w 157"/>
                  <a:gd name="T57" fmla="*/ 63 h 249"/>
                  <a:gd name="T58" fmla="*/ 94 w 157"/>
                  <a:gd name="T59" fmla="*/ 63 h 249"/>
                  <a:gd name="T60" fmla="*/ 94 w 157"/>
                  <a:gd name="T61" fmla="*/ 93 h 249"/>
                  <a:gd name="T62" fmla="*/ 63 w 157"/>
                  <a:gd name="T63" fmla="*/ 63 h 249"/>
                  <a:gd name="T64" fmla="*/ 32 w 157"/>
                  <a:gd name="T65" fmla="*/ 93 h 249"/>
                  <a:gd name="T66" fmla="*/ 32 w 157"/>
                  <a:gd name="T67" fmla="*/ 93 h 249"/>
                  <a:gd name="T68" fmla="*/ 32 w 157"/>
                  <a:gd name="T69" fmla="*/ 93 h 249"/>
                  <a:gd name="T70" fmla="*/ 0 w 157"/>
                  <a:gd name="T71" fmla="*/ 93 h 249"/>
                  <a:gd name="T72" fmla="*/ 32 w 157"/>
                  <a:gd name="T73" fmla="*/ 93 h 249"/>
                  <a:gd name="T74" fmla="*/ 32 w 157"/>
                  <a:gd name="T75" fmla="*/ 93 h 249"/>
                  <a:gd name="T76" fmla="*/ 63 w 157"/>
                  <a:gd name="T77" fmla="*/ 124 h 249"/>
                  <a:gd name="T78" fmla="*/ 63 w 157"/>
                  <a:gd name="T79" fmla="*/ 156 h 249"/>
                  <a:gd name="T80" fmla="*/ 94 w 157"/>
                  <a:gd name="T81" fmla="*/ 187 h 249"/>
                  <a:gd name="T82" fmla="*/ 94 w 157"/>
                  <a:gd name="T83" fmla="*/ 217 h 249"/>
                  <a:gd name="T84" fmla="*/ 63 w 157"/>
                  <a:gd name="T85" fmla="*/ 217 h 249"/>
                  <a:gd name="T86" fmla="*/ 32 w 157"/>
                  <a:gd name="T87" fmla="*/ 217 h 249"/>
                  <a:gd name="T88" fmla="*/ 32 w 157"/>
                  <a:gd name="T89" fmla="*/ 217 h 249"/>
                  <a:gd name="T90" fmla="*/ 63 w 157"/>
                  <a:gd name="T91" fmla="*/ 248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7" h="249">
                    <a:moveTo>
                      <a:pt x="63" y="248"/>
                    </a:moveTo>
                    <a:lnTo>
                      <a:pt x="63" y="248"/>
                    </a:lnTo>
                    <a:lnTo>
                      <a:pt x="63" y="248"/>
                    </a:lnTo>
                    <a:cubicBezTo>
                      <a:pt x="94" y="248"/>
                      <a:pt x="94" y="248"/>
                      <a:pt x="94" y="248"/>
                    </a:cubicBezTo>
                    <a:lnTo>
                      <a:pt x="94" y="248"/>
                    </a:lnTo>
                    <a:cubicBezTo>
                      <a:pt x="94" y="217"/>
                      <a:pt x="94" y="217"/>
                      <a:pt x="124" y="217"/>
                    </a:cubicBezTo>
                    <a:lnTo>
                      <a:pt x="124" y="217"/>
                    </a:lnTo>
                    <a:lnTo>
                      <a:pt x="124" y="217"/>
                    </a:lnTo>
                    <a:lnTo>
                      <a:pt x="124" y="217"/>
                    </a:lnTo>
                    <a:cubicBezTo>
                      <a:pt x="124" y="187"/>
                      <a:pt x="124" y="187"/>
                      <a:pt x="124" y="187"/>
                    </a:cubicBezTo>
                    <a:cubicBezTo>
                      <a:pt x="124" y="156"/>
                      <a:pt x="124" y="156"/>
                      <a:pt x="124" y="156"/>
                    </a:cubicBezTo>
                    <a:cubicBezTo>
                      <a:pt x="124" y="124"/>
                      <a:pt x="124" y="124"/>
                      <a:pt x="124" y="124"/>
                    </a:cubicBezTo>
                    <a:lnTo>
                      <a:pt x="124" y="124"/>
                    </a:lnTo>
                    <a:lnTo>
                      <a:pt x="124" y="124"/>
                    </a:lnTo>
                    <a:lnTo>
                      <a:pt x="156" y="93"/>
                    </a:lnTo>
                    <a:lnTo>
                      <a:pt x="156" y="93"/>
                    </a:lnTo>
                    <a:lnTo>
                      <a:pt x="156" y="93"/>
                    </a:lnTo>
                    <a:lnTo>
                      <a:pt x="156" y="93"/>
                    </a:lnTo>
                    <a:lnTo>
                      <a:pt x="156" y="63"/>
                    </a:lnTo>
                    <a:lnTo>
                      <a:pt x="156" y="63"/>
                    </a:lnTo>
                    <a:lnTo>
                      <a:pt x="156" y="63"/>
                    </a:lnTo>
                    <a:cubicBezTo>
                      <a:pt x="156" y="63"/>
                      <a:pt x="156" y="63"/>
                      <a:pt x="156" y="32"/>
                    </a:cubicBezTo>
                    <a:lnTo>
                      <a:pt x="156" y="32"/>
                    </a:lnTo>
                    <a:lnTo>
                      <a:pt x="156" y="32"/>
                    </a:lnTo>
                    <a:cubicBezTo>
                      <a:pt x="156" y="32"/>
                      <a:pt x="156" y="32"/>
                      <a:pt x="156" y="0"/>
                    </a:cubicBezTo>
                    <a:cubicBezTo>
                      <a:pt x="124" y="32"/>
                      <a:pt x="124" y="32"/>
                      <a:pt x="124" y="32"/>
                    </a:cubicBezTo>
                    <a:lnTo>
                      <a:pt x="124" y="32"/>
                    </a:lnTo>
                    <a:cubicBezTo>
                      <a:pt x="124" y="63"/>
                      <a:pt x="124" y="63"/>
                      <a:pt x="124" y="63"/>
                    </a:cubicBezTo>
                    <a:cubicBezTo>
                      <a:pt x="94" y="63"/>
                      <a:pt x="94" y="63"/>
                      <a:pt x="94" y="63"/>
                    </a:cubicBezTo>
                    <a:lnTo>
                      <a:pt x="94" y="63"/>
                    </a:lnTo>
                    <a:cubicBezTo>
                      <a:pt x="94" y="93"/>
                      <a:pt x="94" y="93"/>
                      <a:pt x="94" y="93"/>
                    </a:cubicBezTo>
                    <a:cubicBezTo>
                      <a:pt x="63" y="93"/>
                      <a:pt x="63" y="63"/>
                      <a:pt x="63" y="63"/>
                    </a:cubicBezTo>
                    <a:cubicBezTo>
                      <a:pt x="63" y="63"/>
                      <a:pt x="63" y="63"/>
                      <a:pt x="32" y="93"/>
                    </a:cubicBezTo>
                    <a:lnTo>
                      <a:pt x="32" y="93"/>
                    </a:lnTo>
                    <a:lnTo>
                      <a:pt x="32" y="93"/>
                    </a:lnTo>
                    <a:cubicBezTo>
                      <a:pt x="32" y="93"/>
                      <a:pt x="32" y="93"/>
                      <a:pt x="0" y="93"/>
                    </a:cubicBezTo>
                    <a:cubicBezTo>
                      <a:pt x="32" y="93"/>
                      <a:pt x="32" y="93"/>
                      <a:pt x="32" y="93"/>
                    </a:cubicBezTo>
                    <a:lnTo>
                      <a:pt x="32" y="93"/>
                    </a:lnTo>
                    <a:lnTo>
                      <a:pt x="63" y="124"/>
                    </a:lnTo>
                    <a:cubicBezTo>
                      <a:pt x="63" y="124"/>
                      <a:pt x="63" y="124"/>
                      <a:pt x="63" y="156"/>
                    </a:cubicBezTo>
                    <a:cubicBezTo>
                      <a:pt x="63" y="156"/>
                      <a:pt x="94" y="156"/>
                      <a:pt x="94" y="187"/>
                    </a:cubicBezTo>
                    <a:lnTo>
                      <a:pt x="94" y="217"/>
                    </a:lnTo>
                    <a:lnTo>
                      <a:pt x="63" y="217"/>
                    </a:lnTo>
                    <a:lnTo>
                      <a:pt x="32" y="217"/>
                    </a:lnTo>
                    <a:lnTo>
                      <a:pt x="32" y="217"/>
                    </a:lnTo>
                    <a:cubicBezTo>
                      <a:pt x="63" y="248"/>
                      <a:pt x="63" y="248"/>
                      <a:pt x="63" y="24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69" name="Freeform 166"/>
              <p:cNvSpPr>
                <a:spLocks noChangeArrowheads="1"/>
              </p:cNvSpPr>
              <p:nvPr/>
            </p:nvSpPr>
            <p:spPr bwMode="auto">
              <a:xfrm>
                <a:off x="3167063" y="987425"/>
                <a:ext cx="55562" cy="33338"/>
              </a:xfrm>
              <a:custGeom>
                <a:avLst/>
                <a:gdLst>
                  <a:gd name="T0" fmla="*/ 61 w 156"/>
                  <a:gd name="T1" fmla="*/ 62 h 94"/>
                  <a:gd name="T2" fmla="*/ 61 w 156"/>
                  <a:gd name="T3" fmla="*/ 62 h 94"/>
                  <a:gd name="T4" fmla="*/ 61 w 156"/>
                  <a:gd name="T5" fmla="*/ 62 h 94"/>
                  <a:gd name="T6" fmla="*/ 61 w 156"/>
                  <a:gd name="T7" fmla="*/ 62 h 94"/>
                  <a:gd name="T8" fmla="*/ 124 w 156"/>
                  <a:gd name="T9" fmla="*/ 93 h 94"/>
                  <a:gd name="T10" fmla="*/ 124 w 156"/>
                  <a:gd name="T11" fmla="*/ 93 h 94"/>
                  <a:gd name="T12" fmla="*/ 155 w 156"/>
                  <a:gd name="T13" fmla="*/ 93 h 94"/>
                  <a:gd name="T14" fmla="*/ 155 w 156"/>
                  <a:gd name="T15" fmla="*/ 93 h 94"/>
                  <a:gd name="T16" fmla="*/ 155 w 156"/>
                  <a:gd name="T17" fmla="*/ 93 h 94"/>
                  <a:gd name="T18" fmla="*/ 155 w 156"/>
                  <a:gd name="T19" fmla="*/ 93 h 94"/>
                  <a:gd name="T20" fmla="*/ 155 w 156"/>
                  <a:gd name="T21" fmla="*/ 31 h 94"/>
                  <a:gd name="T22" fmla="*/ 155 w 156"/>
                  <a:gd name="T23" fmla="*/ 31 h 94"/>
                  <a:gd name="T24" fmla="*/ 155 w 156"/>
                  <a:gd name="T25" fmla="*/ 31 h 94"/>
                  <a:gd name="T26" fmla="*/ 124 w 156"/>
                  <a:gd name="T27" fmla="*/ 31 h 94"/>
                  <a:gd name="T28" fmla="*/ 92 w 156"/>
                  <a:gd name="T29" fmla="*/ 31 h 94"/>
                  <a:gd name="T30" fmla="*/ 31 w 156"/>
                  <a:gd name="T31" fmla="*/ 0 h 94"/>
                  <a:gd name="T32" fmla="*/ 0 w 156"/>
                  <a:gd name="T33" fmla="*/ 0 h 94"/>
                  <a:gd name="T34" fmla="*/ 0 w 156"/>
                  <a:gd name="T35" fmla="*/ 0 h 94"/>
                  <a:gd name="T36" fmla="*/ 0 w 156"/>
                  <a:gd name="T37" fmla="*/ 0 h 94"/>
                  <a:gd name="T38" fmla="*/ 61 w 156"/>
                  <a:gd name="T39" fmla="*/ 6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6" h="94">
                    <a:moveTo>
                      <a:pt x="61" y="62"/>
                    </a:moveTo>
                    <a:lnTo>
                      <a:pt x="61" y="62"/>
                    </a:lnTo>
                    <a:lnTo>
                      <a:pt x="61" y="62"/>
                    </a:lnTo>
                    <a:lnTo>
                      <a:pt x="61" y="62"/>
                    </a:lnTo>
                    <a:cubicBezTo>
                      <a:pt x="92" y="62"/>
                      <a:pt x="124" y="62"/>
                      <a:pt x="124" y="93"/>
                    </a:cubicBezTo>
                    <a:lnTo>
                      <a:pt x="124" y="93"/>
                    </a:lnTo>
                    <a:cubicBezTo>
                      <a:pt x="155" y="93"/>
                      <a:pt x="155" y="93"/>
                      <a:pt x="155" y="93"/>
                    </a:cubicBezTo>
                    <a:lnTo>
                      <a:pt x="155" y="93"/>
                    </a:lnTo>
                    <a:lnTo>
                      <a:pt x="155" y="93"/>
                    </a:lnTo>
                    <a:lnTo>
                      <a:pt x="155" y="93"/>
                    </a:lnTo>
                    <a:cubicBezTo>
                      <a:pt x="155" y="62"/>
                      <a:pt x="155" y="62"/>
                      <a:pt x="155" y="31"/>
                    </a:cubicBezTo>
                    <a:lnTo>
                      <a:pt x="155" y="31"/>
                    </a:lnTo>
                    <a:lnTo>
                      <a:pt x="155" y="31"/>
                    </a:lnTo>
                    <a:lnTo>
                      <a:pt x="124" y="31"/>
                    </a:lnTo>
                    <a:cubicBezTo>
                      <a:pt x="124" y="31"/>
                      <a:pt x="124" y="31"/>
                      <a:pt x="92" y="31"/>
                    </a:cubicBezTo>
                    <a:cubicBezTo>
                      <a:pt x="92" y="31"/>
                      <a:pt x="61" y="0"/>
                      <a:pt x="31" y="0"/>
                    </a:cubicBezTo>
                    <a:cubicBezTo>
                      <a:pt x="31" y="0"/>
                      <a:pt x="31" y="0"/>
                      <a:pt x="0" y="0"/>
                    </a:cubicBezTo>
                    <a:lnTo>
                      <a:pt x="0" y="0"/>
                    </a:lnTo>
                    <a:lnTo>
                      <a:pt x="0" y="0"/>
                    </a:lnTo>
                    <a:cubicBezTo>
                      <a:pt x="31" y="31"/>
                      <a:pt x="61" y="31"/>
                      <a:pt x="61" y="6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70" name="Freeform 167"/>
              <p:cNvSpPr>
                <a:spLocks noChangeArrowheads="1"/>
              </p:cNvSpPr>
              <p:nvPr/>
            </p:nvSpPr>
            <p:spPr bwMode="auto">
              <a:xfrm>
                <a:off x="2239963" y="731838"/>
                <a:ext cx="1027112" cy="525462"/>
              </a:xfrm>
              <a:custGeom>
                <a:avLst/>
                <a:gdLst>
                  <a:gd name="T0" fmla="*/ 2541 w 2853"/>
                  <a:gd name="T1" fmla="*/ 837 h 1458"/>
                  <a:gd name="T2" fmla="*/ 2356 w 2853"/>
                  <a:gd name="T3" fmla="*/ 837 h 1458"/>
                  <a:gd name="T4" fmla="*/ 2293 w 2853"/>
                  <a:gd name="T5" fmla="*/ 651 h 1458"/>
                  <a:gd name="T6" fmla="*/ 2510 w 2853"/>
                  <a:gd name="T7" fmla="*/ 682 h 1458"/>
                  <a:gd name="T8" fmla="*/ 2541 w 2853"/>
                  <a:gd name="T9" fmla="*/ 589 h 1458"/>
                  <a:gd name="T10" fmla="*/ 2697 w 2853"/>
                  <a:gd name="T11" fmla="*/ 589 h 1458"/>
                  <a:gd name="T12" fmla="*/ 2697 w 2853"/>
                  <a:gd name="T13" fmla="*/ 496 h 1458"/>
                  <a:gd name="T14" fmla="*/ 2852 w 2853"/>
                  <a:gd name="T15" fmla="*/ 496 h 1458"/>
                  <a:gd name="T16" fmla="*/ 2728 w 2853"/>
                  <a:gd name="T17" fmla="*/ 434 h 1458"/>
                  <a:gd name="T18" fmla="*/ 2789 w 2853"/>
                  <a:gd name="T19" fmla="*/ 248 h 1458"/>
                  <a:gd name="T20" fmla="*/ 2852 w 2853"/>
                  <a:gd name="T21" fmla="*/ 186 h 1458"/>
                  <a:gd name="T22" fmla="*/ 2821 w 2853"/>
                  <a:gd name="T23" fmla="*/ 124 h 1458"/>
                  <a:gd name="T24" fmla="*/ 2665 w 2853"/>
                  <a:gd name="T25" fmla="*/ 93 h 1458"/>
                  <a:gd name="T26" fmla="*/ 2480 w 2853"/>
                  <a:gd name="T27" fmla="*/ 124 h 1458"/>
                  <a:gd name="T28" fmla="*/ 2201 w 2853"/>
                  <a:gd name="T29" fmla="*/ 124 h 1458"/>
                  <a:gd name="T30" fmla="*/ 2201 w 2853"/>
                  <a:gd name="T31" fmla="*/ 31 h 1458"/>
                  <a:gd name="T32" fmla="*/ 2480 w 2853"/>
                  <a:gd name="T33" fmla="*/ 31 h 1458"/>
                  <a:gd name="T34" fmla="*/ 2325 w 2853"/>
                  <a:gd name="T35" fmla="*/ 0 h 1458"/>
                  <a:gd name="T36" fmla="*/ 2076 w 2853"/>
                  <a:gd name="T37" fmla="*/ 0 h 1458"/>
                  <a:gd name="T38" fmla="*/ 1860 w 2853"/>
                  <a:gd name="T39" fmla="*/ 0 h 1458"/>
                  <a:gd name="T40" fmla="*/ 1642 w 2853"/>
                  <a:gd name="T41" fmla="*/ 31 h 1458"/>
                  <a:gd name="T42" fmla="*/ 1518 w 2853"/>
                  <a:gd name="T43" fmla="*/ 31 h 1458"/>
                  <a:gd name="T44" fmla="*/ 1333 w 2853"/>
                  <a:gd name="T45" fmla="*/ 93 h 1458"/>
                  <a:gd name="T46" fmla="*/ 1116 w 2853"/>
                  <a:gd name="T47" fmla="*/ 93 h 1458"/>
                  <a:gd name="T48" fmla="*/ 929 w 2853"/>
                  <a:gd name="T49" fmla="*/ 62 h 1458"/>
                  <a:gd name="T50" fmla="*/ 681 w 2853"/>
                  <a:gd name="T51" fmla="*/ 93 h 1458"/>
                  <a:gd name="T52" fmla="*/ 557 w 2853"/>
                  <a:gd name="T53" fmla="*/ 155 h 1458"/>
                  <a:gd name="T54" fmla="*/ 433 w 2853"/>
                  <a:gd name="T55" fmla="*/ 155 h 1458"/>
                  <a:gd name="T56" fmla="*/ 309 w 2853"/>
                  <a:gd name="T57" fmla="*/ 279 h 1458"/>
                  <a:gd name="T58" fmla="*/ 93 w 2853"/>
                  <a:gd name="T59" fmla="*/ 310 h 1458"/>
                  <a:gd name="T60" fmla="*/ 124 w 2853"/>
                  <a:gd name="T61" fmla="*/ 341 h 1458"/>
                  <a:gd name="T62" fmla="*/ 279 w 2853"/>
                  <a:gd name="T63" fmla="*/ 341 h 1458"/>
                  <a:gd name="T64" fmla="*/ 155 w 2853"/>
                  <a:gd name="T65" fmla="*/ 403 h 1458"/>
                  <a:gd name="T66" fmla="*/ 248 w 2853"/>
                  <a:gd name="T67" fmla="*/ 434 h 1458"/>
                  <a:gd name="T68" fmla="*/ 372 w 2853"/>
                  <a:gd name="T69" fmla="*/ 434 h 1458"/>
                  <a:gd name="T70" fmla="*/ 681 w 2853"/>
                  <a:gd name="T71" fmla="*/ 434 h 1458"/>
                  <a:gd name="T72" fmla="*/ 837 w 2853"/>
                  <a:gd name="T73" fmla="*/ 558 h 1458"/>
                  <a:gd name="T74" fmla="*/ 899 w 2853"/>
                  <a:gd name="T75" fmla="*/ 589 h 1458"/>
                  <a:gd name="T76" fmla="*/ 899 w 2853"/>
                  <a:gd name="T77" fmla="*/ 744 h 1458"/>
                  <a:gd name="T78" fmla="*/ 961 w 2853"/>
                  <a:gd name="T79" fmla="*/ 713 h 1458"/>
                  <a:gd name="T80" fmla="*/ 1177 w 2853"/>
                  <a:gd name="T81" fmla="*/ 806 h 1458"/>
                  <a:gd name="T82" fmla="*/ 1085 w 2853"/>
                  <a:gd name="T83" fmla="*/ 961 h 1458"/>
                  <a:gd name="T84" fmla="*/ 992 w 2853"/>
                  <a:gd name="T85" fmla="*/ 1023 h 1458"/>
                  <a:gd name="T86" fmla="*/ 1116 w 2853"/>
                  <a:gd name="T87" fmla="*/ 1116 h 1458"/>
                  <a:gd name="T88" fmla="*/ 1177 w 2853"/>
                  <a:gd name="T89" fmla="*/ 1209 h 1458"/>
                  <a:gd name="T90" fmla="*/ 1240 w 2853"/>
                  <a:gd name="T91" fmla="*/ 1364 h 1458"/>
                  <a:gd name="T92" fmla="*/ 1333 w 2853"/>
                  <a:gd name="T93" fmla="*/ 1426 h 1458"/>
                  <a:gd name="T94" fmla="*/ 1394 w 2853"/>
                  <a:gd name="T95" fmla="*/ 1394 h 1458"/>
                  <a:gd name="T96" fmla="*/ 1488 w 2853"/>
                  <a:gd name="T97" fmla="*/ 1457 h 1458"/>
                  <a:gd name="T98" fmla="*/ 1581 w 2853"/>
                  <a:gd name="T99" fmla="*/ 1426 h 1458"/>
                  <a:gd name="T100" fmla="*/ 1581 w 2853"/>
                  <a:gd name="T101" fmla="*/ 1270 h 1458"/>
                  <a:gd name="T102" fmla="*/ 1581 w 2853"/>
                  <a:gd name="T103" fmla="*/ 1178 h 1458"/>
                  <a:gd name="T104" fmla="*/ 1766 w 2853"/>
                  <a:gd name="T105" fmla="*/ 1116 h 1458"/>
                  <a:gd name="T106" fmla="*/ 1890 w 2853"/>
                  <a:gd name="T107" fmla="*/ 1085 h 1458"/>
                  <a:gd name="T108" fmla="*/ 2076 w 2853"/>
                  <a:gd name="T109" fmla="*/ 1023 h 1458"/>
                  <a:gd name="T110" fmla="*/ 2201 w 2853"/>
                  <a:gd name="T111" fmla="*/ 930 h 1458"/>
                  <a:gd name="T112" fmla="*/ 2293 w 2853"/>
                  <a:gd name="T113" fmla="*/ 930 h 1458"/>
                  <a:gd name="T114" fmla="*/ 2541 w 2853"/>
                  <a:gd name="T115" fmla="*/ 899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3" h="1458">
                    <a:moveTo>
                      <a:pt x="2604" y="868"/>
                    </a:moveTo>
                    <a:lnTo>
                      <a:pt x="2604" y="868"/>
                    </a:lnTo>
                    <a:cubicBezTo>
                      <a:pt x="2604" y="837"/>
                      <a:pt x="2604" y="837"/>
                      <a:pt x="2573" y="837"/>
                    </a:cubicBezTo>
                    <a:lnTo>
                      <a:pt x="2573" y="837"/>
                    </a:lnTo>
                    <a:lnTo>
                      <a:pt x="2541" y="837"/>
                    </a:lnTo>
                    <a:lnTo>
                      <a:pt x="2541" y="837"/>
                    </a:lnTo>
                    <a:cubicBezTo>
                      <a:pt x="2510" y="837"/>
                      <a:pt x="2510" y="837"/>
                      <a:pt x="2510" y="837"/>
                    </a:cubicBezTo>
                    <a:cubicBezTo>
                      <a:pt x="2480" y="837"/>
                      <a:pt x="2449" y="837"/>
                      <a:pt x="2449" y="837"/>
                    </a:cubicBezTo>
                    <a:lnTo>
                      <a:pt x="2449" y="837"/>
                    </a:lnTo>
                    <a:cubicBezTo>
                      <a:pt x="2449" y="837"/>
                      <a:pt x="2449" y="837"/>
                      <a:pt x="2417" y="837"/>
                    </a:cubicBezTo>
                    <a:cubicBezTo>
                      <a:pt x="2417" y="837"/>
                      <a:pt x="2417" y="837"/>
                      <a:pt x="2386" y="837"/>
                    </a:cubicBezTo>
                    <a:cubicBezTo>
                      <a:pt x="2386" y="837"/>
                      <a:pt x="2386" y="837"/>
                      <a:pt x="2356" y="837"/>
                    </a:cubicBezTo>
                    <a:lnTo>
                      <a:pt x="2356" y="837"/>
                    </a:lnTo>
                    <a:cubicBezTo>
                      <a:pt x="2325" y="837"/>
                      <a:pt x="2325" y="806"/>
                      <a:pt x="2325" y="806"/>
                    </a:cubicBezTo>
                    <a:cubicBezTo>
                      <a:pt x="2325" y="775"/>
                      <a:pt x="2356" y="775"/>
                      <a:pt x="2356" y="744"/>
                    </a:cubicBezTo>
                    <a:lnTo>
                      <a:pt x="2356" y="744"/>
                    </a:lnTo>
                    <a:cubicBezTo>
                      <a:pt x="2356" y="713"/>
                      <a:pt x="2356" y="713"/>
                      <a:pt x="2356" y="713"/>
                    </a:cubicBezTo>
                    <a:cubicBezTo>
                      <a:pt x="2293" y="651"/>
                      <a:pt x="2293" y="651"/>
                      <a:pt x="2293" y="651"/>
                    </a:cubicBezTo>
                    <a:cubicBezTo>
                      <a:pt x="2386" y="682"/>
                      <a:pt x="2386" y="682"/>
                      <a:pt x="2386" y="682"/>
                    </a:cubicBezTo>
                    <a:cubicBezTo>
                      <a:pt x="2449" y="682"/>
                      <a:pt x="2449" y="713"/>
                      <a:pt x="2480" y="713"/>
                    </a:cubicBezTo>
                    <a:lnTo>
                      <a:pt x="2510" y="713"/>
                    </a:lnTo>
                    <a:lnTo>
                      <a:pt x="2510" y="713"/>
                    </a:lnTo>
                    <a:lnTo>
                      <a:pt x="2510" y="682"/>
                    </a:lnTo>
                    <a:lnTo>
                      <a:pt x="2510" y="682"/>
                    </a:lnTo>
                    <a:cubicBezTo>
                      <a:pt x="2510" y="682"/>
                      <a:pt x="2510" y="651"/>
                      <a:pt x="2480" y="651"/>
                    </a:cubicBezTo>
                    <a:cubicBezTo>
                      <a:pt x="2480" y="651"/>
                      <a:pt x="2480" y="651"/>
                      <a:pt x="2480" y="620"/>
                    </a:cubicBezTo>
                    <a:lnTo>
                      <a:pt x="2480" y="620"/>
                    </a:lnTo>
                    <a:cubicBezTo>
                      <a:pt x="2480" y="620"/>
                      <a:pt x="2480" y="620"/>
                      <a:pt x="2510" y="620"/>
                    </a:cubicBezTo>
                    <a:lnTo>
                      <a:pt x="2510" y="620"/>
                    </a:lnTo>
                    <a:cubicBezTo>
                      <a:pt x="2510" y="589"/>
                      <a:pt x="2510" y="589"/>
                      <a:pt x="2541" y="589"/>
                    </a:cubicBezTo>
                    <a:lnTo>
                      <a:pt x="2541" y="589"/>
                    </a:lnTo>
                    <a:cubicBezTo>
                      <a:pt x="2573" y="589"/>
                      <a:pt x="2573" y="589"/>
                      <a:pt x="2573" y="589"/>
                    </a:cubicBezTo>
                    <a:lnTo>
                      <a:pt x="2573" y="589"/>
                    </a:lnTo>
                    <a:cubicBezTo>
                      <a:pt x="2573" y="589"/>
                      <a:pt x="2573" y="589"/>
                      <a:pt x="2604" y="589"/>
                    </a:cubicBezTo>
                    <a:cubicBezTo>
                      <a:pt x="2604" y="589"/>
                      <a:pt x="2634" y="558"/>
                      <a:pt x="2665" y="558"/>
                    </a:cubicBezTo>
                    <a:lnTo>
                      <a:pt x="2697" y="589"/>
                    </a:lnTo>
                    <a:lnTo>
                      <a:pt x="2697" y="589"/>
                    </a:lnTo>
                    <a:lnTo>
                      <a:pt x="2697" y="589"/>
                    </a:lnTo>
                    <a:lnTo>
                      <a:pt x="2697" y="558"/>
                    </a:lnTo>
                    <a:lnTo>
                      <a:pt x="2697" y="558"/>
                    </a:lnTo>
                    <a:cubicBezTo>
                      <a:pt x="2697" y="527"/>
                      <a:pt x="2697" y="527"/>
                      <a:pt x="2697" y="527"/>
                    </a:cubicBezTo>
                    <a:cubicBezTo>
                      <a:pt x="2665" y="496"/>
                      <a:pt x="2665" y="496"/>
                      <a:pt x="2697" y="496"/>
                    </a:cubicBezTo>
                    <a:cubicBezTo>
                      <a:pt x="2697" y="465"/>
                      <a:pt x="2728" y="465"/>
                      <a:pt x="2758" y="465"/>
                    </a:cubicBezTo>
                    <a:cubicBezTo>
                      <a:pt x="2789" y="465"/>
                      <a:pt x="2789" y="465"/>
                      <a:pt x="2789" y="496"/>
                    </a:cubicBezTo>
                    <a:cubicBezTo>
                      <a:pt x="2789" y="496"/>
                      <a:pt x="2789" y="496"/>
                      <a:pt x="2821" y="496"/>
                    </a:cubicBezTo>
                    <a:lnTo>
                      <a:pt x="2821" y="496"/>
                    </a:lnTo>
                    <a:lnTo>
                      <a:pt x="2821" y="496"/>
                    </a:lnTo>
                    <a:lnTo>
                      <a:pt x="2852" y="496"/>
                    </a:lnTo>
                    <a:lnTo>
                      <a:pt x="2852" y="465"/>
                    </a:lnTo>
                    <a:lnTo>
                      <a:pt x="2852" y="465"/>
                    </a:lnTo>
                    <a:lnTo>
                      <a:pt x="2821" y="465"/>
                    </a:lnTo>
                    <a:lnTo>
                      <a:pt x="2789" y="465"/>
                    </a:lnTo>
                    <a:lnTo>
                      <a:pt x="2789" y="465"/>
                    </a:lnTo>
                    <a:cubicBezTo>
                      <a:pt x="2789" y="465"/>
                      <a:pt x="2728" y="465"/>
                      <a:pt x="2728" y="434"/>
                    </a:cubicBezTo>
                    <a:cubicBezTo>
                      <a:pt x="2697" y="434"/>
                      <a:pt x="2697" y="403"/>
                      <a:pt x="2697" y="403"/>
                    </a:cubicBezTo>
                    <a:cubicBezTo>
                      <a:pt x="2728" y="372"/>
                      <a:pt x="2728" y="372"/>
                      <a:pt x="2728" y="372"/>
                    </a:cubicBezTo>
                    <a:cubicBezTo>
                      <a:pt x="2728" y="372"/>
                      <a:pt x="2728" y="372"/>
                      <a:pt x="2728" y="341"/>
                    </a:cubicBezTo>
                    <a:lnTo>
                      <a:pt x="2728" y="310"/>
                    </a:lnTo>
                    <a:cubicBezTo>
                      <a:pt x="2758" y="310"/>
                      <a:pt x="2758" y="279"/>
                      <a:pt x="2758" y="279"/>
                    </a:cubicBezTo>
                    <a:cubicBezTo>
                      <a:pt x="2758" y="248"/>
                      <a:pt x="2789" y="248"/>
                      <a:pt x="2789" y="248"/>
                    </a:cubicBezTo>
                    <a:lnTo>
                      <a:pt x="2821" y="248"/>
                    </a:lnTo>
                    <a:lnTo>
                      <a:pt x="2852" y="248"/>
                    </a:lnTo>
                    <a:lnTo>
                      <a:pt x="2852" y="248"/>
                    </a:lnTo>
                    <a:cubicBezTo>
                      <a:pt x="2852" y="217"/>
                      <a:pt x="2852" y="217"/>
                      <a:pt x="2852" y="217"/>
                    </a:cubicBezTo>
                    <a:lnTo>
                      <a:pt x="2852" y="217"/>
                    </a:lnTo>
                    <a:cubicBezTo>
                      <a:pt x="2852" y="217"/>
                      <a:pt x="2852" y="217"/>
                      <a:pt x="2852" y="186"/>
                    </a:cubicBezTo>
                    <a:lnTo>
                      <a:pt x="2821" y="217"/>
                    </a:lnTo>
                    <a:cubicBezTo>
                      <a:pt x="2821" y="217"/>
                      <a:pt x="2789" y="217"/>
                      <a:pt x="2789" y="186"/>
                    </a:cubicBezTo>
                    <a:lnTo>
                      <a:pt x="2789" y="155"/>
                    </a:lnTo>
                    <a:cubicBezTo>
                      <a:pt x="2789" y="124"/>
                      <a:pt x="2821" y="124"/>
                      <a:pt x="2852" y="124"/>
                    </a:cubicBezTo>
                    <a:lnTo>
                      <a:pt x="2852" y="124"/>
                    </a:lnTo>
                    <a:cubicBezTo>
                      <a:pt x="2821" y="124"/>
                      <a:pt x="2821" y="124"/>
                      <a:pt x="2821" y="124"/>
                    </a:cubicBezTo>
                    <a:cubicBezTo>
                      <a:pt x="2821" y="124"/>
                      <a:pt x="2728" y="155"/>
                      <a:pt x="2697" y="155"/>
                    </a:cubicBezTo>
                    <a:lnTo>
                      <a:pt x="2697" y="155"/>
                    </a:lnTo>
                    <a:cubicBezTo>
                      <a:pt x="2634" y="186"/>
                      <a:pt x="2634" y="186"/>
                      <a:pt x="2634" y="186"/>
                    </a:cubicBezTo>
                    <a:cubicBezTo>
                      <a:pt x="2604" y="186"/>
                      <a:pt x="2604" y="186"/>
                      <a:pt x="2604" y="186"/>
                    </a:cubicBezTo>
                    <a:lnTo>
                      <a:pt x="2604" y="155"/>
                    </a:lnTo>
                    <a:cubicBezTo>
                      <a:pt x="2634" y="124"/>
                      <a:pt x="2634" y="124"/>
                      <a:pt x="2665" y="93"/>
                    </a:cubicBezTo>
                    <a:lnTo>
                      <a:pt x="2665" y="93"/>
                    </a:lnTo>
                    <a:lnTo>
                      <a:pt x="2634" y="93"/>
                    </a:lnTo>
                    <a:cubicBezTo>
                      <a:pt x="2634" y="93"/>
                      <a:pt x="2634" y="124"/>
                      <a:pt x="2604" y="124"/>
                    </a:cubicBezTo>
                    <a:cubicBezTo>
                      <a:pt x="2573" y="124"/>
                      <a:pt x="2541" y="124"/>
                      <a:pt x="2541" y="124"/>
                    </a:cubicBezTo>
                    <a:cubicBezTo>
                      <a:pt x="2510" y="124"/>
                      <a:pt x="2510" y="124"/>
                      <a:pt x="2510" y="124"/>
                    </a:cubicBezTo>
                    <a:lnTo>
                      <a:pt x="2480" y="124"/>
                    </a:lnTo>
                    <a:lnTo>
                      <a:pt x="2480" y="124"/>
                    </a:lnTo>
                    <a:cubicBezTo>
                      <a:pt x="2449" y="124"/>
                      <a:pt x="2449" y="124"/>
                      <a:pt x="2417" y="124"/>
                    </a:cubicBezTo>
                    <a:lnTo>
                      <a:pt x="2386" y="124"/>
                    </a:lnTo>
                    <a:cubicBezTo>
                      <a:pt x="2356" y="124"/>
                      <a:pt x="2356" y="124"/>
                      <a:pt x="2325" y="124"/>
                    </a:cubicBezTo>
                    <a:cubicBezTo>
                      <a:pt x="2325" y="124"/>
                      <a:pt x="2293" y="124"/>
                      <a:pt x="2262" y="124"/>
                    </a:cubicBezTo>
                    <a:cubicBezTo>
                      <a:pt x="2232" y="124"/>
                      <a:pt x="2232" y="124"/>
                      <a:pt x="2201" y="124"/>
                    </a:cubicBezTo>
                    <a:lnTo>
                      <a:pt x="2169" y="124"/>
                    </a:lnTo>
                    <a:cubicBezTo>
                      <a:pt x="2138" y="124"/>
                      <a:pt x="2138" y="93"/>
                      <a:pt x="2138" y="93"/>
                    </a:cubicBezTo>
                    <a:lnTo>
                      <a:pt x="2138" y="93"/>
                    </a:lnTo>
                    <a:cubicBezTo>
                      <a:pt x="2138" y="62"/>
                      <a:pt x="2138" y="62"/>
                      <a:pt x="2169" y="31"/>
                    </a:cubicBezTo>
                    <a:lnTo>
                      <a:pt x="2201" y="31"/>
                    </a:lnTo>
                    <a:lnTo>
                      <a:pt x="2201" y="31"/>
                    </a:lnTo>
                    <a:cubicBezTo>
                      <a:pt x="2262" y="31"/>
                      <a:pt x="2293" y="31"/>
                      <a:pt x="2325" y="31"/>
                    </a:cubicBezTo>
                    <a:cubicBezTo>
                      <a:pt x="2356" y="31"/>
                      <a:pt x="2356" y="31"/>
                      <a:pt x="2356" y="31"/>
                    </a:cubicBezTo>
                    <a:cubicBezTo>
                      <a:pt x="2386" y="31"/>
                      <a:pt x="2417" y="31"/>
                      <a:pt x="2417" y="31"/>
                    </a:cubicBezTo>
                    <a:cubicBezTo>
                      <a:pt x="2449" y="31"/>
                      <a:pt x="2449" y="31"/>
                      <a:pt x="2480" y="31"/>
                    </a:cubicBezTo>
                    <a:lnTo>
                      <a:pt x="2480" y="31"/>
                    </a:lnTo>
                    <a:lnTo>
                      <a:pt x="2480" y="31"/>
                    </a:lnTo>
                    <a:lnTo>
                      <a:pt x="2510" y="31"/>
                    </a:lnTo>
                    <a:cubicBezTo>
                      <a:pt x="2510" y="31"/>
                      <a:pt x="2510" y="31"/>
                      <a:pt x="2541" y="31"/>
                    </a:cubicBezTo>
                    <a:lnTo>
                      <a:pt x="2510" y="0"/>
                    </a:lnTo>
                    <a:cubicBezTo>
                      <a:pt x="2510" y="0"/>
                      <a:pt x="2510" y="0"/>
                      <a:pt x="2480" y="0"/>
                    </a:cubicBezTo>
                    <a:cubicBezTo>
                      <a:pt x="2449" y="0"/>
                      <a:pt x="2449" y="0"/>
                      <a:pt x="2417" y="0"/>
                    </a:cubicBezTo>
                    <a:cubicBezTo>
                      <a:pt x="2386" y="0"/>
                      <a:pt x="2356" y="0"/>
                      <a:pt x="2325" y="0"/>
                    </a:cubicBezTo>
                    <a:lnTo>
                      <a:pt x="2293" y="0"/>
                    </a:lnTo>
                    <a:cubicBezTo>
                      <a:pt x="2262" y="0"/>
                      <a:pt x="2262" y="0"/>
                      <a:pt x="2262" y="0"/>
                    </a:cubicBezTo>
                    <a:lnTo>
                      <a:pt x="2232" y="0"/>
                    </a:lnTo>
                    <a:lnTo>
                      <a:pt x="2201" y="0"/>
                    </a:lnTo>
                    <a:cubicBezTo>
                      <a:pt x="2169" y="0"/>
                      <a:pt x="2169" y="0"/>
                      <a:pt x="2169" y="0"/>
                    </a:cubicBezTo>
                    <a:cubicBezTo>
                      <a:pt x="2138" y="0"/>
                      <a:pt x="2108" y="0"/>
                      <a:pt x="2076" y="0"/>
                    </a:cubicBezTo>
                    <a:cubicBezTo>
                      <a:pt x="2076" y="0"/>
                      <a:pt x="2076" y="0"/>
                      <a:pt x="2045" y="0"/>
                    </a:cubicBezTo>
                    <a:cubicBezTo>
                      <a:pt x="2014" y="0"/>
                      <a:pt x="2014" y="0"/>
                      <a:pt x="1984" y="0"/>
                    </a:cubicBezTo>
                    <a:cubicBezTo>
                      <a:pt x="1953" y="0"/>
                      <a:pt x="1953" y="0"/>
                      <a:pt x="1953" y="0"/>
                    </a:cubicBezTo>
                    <a:cubicBezTo>
                      <a:pt x="1921" y="0"/>
                      <a:pt x="1921" y="0"/>
                      <a:pt x="1890" y="0"/>
                    </a:cubicBezTo>
                    <a:lnTo>
                      <a:pt x="1890" y="0"/>
                    </a:lnTo>
                    <a:cubicBezTo>
                      <a:pt x="1890" y="0"/>
                      <a:pt x="1890" y="0"/>
                      <a:pt x="1860" y="0"/>
                    </a:cubicBezTo>
                    <a:cubicBezTo>
                      <a:pt x="1860" y="0"/>
                      <a:pt x="1860" y="0"/>
                      <a:pt x="1829" y="0"/>
                    </a:cubicBezTo>
                    <a:lnTo>
                      <a:pt x="1829" y="31"/>
                    </a:lnTo>
                    <a:cubicBezTo>
                      <a:pt x="1829" y="62"/>
                      <a:pt x="1829" y="62"/>
                      <a:pt x="1797" y="62"/>
                    </a:cubicBezTo>
                    <a:lnTo>
                      <a:pt x="1797" y="62"/>
                    </a:lnTo>
                    <a:cubicBezTo>
                      <a:pt x="1797" y="62"/>
                      <a:pt x="1736" y="31"/>
                      <a:pt x="1673" y="31"/>
                    </a:cubicBezTo>
                    <a:lnTo>
                      <a:pt x="1642" y="31"/>
                    </a:lnTo>
                    <a:cubicBezTo>
                      <a:pt x="1642" y="31"/>
                      <a:pt x="1642" y="31"/>
                      <a:pt x="1612" y="31"/>
                    </a:cubicBezTo>
                    <a:lnTo>
                      <a:pt x="1612" y="31"/>
                    </a:lnTo>
                    <a:cubicBezTo>
                      <a:pt x="1612" y="31"/>
                      <a:pt x="1612" y="31"/>
                      <a:pt x="1581" y="31"/>
                    </a:cubicBezTo>
                    <a:lnTo>
                      <a:pt x="1549" y="31"/>
                    </a:lnTo>
                    <a:lnTo>
                      <a:pt x="1549" y="31"/>
                    </a:lnTo>
                    <a:cubicBezTo>
                      <a:pt x="1518" y="31"/>
                      <a:pt x="1518" y="31"/>
                      <a:pt x="1518" y="31"/>
                    </a:cubicBezTo>
                    <a:lnTo>
                      <a:pt x="1488" y="31"/>
                    </a:lnTo>
                    <a:cubicBezTo>
                      <a:pt x="1488" y="31"/>
                      <a:pt x="1518" y="31"/>
                      <a:pt x="1518" y="62"/>
                    </a:cubicBezTo>
                    <a:cubicBezTo>
                      <a:pt x="1518" y="93"/>
                      <a:pt x="1488" y="93"/>
                      <a:pt x="1488" y="93"/>
                    </a:cubicBezTo>
                    <a:cubicBezTo>
                      <a:pt x="1488" y="124"/>
                      <a:pt x="1488" y="124"/>
                      <a:pt x="1488" y="124"/>
                    </a:cubicBezTo>
                    <a:cubicBezTo>
                      <a:pt x="1457" y="124"/>
                      <a:pt x="1457" y="124"/>
                      <a:pt x="1457" y="124"/>
                    </a:cubicBezTo>
                    <a:cubicBezTo>
                      <a:pt x="1457" y="124"/>
                      <a:pt x="1394" y="93"/>
                      <a:pt x="1333" y="93"/>
                    </a:cubicBezTo>
                    <a:cubicBezTo>
                      <a:pt x="1301" y="93"/>
                      <a:pt x="1301" y="93"/>
                      <a:pt x="1271" y="62"/>
                    </a:cubicBezTo>
                    <a:cubicBezTo>
                      <a:pt x="1271" y="62"/>
                      <a:pt x="1271" y="62"/>
                      <a:pt x="1240" y="62"/>
                    </a:cubicBezTo>
                    <a:cubicBezTo>
                      <a:pt x="1240" y="62"/>
                      <a:pt x="1240" y="62"/>
                      <a:pt x="1208" y="62"/>
                    </a:cubicBezTo>
                    <a:cubicBezTo>
                      <a:pt x="1240" y="62"/>
                      <a:pt x="1240" y="93"/>
                      <a:pt x="1240" y="93"/>
                    </a:cubicBezTo>
                    <a:cubicBezTo>
                      <a:pt x="1208" y="124"/>
                      <a:pt x="1177" y="124"/>
                      <a:pt x="1177" y="124"/>
                    </a:cubicBezTo>
                    <a:cubicBezTo>
                      <a:pt x="1147" y="124"/>
                      <a:pt x="1116" y="93"/>
                      <a:pt x="1116" y="93"/>
                    </a:cubicBezTo>
                    <a:lnTo>
                      <a:pt x="1085" y="93"/>
                    </a:lnTo>
                    <a:lnTo>
                      <a:pt x="1053" y="93"/>
                    </a:lnTo>
                    <a:lnTo>
                      <a:pt x="1053" y="93"/>
                    </a:lnTo>
                    <a:cubicBezTo>
                      <a:pt x="1023" y="93"/>
                      <a:pt x="1023" y="124"/>
                      <a:pt x="992" y="124"/>
                    </a:cubicBezTo>
                    <a:lnTo>
                      <a:pt x="961" y="124"/>
                    </a:lnTo>
                    <a:cubicBezTo>
                      <a:pt x="929" y="93"/>
                      <a:pt x="929" y="93"/>
                      <a:pt x="929" y="62"/>
                    </a:cubicBezTo>
                    <a:lnTo>
                      <a:pt x="929" y="62"/>
                    </a:lnTo>
                    <a:lnTo>
                      <a:pt x="929" y="62"/>
                    </a:lnTo>
                    <a:cubicBezTo>
                      <a:pt x="899" y="93"/>
                      <a:pt x="837" y="93"/>
                      <a:pt x="805" y="93"/>
                    </a:cubicBezTo>
                    <a:cubicBezTo>
                      <a:pt x="775" y="93"/>
                      <a:pt x="775" y="93"/>
                      <a:pt x="744" y="93"/>
                    </a:cubicBezTo>
                    <a:lnTo>
                      <a:pt x="713" y="93"/>
                    </a:lnTo>
                    <a:lnTo>
                      <a:pt x="681" y="93"/>
                    </a:lnTo>
                    <a:cubicBezTo>
                      <a:pt x="651" y="93"/>
                      <a:pt x="651" y="93"/>
                      <a:pt x="651" y="93"/>
                    </a:cubicBezTo>
                    <a:cubicBezTo>
                      <a:pt x="651" y="93"/>
                      <a:pt x="620" y="93"/>
                      <a:pt x="620" y="124"/>
                    </a:cubicBezTo>
                    <a:lnTo>
                      <a:pt x="620" y="124"/>
                    </a:lnTo>
                    <a:cubicBezTo>
                      <a:pt x="620" y="124"/>
                      <a:pt x="620" y="155"/>
                      <a:pt x="589" y="155"/>
                    </a:cubicBezTo>
                    <a:cubicBezTo>
                      <a:pt x="589" y="155"/>
                      <a:pt x="589" y="155"/>
                      <a:pt x="557" y="155"/>
                    </a:cubicBezTo>
                    <a:lnTo>
                      <a:pt x="557" y="155"/>
                    </a:lnTo>
                    <a:lnTo>
                      <a:pt x="527" y="155"/>
                    </a:lnTo>
                    <a:cubicBezTo>
                      <a:pt x="496" y="155"/>
                      <a:pt x="496" y="155"/>
                      <a:pt x="465" y="155"/>
                    </a:cubicBezTo>
                    <a:lnTo>
                      <a:pt x="465" y="155"/>
                    </a:lnTo>
                    <a:cubicBezTo>
                      <a:pt x="433" y="155"/>
                      <a:pt x="433" y="155"/>
                      <a:pt x="433" y="155"/>
                    </a:cubicBezTo>
                    <a:cubicBezTo>
                      <a:pt x="465" y="155"/>
                      <a:pt x="465" y="155"/>
                      <a:pt x="465" y="155"/>
                    </a:cubicBezTo>
                    <a:cubicBezTo>
                      <a:pt x="465" y="155"/>
                      <a:pt x="465" y="155"/>
                      <a:pt x="433" y="155"/>
                    </a:cubicBezTo>
                    <a:cubicBezTo>
                      <a:pt x="465" y="186"/>
                      <a:pt x="465" y="186"/>
                      <a:pt x="465" y="186"/>
                    </a:cubicBezTo>
                    <a:cubicBezTo>
                      <a:pt x="465" y="186"/>
                      <a:pt x="465" y="217"/>
                      <a:pt x="433" y="217"/>
                    </a:cubicBezTo>
                    <a:lnTo>
                      <a:pt x="433" y="217"/>
                    </a:lnTo>
                    <a:cubicBezTo>
                      <a:pt x="433" y="248"/>
                      <a:pt x="403" y="248"/>
                      <a:pt x="403" y="248"/>
                    </a:cubicBezTo>
                    <a:cubicBezTo>
                      <a:pt x="372" y="279"/>
                      <a:pt x="341" y="279"/>
                      <a:pt x="309" y="279"/>
                    </a:cubicBezTo>
                    <a:lnTo>
                      <a:pt x="309" y="279"/>
                    </a:lnTo>
                    <a:cubicBezTo>
                      <a:pt x="309" y="279"/>
                      <a:pt x="309" y="279"/>
                      <a:pt x="279" y="279"/>
                    </a:cubicBezTo>
                    <a:cubicBezTo>
                      <a:pt x="279" y="279"/>
                      <a:pt x="248" y="279"/>
                      <a:pt x="217" y="279"/>
                    </a:cubicBezTo>
                    <a:cubicBezTo>
                      <a:pt x="185" y="279"/>
                      <a:pt x="185" y="279"/>
                      <a:pt x="185" y="279"/>
                    </a:cubicBezTo>
                    <a:cubicBezTo>
                      <a:pt x="155" y="310"/>
                      <a:pt x="155" y="310"/>
                      <a:pt x="124" y="310"/>
                    </a:cubicBezTo>
                    <a:lnTo>
                      <a:pt x="124" y="310"/>
                    </a:lnTo>
                    <a:cubicBezTo>
                      <a:pt x="124" y="310"/>
                      <a:pt x="124" y="310"/>
                      <a:pt x="93" y="310"/>
                    </a:cubicBezTo>
                    <a:lnTo>
                      <a:pt x="93" y="310"/>
                    </a:lnTo>
                    <a:cubicBezTo>
                      <a:pt x="61" y="310"/>
                      <a:pt x="61" y="310"/>
                      <a:pt x="61" y="310"/>
                    </a:cubicBezTo>
                    <a:lnTo>
                      <a:pt x="31" y="310"/>
                    </a:lnTo>
                    <a:lnTo>
                      <a:pt x="0" y="310"/>
                    </a:lnTo>
                    <a:cubicBezTo>
                      <a:pt x="0" y="310"/>
                      <a:pt x="31" y="310"/>
                      <a:pt x="61" y="310"/>
                    </a:cubicBezTo>
                    <a:cubicBezTo>
                      <a:pt x="93" y="310"/>
                      <a:pt x="93" y="310"/>
                      <a:pt x="124" y="341"/>
                    </a:cubicBezTo>
                    <a:lnTo>
                      <a:pt x="124" y="341"/>
                    </a:lnTo>
                    <a:lnTo>
                      <a:pt x="124" y="341"/>
                    </a:lnTo>
                    <a:cubicBezTo>
                      <a:pt x="155" y="341"/>
                      <a:pt x="155" y="341"/>
                      <a:pt x="185" y="341"/>
                    </a:cubicBezTo>
                    <a:cubicBezTo>
                      <a:pt x="185" y="341"/>
                      <a:pt x="185" y="341"/>
                      <a:pt x="217" y="341"/>
                    </a:cubicBezTo>
                    <a:lnTo>
                      <a:pt x="217" y="341"/>
                    </a:lnTo>
                    <a:cubicBezTo>
                      <a:pt x="248" y="341"/>
                      <a:pt x="248" y="341"/>
                      <a:pt x="279" y="341"/>
                    </a:cubicBezTo>
                    <a:lnTo>
                      <a:pt x="279" y="341"/>
                    </a:lnTo>
                    <a:lnTo>
                      <a:pt x="279" y="341"/>
                    </a:lnTo>
                    <a:cubicBezTo>
                      <a:pt x="309" y="341"/>
                      <a:pt x="309" y="372"/>
                      <a:pt x="309" y="372"/>
                    </a:cubicBezTo>
                    <a:cubicBezTo>
                      <a:pt x="309" y="403"/>
                      <a:pt x="279" y="403"/>
                      <a:pt x="279" y="403"/>
                    </a:cubicBezTo>
                    <a:lnTo>
                      <a:pt x="279" y="403"/>
                    </a:lnTo>
                    <a:cubicBezTo>
                      <a:pt x="248" y="403"/>
                      <a:pt x="185" y="403"/>
                      <a:pt x="155" y="403"/>
                    </a:cubicBezTo>
                    <a:cubicBezTo>
                      <a:pt x="155" y="403"/>
                      <a:pt x="155" y="403"/>
                      <a:pt x="155" y="434"/>
                    </a:cubicBezTo>
                    <a:lnTo>
                      <a:pt x="155" y="434"/>
                    </a:lnTo>
                    <a:cubicBezTo>
                      <a:pt x="185" y="434"/>
                      <a:pt x="185" y="434"/>
                      <a:pt x="217" y="403"/>
                    </a:cubicBezTo>
                    <a:lnTo>
                      <a:pt x="217" y="403"/>
                    </a:lnTo>
                    <a:lnTo>
                      <a:pt x="248" y="403"/>
                    </a:lnTo>
                    <a:cubicBezTo>
                      <a:pt x="248" y="403"/>
                      <a:pt x="248" y="403"/>
                      <a:pt x="248" y="434"/>
                    </a:cubicBezTo>
                    <a:cubicBezTo>
                      <a:pt x="248" y="434"/>
                      <a:pt x="248" y="434"/>
                      <a:pt x="279" y="434"/>
                    </a:cubicBezTo>
                    <a:lnTo>
                      <a:pt x="279" y="403"/>
                    </a:lnTo>
                    <a:cubicBezTo>
                      <a:pt x="309" y="403"/>
                      <a:pt x="309" y="403"/>
                      <a:pt x="309" y="403"/>
                    </a:cubicBezTo>
                    <a:cubicBezTo>
                      <a:pt x="341" y="403"/>
                      <a:pt x="341" y="434"/>
                      <a:pt x="341" y="434"/>
                    </a:cubicBezTo>
                    <a:lnTo>
                      <a:pt x="341" y="434"/>
                    </a:lnTo>
                    <a:cubicBezTo>
                      <a:pt x="341" y="434"/>
                      <a:pt x="341" y="434"/>
                      <a:pt x="372" y="434"/>
                    </a:cubicBezTo>
                    <a:cubicBezTo>
                      <a:pt x="403" y="403"/>
                      <a:pt x="403" y="403"/>
                      <a:pt x="433" y="403"/>
                    </a:cubicBezTo>
                    <a:cubicBezTo>
                      <a:pt x="465" y="403"/>
                      <a:pt x="465" y="403"/>
                      <a:pt x="496" y="403"/>
                    </a:cubicBezTo>
                    <a:cubicBezTo>
                      <a:pt x="527" y="434"/>
                      <a:pt x="589" y="434"/>
                      <a:pt x="651" y="434"/>
                    </a:cubicBezTo>
                    <a:lnTo>
                      <a:pt x="651" y="434"/>
                    </a:lnTo>
                    <a:cubicBezTo>
                      <a:pt x="681" y="434"/>
                      <a:pt x="681" y="434"/>
                      <a:pt x="681" y="434"/>
                    </a:cubicBezTo>
                    <a:lnTo>
                      <a:pt x="681" y="434"/>
                    </a:lnTo>
                    <a:cubicBezTo>
                      <a:pt x="681" y="434"/>
                      <a:pt x="681" y="434"/>
                      <a:pt x="713" y="434"/>
                    </a:cubicBezTo>
                    <a:cubicBezTo>
                      <a:pt x="713" y="434"/>
                      <a:pt x="713" y="434"/>
                      <a:pt x="744" y="465"/>
                    </a:cubicBezTo>
                    <a:cubicBezTo>
                      <a:pt x="744" y="465"/>
                      <a:pt x="744" y="465"/>
                      <a:pt x="744" y="496"/>
                    </a:cubicBezTo>
                    <a:lnTo>
                      <a:pt x="744" y="496"/>
                    </a:lnTo>
                    <a:cubicBezTo>
                      <a:pt x="744" y="496"/>
                      <a:pt x="775" y="496"/>
                      <a:pt x="805" y="496"/>
                    </a:cubicBezTo>
                    <a:cubicBezTo>
                      <a:pt x="805" y="527"/>
                      <a:pt x="837" y="527"/>
                      <a:pt x="837" y="558"/>
                    </a:cubicBezTo>
                    <a:lnTo>
                      <a:pt x="837" y="558"/>
                    </a:lnTo>
                    <a:lnTo>
                      <a:pt x="868" y="558"/>
                    </a:lnTo>
                    <a:lnTo>
                      <a:pt x="868" y="589"/>
                    </a:lnTo>
                    <a:lnTo>
                      <a:pt x="868" y="589"/>
                    </a:lnTo>
                    <a:lnTo>
                      <a:pt x="868" y="589"/>
                    </a:lnTo>
                    <a:cubicBezTo>
                      <a:pt x="899" y="589"/>
                      <a:pt x="899" y="589"/>
                      <a:pt x="899" y="589"/>
                    </a:cubicBezTo>
                    <a:cubicBezTo>
                      <a:pt x="899" y="620"/>
                      <a:pt x="899" y="620"/>
                      <a:pt x="899" y="620"/>
                    </a:cubicBezTo>
                    <a:cubicBezTo>
                      <a:pt x="929" y="620"/>
                      <a:pt x="929" y="651"/>
                      <a:pt x="929" y="651"/>
                    </a:cubicBezTo>
                    <a:lnTo>
                      <a:pt x="929" y="682"/>
                    </a:lnTo>
                    <a:cubicBezTo>
                      <a:pt x="992" y="713"/>
                      <a:pt x="992" y="713"/>
                      <a:pt x="992" y="713"/>
                    </a:cubicBezTo>
                    <a:cubicBezTo>
                      <a:pt x="899" y="744"/>
                      <a:pt x="899" y="744"/>
                      <a:pt x="899" y="744"/>
                    </a:cubicBezTo>
                    <a:lnTo>
                      <a:pt x="899" y="744"/>
                    </a:lnTo>
                    <a:lnTo>
                      <a:pt x="899" y="744"/>
                    </a:lnTo>
                    <a:lnTo>
                      <a:pt x="929" y="744"/>
                    </a:lnTo>
                    <a:lnTo>
                      <a:pt x="929" y="744"/>
                    </a:lnTo>
                    <a:lnTo>
                      <a:pt x="961" y="744"/>
                    </a:lnTo>
                    <a:lnTo>
                      <a:pt x="961" y="744"/>
                    </a:lnTo>
                    <a:lnTo>
                      <a:pt x="961" y="713"/>
                    </a:lnTo>
                    <a:cubicBezTo>
                      <a:pt x="992" y="713"/>
                      <a:pt x="992" y="713"/>
                      <a:pt x="1023" y="713"/>
                    </a:cubicBezTo>
                    <a:cubicBezTo>
                      <a:pt x="1023" y="713"/>
                      <a:pt x="1023" y="713"/>
                      <a:pt x="1053" y="713"/>
                    </a:cubicBezTo>
                    <a:cubicBezTo>
                      <a:pt x="1053" y="744"/>
                      <a:pt x="1116" y="744"/>
                      <a:pt x="1147" y="775"/>
                    </a:cubicBezTo>
                    <a:cubicBezTo>
                      <a:pt x="1147" y="775"/>
                      <a:pt x="1177" y="775"/>
                      <a:pt x="1177" y="806"/>
                    </a:cubicBezTo>
                    <a:lnTo>
                      <a:pt x="1177" y="806"/>
                    </a:lnTo>
                    <a:lnTo>
                      <a:pt x="1177" y="806"/>
                    </a:lnTo>
                    <a:cubicBezTo>
                      <a:pt x="1177" y="806"/>
                      <a:pt x="1177" y="806"/>
                      <a:pt x="1177" y="837"/>
                    </a:cubicBezTo>
                    <a:cubicBezTo>
                      <a:pt x="1208" y="837"/>
                      <a:pt x="1177" y="868"/>
                      <a:pt x="1177" y="868"/>
                    </a:cubicBezTo>
                    <a:cubicBezTo>
                      <a:pt x="1177" y="868"/>
                      <a:pt x="1177" y="868"/>
                      <a:pt x="1177" y="899"/>
                    </a:cubicBezTo>
                    <a:cubicBezTo>
                      <a:pt x="1177" y="899"/>
                      <a:pt x="1177" y="899"/>
                      <a:pt x="1147" y="930"/>
                    </a:cubicBezTo>
                    <a:lnTo>
                      <a:pt x="1147" y="930"/>
                    </a:lnTo>
                    <a:cubicBezTo>
                      <a:pt x="1147" y="930"/>
                      <a:pt x="1116" y="961"/>
                      <a:pt x="1085" y="961"/>
                    </a:cubicBezTo>
                    <a:lnTo>
                      <a:pt x="1085" y="961"/>
                    </a:lnTo>
                    <a:cubicBezTo>
                      <a:pt x="1053" y="961"/>
                      <a:pt x="1023" y="961"/>
                      <a:pt x="1023" y="961"/>
                    </a:cubicBezTo>
                    <a:cubicBezTo>
                      <a:pt x="1023" y="992"/>
                      <a:pt x="1023" y="992"/>
                      <a:pt x="1023" y="992"/>
                    </a:cubicBezTo>
                    <a:cubicBezTo>
                      <a:pt x="1023" y="992"/>
                      <a:pt x="1023" y="1023"/>
                      <a:pt x="992" y="1023"/>
                    </a:cubicBezTo>
                    <a:lnTo>
                      <a:pt x="992" y="1023"/>
                    </a:lnTo>
                    <a:lnTo>
                      <a:pt x="992" y="1023"/>
                    </a:lnTo>
                    <a:lnTo>
                      <a:pt x="992" y="1054"/>
                    </a:lnTo>
                    <a:cubicBezTo>
                      <a:pt x="992" y="1085"/>
                      <a:pt x="1023" y="1085"/>
                      <a:pt x="1023" y="1085"/>
                    </a:cubicBezTo>
                    <a:cubicBezTo>
                      <a:pt x="1053" y="1116"/>
                      <a:pt x="1053" y="1116"/>
                      <a:pt x="1085" y="1147"/>
                    </a:cubicBezTo>
                    <a:lnTo>
                      <a:pt x="1085" y="1147"/>
                    </a:lnTo>
                    <a:lnTo>
                      <a:pt x="1085" y="1178"/>
                    </a:lnTo>
                    <a:cubicBezTo>
                      <a:pt x="1116" y="1147"/>
                      <a:pt x="1116" y="1116"/>
                      <a:pt x="1116" y="1116"/>
                    </a:cubicBezTo>
                    <a:cubicBezTo>
                      <a:pt x="1147" y="1116"/>
                      <a:pt x="1147" y="1147"/>
                      <a:pt x="1147" y="1147"/>
                    </a:cubicBezTo>
                    <a:cubicBezTo>
                      <a:pt x="1147" y="1147"/>
                      <a:pt x="1147" y="1147"/>
                      <a:pt x="1177" y="1147"/>
                    </a:cubicBezTo>
                    <a:lnTo>
                      <a:pt x="1177" y="1147"/>
                    </a:lnTo>
                    <a:cubicBezTo>
                      <a:pt x="1208" y="1178"/>
                      <a:pt x="1208" y="1178"/>
                      <a:pt x="1208" y="1178"/>
                    </a:cubicBezTo>
                    <a:cubicBezTo>
                      <a:pt x="1208" y="1209"/>
                      <a:pt x="1208" y="1209"/>
                      <a:pt x="1208" y="1209"/>
                    </a:cubicBezTo>
                    <a:cubicBezTo>
                      <a:pt x="1177" y="1209"/>
                      <a:pt x="1177" y="1209"/>
                      <a:pt x="1177" y="1209"/>
                    </a:cubicBezTo>
                    <a:cubicBezTo>
                      <a:pt x="1177" y="1240"/>
                      <a:pt x="1177" y="1240"/>
                      <a:pt x="1177" y="1270"/>
                    </a:cubicBezTo>
                    <a:lnTo>
                      <a:pt x="1177" y="1270"/>
                    </a:lnTo>
                    <a:cubicBezTo>
                      <a:pt x="1177" y="1302"/>
                      <a:pt x="1208" y="1333"/>
                      <a:pt x="1208" y="1333"/>
                    </a:cubicBezTo>
                    <a:cubicBezTo>
                      <a:pt x="1208" y="1333"/>
                      <a:pt x="1208" y="1333"/>
                      <a:pt x="1240" y="1333"/>
                    </a:cubicBezTo>
                    <a:lnTo>
                      <a:pt x="1240" y="1364"/>
                    </a:lnTo>
                    <a:lnTo>
                      <a:pt x="1240" y="1364"/>
                    </a:lnTo>
                    <a:lnTo>
                      <a:pt x="1271" y="1364"/>
                    </a:lnTo>
                    <a:cubicBezTo>
                      <a:pt x="1271" y="1364"/>
                      <a:pt x="1271" y="1364"/>
                      <a:pt x="1301" y="1394"/>
                    </a:cubicBezTo>
                    <a:lnTo>
                      <a:pt x="1301" y="1394"/>
                    </a:lnTo>
                    <a:cubicBezTo>
                      <a:pt x="1301" y="1394"/>
                      <a:pt x="1301" y="1394"/>
                      <a:pt x="1301" y="1426"/>
                    </a:cubicBezTo>
                    <a:lnTo>
                      <a:pt x="1333" y="1426"/>
                    </a:lnTo>
                    <a:lnTo>
                      <a:pt x="1333" y="1426"/>
                    </a:lnTo>
                    <a:cubicBezTo>
                      <a:pt x="1333" y="1394"/>
                      <a:pt x="1333" y="1394"/>
                      <a:pt x="1364" y="1394"/>
                    </a:cubicBezTo>
                    <a:lnTo>
                      <a:pt x="1364" y="1394"/>
                    </a:lnTo>
                    <a:lnTo>
                      <a:pt x="1364" y="1394"/>
                    </a:lnTo>
                    <a:lnTo>
                      <a:pt x="1364" y="1394"/>
                    </a:lnTo>
                    <a:cubicBezTo>
                      <a:pt x="1364" y="1394"/>
                      <a:pt x="1364" y="1394"/>
                      <a:pt x="1394" y="1394"/>
                    </a:cubicBezTo>
                    <a:lnTo>
                      <a:pt x="1394" y="1394"/>
                    </a:lnTo>
                    <a:lnTo>
                      <a:pt x="1425" y="1394"/>
                    </a:lnTo>
                    <a:cubicBezTo>
                      <a:pt x="1457" y="1394"/>
                      <a:pt x="1457" y="1394"/>
                      <a:pt x="1457" y="1394"/>
                    </a:cubicBezTo>
                    <a:cubicBezTo>
                      <a:pt x="1457" y="1394"/>
                      <a:pt x="1488" y="1394"/>
                      <a:pt x="1488" y="1426"/>
                    </a:cubicBezTo>
                    <a:cubicBezTo>
                      <a:pt x="1488" y="1426"/>
                      <a:pt x="1457" y="1426"/>
                      <a:pt x="1457" y="1457"/>
                    </a:cubicBezTo>
                    <a:lnTo>
                      <a:pt x="1457" y="1457"/>
                    </a:lnTo>
                    <a:cubicBezTo>
                      <a:pt x="1488" y="1457"/>
                      <a:pt x="1488" y="1457"/>
                      <a:pt x="1488" y="1457"/>
                    </a:cubicBezTo>
                    <a:cubicBezTo>
                      <a:pt x="1518" y="1457"/>
                      <a:pt x="1518" y="1457"/>
                      <a:pt x="1518" y="1457"/>
                    </a:cubicBezTo>
                    <a:cubicBezTo>
                      <a:pt x="1518" y="1457"/>
                      <a:pt x="1518" y="1457"/>
                      <a:pt x="1549" y="1457"/>
                    </a:cubicBezTo>
                    <a:lnTo>
                      <a:pt x="1549" y="1457"/>
                    </a:lnTo>
                    <a:lnTo>
                      <a:pt x="1549" y="1457"/>
                    </a:lnTo>
                    <a:cubicBezTo>
                      <a:pt x="1549" y="1426"/>
                      <a:pt x="1549" y="1426"/>
                      <a:pt x="1581" y="1426"/>
                    </a:cubicBezTo>
                    <a:lnTo>
                      <a:pt x="1581" y="1426"/>
                    </a:lnTo>
                    <a:cubicBezTo>
                      <a:pt x="1581" y="1394"/>
                      <a:pt x="1581" y="1394"/>
                      <a:pt x="1581" y="1394"/>
                    </a:cubicBezTo>
                    <a:cubicBezTo>
                      <a:pt x="1581" y="1394"/>
                      <a:pt x="1581" y="1394"/>
                      <a:pt x="1581" y="1364"/>
                    </a:cubicBezTo>
                    <a:cubicBezTo>
                      <a:pt x="1581" y="1364"/>
                      <a:pt x="1549" y="1364"/>
                      <a:pt x="1549" y="1333"/>
                    </a:cubicBezTo>
                    <a:lnTo>
                      <a:pt x="1549" y="1333"/>
                    </a:lnTo>
                    <a:cubicBezTo>
                      <a:pt x="1549" y="1333"/>
                      <a:pt x="1549" y="1333"/>
                      <a:pt x="1549" y="1302"/>
                    </a:cubicBezTo>
                    <a:lnTo>
                      <a:pt x="1581" y="1270"/>
                    </a:lnTo>
                    <a:cubicBezTo>
                      <a:pt x="1581" y="1270"/>
                      <a:pt x="1581" y="1270"/>
                      <a:pt x="1612" y="1270"/>
                    </a:cubicBezTo>
                    <a:cubicBezTo>
                      <a:pt x="1612" y="1270"/>
                      <a:pt x="1612" y="1270"/>
                      <a:pt x="1612" y="1240"/>
                    </a:cubicBezTo>
                    <a:lnTo>
                      <a:pt x="1642" y="1240"/>
                    </a:lnTo>
                    <a:lnTo>
                      <a:pt x="1642" y="1240"/>
                    </a:lnTo>
                    <a:cubicBezTo>
                      <a:pt x="1673" y="1240"/>
                      <a:pt x="1673" y="1240"/>
                      <a:pt x="1673" y="1240"/>
                    </a:cubicBezTo>
                    <a:cubicBezTo>
                      <a:pt x="1581" y="1178"/>
                      <a:pt x="1581" y="1178"/>
                      <a:pt x="1581" y="1178"/>
                    </a:cubicBezTo>
                    <a:cubicBezTo>
                      <a:pt x="1673" y="1178"/>
                      <a:pt x="1673" y="1178"/>
                      <a:pt x="1673" y="1178"/>
                    </a:cubicBezTo>
                    <a:lnTo>
                      <a:pt x="1673" y="1178"/>
                    </a:lnTo>
                    <a:cubicBezTo>
                      <a:pt x="1673" y="1147"/>
                      <a:pt x="1673" y="1147"/>
                      <a:pt x="1673" y="1116"/>
                    </a:cubicBezTo>
                    <a:cubicBezTo>
                      <a:pt x="1705" y="1116"/>
                      <a:pt x="1705" y="1116"/>
                      <a:pt x="1736" y="1116"/>
                    </a:cubicBezTo>
                    <a:lnTo>
                      <a:pt x="1736" y="1116"/>
                    </a:lnTo>
                    <a:lnTo>
                      <a:pt x="1766" y="1116"/>
                    </a:lnTo>
                    <a:cubicBezTo>
                      <a:pt x="1766" y="1085"/>
                      <a:pt x="1766" y="1085"/>
                      <a:pt x="1797" y="1085"/>
                    </a:cubicBezTo>
                    <a:lnTo>
                      <a:pt x="1797" y="1085"/>
                    </a:lnTo>
                    <a:lnTo>
                      <a:pt x="1829" y="1085"/>
                    </a:lnTo>
                    <a:lnTo>
                      <a:pt x="1829" y="1085"/>
                    </a:lnTo>
                    <a:lnTo>
                      <a:pt x="1860" y="1085"/>
                    </a:lnTo>
                    <a:lnTo>
                      <a:pt x="1890" y="1085"/>
                    </a:lnTo>
                    <a:lnTo>
                      <a:pt x="1921" y="1085"/>
                    </a:lnTo>
                    <a:lnTo>
                      <a:pt x="1953" y="1085"/>
                    </a:lnTo>
                    <a:lnTo>
                      <a:pt x="1984" y="1085"/>
                    </a:lnTo>
                    <a:cubicBezTo>
                      <a:pt x="1984" y="1085"/>
                      <a:pt x="2014" y="1085"/>
                      <a:pt x="2014" y="1054"/>
                    </a:cubicBezTo>
                    <a:cubicBezTo>
                      <a:pt x="2045" y="1054"/>
                      <a:pt x="2045" y="1054"/>
                      <a:pt x="2045" y="1023"/>
                    </a:cubicBezTo>
                    <a:cubicBezTo>
                      <a:pt x="2076" y="1023"/>
                      <a:pt x="2076" y="1023"/>
                      <a:pt x="2076" y="1023"/>
                    </a:cubicBezTo>
                    <a:cubicBezTo>
                      <a:pt x="2076" y="992"/>
                      <a:pt x="2076" y="992"/>
                      <a:pt x="2076" y="992"/>
                    </a:cubicBezTo>
                    <a:cubicBezTo>
                      <a:pt x="2108" y="961"/>
                      <a:pt x="2108" y="961"/>
                      <a:pt x="2138" y="961"/>
                    </a:cubicBezTo>
                    <a:lnTo>
                      <a:pt x="2138" y="930"/>
                    </a:lnTo>
                    <a:lnTo>
                      <a:pt x="2169" y="930"/>
                    </a:lnTo>
                    <a:lnTo>
                      <a:pt x="2169" y="930"/>
                    </a:lnTo>
                    <a:cubicBezTo>
                      <a:pt x="2201" y="930"/>
                      <a:pt x="2201" y="930"/>
                      <a:pt x="2201" y="930"/>
                    </a:cubicBezTo>
                    <a:lnTo>
                      <a:pt x="2201" y="930"/>
                    </a:lnTo>
                    <a:lnTo>
                      <a:pt x="2232" y="930"/>
                    </a:lnTo>
                    <a:cubicBezTo>
                      <a:pt x="2232" y="930"/>
                      <a:pt x="2232" y="930"/>
                      <a:pt x="2262" y="930"/>
                    </a:cubicBezTo>
                    <a:lnTo>
                      <a:pt x="2262" y="930"/>
                    </a:lnTo>
                    <a:lnTo>
                      <a:pt x="2293" y="930"/>
                    </a:lnTo>
                    <a:lnTo>
                      <a:pt x="2293" y="930"/>
                    </a:lnTo>
                    <a:cubicBezTo>
                      <a:pt x="2325" y="930"/>
                      <a:pt x="2325" y="930"/>
                      <a:pt x="2325" y="930"/>
                    </a:cubicBezTo>
                    <a:lnTo>
                      <a:pt x="2325" y="930"/>
                    </a:lnTo>
                    <a:cubicBezTo>
                      <a:pt x="2356" y="930"/>
                      <a:pt x="2356" y="930"/>
                      <a:pt x="2356" y="930"/>
                    </a:cubicBezTo>
                    <a:cubicBezTo>
                      <a:pt x="2356" y="930"/>
                      <a:pt x="2356" y="930"/>
                      <a:pt x="2386" y="930"/>
                    </a:cubicBezTo>
                    <a:cubicBezTo>
                      <a:pt x="2386" y="930"/>
                      <a:pt x="2417" y="930"/>
                      <a:pt x="2449" y="899"/>
                    </a:cubicBezTo>
                    <a:cubicBezTo>
                      <a:pt x="2480" y="899"/>
                      <a:pt x="2510" y="899"/>
                      <a:pt x="2541" y="899"/>
                    </a:cubicBezTo>
                    <a:cubicBezTo>
                      <a:pt x="2541" y="899"/>
                      <a:pt x="2541" y="899"/>
                      <a:pt x="2573" y="868"/>
                    </a:cubicBezTo>
                    <a:lnTo>
                      <a:pt x="2573" y="868"/>
                    </a:lnTo>
                    <a:cubicBezTo>
                      <a:pt x="2573" y="868"/>
                      <a:pt x="2573" y="868"/>
                      <a:pt x="2604" y="868"/>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71" name="Freeform 168"/>
              <p:cNvSpPr>
                <a:spLocks noChangeArrowheads="1"/>
              </p:cNvSpPr>
              <p:nvPr/>
            </p:nvSpPr>
            <p:spPr bwMode="auto">
              <a:xfrm>
                <a:off x="3311525" y="765175"/>
                <a:ext cx="79375" cy="11113"/>
              </a:xfrm>
              <a:custGeom>
                <a:avLst/>
                <a:gdLst>
                  <a:gd name="T0" fmla="*/ 62 w 219"/>
                  <a:gd name="T1" fmla="*/ 31 h 32"/>
                  <a:gd name="T2" fmla="*/ 62 w 219"/>
                  <a:gd name="T3" fmla="*/ 31 h 32"/>
                  <a:gd name="T4" fmla="*/ 94 w 219"/>
                  <a:gd name="T5" fmla="*/ 31 h 32"/>
                  <a:gd name="T6" fmla="*/ 155 w 219"/>
                  <a:gd name="T7" fmla="*/ 31 h 32"/>
                  <a:gd name="T8" fmla="*/ 218 w 219"/>
                  <a:gd name="T9" fmla="*/ 0 h 32"/>
                  <a:gd name="T10" fmla="*/ 218 w 219"/>
                  <a:gd name="T11" fmla="*/ 0 h 32"/>
                  <a:gd name="T12" fmla="*/ 155 w 219"/>
                  <a:gd name="T13" fmla="*/ 0 h 32"/>
                  <a:gd name="T14" fmla="*/ 124 w 219"/>
                  <a:gd name="T15" fmla="*/ 0 h 32"/>
                  <a:gd name="T16" fmla="*/ 94 w 219"/>
                  <a:gd name="T17" fmla="*/ 0 h 32"/>
                  <a:gd name="T18" fmla="*/ 62 w 219"/>
                  <a:gd name="T19" fmla="*/ 0 h 32"/>
                  <a:gd name="T20" fmla="*/ 62 w 219"/>
                  <a:gd name="T21" fmla="*/ 0 h 32"/>
                  <a:gd name="T22" fmla="*/ 0 w 219"/>
                  <a:gd name="T23" fmla="*/ 0 h 32"/>
                  <a:gd name="T24" fmla="*/ 0 w 219"/>
                  <a:gd name="T25" fmla="*/ 0 h 32"/>
                  <a:gd name="T26" fmla="*/ 0 w 219"/>
                  <a:gd name="T27" fmla="*/ 0 h 32"/>
                  <a:gd name="T28" fmla="*/ 0 w 219"/>
                  <a:gd name="T29" fmla="*/ 31 h 32"/>
                  <a:gd name="T30" fmla="*/ 31 w 219"/>
                  <a:gd name="T31" fmla="*/ 31 h 32"/>
                  <a:gd name="T32" fmla="*/ 62 w 219"/>
                  <a:gd name="T33"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9" h="32">
                    <a:moveTo>
                      <a:pt x="62" y="31"/>
                    </a:moveTo>
                    <a:lnTo>
                      <a:pt x="62" y="31"/>
                    </a:lnTo>
                    <a:lnTo>
                      <a:pt x="94" y="31"/>
                    </a:lnTo>
                    <a:cubicBezTo>
                      <a:pt x="124" y="31"/>
                      <a:pt x="124" y="31"/>
                      <a:pt x="155" y="31"/>
                    </a:cubicBezTo>
                    <a:cubicBezTo>
                      <a:pt x="186" y="31"/>
                      <a:pt x="186" y="31"/>
                      <a:pt x="218" y="0"/>
                    </a:cubicBezTo>
                    <a:lnTo>
                      <a:pt x="218" y="0"/>
                    </a:lnTo>
                    <a:cubicBezTo>
                      <a:pt x="186" y="0"/>
                      <a:pt x="186" y="0"/>
                      <a:pt x="155" y="0"/>
                    </a:cubicBezTo>
                    <a:lnTo>
                      <a:pt x="124" y="0"/>
                    </a:lnTo>
                    <a:lnTo>
                      <a:pt x="94" y="0"/>
                    </a:lnTo>
                    <a:cubicBezTo>
                      <a:pt x="94" y="0"/>
                      <a:pt x="94" y="0"/>
                      <a:pt x="62" y="0"/>
                    </a:cubicBezTo>
                    <a:lnTo>
                      <a:pt x="62" y="0"/>
                    </a:lnTo>
                    <a:cubicBezTo>
                      <a:pt x="31" y="0"/>
                      <a:pt x="31" y="0"/>
                      <a:pt x="0" y="0"/>
                    </a:cubicBezTo>
                    <a:lnTo>
                      <a:pt x="0" y="0"/>
                    </a:lnTo>
                    <a:lnTo>
                      <a:pt x="0" y="0"/>
                    </a:lnTo>
                    <a:lnTo>
                      <a:pt x="0" y="31"/>
                    </a:lnTo>
                    <a:cubicBezTo>
                      <a:pt x="0" y="31"/>
                      <a:pt x="0" y="31"/>
                      <a:pt x="31" y="31"/>
                    </a:cubicBezTo>
                    <a:lnTo>
                      <a:pt x="62" y="3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72" name="Freeform 169"/>
              <p:cNvSpPr>
                <a:spLocks noChangeArrowheads="1"/>
              </p:cNvSpPr>
              <p:nvPr/>
            </p:nvSpPr>
            <p:spPr bwMode="auto">
              <a:xfrm>
                <a:off x="3233738" y="1122363"/>
                <a:ext cx="146050" cy="55562"/>
              </a:xfrm>
              <a:custGeom>
                <a:avLst/>
                <a:gdLst>
                  <a:gd name="T0" fmla="*/ 341 w 404"/>
                  <a:gd name="T1" fmla="*/ 93 h 156"/>
                  <a:gd name="T2" fmla="*/ 341 w 404"/>
                  <a:gd name="T3" fmla="*/ 93 h 156"/>
                  <a:gd name="T4" fmla="*/ 372 w 404"/>
                  <a:gd name="T5" fmla="*/ 93 h 156"/>
                  <a:gd name="T6" fmla="*/ 372 w 404"/>
                  <a:gd name="T7" fmla="*/ 93 h 156"/>
                  <a:gd name="T8" fmla="*/ 403 w 404"/>
                  <a:gd name="T9" fmla="*/ 62 h 156"/>
                  <a:gd name="T10" fmla="*/ 403 w 404"/>
                  <a:gd name="T11" fmla="*/ 31 h 156"/>
                  <a:gd name="T12" fmla="*/ 403 w 404"/>
                  <a:gd name="T13" fmla="*/ 0 h 156"/>
                  <a:gd name="T14" fmla="*/ 372 w 404"/>
                  <a:gd name="T15" fmla="*/ 0 h 156"/>
                  <a:gd name="T16" fmla="*/ 341 w 404"/>
                  <a:gd name="T17" fmla="*/ 31 h 156"/>
                  <a:gd name="T18" fmla="*/ 341 w 404"/>
                  <a:gd name="T19" fmla="*/ 31 h 156"/>
                  <a:gd name="T20" fmla="*/ 341 w 404"/>
                  <a:gd name="T21" fmla="*/ 31 h 156"/>
                  <a:gd name="T22" fmla="*/ 311 w 404"/>
                  <a:gd name="T23" fmla="*/ 31 h 156"/>
                  <a:gd name="T24" fmla="*/ 311 w 404"/>
                  <a:gd name="T25" fmla="*/ 0 h 156"/>
                  <a:gd name="T26" fmla="*/ 279 w 404"/>
                  <a:gd name="T27" fmla="*/ 0 h 156"/>
                  <a:gd name="T28" fmla="*/ 279 w 404"/>
                  <a:gd name="T29" fmla="*/ 0 h 156"/>
                  <a:gd name="T30" fmla="*/ 248 w 404"/>
                  <a:gd name="T31" fmla="*/ 31 h 156"/>
                  <a:gd name="T32" fmla="*/ 217 w 404"/>
                  <a:gd name="T33" fmla="*/ 31 h 156"/>
                  <a:gd name="T34" fmla="*/ 187 w 404"/>
                  <a:gd name="T35" fmla="*/ 31 h 156"/>
                  <a:gd name="T36" fmla="*/ 187 w 404"/>
                  <a:gd name="T37" fmla="*/ 62 h 156"/>
                  <a:gd name="T38" fmla="*/ 187 w 404"/>
                  <a:gd name="T39" fmla="*/ 62 h 156"/>
                  <a:gd name="T40" fmla="*/ 155 w 404"/>
                  <a:gd name="T41" fmla="*/ 31 h 156"/>
                  <a:gd name="T42" fmla="*/ 155 w 404"/>
                  <a:gd name="T43" fmla="*/ 31 h 156"/>
                  <a:gd name="T44" fmla="*/ 155 w 404"/>
                  <a:gd name="T45" fmla="*/ 31 h 156"/>
                  <a:gd name="T46" fmla="*/ 124 w 404"/>
                  <a:gd name="T47" fmla="*/ 31 h 156"/>
                  <a:gd name="T48" fmla="*/ 124 w 404"/>
                  <a:gd name="T49" fmla="*/ 31 h 156"/>
                  <a:gd name="T50" fmla="*/ 124 w 404"/>
                  <a:gd name="T51" fmla="*/ 62 h 156"/>
                  <a:gd name="T52" fmla="*/ 124 w 404"/>
                  <a:gd name="T53" fmla="*/ 62 h 156"/>
                  <a:gd name="T54" fmla="*/ 94 w 404"/>
                  <a:gd name="T55" fmla="*/ 31 h 156"/>
                  <a:gd name="T56" fmla="*/ 94 w 404"/>
                  <a:gd name="T57" fmla="*/ 31 h 156"/>
                  <a:gd name="T58" fmla="*/ 94 w 404"/>
                  <a:gd name="T59" fmla="*/ 62 h 156"/>
                  <a:gd name="T60" fmla="*/ 63 w 404"/>
                  <a:gd name="T61" fmla="*/ 62 h 156"/>
                  <a:gd name="T62" fmla="*/ 31 w 404"/>
                  <a:gd name="T63" fmla="*/ 93 h 156"/>
                  <a:gd name="T64" fmla="*/ 31 w 404"/>
                  <a:gd name="T65" fmla="*/ 93 h 156"/>
                  <a:gd name="T66" fmla="*/ 0 w 404"/>
                  <a:gd name="T67" fmla="*/ 93 h 156"/>
                  <a:gd name="T68" fmla="*/ 0 w 404"/>
                  <a:gd name="T69" fmla="*/ 93 h 156"/>
                  <a:gd name="T70" fmla="*/ 31 w 404"/>
                  <a:gd name="T71" fmla="*/ 124 h 156"/>
                  <a:gd name="T72" fmla="*/ 31 w 404"/>
                  <a:gd name="T73" fmla="*/ 124 h 156"/>
                  <a:gd name="T74" fmla="*/ 31 w 404"/>
                  <a:gd name="T75" fmla="*/ 124 h 156"/>
                  <a:gd name="T76" fmla="*/ 63 w 404"/>
                  <a:gd name="T77" fmla="*/ 124 h 156"/>
                  <a:gd name="T78" fmla="*/ 155 w 404"/>
                  <a:gd name="T79" fmla="*/ 155 h 156"/>
                  <a:gd name="T80" fmla="*/ 155 w 404"/>
                  <a:gd name="T81" fmla="*/ 155 h 156"/>
                  <a:gd name="T82" fmla="*/ 155 w 404"/>
                  <a:gd name="T83" fmla="*/ 155 h 156"/>
                  <a:gd name="T84" fmla="*/ 217 w 404"/>
                  <a:gd name="T85" fmla="*/ 124 h 156"/>
                  <a:gd name="T86" fmla="*/ 279 w 404"/>
                  <a:gd name="T87" fmla="*/ 124 h 156"/>
                  <a:gd name="T88" fmla="*/ 311 w 404"/>
                  <a:gd name="T89" fmla="*/ 124 h 156"/>
                  <a:gd name="T90" fmla="*/ 311 w 404"/>
                  <a:gd name="T91" fmla="*/ 93 h 156"/>
                  <a:gd name="T92" fmla="*/ 341 w 404"/>
                  <a:gd name="T93" fmla="*/ 9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4" h="156">
                    <a:moveTo>
                      <a:pt x="341" y="93"/>
                    </a:moveTo>
                    <a:lnTo>
                      <a:pt x="341" y="93"/>
                    </a:lnTo>
                    <a:cubicBezTo>
                      <a:pt x="372" y="93"/>
                      <a:pt x="372" y="93"/>
                      <a:pt x="372" y="93"/>
                    </a:cubicBezTo>
                    <a:lnTo>
                      <a:pt x="372" y="93"/>
                    </a:lnTo>
                    <a:cubicBezTo>
                      <a:pt x="372" y="62"/>
                      <a:pt x="403" y="62"/>
                      <a:pt x="403" y="62"/>
                    </a:cubicBezTo>
                    <a:lnTo>
                      <a:pt x="403" y="31"/>
                    </a:lnTo>
                    <a:lnTo>
                      <a:pt x="403" y="0"/>
                    </a:lnTo>
                    <a:lnTo>
                      <a:pt x="372" y="0"/>
                    </a:lnTo>
                    <a:cubicBezTo>
                      <a:pt x="372" y="31"/>
                      <a:pt x="372" y="31"/>
                      <a:pt x="341" y="31"/>
                    </a:cubicBezTo>
                    <a:lnTo>
                      <a:pt x="341" y="31"/>
                    </a:lnTo>
                    <a:lnTo>
                      <a:pt x="341" y="31"/>
                    </a:lnTo>
                    <a:cubicBezTo>
                      <a:pt x="341" y="31"/>
                      <a:pt x="341" y="31"/>
                      <a:pt x="311" y="31"/>
                    </a:cubicBezTo>
                    <a:cubicBezTo>
                      <a:pt x="311" y="0"/>
                      <a:pt x="311" y="0"/>
                      <a:pt x="311" y="0"/>
                    </a:cubicBezTo>
                    <a:cubicBezTo>
                      <a:pt x="279" y="0"/>
                      <a:pt x="279" y="0"/>
                      <a:pt x="279" y="0"/>
                    </a:cubicBezTo>
                    <a:lnTo>
                      <a:pt x="279" y="0"/>
                    </a:lnTo>
                    <a:cubicBezTo>
                      <a:pt x="279" y="31"/>
                      <a:pt x="248" y="31"/>
                      <a:pt x="248" y="31"/>
                    </a:cubicBezTo>
                    <a:lnTo>
                      <a:pt x="217" y="31"/>
                    </a:lnTo>
                    <a:cubicBezTo>
                      <a:pt x="217" y="31"/>
                      <a:pt x="217" y="31"/>
                      <a:pt x="187" y="31"/>
                    </a:cubicBezTo>
                    <a:lnTo>
                      <a:pt x="187" y="62"/>
                    </a:lnTo>
                    <a:lnTo>
                      <a:pt x="187" y="62"/>
                    </a:lnTo>
                    <a:lnTo>
                      <a:pt x="155" y="31"/>
                    </a:lnTo>
                    <a:lnTo>
                      <a:pt x="155" y="31"/>
                    </a:lnTo>
                    <a:lnTo>
                      <a:pt x="155" y="31"/>
                    </a:lnTo>
                    <a:cubicBezTo>
                      <a:pt x="155" y="31"/>
                      <a:pt x="155" y="31"/>
                      <a:pt x="124" y="31"/>
                    </a:cubicBezTo>
                    <a:lnTo>
                      <a:pt x="124" y="31"/>
                    </a:lnTo>
                    <a:lnTo>
                      <a:pt x="124" y="62"/>
                    </a:lnTo>
                    <a:lnTo>
                      <a:pt x="124" y="62"/>
                    </a:lnTo>
                    <a:cubicBezTo>
                      <a:pt x="94" y="62"/>
                      <a:pt x="94" y="62"/>
                      <a:pt x="94" y="31"/>
                    </a:cubicBezTo>
                    <a:lnTo>
                      <a:pt x="94" y="31"/>
                    </a:lnTo>
                    <a:cubicBezTo>
                      <a:pt x="94" y="31"/>
                      <a:pt x="94" y="31"/>
                      <a:pt x="94" y="62"/>
                    </a:cubicBezTo>
                    <a:lnTo>
                      <a:pt x="63" y="62"/>
                    </a:lnTo>
                    <a:cubicBezTo>
                      <a:pt x="63" y="93"/>
                      <a:pt x="31" y="93"/>
                      <a:pt x="31" y="93"/>
                    </a:cubicBezTo>
                    <a:lnTo>
                      <a:pt x="31" y="93"/>
                    </a:lnTo>
                    <a:lnTo>
                      <a:pt x="0" y="93"/>
                    </a:lnTo>
                    <a:lnTo>
                      <a:pt x="0" y="93"/>
                    </a:lnTo>
                    <a:cubicBezTo>
                      <a:pt x="31" y="93"/>
                      <a:pt x="31" y="124"/>
                      <a:pt x="31" y="124"/>
                    </a:cubicBezTo>
                    <a:lnTo>
                      <a:pt x="31" y="124"/>
                    </a:lnTo>
                    <a:lnTo>
                      <a:pt x="31" y="124"/>
                    </a:lnTo>
                    <a:lnTo>
                      <a:pt x="63" y="124"/>
                    </a:lnTo>
                    <a:cubicBezTo>
                      <a:pt x="94" y="124"/>
                      <a:pt x="124" y="155"/>
                      <a:pt x="155" y="155"/>
                    </a:cubicBezTo>
                    <a:lnTo>
                      <a:pt x="155" y="155"/>
                    </a:lnTo>
                    <a:lnTo>
                      <a:pt x="155" y="155"/>
                    </a:lnTo>
                    <a:cubicBezTo>
                      <a:pt x="187" y="155"/>
                      <a:pt x="187" y="155"/>
                      <a:pt x="217" y="124"/>
                    </a:cubicBezTo>
                    <a:cubicBezTo>
                      <a:pt x="248" y="124"/>
                      <a:pt x="248" y="124"/>
                      <a:pt x="279" y="124"/>
                    </a:cubicBezTo>
                    <a:cubicBezTo>
                      <a:pt x="279" y="124"/>
                      <a:pt x="279" y="124"/>
                      <a:pt x="311" y="124"/>
                    </a:cubicBezTo>
                    <a:cubicBezTo>
                      <a:pt x="311" y="124"/>
                      <a:pt x="311" y="124"/>
                      <a:pt x="311" y="93"/>
                    </a:cubicBezTo>
                    <a:lnTo>
                      <a:pt x="341" y="93"/>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73" name="Freeform 170"/>
              <p:cNvSpPr>
                <a:spLocks noChangeArrowheads="1"/>
              </p:cNvSpPr>
              <p:nvPr/>
            </p:nvSpPr>
            <p:spPr bwMode="auto">
              <a:xfrm>
                <a:off x="2106613" y="2147888"/>
                <a:ext cx="44450" cy="34925"/>
              </a:xfrm>
              <a:custGeom>
                <a:avLst/>
                <a:gdLst>
                  <a:gd name="T0" fmla="*/ 62 w 125"/>
                  <a:gd name="T1" fmla="*/ 62 h 95"/>
                  <a:gd name="T2" fmla="*/ 62 w 125"/>
                  <a:gd name="T3" fmla="*/ 62 h 95"/>
                  <a:gd name="T4" fmla="*/ 31 w 125"/>
                  <a:gd name="T5" fmla="*/ 0 h 95"/>
                  <a:gd name="T6" fmla="*/ 0 w 125"/>
                  <a:gd name="T7" fmla="*/ 0 h 95"/>
                  <a:gd name="T8" fmla="*/ 0 w 125"/>
                  <a:gd name="T9" fmla="*/ 0 h 95"/>
                  <a:gd name="T10" fmla="*/ 0 w 125"/>
                  <a:gd name="T11" fmla="*/ 31 h 95"/>
                  <a:gd name="T12" fmla="*/ 62 w 125"/>
                  <a:gd name="T13" fmla="*/ 62 h 95"/>
                  <a:gd name="T14" fmla="*/ 62 w 125"/>
                  <a:gd name="T15" fmla="*/ 62 h 95"/>
                  <a:gd name="T16" fmla="*/ 93 w 125"/>
                  <a:gd name="T17" fmla="*/ 62 h 95"/>
                  <a:gd name="T18" fmla="*/ 93 w 125"/>
                  <a:gd name="T19" fmla="*/ 94 h 95"/>
                  <a:gd name="T20" fmla="*/ 93 w 125"/>
                  <a:gd name="T21" fmla="*/ 94 h 95"/>
                  <a:gd name="T22" fmla="*/ 124 w 125"/>
                  <a:gd name="T23" fmla="*/ 94 h 95"/>
                  <a:gd name="T24" fmla="*/ 124 w 125"/>
                  <a:gd name="T25" fmla="*/ 94 h 95"/>
                  <a:gd name="T26" fmla="*/ 124 w 125"/>
                  <a:gd name="T27" fmla="*/ 62 h 95"/>
                  <a:gd name="T28" fmla="*/ 62 w 125"/>
                  <a:gd name="T29"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95">
                    <a:moveTo>
                      <a:pt x="62" y="62"/>
                    </a:moveTo>
                    <a:lnTo>
                      <a:pt x="62" y="62"/>
                    </a:lnTo>
                    <a:cubicBezTo>
                      <a:pt x="62" y="31"/>
                      <a:pt x="31" y="31"/>
                      <a:pt x="31" y="0"/>
                    </a:cubicBezTo>
                    <a:lnTo>
                      <a:pt x="0" y="0"/>
                    </a:lnTo>
                    <a:lnTo>
                      <a:pt x="0" y="0"/>
                    </a:lnTo>
                    <a:cubicBezTo>
                      <a:pt x="0" y="31"/>
                      <a:pt x="0" y="31"/>
                      <a:pt x="0" y="31"/>
                    </a:cubicBezTo>
                    <a:cubicBezTo>
                      <a:pt x="31" y="31"/>
                      <a:pt x="31" y="62"/>
                      <a:pt x="62" y="62"/>
                    </a:cubicBezTo>
                    <a:lnTo>
                      <a:pt x="62" y="62"/>
                    </a:lnTo>
                    <a:lnTo>
                      <a:pt x="93" y="62"/>
                    </a:lnTo>
                    <a:cubicBezTo>
                      <a:pt x="93" y="94"/>
                      <a:pt x="93" y="94"/>
                      <a:pt x="93" y="94"/>
                    </a:cubicBezTo>
                    <a:lnTo>
                      <a:pt x="93" y="94"/>
                    </a:lnTo>
                    <a:cubicBezTo>
                      <a:pt x="93" y="94"/>
                      <a:pt x="93" y="94"/>
                      <a:pt x="124" y="94"/>
                    </a:cubicBezTo>
                    <a:lnTo>
                      <a:pt x="124" y="94"/>
                    </a:lnTo>
                    <a:cubicBezTo>
                      <a:pt x="124" y="62"/>
                      <a:pt x="124" y="62"/>
                      <a:pt x="124" y="62"/>
                    </a:cubicBezTo>
                    <a:cubicBezTo>
                      <a:pt x="93" y="62"/>
                      <a:pt x="62" y="62"/>
                      <a:pt x="62" y="6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74" name="Freeform 171"/>
              <p:cNvSpPr>
                <a:spLocks noChangeArrowheads="1"/>
              </p:cNvSpPr>
              <p:nvPr/>
            </p:nvSpPr>
            <p:spPr bwMode="auto">
              <a:xfrm>
                <a:off x="2151063" y="2182813"/>
                <a:ext cx="11112" cy="1587"/>
              </a:xfrm>
              <a:custGeom>
                <a:avLst/>
                <a:gdLst>
                  <a:gd name="T0" fmla="*/ 0 w 32"/>
                  <a:gd name="T1" fmla="*/ 0 h 1"/>
                  <a:gd name="T2" fmla="*/ 0 w 32"/>
                  <a:gd name="T3" fmla="*/ 0 h 1"/>
                  <a:gd name="T4" fmla="*/ 0 w 32"/>
                  <a:gd name="T5" fmla="*/ 0 h 1"/>
                  <a:gd name="T6" fmla="*/ 0 w 32"/>
                  <a:gd name="T7" fmla="*/ 0 h 1"/>
                  <a:gd name="T8" fmla="*/ 31 w 32"/>
                  <a:gd name="T9" fmla="*/ 0 h 1"/>
                  <a:gd name="T10" fmla="*/ 31 w 32"/>
                  <a:gd name="T11" fmla="*/ 0 h 1"/>
                  <a:gd name="T12" fmla="*/ 31 w 32"/>
                  <a:gd name="T13" fmla="*/ 0 h 1"/>
                  <a:gd name="T14" fmla="*/ 0 w 3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
                    <a:moveTo>
                      <a:pt x="0" y="0"/>
                    </a:moveTo>
                    <a:lnTo>
                      <a:pt x="0" y="0"/>
                    </a:lnTo>
                    <a:lnTo>
                      <a:pt x="0" y="0"/>
                    </a:lnTo>
                    <a:lnTo>
                      <a:pt x="0" y="0"/>
                    </a:lnTo>
                    <a:cubicBezTo>
                      <a:pt x="31" y="0"/>
                      <a:pt x="31" y="0"/>
                      <a:pt x="31" y="0"/>
                    </a:cubicBezTo>
                    <a:lnTo>
                      <a:pt x="31" y="0"/>
                    </a:lnTo>
                    <a:lnTo>
                      <a:pt x="31" y="0"/>
                    </a:lnTo>
                    <a:cubicBezTo>
                      <a:pt x="31" y="0"/>
                      <a:pt x="31" y="0"/>
                      <a:pt x="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75" name="Freeform 172"/>
              <p:cNvSpPr>
                <a:spLocks noChangeArrowheads="1"/>
              </p:cNvSpPr>
              <p:nvPr/>
            </p:nvSpPr>
            <p:spPr bwMode="auto">
              <a:xfrm>
                <a:off x="2062163" y="2125663"/>
                <a:ext cx="44450" cy="22225"/>
              </a:xfrm>
              <a:custGeom>
                <a:avLst/>
                <a:gdLst>
                  <a:gd name="T0" fmla="*/ 92 w 125"/>
                  <a:gd name="T1" fmla="*/ 32 h 63"/>
                  <a:gd name="T2" fmla="*/ 92 w 125"/>
                  <a:gd name="T3" fmla="*/ 32 h 63"/>
                  <a:gd name="T4" fmla="*/ 92 w 125"/>
                  <a:gd name="T5" fmla="*/ 32 h 63"/>
                  <a:gd name="T6" fmla="*/ 62 w 125"/>
                  <a:gd name="T7" fmla="*/ 32 h 63"/>
                  <a:gd name="T8" fmla="*/ 62 w 125"/>
                  <a:gd name="T9" fmla="*/ 32 h 63"/>
                  <a:gd name="T10" fmla="*/ 31 w 125"/>
                  <a:gd name="T11" fmla="*/ 32 h 63"/>
                  <a:gd name="T12" fmla="*/ 0 w 125"/>
                  <a:gd name="T13" fmla="*/ 0 h 63"/>
                  <a:gd name="T14" fmla="*/ 0 w 125"/>
                  <a:gd name="T15" fmla="*/ 0 h 63"/>
                  <a:gd name="T16" fmla="*/ 0 w 125"/>
                  <a:gd name="T17" fmla="*/ 0 h 63"/>
                  <a:gd name="T18" fmla="*/ 0 w 125"/>
                  <a:gd name="T19" fmla="*/ 0 h 63"/>
                  <a:gd name="T20" fmla="*/ 0 w 125"/>
                  <a:gd name="T21" fmla="*/ 32 h 63"/>
                  <a:gd name="T22" fmla="*/ 31 w 125"/>
                  <a:gd name="T23" fmla="*/ 32 h 63"/>
                  <a:gd name="T24" fmla="*/ 31 w 125"/>
                  <a:gd name="T25" fmla="*/ 32 h 63"/>
                  <a:gd name="T26" fmla="*/ 92 w 125"/>
                  <a:gd name="T27" fmla="*/ 62 h 63"/>
                  <a:gd name="T28" fmla="*/ 124 w 125"/>
                  <a:gd name="T29" fmla="*/ 62 h 63"/>
                  <a:gd name="T30" fmla="*/ 92 w 125"/>
                  <a:gd name="T31" fmla="*/ 3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63">
                    <a:moveTo>
                      <a:pt x="92" y="32"/>
                    </a:moveTo>
                    <a:lnTo>
                      <a:pt x="92" y="32"/>
                    </a:lnTo>
                    <a:lnTo>
                      <a:pt x="92" y="32"/>
                    </a:lnTo>
                    <a:lnTo>
                      <a:pt x="62" y="32"/>
                    </a:lnTo>
                    <a:lnTo>
                      <a:pt x="62" y="32"/>
                    </a:lnTo>
                    <a:cubicBezTo>
                      <a:pt x="31" y="32"/>
                      <a:pt x="31" y="32"/>
                      <a:pt x="31" y="32"/>
                    </a:cubicBezTo>
                    <a:cubicBezTo>
                      <a:pt x="31" y="32"/>
                      <a:pt x="31" y="32"/>
                      <a:pt x="0" y="0"/>
                    </a:cubicBezTo>
                    <a:lnTo>
                      <a:pt x="0" y="0"/>
                    </a:lnTo>
                    <a:lnTo>
                      <a:pt x="0" y="0"/>
                    </a:lnTo>
                    <a:lnTo>
                      <a:pt x="0" y="0"/>
                    </a:lnTo>
                    <a:cubicBezTo>
                      <a:pt x="0" y="32"/>
                      <a:pt x="0" y="32"/>
                      <a:pt x="0" y="32"/>
                    </a:cubicBezTo>
                    <a:cubicBezTo>
                      <a:pt x="31" y="32"/>
                      <a:pt x="31" y="32"/>
                      <a:pt x="31" y="32"/>
                    </a:cubicBezTo>
                    <a:lnTo>
                      <a:pt x="31" y="32"/>
                    </a:lnTo>
                    <a:cubicBezTo>
                      <a:pt x="62" y="32"/>
                      <a:pt x="92" y="62"/>
                      <a:pt x="92" y="62"/>
                    </a:cubicBezTo>
                    <a:cubicBezTo>
                      <a:pt x="124" y="62"/>
                      <a:pt x="124" y="62"/>
                      <a:pt x="124" y="62"/>
                    </a:cubicBezTo>
                    <a:cubicBezTo>
                      <a:pt x="124" y="32"/>
                      <a:pt x="124" y="32"/>
                      <a:pt x="92" y="3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76" name="Freeform 173"/>
              <p:cNvSpPr>
                <a:spLocks noChangeArrowheads="1"/>
              </p:cNvSpPr>
              <p:nvPr/>
            </p:nvSpPr>
            <p:spPr bwMode="auto">
              <a:xfrm>
                <a:off x="1893888" y="2293938"/>
                <a:ext cx="100012" cy="44450"/>
              </a:xfrm>
              <a:custGeom>
                <a:avLst/>
                <a:gdLst>
                  <a:gd name="T0" fmla="*/ 0 w 280"/>
                  <a:gd name="T1" fmla="*/ 62 h 124"/>
                  <a:gd name="T2" fmla="*/ 0 w 280"/>
                  <a:gd name="T3" fmla="*/ 62 h 124"/>
                  <a:gd name="T4" fmla="*/ 0 w 280"/>
                  <a:gd name="T5" fmla="*/ 62 h 124"/>
                  <a:gd name="T6" fmla="*/ 0 w 280"/>
                  <a:gd name="T7" fmla="*/ 62 h 124"/>
                  <a:gd name="T8" fmla="*/ 31 w 280"/>
                  <a:gd name="T9" fmla="*/ 62 h 124"/>
                  <a:gd name="T10" fmla="*/ 31 w 280"/>
                  <a:gd name="T11" fmla="*/ 62 h 124"/>
                  <a:gd name="T12" fmla="*/ 31 w 280"/>
                  <a:gd name="T13" fmla="*/ 62 h 124"/>
                  <a:gd name="T14" fmla="*/ 62 w 280"/>
                  <a:gd name="T15" fmla="*/ 62 h 124"/>
                  <a:gd name="T16" fmla="*/ 62 w 280"/>
                  <a:gd name="T17" fmla="*/ 62 h 124"/>
                  <a:gd name="T18" fmla="*/ 93 w 280"/>
                  <a:gd name="T19" fmla="*/ 123 h 124"/>
                  <a:gd name="T20" fmla="*/ 93 w 280"/>
                  <a:gd name="T21" fmla="*/ 123 h 124"/>
                  <a:gd name="T22" fmla="*/ 93 w 280"/>
                  <a:gd name="T23" fmla="*/ 123 h 124"/>
                  <a:gd name="T24" fmla="*/ 93 w 280"/>
                  <a:gd name="T25" fmla="*/ 123 h 124"/>
                  <a:gd name="T26" fmla="*/ 93 w 280"/>
                  <a:gd name="T27" fmla="*/ 123 h 124"/>
                  <a:gd name="T28" fmla="*/ 93 w 280"/>
                  <a:gd name="T29" fmla="*/ 92 h 124"/>
                  <a:gd name="T30" fmla="*/ 124 w 280"/>
                  <a:gd name="T31" fmla="*/ 92 h 124"/>
                  <a:gd name="T32" fmla="*/ 124 w 280"/>
                  <a:gd name="T33" fmla="*/ 62 h 124"/>
                  <a:gd name="T34" fmla="*/ 124 w 280"/>
                  <a:gd name="T35" fmla="*/ 62 h 124"/>
                  <a:gd name="T36" fmla="*/ 155 w 280"/>
                  <a:gd name="T37" fmla="*/ 62 h 124"/>
                  <a:gd name="T38" fmla="*/ 155 w 280"/>
                  <a:gd name="T39" fmla="*/ 62 h 124"/>
                  <a:gd name="T40" fmla="*/ 155 w 280"/>
                  <a:gd name="T41" fmla="*/ 62 h 124"/>
                  <a:gd name="T42" fmla="*/ 186 w 280"/>
                  <a:gd name="T43" fmla="*/ 62 h 124"/>
                  <a:gd name="T44" fmla="*/ 186 w 280"/>
                  <a:gd name="T45" fmla="*/ 62 h 124"/>
                  <a:gd name="T46" fmla="*/ 186 w 280"/>
                  <a:gd name="T47" fmla="*/ 62 h 124"/>
                  <a:gd name="T48" fmla="*/ 186 w 280"/>
                  <a:gd name="T49" fmla="*/ 30 h 124"/>
                  <a:gd name="T50" fmla="*/ 217 w 280"/>
                  <a:gd name="T51" fmla="*/ 30 h 124"/>
                  <a:gd name="T52" fmla="*/ 217 w 280"/>
                  <a:gd name="T53" fmla="*/ 30 h 124"/>
                  <a:gd name="T54" fmla="*/ 248 w 280"/>
                  <a:gd name="T55" fmla="*/ 30 h 124"/>
                  <a:gd name="T56" fmla="*/ 248 w 280"/>
                  <a:gd name="T57" fmla="*/ 30 h 124"/>
                  <a:gd name="T58" fmla="*/ 248 w 280"/>
                  <a:gd name="T59" fmla="*/ 30 h 124"/>
                  <a:gd name="T60" fmla="*/ 279 w 280"/>
                  <a:gd name="T61" fmla="*/ 30 h 124"/>
                  <a:gd name="T62" fmla="*/ 217 w 280"/>
                  <a:gd name="T63" fmla="*/ 0 h 124"/>
                  <a:gd name="T64" fmla="*/ 186 w 280"/>
                  <a:gd name="T65" fmla="*/ 0 h 124"/>
                  <a:gd name="T66" fmla="*/ 186 w 280"/>
                  <a:gd name="T67" fmla="*/ 0 h 124"/>
                  <a:gd name="T68" fmla="*/ 155 w 280"/>
                  <a:gd name="T69" fmla="*/ 0 h 124"/>
                  <a:gd name="T70" fmla="*/ 155 w 280"/>
                  <a:gd name="T71" fmla="*/ 0 h 124"/>
                  <a:gd name="T72" fmla="*/ 155 w 280"/>
                  <a:gd name="T73" fmla="*/ 0 h 124"/>
                  <a:gd name="T74" fmla="*/ 124 w 280"/>
                  <a:gd name="T75" fmla="*/ 0 h 124"/>
                  <a:gd name="T76" fmla="*/ 62 w 280"/>
                  <a:gd name="T77" fmla="*/ 0 h 124"/>
                  <a:gd name="T78" fmla="*/ 62 w 280"/>
                  <a:gd name="T79" fmla="*/ 0 h 124"/>
                  <a:gd name="T80" fmla="*/ 62 w 280"/>
                  <a:gd name="T81" fmla="*/ 0 h 124"/>
                  <a:gd name="T82" fmla="*/ 62 w 280"/>
                  <a:gd name="T83" fmla="*/ 0 h 124"/>
                  <a:gd name="T84" fmla="*/ 62 w 280"/>
                  <a:gd name="T85" fmla="*/ 0 h 124"/>
                  <a:gd name="T86" fmla="*/ 31 w 280"/>
                  <a:gd name="T87" fmla="*/ 0 h 124"/>
                  <a:gd name="T88" fmla="*/ 31 w 280"/>
                  <a:gd name="T89" fmla="*/ 30 h 124"/>
                  <a:gd name="T90" fmla="*/ 0 w 280"/>
                  <a:gd name="T91"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0" h="124">
                    <a:moveTo>
                      <a:pt x="0" y="62"/>
                    </a:moveTo>
                    <a:lnTo>
                      <a:pt x="0" y="62"/>
                    </a:lnTo>
                    <a:lnTo>
                      <a:pt x="0" y="62"/>
                    </a:lnTo>
                    <a:lnTo>
                      <a:pt x="0" y="62"/>
                    </a:lnTo>
                    <a:cubicBezTo>
                      <a:pt x="0" y="62"/>
                      <a:pt x="0" y="62"/>
                      <a:pt x="31" y="62"/>
                    </a:cubicBezTo>
                    <a:lnTo>
                      <a:pt x="31" y="62"/>
                    </a:lnTo>
                    <a:lnTo>
                      <a:pt x="31" y="62"/>
                    </a:lnTo>
                    <a:cubicBezTo>
                      <a:pt x="31" y="62"/>
                      <a:pt x="31" y="62"/>
                      <a:pt x="62" y="62"/>
                    </a:cubicBezTo>
                    <a:lnTo>
                      <a:pt x="62" y="62"/>
                    </a:lnTo>
                    <a:cubicBezTo>
                      <a:pt x="62" y="62"/>
                      <a:pt x="93" y="92"/>
                      <a:pt x="93" y="123"/>
                    </a:cubicBezTo>
                    <a:lnTo>
                      <a:pt x="93" y="123"/>
                    </a:lnTo>
                    <a:lnTo>
                      <a:pt x="93" y="123"/>
                    </a:lnTo>
                    <a:lnTo>
                      <a:pt x="93" y="123"/>
                    </a:lnTo>
                    <a:lnTo>
                      <a:pt x="93" y="123"/>
                    </a:lnTo>
                    <a:cubicBezTo>
                      <a:pt x="93" y="92"/>
                      <a:pt x="93" y="92"/>
                      <a:pt x="93" y="92"/>
                    </a:cubicBezTo>
                    <a:cubicBezTo>
                      <a:pt x="93" y="92"/>
                      <a:pt x="93" y="92"/>
                      <a:pt x="124" y="92"/>
                    </a:cubicBezTo>
                    <a:cubicBezTo>
                      <a:pt x="124" y="92"/>
                      <a:pt x="124" y="92"/>
                      <a:pt x="124" y="62"/>
                    </a:cubicBezTo>
                    <a:lnTo>
                      <a:pt x="124" y="62"/>
                    </a:lnTo>
                    <a:lnTo>
                      <a:pt x="155" y="62"/>
                    </a:lnTo>
                    <a:lnTo>
                      <a:pt x="155" y="62"/>
                    </a:lnTo>
                    <a:lnTo>
                      <a:pt x="155" y="62"/>
                    </a:lnTo>
                    <a:cubicBezTo>
                      <a:pt x="155" y="62"/>
                      <a:pt x="155" y="62"/>
                      <a:pt x="186" y="62"/>
                    </a:cubicBezTo>
                    <a:lnTo>
                      <a:pt x="186" y="62"/>
                    </a:lnTo>
                    <a:lnTo>
                      <a:pt x="186" y="62"/>
                    </a:lnTo>
                    <a:cubicBezTo>
                      <a:pt x="186" y="30"/>
                      <a:pt x="186" y="30"/>
                      <a:pt x="186" y="30"/>
                    </a:cubicBezTo>
                    <a:cubicBezTo>
                      <a:pt x="217" y="30"/>
                      <a:pt x="217" y="30"/>
                      <a:pt x="217" y="30"/>
                    </a:cubicBezTo>
                    <a:lnTo>
                      <a:pt x="217" y="30"/>
                    </a:lnTo>
                    <a:cubicBezTo>
                      <a:pt x="248" y="30"/>
                      <a:pt x="248" y="30"/>
                      <a:pt x="248" y="30"/>
                    </a:cubicBezTo>
                    <a:lnTo>
                      <a:pt x="248" y="30"/>
                    </a:lnTo>
                    <a:lnTo>
                      <a:pt x="248" y="30"/>
                    </a:lnTo>
                    <a:lnTo>
                      <a:pt x="279" y="30"/>
                    </a:lnTo>
                    <a:cubicBezTo>
                      <a:pt x="248" y="0"/>
                      <a:pt x="248" y="0"/>
                      <a:pt x="217" y="0"/>
                    </a:cubicBezTo>
                    <a:cubicBezTo>
                      <a:pt x="217" y="0"/>
                      <a:pt x="217" y="0"/>
                      <a:pt x="186" y="0"/>
                    </a:cubicBezTo>
                    <a:lnTo>
                      <a:pt x="186" y="0"/>
                    </a:lnTo>
                    <a:cubicBezTo>
                      <a:pt x="155" y="0"/>
                      <a:pt x="155" y="0"/>
                      <a:pt x="155" y="0"/>
                    </a:cubicBezTo>
                    <a:lnTo>
                      <a:pt x="155" y="0"/>
                    </a:lnTo>
                    <a:lnTo>
                      <a:pt x="155" y="0"/>
                    </a:lnTo>
                    <a:cubicBezTo>
                      <a:pt x="124" y="0"/>
                      <a:pt x="124" y="0"/>
                      <a:pt x="124" y="0"/>
                    </a:cubicBezTo>
                    <a:cubicBezTo>
                      <a:pt x="93" y="0"/>
                      <a:pt x="93" y="0"/>
                      <a:pt x="62" y="0"/>
                    </a:cubicBezTo>
                    <a:lnTo>
                      <a:pt x="62" y="0"/>
                    </a:lnTo>
                    <a:lnTo>
                      <a:pt x="62" y="0"/>
                    </a:lnTo>
                    <a:lnTo>
                      <a:pt x="62" y="0"/>
                    </a:lnTo>
                    <a:lnTo>
                      <a:pt x="62" y="0"/>
                    </a:lnTo>
                    <a:cubicBezTo>
                      <a:pt x="62" y="0"/>
                      <a:pt x="62" y="0"/>
                      <a:pt x="31" y="0"/>
                    </a:cubicBezTo>
                    <a:cubicBezTo>
                      <a:pt x="31" y="30"/>
                      <a:pt x="31" y="30"/>
                      <a:pt x="31" y="30"/>
                    </a:cubicBezTo>
                    <a:lnTo>
                      <a:pt x="0" y="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77" name="Freeform 174"/>
              <p:cNvSpPr>
                <a:spLocks noChangeArrowheads="1"/>
              </p:cNvSpPr>
              <p:nvPr/>
            </p:nvSpPr>
            <p:spPr bwMode="auto">
              <a:xfrm>
                <a:off x="2508250" y="1512888"/>
                <a:ext cx="66675" cy="44450"/>
              </a:xfrm>
              <a:custGeom>
                <a:avLst/>
                <a:gdLst>
                  <a:gd name="T0" fmla="*/ 0 w 186"/>
                  <a:gd name="T1" fmla="*/ 92 h 125"/>
                  <a:gd name="T2" fmla="*/ 0 w 186"/>
                  <a:gd name="T3" fmla="*/ 92 h 125"/>
                  <a:gd name="T4" fmla="*/ 31 w 186"/>
                  <a:gd name="T5" fmla="*/ 92 h 125"/>
                  <a:gd name="T6" fmla="*/ 31 w 186"/>
                  <a:gd name="T7" fmla="*/ 92 h 125"/>
                  <a:gd name="T8" fmla="*/ 61 w 186"/>
                  <a:gd name="T9" fmla="*/ 92 h 125"/>
                  <a:gd name="T10" fmla="*/ 61 w 186"/>
                  <a:gd name="T11" fmla="*/ 92 h 125"/>
                  <a:gd name="T12" fmla="*/ 93 w 186"/>
                  <a:gd name="T13" fmla="*/ 62 h 125"/>
                  <a:gd name="T14" fmla="*/ 93 w 186"/>
                  <a:gd name="T15" fmla="*/ 62 h 125"/>
                  <a:gd name="T16" fmla="*/ 124 w 186"/>
                  <a:gd name="T17" fmla="*/ 62 h 125"/>
                  <a:gd name="T18" fmla="*/ 155 w 186"/>
                  <a:gd name="T19" fmla="*/ 62 h 125"/>
                  <a:gd name="T20" fmla="*/ 155 w 186"/>
                  <a:gd name="T21" fmla="*/ 92 h 125"/>
                  <a:gd name="T22" fmla="*/ 155 w 186"/>
                  <a:gd name="T23" fmla="*/ 92 h 125"/>
                  <a:gd name="T24" fmla="*/ 155 w 186"/>
                  <a:gd name="T25" fmla="*/ 124 h 125"/>
                  <a:gd name="T26" fmla="*/ 155 w 186"/>
                  <a:gd name="T27" fmla="*/ 124 h 125"/>
                  <a:gd name="T28" fmla="*/ 155 w 186"/>
                  <a:gd name="T29" fmla="*/ 124 h 125"/>
                  <a:gd name="T30" fmla="*/ 185 w 186"/>
                  <a:gd name="T31" fmla="*/ 124 h 125"/>
                  <a:gd name="T32" fmla="*/ 185 w 186"/>
                  <a:gd name="T33" fmla="*/ 124 h 125"/>
                  <a:gd name="T34" fmla="*/ 185 w 186"/>
                  <a:gd name="T35" fmla="*/ 92 h 125"/>
                  <a:gd name="T36" fmla="*/ 185 w 186"/>
                  <a:gd name="T37" fmla="*/ 62 h 125"/>
                  <a:gd name="T38" fmla="*/ 185 w 186"/>
                  <a:gd name="T39" fmla="*/ 62 h 125"/>
                  <a:gd name="T40" fmla="*/ 185 w 186"/>
                  <a:gd name="T41" fmla="*/ 31 h 125"/>
                  <a:gd name="T42" fmla="*/ 185 w 186"/>
                  <a:gd name="T43" fmla="*/ 31 h 125"/>
                  <a:gd name="T44" fmla="*/ 185 w 186"/>
                  <a:gd name="T45" fmla="*/ 31 h 125"/>
                  <a:gd name="T46" fmla="*/ 185 w 186"/>
                  <a:gd name="T47" fmla="*/ 0 h 125"/>
                  <a:gd name="T48" fmla="*/ 185 w 186"/>
                  <a:gd name="T49" fmla="*/ 0 h 125"/>
                  <a:gd name="T50" fmla="*/ 155 w 186"/>
                  <a:gd name="T51" fmla="*/ 31 h 125"/>
                  <a:gd name="T52" fmla="*/ 124 w 186"/>
                  <a:gd name="T53" fmla="*/ 31 h 125"/>
                  <a:gd name="T54" fmla="*/ 93 w 186"/>
                  <a:gd name="T55" fmla="*/ 0 h 125"/>
                  <a:gd name="T56" fmla="*/ 31 w 186"/>
                  <a:gd name="T57" fmla="*/ 31 h 125"/>
                  <a:gd name="T58" fmla="*/ 0 w 186"/>
                  <a:gd name="T59" fmla="*/ 9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6" h="125">
                    <a:moveTo>
                      <a:pt x="0" y="92"/>
                    </a:moveTo>
                    <a:lnTo>
                      <a:pt x="0" y="92"/>
                    </a:lnTo>
                    <a:cubicBezTo>
                      <a:pt x="0" y="92"/>
                      <a:pt x="0" y="92"/>
                      <a:pt x="31" y="92"/>
                    </a:cubicBezTo>
                    <a:lnTo>
                      <a:pt x="31" y="92"/>
                    </a:lnTo>
                    <a:cubicBezTo>
                      <a:pt x="61" y="92"/>
                      <a:pt x="61" y="92"/>
                      <a:pt x="61" y="92"/>
                    </a:cubicBezTo>
                    <a:lnTo>
                      <a:pt x="61" y="92"/>
                    </a:lnTo>
                    <a:cubicBezTo>
                      <a:pt x="61" y="92"/>
                      <a:pt x="93" y="92"/>
                      <a:pt x="93" y="62"/>
                    </a:cubicBezTo>
                    <a:lnTo>
                      <a:pt x="93" y="62"/>
                    </a:lnTo>
                    <a:cubicBezTo>
                      <a:pt x="124" y="62"/>
                      <a:pt x="124" y="62"/>
                      <a:pt x="124" y="62"/>
                    </a:cubicBezTo>
                    <a:cubicBezTo>
                      <a:pt x="124" y="62"/>
                      <a:pt x="124" y="62"/>
                      <a:pt x="155" y="62"/>
                    </a:cubicBezTo>
                    <a:cubicBezTo>
                      <a:pt x="155" y="92"/>
                      <a:pt x="155" y="92"/>
                      <a:pt x="155" y="92"/>
                    </a:cubicBezTo>
                    <a:lnTo>
                      <a:pt x="155" y="92"/>
                    </a:lnTo>
                    <a:lnTo>
                      <a:pt x="155" y="124"/>
                    </a:lnTo>
                    <a:lnTo>
                      <a:pt x="155" y="124"/>
                    </a:lnTo>
                    <a:lnTo>
                      <a:pt x="155" y="124"/>
                    </a:lnTo>
                    <a:cubicBezTo>
                      <a:pt x="155" y="124"/>
                      <a:pt x="155" y="124"/>
                      <a:pt x="185" y="124"/>
                    </a:cubicBezTo>
                    <a:lnTo>
                      <a:pt x="185" y="124"/>
                    </a:lnTo>
                    <a:cubicBezTo>
                      <a:pt x="185" y="92"/>
                      <a:pt x="185" y="92"/>
                      <a:pt x="185" y="92"/>
                    </a:cubicBezTo>
                    <a:cubicBezTo>
                      <a:pt x="185" y="62"/>
                      <a:pt x="185" y="62"/>
                      <a:pt x="185" y="62"/>
                    </a:cubicBezTo>
                    <a:lnTo>
                      <a:pt x="185" y="62"/>
                    </a:lnTo>
                    <a:lnTo>
                      <a:pt x="185" y="31"/>
                    </a:lnTo>
                    <a:lnTo>
                      <a:pt x="185" y="31"/>
                    </a:lnTo>
                    <a:lnTo>
                      <a:pt x="185" y="31"/>
                    </a:lnTo>
                    <a:cubicBezTo>
                      <a:pt x="185" y="0"/>
                      <a:pt x="185" y="0"/>
                      <a:pt x="185" y="0"/>
                    </a:cubicBezTo>
                    <a:lnTo>
                      <a:pt x="185" y="0"/>
                    </a:lnTo>
                    <a:cubicBezTo>
                      <a:pt x="185" y="31"/>
                      <a:pt x="155" y="31"/>
                      <a:pt x="155" y="31"/>
                    </a:cubicBezTo>
                    <a:cubicBezTo>
                      <a:pt x="124" y="31"/>
                      <a:pt x="124" y="31"/>
                      <a:pt x="124" y="31"/>
                    </a:cubicBezTo>
                    <a:cubicBezTo>
                      <a:pt x="124" y="31"/>
                      <a:pt x="124" y="0"/>
                      <a:pt x="93" y="0"/>
                    </a:cubicBezTo>
                    <a:cubicBezTo>
                      <a:pt x="31" y="31"/>
                      <a:pt x="31" y="31"/>
                      <a:pt x="31" y="31"/>
                    </a:cubicBezTo>
                    <a:cubicBezTo>
                      <a:pt x="0" y="62"/>
                      <a:pt x="0" y="62"/>
                      <a:pt x="0" y="9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78" name="Freeform 175"/>
              <p:cNvSpPr>
                <a:spLocks noChangeArrowheads="1"/>
              </p:cNvSpPr>
              <p:nvPr/>
            </p:nvSpPr>
            <p:spPr bwMode="auto">
              <a:xfrm>
                <a:off x="2297113" y="1524000"/>
                <a:ext cx="66675" cy="77788"/>
              </a:xfrm>
              <a:custGeom>
                <a:avLst/>
                <a:gdLst>
                  <a:gd name="T0" fmla="*/ 0 w 187"/>
                  <a:gd name="T1" fmla="*/ 61 h 218"/>
                  <a:gd name="T2" fmla="*/ 0 w 187"/>
                  <a:gd name="T3" fmla="*/ 61 h 218"/>
                  <a:gd name="T4" fmla="*/ 0 w 187"/>
                  <a:gd name="T5" fmla="*/ 61 h 218"/>
                  <a:gd name="T6" fmla="*/ 30 w 187"/>
                  <a:gd name="T7" fmla="*/ 61 h 218"/>
                  <a:gd name="T8" fmla="*/ 30 w 187"/>
                  <a:gd name="T9" fmla="*/ 61 h 218"/>
                  <a:gd name="T10" fmla="*/ 62 w 187"/>
                  <a:gd name="T11" fmla="*/ 93 h 218"/>
                  <a:gd name="T12" fmla="*/ 62 w 187"/>
                  <a:gd name="T13" fmla="*/ 124 h 218"/>
                  <a:gd name="T14" fmla="*/ 62 w 187"/>
                  <a:gd name="T15" fmla="*/ 155 h 218"/>
                  <a:gd name="T16" fmla="*/ 62 w 187"/>
                  <a:gd name="T17" fmla="*/ 185 h 218"/>
                  <a:gd name="T18" fmla="*/ 93 w 187"/>
                  <a:gd name="T19" fmla="*/ 217 h 218"/>
                  <a:gd name="T20" fmla="*/ 93 w 187"/>
                  <a:gd name="T21" fmla="*/ 217 h 218"/>
                  <a:gd name="T22" fmla="*/ 93 w 187"/>
                  <a:gd name="T23" fmla="*/ 217 h 218"/>
                  <a:gd name="T24" fmla="*/ 124 w 187"/>
                  <a:gd name="T25" fmla="*/ 217 h 218"/>
                  <a:gd name="T26" fmla="*/ 124 w 187"/>
                  <a:gd name="T27" fmla="*/ 217 h 218"/>
                  <a:gd name="T28" fmla="*/ 154 w 187"/>
                  <a:gd name="T29" fmla="*/ 185 h 218"/>
                  <a:gd name="T30" fmla="*/ 154 w 187"/>
                  <a:gd name="T31" fmla="*/ 185 h 218"/>
                  <a:gd name="T32" fmla="*/ 154 w 187"/>
                  <a:gd name="T33" fmla="*/ 185 h 218"/>
                  <a:gd name="T34" fmla="*/ 186 w 187"/>
                  <a:gd name="T35" fmla="*/ 185 h 218"/>
                  <a:gd name="T36" fmla="*/ 186 w 187"/>
                  <a:gd name="T37" fmla="*/ 155 h 218"/>
                  <a:gd name="T38" fmla="*/ 186 w 187"/>
                  <a:gd name="T39" fmla="*/ 124 h 218"/>
                  <a:gd name="T40" fmla="*/ 186 w 187"/>
                  <a:gd name="T41" fmla="*/ 124 h 218"/>
                  <a:gd name="T42" fmla="*/ 186 w 187"/>
                  <a:gd name="T43" fmla="*/ 124 h 218"/>
                  <a:gd name="T44" fmla="*/ 154 w 187"/>
                  <a:gd name="T45" fmla="*/ 93 h 218"/>
                  <a:gd name="T46" fmla="*/ 154 w 187"/>
                  <a:gd name="T47" fmla="*/ 93 h 218"/>
                  <a:gd name="T48" fmla="*/ 124 w 187"/>
                  <a:gd name="T49" fmla="*/ 61 h 218"/>
                  <a:gd name="T50" fmla="*/ 124 w 187"/>
                  <a:gd name="T51" fmla="*/ 61 h 218"/>
                  <a:gd name="T52" fmla="*/ 124 w 187"/>
                  <a:gd name="T53" fmla="*/ 61 h 218"/>
                  <a:gd name="T54" fmla="*/ 124 w 187"/>
                  <a:gd name="T55" fmla="*/ 0 h 218"/>
                  <a:gd name="T56" fmla="*/ 154 w 187"/>
                  <a:gd name="T57" fmla="*/ 0 h 218"/>
                  <a:gd name="T58" fmla="*/ 154 w 187"/>
                  <a:gd name="T59" fmla="*/ 0 h 218"/>
                  <a:gd name="T60" fmla="*/ 186 w 187"/>
                  <a:gd name="T61" fmla="*/ 31 h 218"/>
                  <a:gd name="T62" fmla="*/ 186 w 187"/>
                  <a:gd name="T63" fmla="*/ 0 h 218"/>
                  <a:gd name="T64" fmla="*/ 186 w 187"/>
                  <a:gd name="T65" fmla="*/ 0 h 218"/>
                  <a:gd name="T66" fmla="*/ 186 w 187"/>
                  <a:gd name="T67" fmla="*/ 0 h 218"/>
                  <a:gd name="T68" fmla="*/ 186 w 187"/>
                  <a:gd name="T69" fmla="*/ 0 h 218"/>
                  <a:gd name="T70" fmla="*/ 186 w 187"/>
                  <a:gd name="T71" fmla="*/ 0 h 218"/>
                  <a:gd name="T72" fmla="*/ 154 w 187"/>
                  <a:gd name="T73" fmla="*/ 0 h 218"/>
                  <a:gd name="T74" fmla="*/ 124 w 187"/>
                  <a:gd name="T75" fmla="*/ 0 h 218"/>
                  <a:gd name="T76" fmla="*/ 62 w 187"/>
                  <a:gd name="T77" fmla="*/ 31 h 218"/>
                  <a:gd name="T78" fmla="*/ 62 w 187"/>
                  <a:gd name="T79" fmla="*/ 31 h 218"/>
                  <a:gd name="T80" fmla="*/ 0 w 187"/>
                  <a:gd name="T81" fmla="*/ 6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7" h="218">
                    <a:moveTo>
                      <a:pt x="0" y="61"/>
                    </a:moveTo>
                    <a:lnTo>
                      <a:pt x="0" y="61"/>
                    </a:lnTo>
                    <a:lnTo>
                      <a:pt x="0" y="61"/>
                    </a:lnTo>
                    <a:lnTo>
                      <a:pt x="30" y="61"/>
                    </a:lnTo>
                    <a:lnTo>
                      <a:pt x="30" y="61"/>
                    </a:lnTo>
                    <a:lnTo>
                      <a:pt x="62" y="93"/>
                    </a:lnTo>
                    <a:cubicBezTo>
                      <a:pt x="62" y="124"/>
                      <a:pt x="62" y="124"/>
                      <a:pt x="62" y="124"/>
                    </a:cubicBezTo>
                    <a:cubicBezTo>
                      <a:pt x="62" y="155"/>
                      <a:pt x="62" y="155"/>
                      <a:pt x="62" y="155"/>
                    </a:cubicBezTo>
                    <a:cubicBezTo>
                      <a:pt x="62" y="185"/>
                      <a:pt x="62" y="185"/>
                      <a:pt x="62" y="185"/>
                    </a:cubicBezTo>
                    <a:cubicBezTo>
                      <a:pt x="93" y="185"/>
                      <a:pt x="93" y="185"/>
                      <a:pt x="93" y="217"/>
                    </a:cubicBezTo>
                    <a:lnTo>
                      <a:pt x="93" y="217"/>
                    </a:lnTo>
                    <a:lnTo>
                      <a:pt x="93" y="217"/>
                    </a:lnTo>
                    <a:cubicBezTo>
                      <a:pt x="124" y="217"/>
                      <a:pt x="124" y="217"/>
                      <a:pt x="124" y="217"/>
                    </a:cubicBezTo>
                    <a:lnTo>
                      <a:pt x="124" y="217"/>
                    </a:lnTo>
                    <a:cubicBezTo>
                      <a:pt x="124" y="217"/>
                      <a:pt x="154" y="217"/>
                      <a:pt x="154" y="185"/>
                    </a:cubicBezTo>
                    <a:lnTo>
                      <a:pt x="154" y="185"/>
                    </a:lnTo>
                    <a:lnTo>
                      <a:pt x="154" y="185"/>
                    </a:lnTo>
                    <a:lnTo>
                      <a:pt x="186" y="185"/>
                    </a:lnTo>
                    <a:cubicBezTo>
                      <a:pt x="186" y="155"/>
                      <a:pt x="186" y="155"/>
                      <a:pt x="186" y="155"/>
                    </a:cubicBezTo>
                    <a:cubicBezTo>
                      <a:pt x="186" y="155"/>
                      <a:pt x="186" y="155"/>
                      <a:pt x="186" y="124"/>
                    </a:cubicBezTo>
                    <a:lnTo>
                      <a:pt x="186" y="124"/>
                    </a:lnTo>
                    <a:lnTo>
                      <a:pt x="186" y="124"/>
                    </a:lnTo>
                    <a:cubicBezTo>
                      <a:pt x="154" y="124"/>
                      <a:pt x="154" y="124"/>
                      <a:pt x="154" y="93"/>
                    </a:cubicBezTo>
                    <a:lnTo>
                      <a:pt x="154" y="93"/>
                    </a:lnTo>
                    <a:lnTo>
                      <a:pt x="124" y="61"/>
                    </a:lnTo>
                    <a:lnTo>
                      <a:pt x="124" y="61"/>
                    </a:lnTo>
                    <a:lnTo>
                      <a:pt x="124" y="61"/>
                    </a:lnTo>
                    <a:cubicBezTo>
                      <a:pt x="124" y="31"/>
                      <a:pt x="124" y="31"/>
                      <a:pt x="124" y="0"/>
                    </a:cubicBezTo>
                    <a:lnTo>
                      <a:pt x="154" y="0"/>
                    </a:lnTo>
                    <a:lnTo>
                      <a:pt x="154" y="0"/>
                    </a:lnTo>
                    <a:lnTo>
                      <a:pt x="186" y="31"/>
                    </a:lnTo>
                    <a:lnTo>
                      <a:pt x="186" y="0"/>
                    </a:lnTo>
                    <a:lnTo>
                      <a:pt x="186" y="0"/>
                    </a:lnTo>
                    <a:lnTo>
                      <a:pt x="186" y="0"/>
                    </a:lnTo>
                    <a:lnTo>
                      <a:pt x="186" y="0"/>
                    </a:lnTo>
                    <a:lnTo>
                      <a:pt x="186" y="0"/>
                    </a:lnTo>
                    <a:cubicBezTo>
                      <a:pt x="186" y="0"/>
                      <a:pt x="186" y="0"/>
                      <a:pt x="154" y="0"/>
                    </a:cubicBezTo>
                    <a:cubicBezTo>
                      <a:pt x="154" y="0"/>
                      <a:pt x="154" y="0"/>
                      <a:pt x="124" y="0"/>
                    </a:cubicBezTo>
                    <a:cubicBezTo>
                      <a:pt x="93" y="0"/>
                      <a:pt x="62" y="31"/>
                      <a:pt x="62" y="31"/>
                    </a:cubicBezTo>
                    <a:lnTo>
                      <a:pt x="62" y="31"/>
                    </a:lnTo>
                    <a:cubicBezTo>
                      <a:pt x="62" y="31"/>
                      <a:pt x="30" y="61"/>
                      <a:pt x="0" y="6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79" name="Freeform 176"/>
              <p:cNvSpPr>
                <a:spLocks noChangeArrowheads="1"/>
              </p:cNvSpPr>
              <p:nvPr/>
            </p:nvSpPr>
            <p:spPr bwMode="auto">
              <a:xfrm>
                <a:off x="868363" y="1033463"/>
                <a:ext cx="1674812" cy="625475"/>
              </a:xfrm>
              <a:custGeom>
                <a:avLst/>
                <a:gdLst>
                  <a:gd name="T0" fmla="*/ 2759 w 4651"/>
                  <a:gd name="T1" fmla="*/ 155 h 1737"/>
                  <a:gd name="T2" fmla="*/ 2604 w 4651"/>
                  <a:gd name="T3" fmla="*/ 124 h 1737"/>
                  <a:gd name="T4" fmla="*/ 2418 w 4651"/>
                  <a:gd name="T5" fmla="*/ 155 h 1737"/>
                  <a:gd name="T6" fmla="*/ 2325 w 4651"/>
                  <a:gd name="T7" fmla="*/ 186 h 1737"/>
                  <a:gd name="T8" fmla="*/ 2139 w 4651"/>
                  <a:gd name="T9" fmla="*/ 186 h 1737"/>
                  <a:gd name="T10" fmla="*/ 2046 w 4651"/>
                  <a:gd name="T11" fmla="*/ 155 h 1737"/>
                  <a:gd name="T12" fmla="*/ 1829 w 4651"/>
                  <a:gd name="T13" fmla="*/ 155 h 1737"/>
                  <a:gd name="T14" fmla="*/ 1767 w 4651"/>
                  <a:gd name="T15" fmla="*/ 186 h 1737"/>
                  <a:gd name="T16" fmla="*/ 1643 w 4651"/>
                  <a:gd name="T17" fmla="*/ 155 h 1737"/>
                  <a:gd name="T18" fmla="*/ 1457 w 4651"/>
                  <a:gd name="T19" fmla="*/ 186 h 1737"/>
                  <a:gd name="T20" fmla="*/ 1147 w 4651"/>
                  <a:gd name="T21" fmla="*/ 62 h 1737"/>
                  <a:gd name="T22" fmla="*/ 931 w 4651"/>
                  <a:gd name="T23" fmla="*/ 93 h 1737"/>
                  <a:gd name="T24" fmla="*/ 837 w 4651"/>
                  <a:gd name="T25" fmla="*/ 62 h 1737"/>
                  <a:gd name="T26" fmla="*/ 683 w 4651"/>
                  <a:gd name="T27" fmla="*/ 0 h 1737"/>
                  <a:gd name="T28" fmla="*/ 496 w 4651"/>
                  <a:gd name="T29" fmla="*/ 62 h 1737"/>
                  <a:gd name="T30" fmla="*/ 248 w 4651"/>
                  <a:gd name="T31" fmla="*/ 93 h 1737"/>
                  <a:gd name="T32" fmla="*/ 0 w 4651"/>
                  <a:gd name="T33" fmla="*/ 589 h 1737"/>
                  <a:gd name="T34" fmla="*/ 63 w 4651"/>
                  <a:gd name="T35" fmla="*/ 620 h 1737"/>
                  <a:gd name="T36" fmla="*/ 187 w 4651"/>
                  <a:gd name="T37" fmla="*/ 713 h 1737"/>
                  <a:gd name="T38" fmla="*/ 403 w 4651"/>
                  <a:gd name="T39" fmla="*/ 775 h 1737"/>
                  <a:gd name="T40" fmla="*/ 527 w 4651"/>
                  <a:gd name="T41" fmla="*/ 899 h 1737"/>
                  <a:gd name="T42" fmla="*/ 559 w 4651"/>
                  <a:gd name="T43" fmla="*/ 1053 h 1737"/>
                  <a:gd name="T44" fmla="*/ 683 w 4651"/>
                  <a:gd name="T45" fmla="*/ 1116 h 1737"/>
                  <a:gd name="T46" fmla="*/ 837 w 4651"/>
                  <a:gd name="T47" fmla="*/ 1240 h 1737"/>
                  <a:gd name="T48" fmla="*/ 961 w 4651"/>
                  <a:gd name="T49" fmla="*/ 1301 h 1737"/>
                  <a:gd name="T50" fmla="*/ 2511 w 4651"/>
                  <a:gd name="T51" fmla="*/ 1301 h 1737"/>
                  <a:gd name="T52" fmla="*/ 2604 w 4651"/>
                  <a:gd name="T53" fmla="*/ 1364 h 1737"/>
                  <a:gd name="T54" fmla="*/ 2759 w 4651"/>
                  <a:gd name="T55" fmla="*/ 1364 h 1737"/>
                  <a:gd name="T56" fmla="*/ 2852 w 4651"/>
                  <a:gd name="T57" fmla="*/ 1395 h 1737"/>
                  <a:gd name="T58" fmla="*/ 3162 w 4651"/>
                  <a:gd name="T59" fmla="*/ 1488 h 1737"/>
                  <a:gd name="T60" fmla="*/ 3255 w 4651"/>
                  <a:gd name="T61" fmla="*/ 1612 h 1737"/>
                  <a:gd name="T62" fmla="*/ 3317 w 4651"/>
                  <a:gd name="T63" fmla="*/ 1705 h 1737"/>
                  <a:gd name="T64" fmla="*/ 3534 w 4651"/>
                  <a:gd name="T65" fmla="*/ 1643 h 1737"/>
                  <a:gd name="T66" fmla="*/ 3813 w 4651"/>
                  <a:gd name="T67" fmla="*/ 1549 h 1737"/>
                  <a:gd name="T68" fmla="*/ 3906 w 4651"/>
                  <a:gd name="T69" fmla="*/ 1457 h 1737"/>
                  <a:gd name="T70" fmla="*/ 4122 w 4651"/>
                  <a:gd name="T71" fmla="*/ 1240 h 1737"/>
                  <a:gd name="T72" fmla="*/ 4370 w 4651"/>
                  <a:gd name="T73" fmla="*/ 1240 h 1737"/>
                  <a:gd name="T74" fmla="*/ 4650 w 4651"/>
                  <a:gd name="T75" fmla="*/ 1085 h 1737"/>
                  <a:gd name="T76" fmla="*/ 4494 w 4651"/>
                  <a:gd name="T77" fmla="*/ 1085 h 1737"/>
                  <a:gd name="T78" fmla="*/ 4464 w 4651"/>
                  <a:gd name="T79" fmla="*/ 992 h 1737"/>
                  <a:gd name="T80" fmla="*/ 4309 w 4651"/>
                  <a:gd name="T81" fmla="*/ 929 h 1737"/>
                  <a:gd name="T82" fmla="*/ 4278 w 4651"/>
                  <a:gd name="T83" fmla="*/ 805 h 1737"/>
                  <a:gd name="T84" fmla="*/ 4216 w 4651"/>
                  <a:gd name="T85" fmla="*/ 681 h 1737"/>
                  <a:gd name="T86" fmla="*/ 4154 w 4651"/>
                  <a:gd name="T87" fmla="*/ 744 h 1737"/>
                  <a:gd name="T88" fmla="*/ 3998 w 4651"/>
                  <a:gd name="T89" fmla="*/ 775 h 1737"/>
                  <a:gd name="T90" fmla="*/ 3874 w 4651"/>
                  <a:gd name="T91" fmla="*/ 681 h 1737"/>
                  <a:gd name="T92" fmla="*/ 3844 w 4651"/>
                  <a:gd name="T93" fmla="*/ 589 h 1737"/>
                  <a:gd name="T94" fmla="*/ 3658 w 4651"/>
                  <a:gd name="T95" fmla="*/ 527 h 1737"/>
                  <a:gd name="T96" fmla="*/ 3503 w 4651"/>
                  <a:gd name="T97" fmla="*/ 527 h 1737"/>
                  <a:gd name="T98" fmla="*/ 3441 w 4651"/>
                  <a:gd name="T99" fmla="*/ 744 h 1737"/>
                  <a:gd name="T100" fmla="*/ 3441 w 4651"/>
                  <a:gd name="T101" fmla="*/ 992 h 1737"/>
                  <a:gd name="T102" fmla="*/ 3441 w 4651"/>
                  <a:gd name="T103" fmla="*/ 1209 h 1737"/>
                  <a:gd name="T104" fmla="*/ 3286 w 4651"/>
                  <a:gd name="T105" fmla="*/ 1209 h 1737"/>
                  <a:gd name="T106" fmla="*/ 3193 w 4651"/>
                  <a:gd name="T107" fmla="*/ 1023 h 1737"/>
                  <a:gd name="T108" fmla="*/ 2914 w 4651"/>
                  <a:gd name="T109" fmla="*/ 929 h 1737"/>
                  <a:gd name="T110" fmla="*/ 2635 w 4651"/>
                  <a:gd name="T111" fmla="*/ 868 h 1737"/>
                  <a:gd name="T112" fmla="*/ 2480 w 4651"/>
                  <a:gd name="T113" fmla="*/ 681 h 1737"/>
                  <a:gd name="T114" fmla="*/ 2604 w 4651"/>
                  <a:gd name="T115" fmla="*/ 496 h 1737"/>
                  <a:gd name="T116" fmla="*/ 2635 w 4651"/>
                  <a:gd name="T117" fmla="*/ 433 h 1737"/>
                  <a:gd name="T118" fmla="*/ 2759 w 4651"/>
                  <a:gd name="T119" fmla="*/ 403 h 1737"/>
                  <a:gd name="T120" fmla="*/ 2883 w 4651"/>
                  <a:gd name="T121" fmla="*/ 372 h 1737"/>
                  <a:gd name="T122" fmla="*/ 2883 w 4651"/>
                  <a:gd name="T123" fmla="*/ 186 h 1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51" h="1737">
                    <a:moveTo>
                      <a:pt x="2945" y="186"/>
                    </a:moveTo>
                    <a:lnTo>
                      <a:pt x="2945" y="186"/>
                    </a:lnTo>
                    <a:cubicBezTo>
                      <a:pt x="2914" y="186"/>
                      <a:pt x="2914" y="155"/>
                      <a:pt x="2914" y="155"/>
                    </a:cubicBezTo>
                    <a:lnTo>
                      <a:pt x="2914" y="155"/>
                    </a:lnTo>
                    <a:cubicBezTo>
                      <a:pt x="2914" y="124"/>
                      <a:pt x="2883" y="93"/>
                      <a:pt x="2852" y="93"/>
                    </a:cubicBezTo>
                    <a:lnTo>
                      <a:pt x="2852" y="93"/>
                    </a:lnTo>
                    <a:cubicBezTo>
                      <a:pt x="2821" y="93"/>
                      <a:pt x="2821" y="124"/>
                      <a:pt x="2790" y="124"/>
                    </a:cubicBezTo>
                    <a:cubicBezTo>
                      <a:pt x="2759" y="155"/>
                      <a:pt x="2759" y="155"/>
                      <a:pt x="2759" y="155"/>
                    </a:cubicBezTo>
                    <a:cubicBezTo>
                      <a:pt x="2759" y="124"/>
                      <a:pt x="2759" y="124"/>
                      <a:pt x="2759" y="124"/>
                    </a:cubicBezTo>
                    <a:cubicBezTo>
                      <a:pt x="2759" y="124"/>
                      <a:pt x="2759" y="93"/>
                      <a:pt x="2759" y="62"/>
                    </a:cubicBezTo>
                    <a:cubicBezTo>
                      <a:pt x="2728" y="62"/>
                      <a:pt x="2697" y="62"/>
                      <a:pt x="2666" y="62"/>
                    </a:cubicBezTo>
                    <a:lnTo>
                      <a:pt x="2635" y="62"/>
                    </a:lnTo>
                    <a:lnTo>
                      <a:pt x="2635" y="62"/>
                    </a:lnTo>
                    <a:cubicBezTo>
                      <a:pt x="2604" y="62"/>
                      <a:pt x="2604" y="62"/>
                      <a:pt x="2604" y="62"/>
                    </a:cubicBezTo>
                    <a:lnTo>
                      <a:pt x="2604" y="62"/>
                    </a:lnTo>
                    <a:cubicBezTo>
                      <a:pt x="2635" y="93"/>
                      <a:pt x="2604" y="124"/>
                      <a:pt x="2604" y="124"/>
                    </a:cubicBezTo>
                    <a:cubicBezTo>
                      <a:pt x="2604" y="124"/>
                      <a:pt x="2604" y="124"/>
                      <a:pt x="2573" y="155"/>
                    </a:cubicBezTo>
                    <a:cubicBezTo>
                      <a:pt x="2542" y="155"/>
                      <a:pt x="2542" y="155"/>
                      <a:pt x="2542" y="155"/>
                    </a:cubicBezTo>
                    <a:lnTo>
                      <a:pt x="2542" y="155"/>
                    </a:lnTo>
                    <a:cubicBezTo>
                      <a:pt x="2511" y="155"/>
                      <a:pt x="2511" y="155"/>
                      <a:pt x="2511" y="155"/>
                    </a:cubicBezTo>
                    <a:lnTo>
                      <a:pt x="2511" y="155"/>
                    </a:lnTo>
                    <a:cubicBezTo>
                      <a:pt x="2511" y="186"/>
                      <a:pt x="2480" y="217"/>
                      <a:pt x="2480" y="217"/>
                    </a:cubicBezTo>
                    <a:cubicBezTo>
                      <a:pt x="2449" y="279"/>
                      <a:pt x="2449" y="279"/>
                      <a:pt x="2449" y="279"/>
                    </a:cubicBezTo>
                    <a:cubicBezTo>
                      <a:pt x="2418" y="155"/>
                      <a:pt x="2418" y="155"/>
                      <a:pt x="2418" y="155"/>
                    </a:cubicBezTo>
                    <a:cubicBezTo>
                      <a:pt x="2418" y="124"/>
                      <a:pt x="2418" y="124"/>
                      <a:pt x="2418" y="124"/>
                    </a:cubicBezTo>
                    <a:cubicBezTo>
                      <a:pt x="2418" y="155"/>
                      <a:pt x="2387" y="155"/>
                      <a:pt x="2387" y="155"/>
                    </a:cubicBezTo>
                    <a:lnTo>
                      <a:pt x="2387" y="155"/>
                    </a:lnTo>
                    <a:cubicBezTo>
                      <a:pt x="2387" y="155"/>
                      <a:pt x="2387" y="186"/>
                      <a:pt x="2356" y="186"/>
                    </a:cubicBezTo>
                    <a:lnTo>
                      <a:pt x="2356" y="186"/>
                    </a:lnTo>
                    <a:lnTo>
                      <a:pt x="2325" y="186"/>
                    </a:lnTo>
                    <a:lnTo>
                      <a:pt x="2325" y="186"/>
                    </a:lnTo>
                    <a:lnTo>
                      <a:pt x="2325" y="186"/>
                    </a:lnTo>
                    <a:cubicBezTo>
                      <a:pt x="2294" y="186"/>
                      <a:pt x="2294" y="186"/>
                      <a:pt x="2294" y="186"/>
                    </a:cubicBezTo>
                    <a:cubicBezTo>
                      <a:pt x="2294" y="186"/>
                      <a:pt x="2294" y="186"/>
                      <a:pt x="2263" y="186"/>
                    </a:cubicBezTo>
                    <a:lnTo>
                      <a:pt x="2263" y="186"/>
                    </a:lnTo>
                    <a:cubicBezTo>
                      <a:pt x="2263" y="186"/>
                      <a:pt x="2232" y="186"/>
                      <a:pt x="2232" y="155"/>
                    </a:cubicBezTo>
                    <a:lnTo>
                      <a:pt x="2232" y="155"/>
                    </a:lnTo>
                    <a:lnTo>
                      <a:pt x="2232" y="155"/>
                    </a:lnTo>
                    <a:cubicBezTo>
                      <a:pt x="2201" y="155"/>
                      <a:pt x="2201" y="155"/>
                      <a:pt x="2201" y="186"/>
                    </a:cubicBezTo>
                    <a:cubicBezTo>
                      <a:pt x="2170" y="186"/>
                      <a:pt x="2170" y="186"/>
                      <a:pt x="2139" y="186"/>
                    </a:cubicBezTo>
                    <a:lnTo>
                      <a:pt x="2139" y="186"/>
                    </a:lnTo>
                    <a:lnTo>
                      <a:pt x="2139" y="186"/>
                    </a:lnTo>
                    <a:cubicBezTo>
                      <a:pt x="2108" y="186"/>
                      <a:pt x="2108" y="186"/>
                      <a:pt x="2077" y="186"/>
                    </a:cubicBezTo>
                    <a:cubicBezTo>
                      <a:pt x="2077" y="155"/>
                      <a:pt x="2077" y="155"/>
                      <a:pt x="2077" y="155"/>
                    </a:cubicBezTo>
                    <a:lnTo>
                      <a:pt x="2077" y="155"/>
                    </a:lnTo>
                    <a:cubicBezTo>
                      <a:pt x="2046" y="155"/>
                      <a:pt x="2046" y="155"/>
                      <a:pt x="2046" y="155"/>
                    </a:cubicBezTo>
                    <a:lnTo>
                      <a:pt x="2046" y="155"/>
                    </a:lnTo>
                    <a:lnTo>
                      <a:pt x="2046" y="155"/>
                    </a:lnTo>
                    <a:lnTo>
                      <a:pt x="2015" y="155"/>
                    </a:lnTo>
                    <a:cubicBezTo>
                      <a:pt x="2015" y="155"/>
                      <a:pt x="2015" y="155"/>
                      <a:pt x="1984" y="155"/>
                    </a:cubicBezTo>
                    <a:lnTo>
                      <a:pt x="1984" y="155"/>
                    </a:lnTo>
                    <a:cubicBezTo>
                      <a:pt x="1953" y="155"/>
                      <a:pt x="1953" y="124"/>
                      <a:pt x="1922" y="124"/>
                    </a:cubicBezTo>
                    <a:cubicBezTo>
                      <a:pt x="1922" y="124"/>
                      <a:pt x="1922" y="124"/>
                      <a:pt x="1891" y="155"/>
                    </a:cubicBezTo>
                    <a:cubicBezTo>
                      <a:pt x="1891" y="155"/>
                      <a:pt x="1891" y="155"/>
                      <a:pt x="1860" y="155"/>
                    </a:cubicBezTo>
                    <a:lnTo>
                      <a:pt x="1860" y="155"/>
                    </a:lnTo>
                    <a:lnTo>
                      <a:pt x="1829" y="155"/>
                    </a:lnTo>
                    <a:lnTo>
                      <a:pt x="1860" y="155"/>
                    </a:lnTo>
                    <a:cubicBezTo>
                      <a:pt x="1860" y="186"/>
                      <a:pt x="1860" y="186"/>
                      <a:pt x="1860" y="186"/>
                    </a:cubicBezTo>
                    <a:cubicBezTo>
                      <a:pt x="1860" y="217"/>
                      <a:pt x="1860" y="248"/>
                      <a:pt x="1860" y="248"/>
                    </a:cubicBezTo>
                    <a:cubicBezTo>
                      <a:pt x="1829" y="310"/>
                      <a:pt x="1829" y="310"/>
                      <a:pt x="1829" y="310"/>
                    </a:cubicBezTo>
                    <a:cubicBezTo>
                      <a:pt x="1829" y="248"/>
                      <a:pt x="1829" y="248"/>
                      <a:pt x="1829" y="248"/>
                    </a:cubicBezTo>
                    <a:cubicBezTo>
                      <a:pt x="1799" y="248"/>
                      <a:pt x="1799" y="217"/>
                      <a:pt x="1799" y="217"/>
                    </a:cubicBezTo>
                    <a:lnTo>
                      <a:pt x="1799" y="217"/>
                    </a:lnTo>
                    <a:cubicBezTo>
                      <a:pt x="1767" y="186"/>
                      <a:pt x="1767" y="186"/>
                      <a:pt x="1767" y="186"/>
                    </a:cubicBezTo>
                    <a:lnTo>
                      <a:pt x="1767" y="186"/>
                    </a:lnTo>
                    <a:lnTo>
                      <a:pt x="1767" y="186"/>
                    </a:lnTo>
                    <a:lnTo>
                      <a:pt x="1736" y="186"/>
                    </a:lnTo>
                    <a:lnTo>
                      <a:pt x="1705" y="186"/>
                    </a:lnTo>
                    <a:cubicBezTo>
                      <a:pt x="1705" y="155"/>
                      <a:pt x="1705" y="155"/>
                      <a:pt x="1675" y="155"/>
                    </a:cubicBezTo>
                    <a:lnTo>
                      <a:pt x="1675" y="155"/>
                    </a:lnTo>
                    <a:lnTo>
                      <a:pt x="1675" y="155"/>
                    </a:lnTo>
                    <a:lnTo>
                      <a:pt x="1643" y="155"/>
                    </a:lnTo>
                    <a:lnTo>
                      <a:pt x="1643" y="155"/>
                    </a:lnTo>
                    <a:lnTo>
                      <a:pt x="1643" y="155"/>
                    </a:lnTo>
                    <a:lnTo>
                      <a:pt x="1612" y="186"/>
                    </a:lnTo>
                    <a:cubicBezTo>
                      <a:pt x="1612" y="186"/>
                      <a:pt x="1612" y="186"/>
                      <a:pt x="1581" y="186"/>
                    </a:cubicBezTo>
                    <a:lnTo>
                      <a:pt x="1551" y="186"/>
                    </a:lnTo>
                    <a:cubicBezTo>
                      <a:pt x="1519" y="186"/>
                      <a:pt x="1519" y="186"/>
                      <a:pt x="1519" y="186"/>
                    </a:cubicBezTo>
                    <a:cubicBezTo>
                      <a:pt x="1519" y="186"/>
                      <a:pt x="1519" y="186"/>
                      <a:pt x="1488" y="186"/>
                    </a:cubicBezTo>
                    <a:lnTo>
                      <a:pt x="1457" y="186"/>
                    </a:lnTo>
                    <a:lnTo>
                      <a:pt x="1427" y="186"/>
                    </a:lnTo>
                    <a:lnTo>
                      <a:pt x="1395" y="186"/>
                    </a:lnTo>
                    <a:cubicBezTo>
                      <a:pt x="1364" y="155"/>
                      <a:pt x="1364" y="155"/>
                      <a:pt x="1364" y="155"/>
                    </a:cubicBezTo>
                    <a:cubicBezTo>
                      <a:pt x="1395" y="93"/>
                      <a:pt x="1395" y="93"/>
                      <a:pt x="1395" y="93"/>
                    </a:cubicBezTo>
                    <a:cubicBezTo>
                      <a:pt x="1364" y="93"/>
                      <a:pt x="1303" y="93"/>
                      <a:pt x="1303" y="93"/>
                    </a:cubicBezTo>
                    <a:cubicBezTo>
                      <a:pt x="1271" y="93"/>
                      <a:pt x="1240" y="93"/>
                      <a:pt x="1209" y="93"/>
                    </a:cubicBezTo>
                    <a:lnTo>
                      <a:pt x="1209" y="93"/>
                    </a:lnTo>
                    <a:cubicBezTo>
                      <a:pt x="1179" y="62"/>
                      <a:pt x="1147" y="62"/>
                      <a:pt x="1147" y="62"/>
                    </a:cubicBezTo>
                    <a:lnTo>
                      <a:pt x="1147" y="62"/>
                    </a:lnTo>
                    <a:lnTo>
                      <a:pt x="1147" y="62"/>
                    </a:lnTo>
                    <a:cubicBezTo>
                      <a:pt x="1116" y="62"/>
                      <a:pt x="1116" y="62"/>
                      <a:pt x="1085" y="62"/>
                    </a:cubicBezTo>
                    <a:cubicBezTo>
                      <a:pt x="1085" y="62"/>
                      <a:pt x="1055" y="62"/>
                      <a:pt x="992" y="62"/>
                    </a:cubicBezTo>
                    <a:lnTo>
                      <a:pt x="992" y="62"/>
                    </a:lnTo>
                    <a:lnTo>
                      <a:pt x="992" y="62"/>
                    </a:lnTo>
                    <a:lnTo>
                      <a:pt x="961" y="62"/>
                    </a:lnTo>
                    <a:cubicBezTo>
                      <a:pt x="961" y="93"/>
                      <a:pt x="931" y="93"/>
                      <a:pt x="931" y="93"/>
                    </a:cubicBezTo>
                    <a:lnTo>
                      <a:pt x="931" y="93"/>
                    </a:lnTo>
                    <a:lnTo>
                      <a:pt x="931" y="93"/>
                    </a:lnTo>
                    <a:lnTo>
                      <a:pt x="931" y="93"/>
                    </a:lnTo>
                    <a:cubicBezTo>
                      <a:pt x="931" y="93"/>
                      <a:pt x="931" y="93"/>
                      <a:pt x="899" y="93"/>
                    </a:cubicBezTo>
                    <a:cubicBezTo>
                      <a:pt x="899" y="93"/>
                      <a:pt x="899" y="62"/>
                      <a:pt x="868" y="62"/>
                    </a:cubicBezTo>
                    <a:lnTo>
                      <a:pt x="868" y="62"/>
                    </a:lnTo>
                    <a:cubicBezTo>
                      <a:pt x="868" y="62"/>
                      <a:pt x="868" y="62"/>
                      <a:pt x="868" y="31"/>
                    </a:cubicBezTo>
                    <a:cubicBezTo>
                      <a:pt x="837" y="62"/>
                      <a:pt x="837" y="62"/>
                      <a:pt x="837" y="62"/>
                    </a:cubicBezTo>
                    <a:cubicBezTo>
                      <a:pt x="837" y="93"/>
                      <a:pt x="837" y="93"/>
                      <a:pt x="807" y="93"/>
                    </a:cubicBezTo>
                    <a:lnTo>
                      <a:pt x="775" y="62"/>
                    </a:lnTo>
                    <a:lnTo>
                      <a:pt x="775" y="62"/>
                    </a:lnTo>
                    <a:cubicBezTo>
                      <a:pt x="744" y="62"/>
                      <a:pt x="744" y="62"/>
                      <a:pt x="744" y="62"/>
                    </a:cubicBezTo>
                    <a:cubicBezTo>
                      <a:pt x="744" y="62"/>
                      <a:pt x="713" y="0"/>
                      <a:pt x="683" y="0"/>
                    </a:cubicBezTo>
                    <a:lnTo>
                      <a:pt x="683" y="0"/>
                    </a:lnTo>
                    <a:lnTo>
                      <a:pt x="683" y="0"/>
                    </a:lnTo>
                    <a:lnTo>
                      <a:pt x="683" y="0"/>
                    </a:lnTo>
                    <a:lnTo>
                      <a:pt x="683" y="0"/>
                    </a:lnTo>
                    <a:cubicBezTo>
                      <a:pt x="683" y="0"/>
                      <a:pt x="683" y="31"/>
                      <a:pt x="651" y="31"/>
                    </a:cubicBezTo>
                    <a:lnTo>
                      <a:pt x="620" y="31"/>
                    </a:lnTo>
                    <a:lnTo>
                      <a:pt x="620" y="31"/>
                    </a:lnTo>
                    <a:lnTo>
                      <a:pt x="620" y="31"/>
                    </a:lnTo>
                    <a:cubicBezTo>
                      <a:pt x="620" y="31"/>
                      <a:pt x="589" y="31"/>
                      <a:pt x="589" y="62"/>
                    </a:cubicBezTo>
                    <a:lnTo>
                      <a:pt x="559" y="62"/>
                    </a:lnTo>
                    <a:cubicBezTo>
                      <a:pt x="559" y="62"/>
                      <a:pt x="527" y="62"/>
                      <a:pt x="496" y="62"/>
                    </a:cubicBezTo>
                    <a:cubicBezTo>
                      <a:pt x="496" y="62"/>
                      <a:pt x="496" y="62"/>
                      <a:pt x="465" y="62"/>
                    </a:cubicBezTo>
                    <a:cubicBezTo>
                      <a:pt x="465" y="62"/>
                      <a:pt x="465" y="93"/>
                      <a:pt x="435" y="93"/>
                    </a:cubicBezTo>
                    <a:cubicBezTo>
                      <a:pt x="403" y="93"/>
                      <a:pt x="403" y="93"/>
                      <a:pt x="372" y="93"/>
                    </a:cubicBezTo>
                    <a:cubicBezTo>
                      <a:pt x="372" y="93"/>
                      <a:pt x="341" y="93"/>
                      <a:pt x="341" y="124"/>
                    </a:cubicBezTo>
                    <a:lnTo>
                      <a:pt x="341" y="124"/>
                    </a:lnTo>
                    <a:cubicBezTo>
                      <a:pt x="341" y="124"/>
                      <a:pt x="341" y="124"/>
                      <a:pt x="311" y="124"/>
                    </a:cubicBezTo>
                    <a:cubicBezTo>
                      <a:pt x="311" y="124"/>
                      <a:pt x="311" y="124"/>
                      <a:pt x="279" y="124"/>
                    </a:cubicBezTo>
                    <a:lnTo>
                      <a:pt x="248" y="93"/>
                    </a:lnTo>
                    <a:cubicBezTo>
                      <a:pt x="218" y="93"/>
                      <a:pt x="187" y="93"/>
                      <a:pt x="124" y="93"/>
                    </a:cubicBezTo>
                    <a:lnTo>
                      <a:pt x="124" y="93"/>
                    </a:lnTo>
                    <a:cubicBezTo>
                      <a:pt x="94" y="93"/>
                      <a:pt x="94" y="93"/>
                      <a:pt x="94" y="62"/>
                    </a:cubicBezTo>
                    <a:cubicBezTo>
                      <a:pt x="63" y="62"/>
                      <a:pt x="63" y="62"/>
                      <a:pt x="63" y="62"/>
                    </a:cubicBezTo>
                    <a:lnTo>
                      <a:pt x="31" y="62"/>
                    </a:lnTo>
                    <a:cubicBezTo>
                      <a:pt x="0" y="62"/>
                      <a:pt x="0" y="62"/>
                      <a:pt x="0" y="62"/>
                    </a:cubicBezTo>
                    <a:cubicBezTo>
                      <a:pt x="0" y="589"/>
                      <a:pt x="0" y="589"/>
                      <a:pt x="0" y="589"/>
                    </a:cubicBezTo>
                    <a:lnTo>
                      <a:pt x="0" y="589"/>
                    </a:lnTo>
                    <a:lnTo>
                      <a:pt x="0" y="589"/>
                    </a:lnTo>
                    <a:lnTo>
                      <a:pt x="0" y="589"/>
                    </a:lnTo>
                    <a:cubicBezTo>
                      <a:pt x="31" y="589"/>
                      <a:pt x="31" y="589"/>
                      <a:pt x="31" y="589"/>
                    </a:cubicBezTo>
                    <a:lnTo>
                      <a:pt x="31" y="620"/>
                    </a:lnTo>
                    <a:cubicBezTo>
                      <a:pt x="31" y="589"/>
                      <a:pt x="31" y="589"/>
                      <a:pt x="63" y="589"/>
                    </a:cubicBezTo>
                    <a:lnTo>
                      <a:pt x="63" y="589"/>
                    </a:lnTo>
                    <a:lnTo>
                      <a:pt x="63" y="589"/>
                    </a:lnTo>
                    <a:cubicBezTo>
                      <a:pt x="63" y="589"/>
                      <a:pt x="63" y="589"/>
                      <a:pt x="63" y="620"/>
                    </a:cubicBezTo>
                    <a:cubicBezTo>
                      <a:pt x="94" y="620"/>
                      <a:pt x="94" y="620"/>
                      <a:pt x="94" y="651"/>
                    </a:cubicBezTo>
                    <a:lnTo>
                      <a:pt x="94" y="651"/>
                    </a:lnTo>
                    <a:lnTo>
                      <a:pt x="94" y="651"/>
                    </a:lnTo>
                    <a:lnTo>
                      <a:pt x="94" y="651"/>
                    </a:lnTo>
                    <a:cubicBezTo>
                      <a:pt x="94" y="651"/>
                      <a:pt x="94" y="651"/>
                      <a:pt x="124" y="681"/>
                    </a:cubicBezTo>
                    <a:lnTo>
                      <a:pt x="124" y="681"/>
                    </a:lnTo>
                    <a:cubicBezTo>
                      <a:pt x="155" y="681"/>
                      <a:pt x="155" y="713"/>
                      <a:pt x="155" y="713"/>
                    </a:cubicBezTo>
                    <a:lnTo>
                      <a:pt x="187" y="713"/>
                    </a:lnTo>
                    <a:lnTo>
                      <a:pt x="218" y="713"/>
                    </a:lnTo>
                    <a:lnTo>
                      <a:pt x="248" y="713"/>
                    </a:lnTo>
                    <a:cubicBezTo>
                      <a:pt x="248" y="744"/>
                      <a:pt x="248" y="744"/>
                      <a:pt x="248" y="744"/>
                    </a:cubicBezTo>
                    <a:cubicBezTo>
                      <a:pt x="248" y="713"/>
                      <a:pt x="279" y="713"/>
                      <a:pt x="279" y="713"/>
                    </a:cubicBezTo>
                    <a:cubicBezTo>
                      <a:pt x="279" y="713"/>
                      <a:pt x="279" y="713"/>
                      <a:pt x="311" y="713"/>
                    </a:cubicBezTo>
                    <a:lnTo>
                      <a:pt x="311" y="713"/>
                    </a:lnTo>
                    <a:cubicBezTo>
                      <a:pt x="341" y="744"/>
                      <a:pt x="403" y="775"/>
                      <a:pt x="403" y="775"/>
                    </a:cubicBezTo>
                    <a:lnTo>
                      <a:pt x="403" y="775"/>
                    </a:lnTo>
                    <a:lnTo>
                      <a:pt x="403" y="805"/>
                    </a:lnTo>
                    <a:lnTo>
                      <a:pt x="403" y="805"/>
                    </a:lnTo>
                    <a:cubicBezTo>
                      <a:pt x="435" y="837"/>
                      <a:pt x="435" y="837"/>
                      <a:pt x="435" y="837"/>
                    </a:cubicBezTo>
                    <a:lnTo>
                      <a:pt x="435" y="868"/>
                    </a:lnTo>
                    <a:cubicBezTo>
                      <a:pt x="465" y="899"/>
                      <a:pt x="465" y="899"/>
                      <a:pt x="465" y="899"/>
                    </a:cubicBezTo>
                    <a:cubicBezTo>
                      <a:pt x="465" y="899"/>
                      <a:pt x="496" y="899"/>
                      <a:pt x="496" y="868"/>
                    </a:cubicBezTo>
                    <a:cubicBezTo>
                      <a:pt x="527" y="868"/>
                      <a:pt x="527" y="868"/>
                      <a:pt x="527" y="868"/>
                    </a:cubicBezTo>
                    <a:cubicBezTo>
                      <a:pt x="527" y="899"/>
                      <a:pt x="527" y="899"/>
                      <a:pt x="527" y="899"/>
                    </a:cubicBezTo>
                    <a:lnTo>
                      <a:pt x="527" y="899"/>
                    </a:lnTo>
                    <a:lnTo>
                      <a:pt x="527" y="899"/>
                    </a:lnTo>
                    <a:cubicBezTo>
                      <a:pt x="527" y="899"/>
                      <a:pt x="527" y="929"/>
                      <a:pt x="559" y="929"/>
                    </a:cubicBezTo>
                    <a:cubicBezTo>
                      <a:pt x="559" y="929"/>
                      <a:pt x="559" y="929"/>
                      <a:pt x="559" y="960"/>
                    </a:cubicBezTo>
                    <a:lnTo>
                      <a:pt x="559" y="960"/>
                    </a:lnTo>
                    <a:lnTo>
                      <a:pt x="559" y="992"/>
                    </a:lnTo>
                    <a:cubicBezTo>
                      <a:pt x="559" y="992"/>
                      <a:pt x="589" y="1023"/>
                      <a:pt x="559" y="1023"/>
                    </a:cubicBezTo>
                    <a:lnTo>
                      <a:pt x="559" y="1053"/>
                    </a:lnTo>
                    <a:cubicBezTo>
                      <a:pt x="589" y="1023"/>
                      <a:pt x="589" y="1023"/>
                      <a:pt x="589" y="1023"/>
                    </a:cubicBezTo>
                    <a:cubicBezTo>
                      <a:pt x="589" y="1023"/>
                      <a:pt x="620" y="1023"/>
                      <a:pt x="620" y="1053"/>
                    </a:cubicBezTo>
                    <a:lnTo>
                      <a:pt x="620" y="1053"/>
                    </a:lnTo>
                    <a:cubicBezTo>
                      <a:pt x="651" y="1053"/>
                      <a:pt x="651" y="1053"/>
                      <a:pt x="651" y="1053"/>
                    </a:cubicBezTo>
                    <a:cubicBezTo>
                      <a:pt x="651" y="1085"/>
                      <a:pt x="651" y="1085"/>
                      <a:pt x="651" y="1116"/>
                    </a:cubicBezTo>
                    <a:lnTo>
                      <a:pt x="651" y="1116"/>
                    </a:lnTo>
                    <a:lnTo>
                      <a:pt x="651" y="1116"/>
                    </a:lnTo>
                    <a:lnTo>
                      <a:pt x="683" y="1116"/>
                    </a:lnTo>
                    <a:cubicBezTo>
                      <a:pt x="713" y="1116"/>
                      <a:pt x="713" y="1116"/>
                      <a:pt x="713" y="1116"/>
                    </a:cubicBezTo>
                    <a:cubicBezTo>
                      <a:pt x="744" y="1177"/>
                      <a:pt x="744" y="1177"/>
                      <a:pt x="744" y="1177"/>
                    </a:cubicBezTo>
                    <a:lnTo>
                      <a:pt x="713" y="1177"/>
                    </a:lnTo>
                    <a:cubicBezTo>
                      <a:pt x="713" y="1177"/>
                      <a:pt x="713" y="1177"/>
                      <a:pt x="713" y="1209"/>
                    </a:cubicBezTo>
                    <a:lnTo>
                      <a:pt x="713" y="1209"/>
                    </a:lnTo>
                    <a:cubicBezTo>
                      <a:pt x="744" y="1209"/>
                      <a:pt x="744" y="1209"/>
                      <a:pt x="744" y="1209"/>
                    </a:cubicBezTo>
                    <a:cubicBezTo>
                      <a:pt x="775" y="1209"/>
                      <a:pt x="775" y="1209"/>
                      <a:pt x="775" y="1240"/>
                    </a:cubicBezTo>
                    <a:cubicBezTo>
                      <a:pt x="807" y="1240"/>
                      <a:pt x="807" y="1240"/>
                      <a:pt x="837" y="1240"/>
                    </a:cubicBezTo>
                    <a:lnTo>
                      <a:pt x="837" y="1240"/>
                    </a:lnTo>
                    <a:cubicBezTo>
                      <a:pt x="837" y="1209"/>
                      <a:pt x="868" y="1209"/>
                      <a:pt x="868" y="1209"/>
                    </a:cubicBezTo>
                    <a:lnTo>
                      <a:pt x="868" y="1209"/>
                    </a:lnTo>
                    <a:cubicBezTo>
                      <a:pt x="899" y="1209"/>
                      <a:pt x="899" y="1240"/>
                      <a:pt x="899" y="1240"/>
                    </a:cubicBezTo>
                    <a:cubicBezTo>
                      <a:pt x="899" y="1271"/>
                      <a:pt x="931" y="1271"/>
                      <a:pt x="931" y="1301"/>
                    </a:cubicBezTo>
                    <a:lnTo>
                      <a:pt x="931" y="1301"/>
                    </a:lnTo>
                    <a:lnTo>
                      <a:pt x="931" y="1301"/>
                    </a:lnTo>
                    <a:cubicBezTo>
                      <a:pt x="931" y="1301"/>
                      <a:pt x="931" y="1301"/>
                      <a:pt x="961" y="1301"/>
                    </a:cubicBezTo>
                    <a:lnTo>
                      <a:pt x="992" y="1301"/>
                    </a:lnTo>
                    <a:cubicBezTo>
                      <a:pt x="992" y="1333"/>
                      <a:pt x="992" y="1333"/>
                      <a:pt x="992" y="1333"/>
                    </a:cubicBezTo>
                    <a:cubicBezTo>
                      <a:pt x="2480" y="1333"/>
                      <a:pt x="2480" y="1333"/>
                      <a:pt x="2480" y="1333"/>
                    </a:cubicBezTo>
                    <a:cubicBezTo>
                      <a:pt x="2480" y="1301"/>
                      <a:pt x="2511" y="1301"/>
                      <a:pt x="2511" y="1301"/>
                    </a:cubicBezTo>
                    <a:lnTo>
                      <a:pt x="2511" y="1301"/>
                    </a:lnTo>
                    <a:lnTo>
                      <a:pt x="2511" y="1301"/>
                    </a:lnTo>
                    <a:lnTo>
                      <a:pt x="2511" y="1301"/>
                    </a:lnTo>
                    <a:lnTo>
                      <a:pt x="2511" y="1301"/>
                    </a:lnTo>
                    <a:cubicBezTo>
                      <a:pt x="2542" y="1301"/>
                      <a:pt x="2542" y="1333"/>
                      <a:pt x="2542" y="1333"/>
                    </a:cubicBezTo>
                    <a:lnTo>
                      <a:pt x="2542" y="1333"/>
                    </a:lnTo>
                    <a:lnTo>
                      <a:pt x="2542" y="1333"/>
                    </a:lnTo>
                    <a:cubicBezTo>
                      <a:pt x="2542" y="1364"/>
                      <a:pt x="2573" y="1364"/>
                      <a:pt x="2573" y="1364"/>
                    </a:cubicBezTo>
                    <a:lnTo>
                      <a:pt x="2573" y="1364"/>
                    </a:lnTo>
                    <a:cubicBezTo>
                      <a:pt x="2573" y="1364"/>
                      <a:pt x="2573" y="1364"/>
                      <a:pt x="2604" y="1364"/>
                    </a:cubicBezTo>
                    <a:lnTo>
                      <a:pt x="2604" y="1364"/>
                    </a:lnTo>
                    <a:lnTo>
                      <a:pt x="2604" y="1364"/>
                    </a:lnTo>
                    <a:cubicBezTo>
                      <a:pt x="2635" y="1364"/>
                      <a:pt x="2635" y="1364"/>
                      <a:pt x="2635" y="1364"/>
                    </a:cubicBezTo>
                    <a:cubicBezTo>
                      <a:pt x="2666" y="1364"/>
                      <a:pt x="2697" y="1364"/>
                      <a:pt x="2697" y="1395"/>
                    </a:cubicBezTo>
                    <a:lnTo>
                      <a:pt x="2697" y="1395"/>
                    </a:lnTo>
                    <a:cubicBezTo>
                      <a:pt x="2728" y="1364"/>
                      <a:pt x="2728" y="1364"/>
                      <a:pt x="2728" y="1364"/>
                    </a:cubicBezTo>
                    <a:lnTo>
                      <a:pt x="2728" y="1364"/>
                    </a:lnTo>
                    <a:lnTo>
                      <a:pt x="2728" y="1364"/>
                    </a:lnTo>
                    <a:cubicBezTo>
                      <a:pt x="2759" y="1364"/>
                      <a:pt x="2759" y="1364"/>
                      <a:pt x="2759" y="1364"/>
                    </a:cubicBezTo>
                    <a:lnTo>
                      <a:pt x="2759" y="1364"/>
                    </a:lnTo>
                    <a:cubicBezTo>
                      <a:pt x="2790" y="1364"/>
                      <a:pt x="2790" y="1364"/>
                      <a:pt x="2790" y="1364"/>
                    </a:cubicBezTo>
                    <a:lnTo>
                      <a:pt x="2790" y="1364"/>
                    </a:lnTo>
                    <a:cubicBezTo>
                      <a:pt x="2790" y="1364"/>
                      <a:pt x="2790" y="1364"/>
                      <a:pt x="2790" y="1395"/>
                    </a:cubicBezTo>
                    <a:lnTo>
                      <a:pt x="2790" y="1395"/>
                    </a:lnTo>
                    <a:lnTo>
                      <a:pt x="2790" y="1395"/>
                    </a:lnTo>
                    <a:cubicBezTo>
                      <a:pt x="2790" y="1395"/>
                      <a:pt x="2790" y="1395"/>
                      <a:pt x="2821" y="1395"/>
                    </a:cubicBezTo>
                    <a:lnTo>
                      <a:pt x="2821" y="1395"/>
                    </a:lnTo>
                    <a:cubicBezTo>
                      <a:pt x="2852" y="1395"/>
                      <a:pt x="2852" y="1395"/>
                      <a:pt x="2852" y="1395"/>
                    </a:cubicBezTo>
                    <a:lnTo>
                      <a:pt x="2852" y="1364"/>
                    </a:lnTo>
                    <a:cubicBezTo>
                      <a:pt x="2883" y="1333"/>
                      <a:pt x="2914" y="1333"/>
                      <a:pt x="2945" y="1301"/>
                    </a:cubicBezTo>
                    <a:cubicBezTo>
                      <a:pt x="2945" y="1301"/>
                      <a:pt x="2945" y="1301"/>
                      <a:pt x="2976" y="1301"/>
                    </a:cubicBezTo>
                    <a:lnTo>
                      <a:pt x="3007" y="1301"/>
                    </a:lnTo>
                    <a:cubicBezTo>
                      <a:pt x="3007" y="1301"/>
                      <a:pt x="3007" y="1333"/>
                      <a:pt x="3038" y="1333"/>
                    </a:cubicBezTo>
                    <a:cubicBezTo>
                      <a:pt x="3069" y="1333"/>
                      <a:pt x="3069" y="1364"/>
                      <a:pt x="3100" y="1395"/>
                    </a:cubicBezTo>
                    <a:cubicBezTo>
                      <a:pt x="3100" y="1425"/>
                      <a:pt x="3100" y="1425"/>
                      <a:pt x="3100" y="1457"/>
                    </a:cubicBezTo>
                    <a:cubicBezTo>
                      <a:pt x="3131" y="1488"/>
                      <a:pt x="3131" y="1488"/>
                      <a:pt x="3162" y="1488"/>
                    </a:cubicBezTo>
                    <a:lnTo>
                      <a:pt x="3193" y="1488"/>
                    </a:lnTo>
                    <a:lnTo>
                      <a:pt x="3193" y="1488"/>
                    </a:lnTo>
                    <a:lnTo>
                      <a:pt x="3224" y="1488"/>
                    </a:lnTo>
                    <a:lnTo>
                      <a:pt x="3224" y="1488"/>
                    </a:lnTo>
                    <a:lnTo>
                      <a:pt x="3255" y="1488"/>
                    </a:lnTo>
                    <a:cubicBezTo>
                      <a:pt x="3286" y="1519"/>
                      <a:pt x="3286" y="1519"/>
                      <a:pt x="3286" y="1549"/>
                    </a:cubicBezTo>
                    <a:cubicBezTo>
                      <a:pt x="3255" y="1549"/>
                      <a:pt x="3255" y="1581"/>
                      <a:pt x="3255" y="1581"/>
                    </a:cubicBezTo>
                    <a:cubicBezTo>
                      <a:pt x="3255" y="1581"/>
                      <a:pt x="3255" y="1581"/>
                      <a:pt x="3255" y="1612"/>
                    </a:cubicBezTo>
                    <a:cubicBezTo>
                      <a:pt x="3224" y="1612"/>
                      <a:pt x="3224" y="1612"/>
                      <a:pt x="3255" y="1612"/>
                    </a:cubicBezTo>
                    <a:cubicBezTo>
                      <a:pt x="3255" y="1643"/>
                      <a:pt x="3255" y="1643"/>
                      <a:pt x="3255" y="1643"/>
                    </a:cubicBezTo>
                    <a:cubicBezTo>
                      <a:pt x="3255" y="1673"/>
                      <a:pt x="3255" y="1705"/>
                      <a:pt x="3224" y="1705"/>
                    </a:cubicBezTo>
                    <a:cubicBezTo>
                      <a:pt x="3224" y="1736"/>
                      <a:pt x="3224" y="1736"/>
                      <a:pt x="3224" y="1736"/>
                    </a:cubicBezTo>
                    <a:lnTo>
                      <a:pt x="3224" y="1736"/>
                    </a:lnTo>
                    <a:lnTo>
                      <a:pt x="3255" y="1736"/>
                    </a:lnTo>
                    <a:lnTo>
                      <a:pt x="3255" y="1736"/>
                    </a:lnTo>
                    <a:cubicBezTo>
                      <a:pt x="3286" y="1705"/>
                      <a:pt x="3286" y="1705"/>
                      <a:pt x="3317" y="1705"/>
                    </a:cubicBezTo>
                    <a:lnTo>
                      <a:pt x="3317" y="1705"/>
                    </a:lnTo>
                    <a:cubicBezTo>
                      <a:pt x="3317" y="1705"/>
                      <a:pt x="3317" y="1705"/>
                      <a:pt x="3348" y="1705"/>
                    </a:cubicBezTo>
                    <a:lnTo>
                      <a:pt x="3348" y="1705"/>
                    </a:lnTo>
                    <a:lnTo>
                      <a:pt x="3379" y="1705"/>
                    </a:lnTo>
                    <a:lnTo>
                      <a:pt x="3379" y="1705"/>
                    </a:lnTo>
                    <a:cubicBezTo>
                      <a:pt x="3379" y="1673"/>
                      <a:pt x="3379" y="1673"/>
                      <a:pt x="3379" y="1643"/>
                    </a:cubicBezTo>
                    <a:cubicBezTo>
                      <a:pt x="3409" y="1643"/>
                      <a:pt x="3441" y="1643"/>
                      <a:pt x="3472" y="1643"/>
                    </a:cubicBezTo>
                    <a:cubicBezTo>
                      <a:pt x="3503" y="1643"/>
                      <a:pt x="3503" y="1643"/>
                      <a:pt x="3534" y="1643"/>
                    </a:cubicBezTo>
                    <a:cubicBezTo>
                      <a:pt x="3626" y="1581"/>
                      <a:pt x="3626" y="1581"/>
                      <a:pt x="3626" y="1581"/>
                    </a:cubicBezTo>
                    <a:lnTo>
                      <a:pt x="3626" y="1581"/>
                    </a:lnTo>
                    <a:cubicBezTo>
                      <a:pt x="3626" y="1581"/>
                      <a:pt x="3750" y="1581"/>
                      <a:pt x="3782" y="1581"/>
                    </a:cubicBezTo>
                    <a:lnTo>
                      <a:pt x="3782" y="1581"/>
                    </a:lnTo>
                    <a:lnTo>
                      <a:pt x="3782" y="1581"/>
                    </a:lnTo>
                    <a:cubicBezTo>
                      <a:pt x="3813" y="1581"/>
                      <a:pt x="3813" y="1581"/>
                      <a:pt x="3813" y="1581"/>
                    </a:cubicBezTo>
                    <a:lnTo>
                      <a:pt x="3813" y="1581"/>
                    </a:lnTo>
                    <a:cubicBezTo>
                      <a:pt x="3813" y="1549"/>
                      <a:pt x="3813" y="1549"/>
                      <a:pt x="3813" y="1549"/>
                    </a:cubicBezTo>
                    <a:lnTo>
                      <a:pt x="3813" y="1549"/>
                    </a:lnTo>
                    <a:cubicBezTo>
                      <a:pt x="3844" y="1549"/>
                      <a:pt x="3844" y="1549"/>
                      <a:pt x="3844" y="1549"/>
                    </a:cubicBezTo>
                    <a:lnTo>
                      <a:pt x="3844" y="1549"/>
                    </a:lnTo>
                    <a:cubicBezTo>
                      <a:pt x="3844" y="1549"/>
                      <a:pt x="3874" y="1549"/>
                      <a:pt x="3874" y="1519"/>
                    </a:cubicBezTo>
                    <a:lnTo>
                      <a:pt x="3874" y="1519"/>
                    </a:lnTo>
                    <a:lnTo>
                      <a:pt x="3874" y="1488"/>
                    </a:lnTo>
                    <a:cubicBezTo>
                      <a:pt x="3874" y="1488"/>
                      <a:pt x="3874" y="1457"/>
                      <a:pt x="3906" y="1457"/>
                    </a:cubicBezTo>
                    <a:lnTo>
                      <a:pt x="3906" y="1457"/>
                    </a:lnTo>
                    <a:cubicBezTo>
                      <a:pt x="3813" y="1488"/>
                      <a:pt x="3813" y="1488"/>
                      <a:pt x="3813" y="1488"/>
                    </a:cubicBezTo>
                    <a:cubicBezTo>
                      <a:pt x="3906" y="1395"/>
                      <a:pt x="3906" y="1395"/>
                      <a:pt x="3906" y="1395"/>
                    </a:cubicBezTo>
                    <a:cubicBezTo>
                      <a:pt x="3968" y="1333"/>
                      <a:pt x="3968" y="1333"/>
                      <a:pt x="3968" y="1333"/>
                    </a:cubicBezTo>
                    <a:cubicBezTo>
                      <a:pt x="3998" y="1301"/>
                      <a:pt x="3998" y="1301"/>
                      <a:pt x="3998" y="1301"/>
                    </a:cubicBezTo>
                    <a:lnTo>
                      <a:pt x="4030" y="1301"/>
                    </a:lnTo>
                    <a:cubicBezTo>
                      <a:pt x="4030" y="1301"/>
                      <a:pt x="4030" y="1301"/>
                      <a:pt x="4061" y="1271"/>
                    </a:cubicBezTo>
                    <a:lnTo>
                      <a:pt x="4061" y="1271"/>
                    </a:lnTo>
                    <a:cubicBezTo>
                      <a:pt x="4061" y="1240"/>
                      <a:pt x="4122" y="1240"/>
                      <a:pt x="4122" y="1240"/>
                    </a:cubicBezTo>
                    <a:lnTo>
                      <a:pt x="4122" y="1240"/>
                    </a:lnTo>
                    <a:cubicBezTo>
                      <a:pt x="4122" y="1240"/>
                      <a:pt x="4122" y="1240"/>
                      <a:pt x="4154" y="1240"/>
                    </a:cubicBezTo>
                    <a:cubicBezTo>
                      <a:pt x="4154" y="1240"/>
                      <a:pt x="4185" y="1240"/>
                      <a:pt x="4216" y="1240"/>
                    </a:cubicBezTo>
                    <a:lnTo>
                      <a:pt x="4216" y="1240"/>
                    </a:lnTo>
                    <a:lnTo>
                      <a:pt x="4216" y="1240"/>
                    </a:lnTo>
                    <a:cubicBezTo>
                      <a:pt x="4246" y="1240"/>
                      <a:pt x="4246" y="1240"/>
                      <a:pt x="4246" y="1240"/>
                    </a:cubicBezTo>
                    <a:lnTo>
                      <a:pt x="4278" y="1240"/>
                    </a:lnTo>
                    <a:cubicBezTo>
                      <a:pt x="4309" y="1240"/>
                      <a:pt x="4340" y="1240"/>
                      <a:pt x="4370" y="1240"/>
                    </a:cubicBezTo>
                    <a:lnTo>
                      <a:pt x="4402" y="1240"/>
                    </a:lnTo>
                    <a:cubicBezTo>
                      <a:pt x="4433" y="1240"/>
                      <a:pt x="4464" y="1240"/>
                      <a:pt x="4464" y="1240"/>
                    </a:cubicBezTo>
                    <a:cubicBezTo>
                      <a:pt x="4494" y="1240"/>
                      <a:pt x="4494" y="1209"/>
                      <a:pt x="4494" y="1209"/>
                    </a:cubicBezTo>
                    <a:cubicBezTo>
                      <a:pt x="4526" y="1177"/>
                      <a:pt x="4526" y="1177"/>
                      <a:pt x="4526" y="1177"/>
                    </a:cubicBezTo>
                    <a:cubicBezTo>
                      <a:pt x="4526" y="1177"/>
                      <a:pt x="4526" y="1177"/>
                      <a:pt x="4588" y="1177"/>
                    </a:cubicBezTo>
                    <a:lnTo>
                      <a:pt x="4618" y="1177"/>
                    </a:lnTo>
                    <a:cubicBezTo>
                      <a:pt x="4618" y="1177"/>
                      <a:pt x="4650" y="1147"/>
                      <a:pt x="4650" y="1116"/>
                    </a:cubicBezTo>
                    <a:cubicBezTo>
                      <a:pt x="4650" y="1116"/>
                      <a:pt x="4650" y="1116"/>
                      <a:pt x="4650" y="1085"/>
                    </a:cubicBezTo>
                    <a:lnTo>
                      <a:pt x="4618" y="1085"/>
                    </a:lnTo>
                    <a:lnTo>
                      <a:pt x="4618" y="1085"/>
                    </a:lnTo>
                    <a:cubicBezTo>
                      <a:pt x="4588" y="1116"/>
                      <a:pt x="4588" y="1116"/>
                      <a:pt x="4588" y="1116"/>
                    </a:cubicBezTo>
                    <a:cubicBezTo>
                      <a:pt x="4588" y="1053"/>
                      <a:pt x="4588" y="1053"/>
                      <a:pt x="4588" y="1053"/>
                    </a:cubicBezTo>
                    <a:lnTo>
                      <a:pt x="4588" y="1053"/>
                    </a:lnTo>
                    <a:cubicBezTo>
                      <a:pt x="4557" y="1053"/>
                      <a:pt x="4557" y="1053"/>
                      <a:pt x="4557" y="1053"/>
                    </a:cubicBezTo>
                    <a:lnTo>
                      <a:pt x="4557" y="1053"/>
                    </a:lnTo>
                    <a:cubicBezTo>
                      <a:pt x="4557" y="1053"/>
                      <a:pt x="4526" y="1053"/>
                      <a:pt x="4494" y="1085"/>
                    </a:cubicBezTo>
                    <a:lnTo>
                      <a:pt x="4464" y="1085"/>
                    </a:lnTo>
                    <a:cubicBezTo>
                      <a:pt x="4464" y="1116"/>
                      <a:pt x="4433" y="1116"/>
                      <a:pt x="4433" y="1116"/>
                    </a:cubicBezTo>
                    <a:cubicBezTo>
                      <a:pt x="4433" y="1116"/>
                      <a:pt x="4402" y="1116"/>
                      <a:pt x="4402" y="1085"/>
                    </a:cubicBezTo>
                    <a:cubicBezTo>
                      <a:pt x="4402" y="1053"/>
                      <a:pt x="4402" y="1023"/>
                      <a:pt x="4433" y="1023"/>
                    </a:cubicBezTo>
                    <a:cubicBezTo>
                      <a:pt x="4433" y="1023"/>
                      <a:pt x="4464" y="992"/>
                      <a:pt x="4494" y="992"/>
                    </a:cubicBezTo>
                    <a:lnTo>
                      <a:pt x="4464" y="992"/>
                    </a:lnTo>
                    <a:lnTo>
                      <a:pt x="4464" y="992"/>
                    </a:lnTo>
                    <a:lnTo>
                      <a:pt x="4464" y="992"/>
                    </a:lnTo>
                    <a:cubicBezTo>
                      <a:pt x="4433" y="992"/>
                      <a:pt x="4433" y="992"/>
                      <a:pt x="4433" y="992"/>
                    </a:cubicBezTo>
                    <a:lnTo>
                      <a:pt x="4433" y="992"/>
                    </a:lnTo>
                    <a:lnTo>
                      <a:pt x="4433" y="992"/>
                    </a:lnTo>
                    <a:cubicBezTo>
                      <a:pt x="4402" y="992"/>
                      <a:pt x="4402" y="992"/>
                      <a:pt x="4402" y="960"/>
                    </a:cubicBezTo>
                    <a:cubicBezTo>
                      <a:pt x="4370" y="960"/>
                      <a:pt x="4370" y="960"/>
                      <a:pt x="4370" y="960"/>
                    </a:cubicBezTo>
                    <a:lnTo>
                      <a:pt x="4370" y="960"/>
                    </a:lnTo>
                    <a:lnTo>
                      <a:pt x="4370" y="929"/>
                    </a:lnTo>
                    <a:cubicBezTo>
                      <a:pt x="4309" y="929"/>
                      <a:pt x="4309" y="929"/>
                      <a:pt x="4309" y="929"/>
                    </a:cubicBezTo>
                    <a:cubicBezTo>
                      <a:pt x="4340" y="899"/>
                      <a:pt x="4340" y="899"/>
                      <a:pt x="4340" y="899"/>
                    </a:cubicBezTo>
                    <a:lnTo>
                      <a:pt x="4340" y="868"/>
                    </a:lnTo>
                    <a:cubicBezTo>
                      <a:pt x="4309" y="837"/>
                      <a:pt x="4309" y="837"/>
                      <a:pt x="4309" y="837"/>
                    </a:cubicBezTo>
                    <a:lnTo>
                      <a:pt x="4340" y="837"/>
                    </a:lnTo>
                    <a:lnTo>
                      <a:pt x="4340" y="837"/>
                    </a:lnTo>
                    <a:cubicBezTo>
                      <a:pt x="4309" y="805"/>
                      <a:pt x="4309" y="805"/>
                      <a:pt x="4309" y="805"/>
                    </a:cubicBezTo>
                    <a:cubicBezTo>
                      <a:pt x="4309" y="805"/>
                      <a:pt x="4309" y="805"/>
                      <a:pt x="4309" y="775"/>
                    </a:cubicBezTo>
                    <a:lnTo>
                      <a:pt x="4278" y="805"/>
                    </a:lnTo>
                    <a:cubicBezTo>
                      <a:pt x="4185" y="837"/>
                      <a:pt x="4185" y="837"/>
                      <a:pt x="4185" y="837"/>
                    </a:cubicBezTo>
                    <a:cubicBezTo>
                      <a:pt x="4246" y="775"/>
                      <a:pt x="4246" y="775"/>
                      <a:pt x="4246" y="775"/>
                    </a:cubicBezTo>
                    <a:cubicBezTo>
                      <a:pt x="4216" y="775"/>
                      <a:pt x="4216" y="775"/>
                      <a:pt x="4216" y="775"/>
                    </a:cubicBezTo>
                    <a:cubicBezTo>
                      <a:pt x="4246" y="744"/>
                      <a:pt x="4246" y="744"/>
                      <a:pt x="4246" y="744"/>
                    </a:cubicBezTo>
                    <a:cubicBezTo>
                      <a:pt x="4216" y="744"/>
                      <a:pt x="4216" y="744"/>
                      <a:pt x="4216" y="744"/>
                    </a:cubicBezTo>
                    <a:cubicBezTo>
                      <a:pt x="4216" y="713"/>
                      <a:pt x="4216" y="713"/>
                      <a:pt x="4216" y="713"/>
                    </a:cubicBezTo>
                    <a:lnTo>
                      <a:pt x="4216" y="713"/>
                    </a:lnTo>
                    <a:cubicBezTo>
                      <a:pt x="4216" y="681"/>
                      <a:pt x="4216" y="681"/>
                      <a:pt x="4216" y="681"/>
                    </a:cubicBezTo>
                    <a:cubicBezTo>
                      <a:pt x="4185" y="681"/>
                      <a:pt x="4185" y="681"/>
                      <a:pt x="4185" y="651"/>
                    </a:cubicBezTo>
                    <a:lnTo>
                      <a:pt x="4185" y="651"/>
                    </a:lnTo>
                    <a:lnTo>
                      <a:pt x="4185" y="651"/>
                    </a:lnTo>
                    <a:cubicBezTo>
                      <a:pt x="4185" y="681"/>
                      <a:pt x="4185" y="713"/>
                      <a:pt x="4185" y="713"/>
                    </a:cubicBezTo>
                    <a:cubicBezTo>
                      <a:pt x="4185" y="713"/>
                      <a:pt x="4185" y="744"/>
                      <a:pt x="4154" y="744"/>
                    </a:cubicBezTo>
                    <a:lnTo>
                      <a:pt x="4154" y="744"/>
                    </a:lnTo>
                    <a:lnTo>
                      <a:pt x="4154" y="744"/>
                    </a:lnTo>
                    <a:lnTo>
                      <a:pt x="4154" y="744"/>
                    </a:lnTo>
                    <a:cubicBezTo>
                      <a:pt x="4122" y="805"/>
                      <a:pt x="4122" y="805"/>
                      <a:pt x="4122" y="805"/>
                    </a:cubicBezTo>
                    <a:cubicBezTo>
                      <a:pt x="4092" y="775"/>
                      <a:pt x="4092" y="775"/>
                      <a:pt x="4092" y="775"/>
                    </a:cubicBezTo>
                    <a:lnTo>
                      <a:pt x="4092" y="744"/>
                    </a:lnTo>
                    <a:lnTo>
                      <a:pt x="4061" y="744"/>
                    </a:lnTo>
                    <a:cubicBezTo>
                      <a:pt x="4061" y="775"/>
                      <a:pt x="4061" y="775"/>
                      <a:pt x="4061" y="775"/>
                    </a:cubicBezTo>
                    <a:lnTo>
                      <a:pt x="4061" y="775"/>
                    </a:lnTo>
                    <a:cubicBezTo>
                      <a:pt x="4030" y="837"/>
                      <a:pt x="4030" y="837"/>
                      <a:pt x="4030" y="837"/>
                    </a:cubicBezTo>
                    <a:cubicBezTo>
                      <a:pt x="3998" y="775"/>
                      <a:pt x="3998" y="775"/>
                      <a:pt x="3998" y="775"/>
                    </a:cubicBezTo>
                    <a:cubicBezTo>
                      <a:pt x="3998" y="805"/>
                      <a:pt x="3968" y="805"/>
                      <a:pt x="3968" y="805"/>
                    </a:cubicBezTo>
                    <a:lnTo>
                      <a:pt x="3937" y="805"/>
                    </a:lnTo>
                    <a:cubicBezTo>
                      <a:pt x="3874" y="775"/>
                      <a:pt x="3874" y="775"/>
                      <a:pt x="3874" y="775"/>
                    </a:cubicBezTo>
                    <a:cubicBezTo>
                      <a:pt x="3937" y="744"/>
                      <a:pt x="3937" y="744"/>
                      <a:pt x="3937" y="744"/>
                    </a:cubicBezTo>
                    <a:lnTo>
                      <a:pt x="3937" y="744"/>
                    </a:lnTo>
                    <a:lnTo>
                      <a:pt x="3906" y="713"/>
                    </a:lnTo>
                    <a:cubicBezTo>
                      <a:pt x="3874" y="713"/>
                      <a:pt x="3874" y="713"/>
                      <a:pt x="3874" y="713"/>
                    </a:cubicBezTo>
                    <a:cubicBezTo>
                      <a:pt x="3874" y="681"/>
                      <a:pt x="3874" y="681"/>
                      <a:pt x="3874" y="681"/>
                    </a:cubicBezTo>
                    <a:lnTo>
                      <a:pt x="3874" y="681"/>
                    </a:lnTo>
                    <a:cubicBezTo>
                      <a:pt x="3874" y="681"/>
                      <a:pt x="3874" y="681"/>
                      <a:pt x="3844" y="681"/>
                    </a:cubicBezTo>
                    <a:cubicBezTo>
                      <a:pt x="3844" y="620"/>
                      <a:pt x="3844" y="620"/>
                      <a:pt x="3844" y="620"/>
                    </a:cubicBezTo>
                    <a:cubicBezTo>
                      <a:pt x="3844" y="620"/>
                      <a:pt x="3874" y="620"/>
                      <a:pt x="3906" y="620"/>
                    </a:cubicBezTo>
                    <a:lnTo>
                      <a:pt x="3906" y="620"/>
                    </a:lnTo>
                    <a:cubicBezTo>
                      <a:pt x="3906" y="620"/>
                      <a:pt x="3906" y="620"/>
                      <a:pt x="3874" y="620"/>
                    </a:cubicBezTo>
                    <a:cubicBezTo>
                      <a:pt x="3874" y="589"/>
                      <a:pt x="3874" y="589"/>
                      <a:pt x="3844" y="589"/>
                    </a:cubicBezTo>
                    <a:lnTo>
                      <a:pt x="3844" y="589"/>
                    </a:lnTo>
                    <a:cubicBezTo>
                      <a:pt x="3813" y="589"/>
                      <a:pt x="3813" y="589"/>
                      <a:pt x="3813" y="589"/>
                    </a:cubicBezTo>
                    <a:cubicBezTo>
                      <a:pt x="3813" y="589"/>
                      <a:pt x="3782" y="589"/>
                      <a:pt x="3782" y="557"/>
                    </a:cubicBezTo>
                    <a:lnTo>
                      <a:pt x="3782" y="557"/>
                    </a:lnTo>
                    <a:lnTo>
                      <a:pt x="3782" y="557"/>
                    </a:lnTo>
                    <a:lnTo>
                      <a:pt x="3750" y="557"/>
                    </a:lnTo>
                    <a:lnTo>
                      <a:pt x="3689" y="527"/>
                    </a:lnTo>
                    <a:cubicBezTo>
                      <a:pt x="3689" y="527"/>
                      <a:pt x="3689" y="527"/>
                      <a:pt x="3658" y="527"/>
                    </a:cubicBezTo>
                    <a:lnTo>
                      <a:pt x="3658" y="527"/>
                    </a:lnTo>
                    <a:lnTo>
                      <a:pt x="3626" y="527"/>
                    </a:lnTo>
                    <a:lnTo>
                      <a:pt x="3596" y="527"/>
                    </a:lnTo>
                    <a:cubicBezTo>
                      <a:pt x="3565" y="527"/>
                      <a:pt x="3565" y="527"/>
                      <a:pt x="3565" y="527"/>
                    </a:cubicBezTo>
                    <a:lnTo>
                      <a:pt x="3565" y="527"/>
                    </a:lnTo>
                    <a:cubicBezTo>
                      <a:pt x="3565" y="527"/>
                      <a:pt x="3565" y="527"/>
                      <a:pt x="3534" y="527"/>
                    </a:cubicBezTo>
                    <a:lnTo>
                      <a:pt x="3534" y="527"/>
                    </a:lnTo>
                    <a:lnTo>
                      <a:pt x="3534" y="527"/>
                    </a:lnTo>
                    <a:lnTo>
                      <a:pt x="3503" y="527"/>
                    </a:lnTo>
                    <a:lnTo>
                      <a:pt x="3503" y="527"/>
                    </a:lnTo>
                    <a:cubicBezTo>
                      <a:pt x="3503" y="557"/>
                      <a:pt x="3503" y="557"/>
                      <a:pt x="3503" y="589"/>
                    </a:cubicBezTo>
                    <a:lnTo>
                      <a:pt x="3503" y="589"/>
                    </a:lnTo>
                    <a:lnTo>
                      <a:pt x="3503" y="620"/>
                    </a:lnTo>
                    <a:lnTo>
                      <a:pt x="3503" y="651"/>
                    </a:lnTo>
                    <a:cubicBezTo>
                      <a:pt x="3503" y="681"/>
                      <a:pt x="3503" y="681"/>
                      <a:pt x="3472" y="681"/>
                    </a:cubicBezTo>
                    <a:cubicBezTo>
                      <a:pt x="3472" y="713"/>
                      <a:pt x="3472" y="713"/>
                      <a:pt x="3472" y="713"/>
                    </a:cubicBezTo>
                    <a:cubicBezTo>
                      <a:pt x="3441" y="713"/>
                      <a:pt x="3441" y="713"/>
                      <a:pt x="3441" y="744"/>
                    </a:cubicBezTo>
                    <a:lnTo>
                      <a:pt x="3472" y="744"/>
                    </a:lnTo>
                    <a:lnTo>
                      <a:pt x="3472" y="744"/>
                    </a:lnTo>
                    <a:cubicBezTo>
                      <a:pt x="3503" y="744"/>
                      <a:pt x="3534" y="775"/>
                      <a:pt x="3534" y="805"/>
                    </a:cubicBezTo>
                    <a:cubicBezTo>
                      <a:pt x="3565" y="805"/>
                      <a:pt x="3565" y="837"/>
                      <a:pt x="3565" y="899"/>
                    </a:cubicBezTo>
                    <a:cubicBezTo>
                      <a:pt x="3565" y="929"/>
                      <a:pt x="3534" y="929"/>
                      <a:pt x="3534" y="929"/>
                    </a:cubicBezTo>
                    <a:cubicBezTo>
                      <a:pt x="3534" y="960"/>
                      <a:pt x="3534" y="960"/>
                      <a:pt x="3503" y="960"/>
                    </a:cubicBezTo>
                    <a:lnTo>
                      <a:pt x="3503" y="960"/>
                    </a:lnTo>
                    <a:cubicBezTo>
                      <a:pt x="3472" y="960"/>
                      <a:pt x="3441" y="992"/>
                      <a:pt x="3441" y="992"/>
                    </a:cubicBezTo>
                    <a:lnTo>
                      <a:pt x="3409" y="992"/>
                    </a:lnTo>
                    <a:cubicBezTo>
                      <a:pt x="3409" y="992"/>
                      <a:pt x="3409" y="992"/>
                      <a:pt x="3409" y="1023"/>
                    </a:cubicBezTo>
                    <a:lnTo>
                      <a:pt x="3409" y="1023"/>
                    </a:lnTo>
                    <a:cubicBezTo>
                      <a:pt x="3409" y="1023"/>
                      <a:pt x="3441" y="1053"/>
                      <a:pt x="3441" y="1116"/>
                    </a:cubicBezTo>
                    <a:cubicBezTo>
                      <a:pt x="3472" y="1177"/>
                      <a:pt x="3472" y="1177"/>
                      <a:pt x="3472" y="1177"/>
                    </a:cubicBezTo>
                    <a:cubicBezTo>
                      <a:pt x="3441" y="1177"/>
                      <a:pt x="3441" y="1177"/>
                      <a:pt x="3441" y="1177"/>
                    </a:cubicBezTo>
                    <a:cubicBezTo>
                      <a:pt x="3441" y="1177"/>
                      <a:pt x="3441" y="1177"/>
                      <a:pt x="3409" y="1177"/>
                    </a:cubicBezTo>
                    <a:lnTo>
                      <a:pt x="3441" y="1209"/>
                    </a:lnTo>
                    <a:cubicBezTo>
                      <a:pt x="3441" y="1271"/>
                      <a:pt x="3441" y="1271"/>
                      <a:pt x="3441" y="1271"/>
                    </a:cubicBezTo>
                    <a:cubicBezTo>
                      <a:pt x="3379" y="1240"/>
                      <a:pt x="3379" y="1240"/>
                      <a:pt x="3379" y="1240"/>
                    </a:cubicBezTo>
                    <a:lnTo>
                      <a:pt x="3379" y="1240"/>
                    </a:lnTo>
                    <a:cubicBezTo>
                      <a:pt x="3379" y="1271"/>
                      <a:pt x="3379" y="1271"/>
                      <a:pt x="3379" y="1271"/>
                    </a:cubicBezTo>
                    <a:cubicBezTo>
                      <a:pt x="3348" y="1271"/>
                      <a:pt x="3348" y="1240"/>
                      <a:pt x="3317" y="1240"/>
                    </a:cubicBezTo>
                    <a:lnTo>
                      <a:pt x="3317" y="1209"/>
                    </a:lnTo>
                    <a:cubicBezTo>
                      <a:pt x="3286" y="1209"/>
                      <a:pt x="3286" y="1209"/>
                      <a:pt x="3286" y="1209"/>
                    </a:cubicBezTo>
                    <a:lnTo>
                      <a:pt x="3286" y="1209"/>
                    </a:lnTo>
                    <a:cubicBezTo>
                      <a:pt x="3286" y="1209"/>
                      <a:pt x="3286" y="1209"/>
                      <a:pt x="3255" y="1209"/>
                    </a:cubicBezTo>
                    <a:cubicBezTo>
                      <a:pt x="3255" y="1177"/>
                      <a:pt x="3224" y="1177"/>
                      <a:pt x="3224" y="1177"/>
                    </a:cubicBezTo>
                    <a:cubicBezTo>
                      <a:pt x="3193" y="1147"/>
                      <a:pt x="3193" y="1147"/>
                      <a:pt x="3193" y="1116"/>
                    </a:cubicBezTo>
                    <a:lnTo>
                      <a:pt x="3193" y="1116"/>
                    </a:lnTo>
                    <a:lnTo>
                      <a:pt x="3193" y="1116"/>
                    </a:lnTo>
                    <a:cubicBezTo>
                      <a:pt x="3193" y="1085"/>
                      <a:pt x="3162" y="1053"/>
                      <a:pt x="3193" y="1053"/>
                    </a:cubicBezTo>
                    <a:lnTo>
                      <a:pt x="3193" y="1023"/>
                    </a:lnTo>
                    <a:lnTo>
                      <a:pt x="3193" y="1023"/>
                    </a:lnTo>
                    <a:lnTo>
                      <a:pt x="3193" y="992"/>
                    </a:lnTo>
                    <a:lnTo>
                      <a:pt x="3193" y="992"/>
                    </a:lnTo>
                    <a:cubicBezTo>
                      <a:pt x="3162" y="992"/>
                      <a:pt x="3162" y="992"/>
                      <a:pt x="3162" y="992"/>
                    </a:cubicBezTo>
                    <a:lnTo>
                      <a:pt x="3162" y="992"/>
                    </a:lnTo>
                    <a:cubicBezTo>
                      <a:pt x="3162" y="992"/>
                      <a:pt x="3100" y="960"/>
                      <a:pt x="3069" y="960"/>
                    </a:cubicBezTo>
                    <a:cubicBezTo>
                      <a:pt x="3038" y="992"/>
                      <a:pt x="3038" y="992"/>
                      <a:pt x="3038" y="992"/>
                    </a:cubicBezTo>
                    <a:cubicBezTo>
                      <a:pt x="3038" y="960"/>
                      <a:pt x="3038" y="960"/>
                      <a:pt x="3038" y="960"/>
                    </a:cubicBezTo>
                    <a:cubicBezTo>
                      <a:pt x="3007" y="960"/>
                      <a:pt x="2945" y="929"/>
                      <a:pt x="2914" y="929"/>
                    </a:cubicBezTo>
                    <a:cubicBezTo>
                      <a:pt x="2883" y="929"/>
                      <a:pt x="2883" y="899"/>
                      <a:pt x="2852" y="868"/>
                    </a:cubicBezTo>
                    <a:lnTo>
                      <a:pt x="2852" y="868"/>
                    </a:lnTo>
                    <a:lnTo>
                      <a:pt x="2852" y="868"/>
                    </a:lnTo>
                    <a:cubicBezTo>
                      <a:pt x="2821" y="868"/>
                      <a:pt x="2790" y="868"/>
                      <a:pt x="2759" y="868"/>
                    </a:cubicBezTo>
                    <a:lnTo>
                      <a:pt x="2759" y="868"/>
                    </a:lnTo>
                    <a:cubicBezTo>
                      <a:pt x="2728" y="868"/>
                      <a:pt x="2728" y="868"/>
                      <a:pt x="2728" y="868"/>
                    </a:cubicBezTo>
                    <a:cubicBezTo>
                      <a:pt x="2697" y="868"/>
                      <a:pt x="2666" y="868"/>
                      <a:pt x="2666" y="868"/>
                    </a:cubicBezTo>
                    <a:cubicBezTo>
                      <a:pt x="2635" y="868"/>
                      <a:pt x="2635" y="868"/>
                      <a:pt x="2635" y="868"/>
                    </a:cubicBezTo>
                    <a:cubicBezTo>
                      <a:pt x="2573" y="868"/>
                      <a:pt x="2573" y="868"/>
                      <a:pt x="2573" y="868"/>
                    </a:cubicBezTo>
                    <a:cubicBezTo>
                      <a:pt x="2635" y="805"/>
                      <a:pt x="2635" y="805"/>
                      <a:pt x="2635" y="805"/>
                    </a:cubicBezTo>
                    <a:cubicBezTo>
                      <a:pt x="2604" y="744"/>
                      <a:pt x="2604" y="744"/>
                      <a:pt x="2604" y="744"/>
                    </a:cubicBezTo>
                    <a:cubicBezTo>
                      <a:pt x="2573" y="744"/>
                      <a:pt x="2573" y="744"/>
                      <a:pt x="2573" y="744"/>
                    </a:cubicBezTo>
                    <a:cubicBezTo>
                      <a:pt x="2542" y="775"/>
                      <a:pt x="2542" y="775"/>
                      <a:pt x="2542" y="775"/>
                    </a:cubicBezTo>
                    <a:lnTo>
                      <a:pt x="2542" y="775"/>
                    </a:lnTo>
                    <a:cubicBezTo>
                      <a:pt x="2542" y="744"/>
                      <a:pt x="2511" y="744"/>
                      <a:pt x="2511" y="744"/>
                    </a:cubicBezTo>
                    <a:cubicBezTo>
                      <a:pt x="2511" y="744"/>
                      <a:pt x="2480" y="713"/>
                      <a:pt x="2480" y="681"/>
                    </a:cubicBezTo>
                    <a:lnTo>
                      <a:pt x="2480" y="651"/>
                    </a:lnTo>
                    <a:cubicBezTo>
                      <a:pt x="2480" y="620"/>
                      <a:pt x="2480" y="620"/>
                      <a:pt x="2480" y="620"/>
                    </a:cubicBezTo>
                    <a:cubicBezTo>
                      <a:pt x="2480" y="589"/>
                      <a:pt x="2511" y="589"/>
                      <a:pt x="2511" y="557"/>
                    </a:cubicBezTo>
                    <a:cubicBezTo>
                      <a:pt x="2542" y="557"/>
                      <a:pt x="2542" y="557"/>
                      <a:pt x="2542" y="557"/>
                    </a:cubicBezTo>
                    <a:lnTo>
                      <a:pt x="2542" y="557"/>
                    </a:lnTo>
                    <a:cubicBezTo>
                      <a:pt x="2573" y="527"/>
                      <a:pt x="2573" y="527"/>
                      <a:pt x="2573" y="527"/>
                    </a:cubicBezTo>
                    <a:cubicBezTo>
                      <a:pt x="2542" y="465"/>
                      <a:pt x="2542" y="465"/>
                      <a:pt x="2542" y="465"/>
                    </a:cubicBezTo>
                    <a:cubicBezTo>
                      <a:pt x="2604" y="496"/>
                      <a:pt x="2604" y="496"/>
                      <a:pt x="2604" y="496"/>
                    </a:cubicBezTo>
                    <a:cubicBezTo>
                      <a:pt x="2604" y="465"/>
                      <a:pt x="2604" y="465"/>
                      <a:pt x="2604" y="465"/>
                    </a:cubicBezTo>
                    <a:lnTo>
                      <a:pt x="2604" y="465"/>
                    </a:lnTo>
                    <a:cubicBezTo>
                      <a:pt x="2635" y="465"/>
                      <a:pt x="2666" y="433"/>
                      <a:pt x="2666" y="433"/>
                    </a:cubicBezTo>
                    <a:cubicBezTo>
                      <a:pt x="2697" y="433"/>
                      <a:pt x="2697" y="433"/>
                      <a:pt x="2697" y="433"/>
                    </a:cubicBezTo>
                    <a:lnTo>
                      <a:pt x="2697" y="433"/>
                    </a:lnTo>
                    <a:cubicBezTo>
                      <a:pt x="2697" y="433"/>
                      <a:pt x="2697" y="433"/>
                      <a:pt x="2666" y="433"/>
                    </a:cubicBezTo>
                    <a:cubicBezTo>
                      <a:pt x="2666" y="433"/>
                      <a:pt x="2666" y="433"/>
                      <a:pt x="2635" y="433"/>
                    </a:cubicBezTo>
                    <a:lnTo>
                      <a:pt x="2635" y="433"/>
                    </a:lnTo>
                    <a:cubicBezTo>
                      <a:pt x="2635" y="433"/>
                      <a:pt x="2604" y="403"/>
                      <a:pt x="2573" y="403"/>
                    </a:cubicBezTo>
                    <a:cubicBezTo>
                      <a:pt x="2511" y="372"/>
                      <a:pt x="2511" y="372"/>
                      <a:pt x="2511" y="372"/>
                    </a:cubicBezTo>
                    <a:cubicBezTo>
                      <a:pt x="2635" y="372"/>
                      <a:pt x="2635" y="372"/>
                      <a:pt x="2635" y="372"/>
                    </a:cubicBezTo>
                    <a:cubicBezTo>
                      <a:pt x="2635" y="372"/>
                      <a:pt x="2635" y="372"/>
                      <a:pt x="2666" y="372"/>
                    </a:cubicBezTo>
                    <a:lnTo>
                      <a:pt x="2666" y="372"/>
                    </a:lnTo>
                    <a:cubicBezTo>
                      <a:pt x="2697" y="372"/>
                      <a:pt x="2697" y="372"/>
                      <a:pt x="2697" y="372"/>
                    </a:cubicBezTo>
                    <a:cubicBezTo>
                      <a:pt x="2697" y="372"/>
                      <a:pt x="2728" y="372"/>
                      <a:pt x="2728" y="403"/>
                    </a:cubicBezTo>
                    <a:cubicBezTo>
                      <a:pt x="2728" y="403"/>
                      <a:pt x="2728" y="403"/>
                      <a:pt x="2759" y="403"/>
                    </a:cubicBezTo>
                    <a:lnTo>
                      <a:pt x="2759" y="403"/>
                    </a:lnTo>
                    <a:cubicBezTo>
                      <a:pt x="2759" y="403"/>
                      <a:pt x="2759" y="403"/>
                      <a:pt x="2759" y="372"/>
                    </a:cubicBezTo>
                    <a:cubicBezTo>
                      <a:pt x="2790" y="372"/>
                      <a:pt x="2790" y="372"/>
                      <a:pt x="2790" y="341"/>
                    </a:cubicBezTo>
                    <a:lnTo>
                      <a:pt x="2821" y="341"/>
                    </a:lnTo>
                    <a:cubicBezTo>
                      <a:pt x="2821" y="341"/>
                      <a:pt x="2821" y="372"/>
                      <a:pt x="2852" y="372"/>
                    </a:cubicBezTo>
                    <a:lnTo>
                      <a:pt x="2852" y="372"/>
                    </a:lnTo>
                    <a:lnTo>
                      <a:pt x="2852" y="372"/>
                    </a:lnTo>
                    <a:cubicBezTo>
                      <a:pt x="2852" y="372"/>
                      <a:pt x="2852" y="372"/>
                      <a:pt x="2883" y="372"/>
                    </a:cubicBezTo>
                    <a:lnTo>
                      <a:pt x="2883" y="372"/>
                    </a:lnTo>
                    <a:lnTo>
                      <a:pt x="2914" y="341"/>
                    </a:lnTo>
                    <a:cubicBezTo>
                      <a:pt x="2914" y="310"/>
                      <a:pt x="2914" y="310"/>
                      <a:pt x="2914" y="310"/>
                    </a:cubicBezTo>
                    <a:cubicBezTo>
                      <a:pt x="2914" y="279"/>
                      <a:pt x="2914" y="279"/>
                      <a:pt x="2914" y="279"/>
                    </a:cubicBezTo>
                    <a:lnTo>
                      <a:pt x="2945" y="248"/>
                    </a:lnTo>
                    <a:cubicBezTo>
                      <a:pt x="2945" y="248"/>
                      <a:pt x="2945" y="248"/>
                      <a:pt x="2945" y="217"/>
                    </a:cubicBezTo>
                    <a:lnTo>
                      <a:pt x="2945" y="217"/>
                    </a:lnTo>
                    <a:cubicBezTo>
                      <a:pt x="2883" y="186"/>
                      <a:pt x="2883" y="186"/>
                      <a:pt x="2883" y="186"/>
                    </a:cubicBezTo>
                    <a:lnTo>
                      <a:pt x="2945" y="186"/>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80" name="Freeform 177"/>
              <p:cNvSpPr>
                <a:spLocks noChangeArrowheads="1"/>
              </p:cNvSpPr>
              <p:nvPr/>
            </p:nvSpPr>
            <p:spPr bwMode="auto">
              <a:xfrm>
                <a:off x="1760538" y="1000125"/>
                <a:ext cx="44450" cy="33338"/>
              </a:xfrm>
              <a:custGeom>
                <a:avLst/>
                <a:gdLst>
                  <a:gd name="T0" fmla="*/ 124 w 125"/>
                  <a:gd name="T1" fmla="*/ 31 h 94"/>
                  <a:gd name="T2" fmla="*/ 124 w 125"/>
                  <a:gd name="T3" fmla="*/ 31 h 94"/>
                  <a:gd name="T4" fmla="*/ 93 w 125"/>
                  <a:gd name="T5" fmla="*/ 0 h 94"/>
                  <a:gd name="T6" fmla="*/ 62 w 125"/>
                  <a:gd name="T7" fmla="*/ 0 h 94"/>
                  <a:gd name="T8" fmla="*/ 31 w 125"/>
                  <a:gd name="T9" fmla="*/ 31 h 94"/>
                  <a:gd name="T10" fmla="*/ 0 w 125"/>
                  <a:gd name="T11" fmla="*/ 31 h 94"/>
                  <a:gd name="T12" fmla="*/ 31 w 125"/>
                  <a:gd name="T13" fmla="*/ 62 h 94"/>
                  <a:gd name="T14" fmla="*/ 0 w 125"/>
                  <a:gd name="T15" fmla="*/ 93 h 94"/>
                  <a:gd name="T16" fmla="*/ 0 w 125"/>
                  <a:gd name="T17" fmla="*/ 93 h 94"/>
                  <a:gd name="T18" fmla="*/ 0 w 125"/>
                  <a:gd name="T19" fmla="*/ 93 h 94"/>
                  <a:gd name="T20" fmla="*/ 0 w 125"/>
                  <a:gd name="T21" fmla="*/ 93 h 94"/>
                  <a:gd name="T22" fmla="*/ 31 w 125"/>
                  <a:gd name="T23" fmla="*/ 93 h 94"/>
                  <a:gd name="T24" fmla="*/ 93 w 125"/>
                  <a:gd name="T25" fmla="*/ 93 h 94"/>
                  <a:gd name="T26" fmla="*/ 124 w 125"/>
                  <a:gd name="T27" fmla="*/ 93 h 94"/>
                  <a:gd name="T28" fmla="*/ 124 w 125"/>
                  <a:gd name="T29" fmla="*/ 93 h 94"/>
                  <a:gd name="T30" fmla="*/ 124 w 125"/>
                  <a:gd name="T31"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94">
                    <a:moveTo>
                      <a:pt x="124" y="31"/>
                    </a:moveTo>
                    <a:lnTo>
                      <a:pt x="124" y="31"/>
                    </a:lnTo>
                    <a:cubicBezTo>
                      <a:pt x="93" y="31"/>
                      <a:pt x="93" y="0"/>
                      <a:pt x="93" y="0"/>
                    </a:cubicBezTo>
                    <a:lnTo>
                      <a:pt x="62" y="0"/>
                    </a:lnTo>
                    <a:cubicBezTo>
                      <a:pt x="31" y="0"/>
                      <a:pt x="31" y="31"/>
                      <a:pt x="31" y="31"/>
                    </a:cubicBezTo>
                    <a:lnTo>
                      <a:pt x="0" y="31"/>
                    </a:lnTo>
                    <a:cubicBezTo>
                      <a:pt x="31" y="62"/>
                      <a:pt x="31" y="62"/>
                      <a:pt x="31" y="62"/>
                    </a:cubicBezTo>
                    <a:cubicBezTo>
                      <a:pt x="0" y="93"/>
                      <a:pt x="0" y="93"/>
                      <a:pt x="0" y="93"/>
                    </a:cubicBezTo>
                    <a:lnTo>
                      <a:pt x="0" y="93"/>
                    </a:lnTo>
                    <a:lnTo>
                      <a:pt x="0" y="93"/>
                    </a:lnTo>
                    <a:lnTo>
                      <a:pt x="0" y="93"/>
                    </a:lnTo>
                    <a:lnTo>
                      <a:pt x="31" y="93"/>
                    </a:lnTo>
                    <a:cubicBezTo>
                      <a:pt x="31" y="93"/>
                      <a:pt x="31" y="93"/>
                      <a:pt x="93" y="93"/>
                    </a:cubicBezTo>
                    <a:lnTo>
                      <a:pt x="124" y="93"/>
                    </a:lnTo>
                    <a:lnTo>
                      <a:pt x="124" y="93"/>
                    </a:lnTo>
                    <a:lnTo>
                      <a:pt x="124" y="3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81" name="Freeform 178"/>
              <p:cNvSpPr>
                <a:spLocks noChangeArrowheads="1"/>
              </p:cNvSpPr>
              <p:nvPr/>
            </p:nvSpPr>
            <p:spPr bwMode="auto">
              <a:xfrm>
                <a:off x="1951038" y="1044575"/>
                <a:ext cx="77787" cy="66675"/>
              </a:xfrm>
              <a:custGeom>
                <a:avLst/>
                <a:gdLst>
                  <a:gd name="T0" fmla="*/ 186 w 218"/>
                  <a:gd name="T1" fmla="*/ 124 h 187"/>
                  <a:gd name="T2" fmla="*/ 186 w 218"/>
                  <a:gd name="T3" fmla="*/ 124 h 187"/>
                  <a:gd name="T4" fmla="*/ 186 w 218"/>
                  <a:gd name="T5" fmla="*/ 124 h 187"/>
                  <a:gd name="T6" fmla="*/ 186 w 218"/>
                  <a:gd name="T7" fmla="*/ 93 h 187"/>
                  <a:gd name="T8" fmla="*/ 186 w 218"/>
                  <a:gd name="T9" fmla="*/ 62 h 187"/>
                  <a:gd name="T10" fmla="*/ 186 w 218"/>
                  <a:gd name="T11" fmla="*/ 62 h 187"/>
                  <a:gd name="T12" fmla="*/ 124 w 218"/>
                  <a:gd name="T13" fmla="*/ 31 h 187"/>
                  <a:gd name="T14" fmla="*/ 186 w 218"/>
                  <a:gd name="T15" fmla="*/ 31 h 187"/>
                  <a:gd name="T16" fmla="*/ 62 w 218"/>
                  <a:gd name="T17" fmla="*/ 31 h 187"/>
                  <a:gd name="T18" fmla="*/ 31 w 218"/>
                  <a:gd name="T19" fmla="*/ 0 h 187"/>
                  <a:gd name="T20" fmla="*/ 31 w 218"/>
                  <a:gd name="T21" fmla="*/ 31 h 187"/>
                  <a:gd name="T22" fmla="*/ 31 w 218"/>
                  <a:gd name="T23" fmla="*/ 93 h 187"/>
                  <a:gd name="T24" fmla="*/ 0 w 218"/>
                  <a:gd name="T25" fmla="*/ 124 h 187"/>
                  <a:gd name="T26" fmla="*/ 0 w 218"/>
                  <a:gd name="T27" fmla="*/ 124 h 187"/>
                  <a:gd name="T28" fmla="*/ 0 w 218"/>
                  <a:gd name="T29" fmla="*/ 155 h 187"/>
                  <a:gd name="T30" fmla="*/ 0 w 218"/>
                  <a:gd name="T31" fmla="*/ 155 h 187"/>
                  <a:gd name="T32" fmla="*/ 62 w 218"/>
                  <a:gd name="T33" fmla="*/ 155 h 187"/>
                  <a:gd name="T34" fmla="*/ 93 w 218"/>
                  <a:gd name="T35" fmla="*/ 155 h 187"/>
                  <a:gd name="T36" fmla="*/ 155 w 218"/>
                  <a:gd name="T37" fmla="*/ 186 h 187"/>
                  <a:gd name="T38" fmla="*/ 155 w 218"/>
                  <a:gd name="T39" fmla="*/ 186 h 187"/>
                  <a:gd name="T40" fmla="*/ 186 w 218"/>
                  <a:gd name="T41" fmla="*/ 155 h 187"/>
                  <a:gd name="T42" fmla="*/ 186 w 218"/>
                  <a:gd name="T43" fmla="*/ 155 h 187"/>
                  <a:gd name="T44" fmla="*/ 217 w 218"/>
                  <a:gd name="T45" fmla="*/ 155 h 187"/>
                  <a:gd name="T46" fmla="*/ 217 w 218"/>
                  <a:gd name="T47" fmla="*/ 124 h 187"/>
                  <a:gd name="T48" fmla="*/ 217 w 218"/>
                  <a:gd name="T49" fmla="*/ 124 h 187"/>
                  <a:gd name="T50" fmla="*/ 186 w 218"/>
                  <a:gd name="T51"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8" h="187">
                    <a:moveTo>
                      <a:pt x="186" y="124"/>
                    </a:moveTo>
                    <a:lnTo>
                      <a:pt x="186" y="124"/>
                    </a:lnTo>
                    <a:lnTo>
                      <a:pt x="186" y="124"/>
                    </a:lnTo>
                    <a:lnTo>
                      <a:pt x="186" y="93"/>
                    </a:lnTo>
                    <a:lnTo>
                      <a:pt x="186" y="62"/>
                    </a:lnTo>
                    <a:lnTo>
                      <a:pt x="186" y="62"/>
                    </a:lnTo>
                    <a:cubicBezTo>
                      <a:pt x="124" y="31"/>
                      <a:pt x="124" y="31"/>
                      <a:pt x="124" y="31"/>
                    </a:cubicBezTo>
                    <a:cubicBezTo>
                      <a:pt x="186" y="31"/>
                      <a:pt x="186" y="31"/>
                      <a:pt x="186" y="31"/>
                    </a:cubicBezTo>
                    <a:cubicBezTo>
                      <a:pt x="155" y="31"/>
                      <a:pt x="62" y="31"/>
                      <a:pt x="62" y="31"/>
                    </a:cubicBezTo>
                    <a:cubicBezTo>
                      <a:pt x="62" y="31"/>
                      <a:pt x="62" y="31"/>
                      <a:pt x="31" y="0"/>
                    </a:cubicBezTo>
                    <a:cubicBezTo>
                      <a:pt x="31" y="31"/>
                      <a:pt x="31" y="31"/>
                      <a:pt x="31" y="31"/>
                    </a:cubicBezTo>
                    <a:cubicBezTo>
                      <a:pt x="31" y="62"/>
                      <a:pt x="31" y="62"/>
                      <a:pt x="31" y="93"/>
                    </a:cubicBezTo>
                    <a:cubicBezTo>
                      <a:pt x="31" y="93"/>
                      <a:pt x="31" y="124"/>
                      <a:pt x="0" y="124"/>
                    </a:cubicBezTo>
                    <a:lnTo>
                      <a:pt x="0" y="124"/>
                    </a:lnTo>
                    <a:cubicBezTo>
                      <a:pt x="0" y="124"/>
                      <a:pt x="0" y="124"/>
                      <a:pt x="0" y="155"/>
                    </a:cubicBezTo>
                    <a:lnTo>
                      <a:pt x="0" y="155"/>
                    </a:lnTo>
                    <a:cubicBezTo>
                      <a:pt x="62" y="155"/>
                      <a:pt x="62" y="155"/>
                      <a:pt x="62" y="155"/>
                    </a:cubicBezTo>
                    <a:lnTo>
                      <a:pt x="93" y="155"/>
                    </a:lnTo>
                    <a:cubicBezTo>
                      <a:pt x="124" y="155"/>
                      <a:pt x="155" y="186"/>
                      <a:pt x="155" y="186"/>
                    </a:cubicBezTo>
                    <a:lnTo>
                      <a:pt x="155" y="186"/>
                    </a:lnTo>
                    <a:cubicBezTo>
                      <a:pt x="155" y="155"/>
                      <a:pt x="186" y="155"/>
                      <a:pt x="186" y="155"/>
                    </a:cubicBezTo>
                    <a:lnTo>
                      <a:pt x="186" y="155"/>
                    </a:lnTo>
                    <a:lnTo>
                      <a:pt x="217" y="155"/>
                    </a:lnTo>
                    <a:lnTo>
                      <a:pt x="217" y="124"/>
                    </a:lnTo>
                    <a:lnTo>
                      <a:pt x="217" y="124"/>
                    </a:lnTo>
                    <a:cubicBezTo>
                      <a:pt x="217" y="124"/>
                      <a:pt x="217" y="124"/>
                      <a:pt x="186" y="12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82" name="Freeform 179"/>
              <p:cNvSpPr>
                <a:spLocks noChangeArrowheads="1"/>
              </p:cNvSpPr>
              <p:nvPr/>
            </p:nvSpPr>
            <p:spPr bwMode="auto">
              <a:xfrm>
                <a:off x="354013" y="1011238"/>
                <a:ext cx="492125" cy="323850"/>
              </a:xfrm>
              <a:custGeom>
                <a:avLst/>
                <a:gdLst>
                  <a:gd name="T0" fmla="*/ 1272 w 1366"/>
                  <a:gd name="T1" fmla="*/ 93 h 900"/>
                  <a:gd name="T2" fmla="*/ 1148 w 1366"/>
                  <a:gd name="T3" fmla="*/ 93 h 900"/>
                  <a:gd name="T4" fmla="*/ 1085 w 1366"/>
                  <a:gd name="T5" fmla="*/ 93 h 900"/>
                  <a:gd name="T6" fmla="*/ 930 w 1366"/>
                  <a:gd name="T7" fmla="*/ 62 h 900"/>
                  <a:gd name="T8" fmla="*/ 806 w 1366"/>
                  <a:gd name="T9" fmla="*/ 62 h 900"/>
                  <a:gd name="T10" fmla="*/ 713 w 1366"/>
                  <a:gd name="T11" fmla="*/ 31 h 900"/>
                  <a:gd name="T12" fmla="*/ 682 w 1366"/>
                  <a:gd name="T13" fmla="*/ 31 h 900"/>
                  <a:gd name="T14" fmla="*/ 621 w 1366"/>
                  <a:gd name="T15" fmla="*/ 31 h 900"/>
                  <a:gd name="T16" fmla="*/ 558 w 1366"/>
                  <a:gd name="T17" fmla="*/ 0 h 900"/>
                  <a:gd name="T18" fmla="*/ 434 w 1366"/>
                  <a:gd name="T19" fmla="*/ 31 h 900"/>
                  <a:gd name="T20" fmla="*/ 341 w 1366"/>
                  <a:gd name="T21" fmla="*/ 62 h 900"/>
                  <a:gd name="T22" fmla="*/ 217 w 1366"/>
                  <a:gd name="T23" fmla="*/ 93 h 900"/>
                  <a:gd name="T24" fmla="*/ 156 w 1366"/>
                  <a:gd name="T25" fmla="*/ 155 h 900"/>
                  <a:gd name="T26" fmla="*/ 93 w 1366"/>
                  <a:gd name="T27" fmla="*/ 186 h 900"/>
                  <a:gd name="T28" fmla="*/ 156 w 1366"/>
                  <a:gd name="T29" fmla="*/ 217 h 900"/>
                  <a:gd name="T30" fmla="*/ 249 w 1366"/>
                  <a:gd name="T31" fmla="*/ 217 h 900"/>
                  <a:gd name="T32" fmla="*/ 341 w 1366"/>
                  <a:gd name="T33" fmla="*/ 279 h 900"/>
                  <a:gd name="T34" fmla="*/ 280 w 1366"/>
                  <a:gd name="T35" fmla="*/ 310 h 900"/>
                  <a:gd name="T36" fmla="*/ 186 w 1366"/>
                  <a:gd name="T37" fmla="*/ 341 h 900"/>
                  <a:gd name="T38" fmla="*/ 93 w 1366"/>
                  <a:gd name="T39" fmla="*/ 310 h 900"/>
                  <a:gd name="T40" fmla="*/ 0 w 1366"/>
                  <a:gd name="T41" fmla="*/ 372 h 900"/>
                  <a:gd name="T42" fmla="*/ 156 w 1366"/>
                  <a:gd name="T43" fmla="*/ 403 h 900"/>
                  <a:gd name="T44" fmla="*/ 186 w 1366"/>
                  <a:gd name="T45" fmla="*/ 403 h 900"/>
                  <a:gd name="T46" fmla="*/ 280 w 1366"/>
                  <a:gd name="T47" fmla="*/ 372 h 900"/>
                  <a:gd name="T48" fmla="*/ 310 w 1366"/>
                  <a:gd name="T49" fmla="*/ 495 h 900"/>
                  <a:gd name="T50" fmla="*/ 217 w 1366"/>
                  <a:gd name="T51" fmla="*/ 495 h 900"/>
                  <a:gd name="T52" fmla="*/ 124 w 1366"/>
                  <a:gd name="T53" fmla="*/ 527 h 900"/>
                  <a:gd name="T54" fmla="*/ 93 w 1366"/>
                  <a:gd name="T55" fmla="*/ 558 h 900"/>
                  <a:gd name="T56" fmla="*/ 93 w 1366"/>
                  <a:gd name="T57" fmla="*/ 589 h 900"/>
                  <a:gd name="T58" fmla="*/ 124 w 1366"/>
                  <a:gd name="T59" fmla="*/ 619 h 900"/>
                  <a:gd name="T60" fmla="*/ 186 w 1366"/>
                  <a:gd name="T61" fmla="*/ 682 h 900"/>
                  <a:gd name="T62" fmla="*/ 249 w 1366"/>
                  <a:gd name="T63" fmla="*/ 651 h 900"/>
                  <a:gd name="T64" fmla="*/ 280 w 1366"/>
                  <a:gd name="T65" fmla="*/ 743 h 900"/>
                  <a:gd name="T66" fmla="*/ 280 w 1366"/>
                  <a:gd name="T67" fmla="*/ 775 h 900"/>
                  <a:gd name="T68" fmla="*/ 310 w 1366"/>
                  <a:gd name="T69" fmla="*/ 743 h 900"/>
                  <a:gd name="T70" fmla="*/ 373 w 1366"/>
                  <a:gd name="T71" fmla="*/ 775 h 900"/>
                  <a:gd name="T72" fmla="*/ 434 w 1366"/>
                  <a:gd name="T73" fmla="*/ 775 h 900"/>
                  <a:gd name="T74" fmla="*/ 465 w 1366"/>
                  <a:gd name="T75" fmla="*/ 775 h 900"/>
                  <a:gd name="T76" fmla="*/ 528 w 1366"/>
                  <a:gd name="T77" fmla="*/ 806 h 900"/>
                  <a:gd name="T78" fmla="*/ 497 w 1366"/>
                  <a:gd name="T79" fmla="*/ 867 h 900"/>
                  <a:gd name="T80" fmla="*/ 528 w 1366"/>
                  <a:gd name="T81" fmla="*/ 867 h 900"/>
                  <a:gd name="T82" fmla="*/ 621 w 1366"/>
                  <a:gd name="T83" fmla="*/ 806 h 900"/>
                  <a:gd name="T84" fmla="*/ 652 w 1366"/>
                  <a:gd name="T85" fmla="*/ 806 h 900"/>
                  <a:gd name="T86" fmla="*/ 713 w 1366"/>
                  <a:gd name="T87" fmla="*/ 713 h 900"/>
                  <a:gd name="T88" fmla="*/ 776 w 1366"/>
                  <a:gd name="T89" fmla="*/ 651 h 900"/>
                  <a:gd name="T90" fmla="*/ 930 w 1366"/>
                  <a:gd name="T91" fmla="*/ 589 h 900"/>
                  <a:gd name="T92" fmla="*/ 961 w 1366"/>
                  <a:gd name="T93" fmla="*/ 619 h 900"/>
                  <a:gd name="T94" fmla="*/ 1054 w 1366"/>
                  <a:gd name="T95" fmla="*/ 619 h 900"/>
                  <a:gd name="T96" fmla="*/ 1117 w 1366"/>
                  <a:gd name="T97" fmla="*/ 651 h 900"/>
                  <a:gd name="T98" fmla="*/ 1148 w 1366"/>
                  <a:gd name="T99" fmla="*/ 651 h 900"/>
                  <a:gd name="T100" fmla="*/ 1272 w 1366"/>
                  <a:gd name="T101" fmla="*/ 589 h 900"/>
                  <a:gd name="T102" fmla="*/ 1241 w 1366"/>
                  <a:gd name="T103" fmla="*/ 682 h 900"/>
                  <a:gd name="T104" fmla="*/ 1302 w 1366"/>
                  <a:gd name="T105" fmla="*/ 682 h 900"/>
                  <a:gd name="T106" fmla="*/ 1333 w 1366"/>
                  <a:gd name="T107" fmla="*/ 682 h 900"/>
                  <a:gd name="T108" fmla="*/ 1365 w 1366"/>
                  <a:gd name="T109" fmla="*/ 682 h 900"/>
                  <a:gd name="T110" fmla="*/ 1365 w 1366"/>
                  <a:gd name="T111" fmla="*/ 682 h 900"/>
                  <a:gd name="T112" fmla="*/ 1302 w 1366"/>
                  <a:gd name="T113" fmla="*/ 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6" h="900">
                    <a:moveTo>
                      <a:pt x="1302" y="93"/>
                    </a:moveTo>
                    <a:lnTo>
                      <a:pt x="1302" y="93"/>
                    </a:lnTo>
                    <a:lnTo>
                      <a:pt x="1272" y="93"/>
                    </a:lnTo>
                    <a:lnTo>
                      <a:pt x="1241" y="93"/>
                    </a:lnTo>
                    <a:cubicBezTo>
                      <a:pt x="1209" y="93"/>
                      <a:pt x="1209" y="93"/>
                      <a:pt x="1209" y="93"/>
                    </a:cubicBezTo>
                    <a:cubicBezTo>
                      <a:pt x="1178" y="93"/>
                      <a:pt x="1148" y="93"/>
                      <a:pt x="1148" y="93"/>
                    </a:cubicBezTo>
                    <a:lnTo>
                      <a:pt x="1148" y="93"/>
                    </a:lnTo>
                    <a:cubicBezTo>
                      <a:pt x="1148" y="93"/>
                      <a:pt x="1148" y="93"/>
                      <a:pt x="1117" y="93"/>
                    </a:cubicBezTo>
                    <a:cubicBezTo>
                      <a:pt x="1117" y="93"/>
                      <a:pt x="1117" y="93"/>
                      <a:pt x="1085" y="93"/>
                    </a:cubicBezTo>
                    <a:lnTo>
                      <a:pt x="1085" y="93"/>
                    </a:lnTo>
                    <a:cubicBezTo>
                      <a:pt x="1085" y="93"/>
                      <a:pt x="1054" y="93"/>
                      <a:pt x="1024" y="93"/>
                    </a:cubicBezTo>
                    <a:cubicBezTo>
                      <a:pt x="993" y="62"/>
                      <a:pt x="961" y="62"/>
                      <a:pt x="930" y="62"/>
                    </a:cubicBezTo>
                    <a:lnTo>
                      <a:pt x="930" y="62"/>
                    </a:lnTo>
                    <a:cubicBezTo>
                      <a:pt x="930" y="62"/>
                      <a:pt x="900" y="62"/>
                      <a:pt x="869" y="62"/>
                    </a:cubicBezTo>
                    <a:cubicBezTo>
                      <a:pt x="837" y="62"/>
                      <a:pt x="806" y="62"/>
                      <a:pt x="806" y="62"/>
                    </a:cubicBezTo>
                    <a:cubicBezTo>
                      <a:pt x="806" y="62"/>
                      <a:pt x="776" y="62"/>
                      <a:pt x="745" y="62"/>
                    </a:cubicBezTo>
                    <a:cubicBezTo>
                      <a:pt x="713" y="31"/>
                      <a:pt x="713" y="31"/>
                      <a:pt x="713" y="31"/>
                    </a:cubicBezTo>
                    <a:lnTo>
                      <a:pt x="713" y="31"/>
                    </a:lnTo>
                    <a:lnTo>
                      <a:pt x="713" y="31"/>
                    </a:lnTo>
                    <a:lnTo>
                      <a:pt x="682" y="31"/>
                    </a:lnTo>
                    <a:lnTo>
                      <a:pt x="682" y="31"/>
                    </a:lnTo>
                    <a:lnTo>
                      <a:pt x="652" y="31"/>
                    </a:lnTo>
                    <a:cubicBezTo>
                      <a:pt x="652" y="31"/>
                      <a:pt x="652" y="31"/>
                      <a:pt x="621" y="31"/>
                    </a:cubicBezTo>
                    <a:lnTo>
                      <a:pt x="621" y="31"/>
                    </a:lnTo>
                    <a:lnTo>
                      <a:pt x="621" y="31"/>
                    </a:lnTo>
                    <a:cubicBezTo>
                      <a:pt x="528" y="62"/>
                      <a:pt x="528" y="62"/>
                      <a:pt x="528" y="62"/>
                    </a:cubicBezTo>
                    <a:cubicBezTo>
                      <a:pt x="558" y="0"/>
                      <a:pt x="558" y="0"/>
                      <a:pt x="558" y="0"/>
                    </a:cubicBezTo>
                    <a:lnTo>
                      <a:pt x="558" y="0"/>
                    </a:lnTo>
                    <a:cubicBezTo>
                      <a:pt x="528" y="0"/>
                      <a:pt x="528" y="31"/>
                      <a:pt x="497" y="31"/>
                    </a:cubicBezTo>
                    <a:cubicBezTo>
                      <a:pt x="497" y="31"/>
                      <a:pt x="465" y="31"/>
                      <a:pt x="434" y="31"/>
                    </a:cubicBezTo>
                    <a:lnTo>
                      <a:pt x="434" y="62"/>
                    </a:lnTo>
                    <a:cubicBezTo>
                      <a:pt x="404" y="62"/>
                      <a:pt x="373" y="62"/>
                      <a:pt x="373" y="62"/>
                    </a:cubicBezTo>
                    <a:cubicBezTo>
                      <a:pt x="341" y="62"/>
                      <a:pt x="341" y="62"/>
                      <a:pt x="341" y="62"/>
                    </a:cubicBezTo>
                    <a:lnTo>
                      <a:pt x="341" y="62"/>
                    </a:lnTo>
                    <a:cubicBezTo>
                      <a:pt x="310" y="62"/>
                      <a:pt x="280" y="62"/>
                      <a:pt x="280" y="62"/>
                    </a:cubicBezTo>
                    <a:cubicBezTo>
                      <a:pt x="249" y="62"/>
                      <a:pt x="249" y="93"/>
                      <a:pt x="217" y="93"/>
                    </a:cubicBezTo>
                    <a:lnTo>
                      <a:pt x="186" y="124"/>
                    </a:lnTo>
                    <a:cubicBezTo>
                      <a:pt x="156" y="155"/>
                      <a:pt x="156" y="155"/>
                      <a:pt x="156" y="155"/>
                    </a:cubicBezTo>
                    <a:lnTo>
                      <a:pt x="156" y="155"/>
                    </a:lnTo>
                    <a:cubicBezTo>
                      <a:pt x="156" y="155"/>
                      <a:pt x="156" y="155"/>
                      <a:pt x="124" y="155"/>
                    </a:cubicBezTo>
                    <a:cubicBezTo>
                      <a:pt x="93" y="155"/>
                      <a:pt x="62" y="155"/>
                      <a:pt x="62" y="155"/>
                    </a:cubicBezTo>
                    <a:lnTo>
                      <a:pt x="93" y="186"/>
                    </a:lnTo>
                    <a:lnTo>
                      <a:pt x="93" y="186"/>
                    </a:lnTo>
                    <a:cubicBezTo>
                      <a:pt x="124" y="186"/>
                      <a:pt x="156" y="186"/>
                      <a:pt x="156" y="217"/>
                    </a:cubicBezTo>
                    <a:lnTo>
                      <a:pt x="156" y="217"/>
                    </a:lnTo>
                    <a:lnTo>
                      <a:pt x="186" y="217"/>
                    </a:lnTo>
                    <a:cubicBezTo>
                      <a:pt x="217" y="217"/>
                      <a:pt x="217" y="217"/>
                      <a:pt x="217" y="217"/>
                    </a:cubicBezTo>
                    <a:cubicBezTo>
                      <a:pt x="249" y="217"/>
                      <a:pt x="249" y="217"/>
                      <a:pt x="249" y="217"/>
                    </a:cubicBezTo>
                    <a:cubicBezTo>
                      <a:pt x="280" y="217"/>
                      <a:pt x="280" y="217"/>
                      <a:pt x="280" y="217"/>
                    </a:cubicBezTo>
                    <a:cubicBezTo>
                      <a:pt x="280" y="248"/>
                      <a:pt x="280" y="248"/>
                      <a:pt x="280" y="248"/>
                    </a:cubicBezTo>
                    <a:cubicBezTo>
                      <a:pt x="341" y="279"/>
                      <a:pt x="341" y="279"/>
                      <a:pt x="341" y="279"/>
                    </a:cubicBezTo>
                    <a:cubicBezTo>
                      <a:pt x="341" y="341"/>
                      <a:pt x="341" y="341"/>
                      <a:pt x="341" y="341"/>
                    </a:cubicBezTo>
                    <a:cubicBezTo>
                      <a:pt x="310" y="341"/>
                      <a:pt x="310" y="341"/>
                      <a:pt x="310" y="341"/>
                    </a:cubicBezTo>
                    <a:cubicBezTo>
                      <a:pt x="310" y="341"/>
                      <a:pt x="310" y="310"/>
                      <a:pt x="280" y="310"/>
                    </a:cubicBezTo>
                    <a:cubicBezTo>
                      <a:pt x="280" y="310"/>
                      <a:pt x="280" y="310"/>
                      <a:pt x="249" y="310"/>
                    </a:cubicBezTo>
                    <a:cubicBezTo>
                      <a:pt x="249" y="341"/>
                      <a:pt x="217" y="341"/>
                      <a:pt x="186" y="341"/>
                    </a:cubicBezTo>
                    <a:lnTo>
                      <a:pt x="186" y="341"/>
                    </a:lnTo>
                    <a:lnTo>
                      <a:pt x="124" y="341"/>
                    </a:lnTo>
                    <a:cubicBezTo>
                      <a:pt x="124" y="341"/>
                      <a:pt x="93" y="341"/>
                      <a:pt x="93" y="310"/>
                    </a:cubicBezTo>
                    <a:lnTo>
                      <a:pt x="93" y="310"/>
                    </a:lnTo>
                    <a:cubicBezTo>
                      <a:pt x="0" y="341"/>
                      <a:pt x="0" y="341"/>
                      <a:pt x="0" y="341"/>
                    </a:cubicBezTo>
                    <a:lnTo>
                      <a:pt x="0" y="372"/>
                    </a:lnTo>
                    <a:lnTo>
                      <a:pt x="0" y="372"/>
                    </a:lnTo>
                    <a:cubicBezTo>
                      <a:pt x="32" y="403"/>
                      <a:pt x="32" y="403"/>
                      <a:pt x="62" y="403"/>
                    </a:cubicBezTo>
                    <a:lnTo>
                      <a:pt x="62" y="403"/>
                    </a:lnTo>
                    <a:cubicBezTo>
                      <a:pt x="93" y="403"/>
                      <a:pt x="124" y="403"/>
                      <a:pt x="156" y="403"/>
                    </a:cubicBezTo>
                    <a:lnTo>
                      <a:pt x="156" y="403"/>
                    </a:lnTo>
                    <a:cubicBezTo>
                      <a:pt x="186" y="372"/>
                      <a:pt x="186" y="372"/>
                      <a:pt x="186" y="372"/>
                    </a:cubicBezTo>
                    <a:cubicBezTo>
                      <a:pt x="186" y="403"/>
                      <a:pt x="186" y="403"/>
                      <a:pt x="186" y="403"/>
                    </a:cubicBezTo>
                    <a:lnTo>
                      <a:pt x="217" y="403"/>
                    </a:lnTo>
                    <a:lnTo>
                      <a:pt x="217" y="403"/>
                    </a:lnTo>
                    <a:lnTo>
                      <a:pt x="280" y="372"/>
                    </a:lnTo>
                    <a:cubicBezTo>
                      <a:pt x="310" y="341"/>
                      <a:pt x="310" y="341"/>
                      <a:pt x="310" y="341"/>
                    </a:cubicBezTo>
                    <a:cubicBezTo>
                      <a:pt x="310" y="403"/>
                      <a:pt x="310" y="403"/>
                      <a:pt x="310" y="403"/>
                    </a:cubicBezTo>
                    <a:cubicBezTo>
                      <a:pt x="310" y="434"/>
                      <a:pt x="310" y="465"/>
                      <a:pt x="310" y="495"/>
                    </a:cubicBezTo>
                    <a:cubicBezTo>
                      <a:pt x="310" y="495"/>
                      <a:pt x="280" y="527"/>
                      <a:pt x="249" y="527"/>
                    </a:cubicBezTo>
                    <a:lnTo>
                      <a:pt x="249" y="527"/>
                    </a:lnTo>
                    <a:lnTo>
                      <a:pt x="217" y="495"/>
                    </a:lnTo>
                    <a:lnTo>
                      <a:pt x="217" y="495"/>
                    </a:lnTo>
                    <a:lnTo>
                      <a:pt x="186" y="527"/>
                    </a:lnTo>
                    <a:cubicBezTo>
                      <a:pt x="156" y="527"/>
                      <a:pt x="156" y="527"/>
                      <a:pt x="124" y="527"/>
                    </a:cubicBezTo>
                    <a:lnTo>
                      <a:pt x="124" y="527"/>
                    </a:lnTo>
                    <a:lnTo>
                      <a:pt x="124" y="527"/>
                    </a:lnTo>
                    <a:cubicBezTo>
                      <a:pt x="93" y="558"/>
                      <a:pt x="93" y="558"/>
                      <a:pt x="93" y="558"/>
                    </a:cubicBezTo>
                    <a:lnTo>
                      <a:pt x="93" y="558"/>
                    </a:lnTo>
                    <a:cubicBezTo>
                      <a:pt x="62" y="558"/>
                      <a:pt x="62" y="589"/>
                      <a:pt x="62" y="589"/>
                    </a:cubicBezTo>
                    <a:cubicBezTo>
                      <a:pt x="93" y="589"/>
                      <a:pt x="93" y="589"/>
                      <a:pt x="93" y="589"/>
                    </a:cubicBezTo>
                    <a:cubicBezTo>
                      <a:pt x="93" y="619"/>
                      <a:pt x="93" y="619"/>
                      <a:pt x="93" y="619"/>
                    </a:cubicBezTo>
                    <a:lnTo>
                      <a:pt x="93" y="619"/>
                    </a:lnTo>
                    <a:cubicBezTo>
                      <a:pt x="93" y="619"/>
                      <a:pt x="93" y="619"/>
                      <a:pt x="124" y="619"/>
                    </a:cubicBezTo>
                    <a:cubicBezTo>
                      <a:pt x="156" y="619"/>
                      <a:pt x="156" y="619"/>
                      <a:pt x="186" y="651"/>
                    </a:cubicBezTo>
                    <a:cubicBezTo>
                      <a:pt x="186" y="682"/>
                      <a:pt x="186" y="682"/>
                      <a:pt x="186" y="682"/>
                    </a:cubicBezTo>
                    <a:lnTo>
                      <a:pt x="186" y="682"/>
                    </a:lnTo>
                    <a:lnTo>
                      <a:pt x="186" y="682"/>
                    </a:lnTo>
                    <a:cubicBezTo>
                      <a:pt x="217" y="651"/>
                      <a:pt x="217" y="651"/>
                      <a:pt x="217" y="651"/>
                    </a:cubicBezTo>
                    <a:cubicBezTo>
                      <a:pt x="249" y="651"/>
                      <a:pt x="249" y="651"/>
                      <a:pt x="249" y="651"/>
                    </a:cubicBezTo>
                    <a:lnTo>
                      <a:pt x="249" y="651"/>
                    </a:lnTo>
                    <a:cubicBezTo>
                      <a:pt x="249" y="651"/>
                      <a:pt x="280" y="682"/>
                      <a:pt x="280" y="713"/>
                    </a:cubicBezTo>
                    <a:lnTo>
                      <a:pt x="280" y="743"/>
                    </a:lnTo>
                    <a:lnTo>
                      <a:pt x="280" y="743"/>
                    </a:lnTo>
                    <a:lnTo>
                      <a:pt x="280" y="743"/>
                    </a:lnTo>
                    <a:lnTo>
                      <a:pt x="280" y="775"/>
                    </a:lnTo>
                    <a:lnTo>
                      <a:pt x="280" y="775"/>
                    </a:lnTo>
                    <a:lnTo>
                      <a:pt x="280" y="775"/>
                    </a:lnTo>
                    <a:cubicBezTo>
                      <a:pt x="280" y="743"/>
                      <a:pt x="310" y="743"/>
                      <a:pt x="310" y="743"/>
                    </a:cubicBezTo>
                    <a:cubicBezTo>
                      <a:pt x="341" y="743"/>
                      <a:pt x="341" y="743"/>
                      <a:pt x="341" y="775"/>
                    </a:cubicBezTo>
                    <a:cubicBezTo>
                      <a:pt x="341" y="775"/>
                      <a:pt x="341" y="775"/>
                      <a:pt x="373" y="775"/>
                    </a:cubicBezTo>
                    <a:lnTo>
                      <a:pt x="373" y="775"/>
                    </a:lnTo>
                    <a:lnTo>
                      <a:pt x="404" y="775"/>
                    </a:lnTo>
                    <a:cubicBezTo>
                      <a:pt x="434" y="713"/>
                      <a:pt x="434" y="713"/>
                      <a:pt x="434" y="713"/>
                    </a:cubicBezTo>
                    <a:cubicBezTo>
                      <a:pt x="434" y="775"/>
                      <a:pt x="434" y="775"/>
                      <a:pt x="434" y="775"/>
                    </a:cubicBezTo>
                    <a:lnTo>
                      <a:pt x="434" y="775"/>
                    </a:lnTo>
                    <a:cubicBezTo>
                      <a:pt x="465" y="775"/>
                      <a:pt x="465" y="775"/>
                      <a:pt x="465" y="775"/>
                    </a:cubicBezTo>
                    <a:lnTo>
                      <a:pt x="465" y="775"/>
                    </a:lnTo>
                    <a:cubicBezTo>
                      <a:pt x="465" y="775"/>
                      <a:pt x="497" y="775"/>
                      <a:pt x="497" y="743"/>
                    </a:cubicBezTo>
                    <a:cubicBezTo>
                      <a:pt x="652" y="651"/>
                      <a:pt x="652" y="651"/>
                      <a:pt x="652" y="651"/>
                    </a:cubicBezTo>
                    <a:cubicBezTo>
                      <a:pt x="528" y="806"/>
                      <a:pt x="528" y="806"/>
                      <a:pt x="528" y="806"/>
                    </a:cubicBezTo>
                    <a:lnTo>
                      <a:pt x="497" y="837"/>
                    </a:lnTo>
                    <a:lnTo>
                      <a:pt x="497" y="837"/>
                    </a:lnTo>
                    <a:cubicBezTo>
                      <a:pt x="497" y="867"/>
                      <a:pt x="497" y="867"/>
                      <a:pt x="497" y="867"/>
                    </a:cubicBezTo>
                    <a:lnTo>
                      <a:pt x="497" y="899"/>
                    </a:lnTo>
                    <a:cubicBezTo>
                      <a:pt x="497" y="899"/>
                      <a:pt x="497" y="899"/>
                      <a:pt x="528" y="899"/>
                    </a:cubicBezTo>
                    <a:lnTo>
                      <a:pt x="528" y="867"/>
                    </a:lnTo>
                    <a:lnTo>
                      <a:pt x="528" y="867"/>
                    </a:lnTo>
                    <a:cubicBezTo>
                      <a:pt x="589" y="837"/>
                      <a:pt x="589" y="837"/>
                      <a:pt x="589" y="837"/>
                    </a:cubicBezTo>
                    <a:cubicBezTo>
                      <a:pt x="589" y="837"/>
                      <a:pt x="589" y="837"/>
                      <a:pt x="621" y="806"/>
                    </a:cubicBezTo>
                    <a:lnTo>
                      <a:pt x="621" y="806"/>
                    </a:lnTo>
                    <a:cubicBezTo>
                      <a:pt x="621" y="806"/>
                      <a:pt x="621" y="806"/>
                      <a:pt x="652" y="806"/>
                    </a:cubicBezTo>
                    <a:lnTo>
                      <a:pt x="652" y="806"/>
                    </a:lnTo>
                    <a:cubicBezTo>
                      <a:pt x="682" y="775"/>
                      <a:pt x="713" y="743"/>
                      <a:pt x="713" y="743"/>
                    </a:cubicBezTo>
                    <a:cubicBezTo>
                      <a:pt x="713" y="713"/>
                      <a:pt x="713" y="713"/>
                      <a:pt x="713" y="713"/>
                    </a:cubicBezTo>
                    <a:lnTo>
                      <a:pt x="713" y="713"/>
                    </a:lnTo>
                    <a:cubicBezTo>
                      <a:pt x="652" y="651"/>
                      <a:pt x="652" y="651"/>
                      <a:pt x="652" y="651"/>
                    </a:cubicBezTo>
                    <a:cubicBezTo>
                      <a:pt x="745" y="682"/>
                      <a:pt x="745" y="682"/>
                      <a:pt x="745" y="682"/>
                    </a:cubicBezTo>
                    <a:cubicBezTo>
                      <a:pt x="745" y="651"/>
                      <a:pt x="776" y="651"/>
                      <a:pt x="776" y="651"/>
                    </a:cubicBezTo>
                    <a:lnTo>
                      <a:pt x="776" y="619"/>
                    </a:lnTo>
                    <a:cubicBezTo>
                      <a:pt x="806" y="619"/>
                      <a:pt x="806" y="619"/>
                      <a:pt x="837" y="619"/>
                    </a:cubicBezTo>
                    <a:cubicBezTo>
                      <a:pt x="837" y="619"/>
                      <a:pt x="900" y="589"/>
                      <a:pt x="930" y="589"/>
                    </a:cubicBezTo>
                    <a:cubicBezTo>
                      <a:pt x="961" y="651"/>
                      <a:pt x="961" y="651"/>
                      <a:pt x="961" y="651"/>
                    </a:cubicBezTo>
                    <a:lnTo>
                      <a:pt x="961" y="651"/>
                    </a:lnTo>
                    <a:lnTo>
                      <a:pt x="961" y="619"/>
                    </a:lnTo>
                    <a:cubicBezTo>
                      <a:pt x="993" y="619"/>
                      <a:pt x="993" y="619"/>
                      <a:pt x="1024" y="619"/>
                    </a:cubicBezTo>
                    <a:lnTo>
                      <a:pt x="1024" y="619"/>
                    </a:lnTo>
                    <a:cubicBezTo>
                      <a:pt x="1054" y="619"/>
                      <a:pt x="1054" y="619"/>
                      <a:pt x="1054" y="619"/>
                    </a:cubicBezTo>
                    <a:lnTo>
                      <a:pt x="1085" y="651"/>
                    </a:lnTo>
                    <a:lnTo>
                      <a:pt x="1085" y="651"/>
                    </a:lnTo>
                    <a:cubicBezTo>
                      <a:pt x="1117" y="651"/>
                      <a:pt x="1117" y="651"/>
                      <a:pt x="1117" y="651"/>
                    </a:cubicBezTo>
                    <a:lnTo>
                      <a:pt x="1117" y="651"/>
                    </a:lnTo>
                    <a:lnTo>
                      <a:pt x="1117" y="651"/>
                    </a:lnTo>
                    <a:cubicBezTo>
                      <a:pt x="1148" y="651"/>
                      <a:pt x="1148" y="651"/>
                      <a:pt x="1148" y="651"/>
                    </a:cubicBezTo>
                    <a:lnTo>
                      <a:pt x="1148" y="651"/>
                    </a:lnTo>
                    <a:cubicBezTo>
                      <a:pt x="1178" y="651"/>
                      <a:pt x="1178" y="651"/>
                      <a:pt x="1178" y="651"/>
                    </a:cubicBezTo>
                    <a:cubicBezTo>
                      <a:pt x="1272" y="589"/>
                      <a:pt x="1272" y="589"/>
                      <a:pt x="1272" y="589"/>
                    </a:cubicBezTo>
                    <a:cubicBezTo>
                      <a:pt x="1209" y="682"/>
                      <a:pt x="1209" y="682"/>
                      <a:pt x="1209" y="682"/>
                    </a:cubicBezTo>
                    <a:lnTo>
                      <a:pt x="1209" y="682"/>
                    </a:lnTo>
                    <a:cubicBezTo>
                      <a:pt x="1241" y="682"/>
                      <a:pt x="1241" y="682"/>
                      <a:pt x="1241" y="682"/>
                    </a:cubicBezTo>
                    <a:lnTo>
                      <a:pt x="1272" y="682"/>
                    </a:lnTo>
                    <a:cubicBezTo>
                      <a:pt x="1272" y="682"/>
                      <a:pt x="1272" y="682"/>
                      <a:pt x="1302" y="682"/>
                    </a:cubicBezTo>
                    <a:lnTo>
                      <a:pt x="1302" y="682"/>
                    </a:lnTo>
                    <a:cubicBezTo>
                      <a:pt x="1333" y="682"/>
                      <a:pt x="1333" y="682"/>
                      <a:pt x="1333" y="682"/>
                    </a:cubicBezTo>
                    <a:lnTo>
                      <a:pt x="1333" y="682"/>
                    </a:lnTo>
                    <a:lnTo>
                      <a:pt x="1333" y="682"/>
                    </a:lnTo>
                    <a:lnTo>
                      <a:pt x="1365" y="682"/>
                    </a:lnTo>
                    <a:lnTo>
                      <a:pt x="1365" y="682"/>
                    </a:lnTo>
                    <a:lnTo>
                      <a:pt x="1365" y="682"/>
                    </a:lnTo>
                    <a:lnTo>
                      <a:pt x="1365" y="682"/>
                    </a:lnTo>
                    <a:lnTo>
                      <a:pt x="1365" y="682"/>
                    </a:lnTo>
                    <a:lnTo>
                      <a:pt x="1365" y="682"/>
                    </a:lnTo>
                    <a:cubicBezTo>
                      <a:pt x="1365" y="124"/>
                      <a:pt x="1365" y="124"/>
                      <a:pt x="1365" y="124"/>
                    </a:cubicBezTo>
                    <a:cubicBezTo>
                      <a:pt x="1365" y="124"/>
                      <a:pt x="1365" y="93"/>
                      <a:pt x="1333" y="93"/>
                    </a:cubicBezTo>
                    <a:lnTo>
                      <a:pt x="1302" y="93"/>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83" name="Freeform 180"/>
              <p:cNvSpPr>
                <a:spLocks noChangeArrowheads="1"/>
              </p:cNvSpPr>
              <p:nvPr/>
            </p:nvSpPr>
            <p:spPr bwMode="auto">
              <a:xfrm>
                <a:off x="1838325" y="2249488"/>
                <a:ext cx="44450" cy="77787"/>
              </a:xfrm>
              <a:custGeom>
                <a:avLst/>
                <a:gdLst>
                  <a:gd name="T0" fmla="*/ 124 w 125"/>
                  <a:gd name="T1" fmla="*/ 186 h 217"/>
                  <a:gd name="T2" fmla="*/ 124 w 125"/>
                  <a:gd name="T3" fmla="*/ 186 h 217"/>
                  <a:gd name="T4" fmla="*/ 124 w 125"/>
                  <a:gd name="T5" fmla="*/ 154 h 217"/>
                  <a:gd name="T6" fmla="*/ 124 w 125"/>
                  <a:gd name="T7" fmla="*/ 124 h 217"/>
                  <a:gd name="T8" fmla="*/ 124 w 125"/>
                  <a:gd name="T9" fmla="*/ 124 h 217"/>
                  <a:gd name="T10" fmla="*/ 124 w 125"/>
                  <a:gd name="T11" fmla="*/ 93 h 217"/>
                  <a:gd name="T12" fmla="*/ 124 w 125"/>
                  <a:gd name="T13" fmla="*/ 31 h 217"/>
                  <a:gd name="T14" fmla="*/ 124 w 125"/>
                  <a:gd name="T15" fmla="*/ 0 h 217"/>
                  <a:gd name="T16" fmla="*/ 62 w 125"/>
                  <a:gd name="T17" fmla="*/ 0 h 217"/>
                  <a:gd name="T18" fmla="*/ 62 w 125"/>
                  <a:gd name="T19" fmla="*/ 0 h 217"/>
                  <a:gd name="T20" fmla="*/ 62 w 125"/>
                  <a:gd name="T21" fmla="*/ 0 h 217"/>
                  <a:gd name="T22" fmla="*/ 62 w 125"/>
                  <a:gd name="T23" fmla="*/ 0 h 217"/>
                  <a:gd name="T24" fmla="*/ 93 w 125"/>
                  <a:gd name="T25" fmla="*/ 31 h 217"/>
                  <a:gd name="T26" fmla="*/ 93 w 125"/>
                  <a:gd name="T27" fmla="*/ 31 h 217"/>
                  <a:gd name="T28" fmla="*/ 93 w 125"/>
                  <a:gd name="T29" fmla="*/ 63 h 217"/>
                  <a:gd name="T30" fmla="*/ 93 w 125"/>
                  <a:gd name="T31" fmla="*/ 63 h 217"/>
                  <a:gd name="T32" fmla="*/ 93 w 125"/>
                  <a:gd name="T33" fmla="*/ 63 h 217"/>
                  <a:gd name="T34" fmla="*/ 93 w 125"/>
                  <a:gd name="T35" fmla="*/ 93 h 217"/>
                  <a:gd name="T36" fmla="*/ 62 w 125"/>
                  <a:gd name="T37" fmla="*/ 124 h 217"/>
                  <a:gd name="T38" fmla="*/ 62 w 125"/>
                  <a:gd name="T39" fmla="*/ 124 h 217"/>
                  <a:gd name="T40" fmla="*/ 62 w 125"/>
                  <a:gd name="T41" fmla="*/ 124 h 217"/>
                  <a:gd name="T42" fmla="*/ 31 w 125"/>
                  <a:gd name="T43" fmla="*/ 124 h 217"/>
                  <a:gd name="T44" fmla="*/ 0 w 125"/>
                  <a:gd name="T45" fmla="*/ 124 h 217"/>
                  <a:gd name="T46" fmla="*/ 0 w 125"/>
                  <a:gd name="T47" fmla="*/ 124 h 217"/>
                  <a:gd name="T48" fmla="*/ 0 w 125"/>
                  <a:gd name="T49" fmla="*/ 124 h 217"/>
                  <a:gd name="T50" fmla="*/ 0 w 125"/>
                  <a:gd name="T51" fmla="*/ 124 h 217"/>
                  <a:gd name="T52" fmla="*/ 0 w 125"/>
                  <a:gd name="T53" fmla="*/ 154 h 217"/>
                  <a:gd name="T54" fmla="*/ 0 w 125"/>
                  <a:gd name="T55" fmla="*/ 154 h 217"/>
                  <a:gd name="T56" fmla="*/ 62 w 125"/>
                  <a:gd name="T57" fmla="*/ 216 h 217"/>
                  <a:gd name="T58" fmla="*/ 62 w 125"/>
                  <a:gd name="T59" fmla="*/ 216 h 217"/>
                  <a:gd name="T60" fmla="*/ 93 w 125"/>
                  <a:gd name="T61" fmla="*/ 186 h 217"/>
                  <a:gd name="T62" fmla="*/ 124 w 125"/>
                  <a:gd name="T63" fmla="*/ 18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5" h="217">
                    <a:moveTo>
                      <a:pt x="124" y="186"/>
                    </a:moveTo>
                    <a:lnTo>
                      <a:pt x="124" y="186"/>
                    </a:lnTo>
                    <a:lnTo>
                      <a:pt x="124" y="154"/>
                    </a:lnTo>
                    <a:cubicBezTo>
                      <a:pt x="124" y="154"/>
                      <a:pt x="124" y="154"/>
                      <a:pt x="124" y="124"/>
                    </a:cubicBezTo>
                    <a:lnTo>
                      <a:pt x="124" y="124"/>
                    </a:lnTo>
                    <a:cubicBezTo>
                      <a:pt x="124" y="93"/>
                      <a:pt x="124" y="93"/>
                      <a:pt x="124" y="93"/>
                    </a:cubicBezTo>
                    <a:cubicBezTo>
                      <a:pt x="124" y="93"/>
                      <a:pt x="124" y="63"/>
                      <a:pt x="124" y="31"/>
                    </a:cubicBezTo>
                    <a:cubicBezTo>
                      <a:pt x="124" y="31"/>
                      <a:pt x="124" y="31"/>
                      <a:pt x="124" y="0"/>
                    </a:cubicBezTo>
                    <a:cubicBezTo>
                      <a:pt x="62" y="0"/>
                      <a:pt x="62" y="0"/>
                      <a:pt x="62" y="0"/>
                    </a:cubicBezTo>
                    <a:lnTo>
                      <a:pt x="62" y="0"/>
                    </a:lnTo>
                    <a:lnTo>
                      <a:pt x="62" y="0"/>
                    </a:lnTo>
                    <a:lnTo>
                      <a:pt x="62" y="0"/>
                    </a:lnTo>
                    <a:cubicBezTo>
                      <a:pt x="62" y="0"/>
                      <a:pt x="93" y="0"/>
                      <a:pt x="93" y="31"/>
                    </a:cubicBezTo>
                    <a:lnTo>
                      <a:pt x="93" y="31"/>
                    </a:lnTo>
                    <a:cubicBezTo>
                      <a:pt x="93" y="63"/>
                      <a:pt x="93" y="63"/>
                      <a:pt x="93" y="63"/>
                    </a:cubicBezTo>
                    <a:lnTo>
                      <a:pt x="93" y="63"/>
                    </a:lnTo>
                    <a:lnTo>
                      <a:pt x="93" y="63"/>
                    </a:lnTo>
                    <a:cubicBezTo>
                      <a:pt x="93" y="63"/>
                      <a:pt x="93" y="63"/>
                      <a:pt x="93" y="93"/>
                    </a:cubicBezTo>
                    <a:cubicBezTo>
                      <a:pt x="93" y="93"/>
                      <a:pt x="93" y="93"/>
                      <a:pt x="62" y="124"/>
                    </a:cubicBezTo>
                    <a:lnTo>
                      <a:pt x="62" y="124"/>
                    </a:lnTo>
                    <a:lnTo>
                      <a:pt x="62" y="124"/>
                    </a:lnTo>
                    <a:cubicBezTo>
                      <a:pt x="62" y="124"/>
                      <a:pt x="62" y="124"/>
                      <a:pt x="31" y="124"/>
                    </a:cubicBezTo>
                    <a:cubicBezTo>
                      <a:pt x="31" y="124"/>
                      <a:pt x="31" y="124"/>
                      <a:pt x="0" y="124"/>
                    </a:cubicBezTo>
                    <a:lnTo>
                      <a:pt x="0" y="124"/>
                    </a:lnTo>
                    <a:lnTo>
                      <a:pt x="0" y="124"/>
                    </a:lnTo>
                    <a:lnTo>
                      <a:pt x="0" y="124"/>
                    </a:lnTo>
                    <a:cubicBezTo>
                      <a:pt x="0" y="124"/>
                      <a:pt x="0" y="124"/>
                      <a:pt x="0" y="154"/>
                    </a:cubicBezTo>
                    <a:lnTo>
                      <a:pt x="0" y="154"/>
                    </a:lnTo>
                    <a:cubicBezTo>
                      <a:pt x="0" y="186"/>
                      <a:pt x="31" y="216"/>
                      <a:pt x="62" y="216"/>
                    </a:cubicBezTo>
                    <a:lnTo>
                      <a:pt x="62" y="216"/>
                    </a:lnTo>
                    <a:cubicBezTo>
                      <a:pt x="62" y="186"/>
                      <a:pt x="93" y="186"/>
                      <a:pt x="93" y="186"/>
                    </a:cubicBezTo>
                    <a:lnTo>
                      <a:pt x="124" y="186"/>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84" name="Freeform 181"/>
              <p:cNvSpPr>
                <a:spLocks noChangeArrowheads="1"/>
              </p:cNvSpPr>
              <p:nvPr/>
            </p:nvSpPr>
            <p:spPr bwMode="auto">
              <a:xfrm>
                <a:off x="2239963" y="2205038"/>
                <a:ext cx="33337" cy="23812"/>
              </a:xfrm>
              <a:custGeom>
                <a:avLst/>
                <a:gdLst>
                  <a:gd name="T0" fmla="*/ 31 w 94"/>
                  <a:gd name="T1" fmla="*/ 31 h 64"/>
                  <a:gd name="T2" fmla="*/ 31 w 94"/>
                  <a:gd name="T3" fmla="*/ 31 h 64"/>
                  <a:gd name="T4" fmla="*/ 61 w 94"/>
                  <a:gd name="T5" fmla="*/ 63 h 64"/>
                  <a:gd name="T6" fmla="*/ 93 w 94"/>
                  <a:gd name="T7" fmla="*/ 31 h 64"/>
                  <a:gd name="T8" fmla="*/ 93 w 94"/>
                  <a:gd name="T9" fmla="*/ 31 h 64"/>
                  <a:gd name="T10" fmla="*/ 61 w 94"/>
                  <a:gd name="T11" fmla="*/ 31 h 64"/>
                  <a:gd name="T12" fmla="*/ 61 w 94"/>
                  <a:gd name="T13" fmla="*/ 0 h 64"/>
                  <a:gd name="T14" fmla="*/ 61 w 94"/>
                  <a:gd name="T15" fmla="*/ 0 h 64"/>
                  <a:gd name="T16" fmla="*/ 31 w 94"/>
                  <a:gd name="T17" fmla="*/ 0 h 64"/>
                  <a:gd name="T18" fmla="*/ 31 w 94"/>
                  <a:gd name="T19" fmla="*/ 0 h 64"/>
                  <a:gd name="T20" fmla="*/ 0 w 94"/>
                  <a:gd name="T21" fmla="*/ 31 h 64"/>
                  <a:gd name="T22" fmla="*/ 31 w 94"/>
                  <a:gd name="T23"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64">
                    <a:moveTo>
                      <a:pt x="31" y="31"/>
                    </a:moveTo>
                    <a:lnTo>
                      <a:pt x="31" y="31"/>
                    </a:lnTo>
                    <a:lnTo>
                      <a:pt x="61" y="63"/>
                    </a:lnTo>
                    <a:cubicBezTo>
                      <a:pt x="61" y="31"/>
                      <a:pt x="93" y="31"/>
                      <a:pt x="93" y="31"/>
                    </a:cubicBezTo>
                    <a:lnTo>
                      <a:pt x="93" y="31"/>
                    </a:lnTo>
                    <a:cubicBezTo>
                      <a:pt x="93" y="31"/>
                      <a:pt x="93" y="31"/>
                      <a:pt x="61" y="31"/>
                    </a:cubicBezTo>
                    <a:lnTo>
                      <a:pt x="61" y="0"/>
                    </a:lnTo>
                    <a:lnTo>
                      <a:pt x="61" y="0"/>
                    </a:lnTo>
                    <a:lnTo>
                      <a:pt x="31" y="0"/>
                    </a:lnTo>
                    <a:lnTo>
                      <a:pt x="31" y="0"/>
                    </a:lnTo>
                    <a:cubicBezTo>
                      <a:pt x="31" y="31"/>
                      <a:pt x="31" y="31"/>
                      <a:pt x="0" y="31"/>
                    </a:cubicBezTo>
                    <a:cubicBezTo>
                      <a:pt x="31" y="31"/>
                      <a:pt x="31" y="31"/>
                      <a:pt x="31"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85" name="Freeform 182"/>
              <p:cNvSpPr>
                <a:spLocks noChangeArrowheads="1"/>
              </p:cNvSpPr>
              <p:nvPr/>
            </p:nvSpPr>
            <p:spPr bwMode="auto">
              <a:xfrm>
                <a:off x="1169988" y="942975"/>
                <a:ext cx="168275" cy="55563"/>
              </a:xfrm>
              <a:custGeom>
                <a:avLst/>
                <a:gdLst>
                  <a:gd name="T0" fmla="*/ 466 w 467"/>
                  <a:gd name="T1" fmla="*/ 31 h 156"/>
                  <a:gd name="T2" fmla="*/ 466 w 467"/>
                  <a:gd name="T3" fmla="*/ 31 h 156"/>
                  <a:gd name="T4" fmla="*/ 434 w 467"/>
                  <a:gd name="T5" fmla="*/ 0 h 156"/>
                  <a:gd name="T6" fmla="*/ 403 w 467"/>
                  <a:gd name="T7" fmla="*/ 0 h 156"/>
                  <a:gd name="T8" fmla="*/ 342 w 467"/>
                  <a:gd name="T9" fmla="*/ 31 h 156"/>
                  <a:gd name="T10" fmla="*/ 310 w 467"/>
                  <a:gd name="T11" fmla="*/ 31 h 156"/>
                  <a:gd name="T12" fmla="*/ 248 w 467"/>
                  <a:gd name="T13" fmla="*/ 0 h 156"/>
                  <a:gd name="T14" fmla="*/ 186 w 467"/>
                  <a:gd name="T15" fmla="*/ 0 h 156"/>
                  <a:gd name="T16" fmla="*/ 186 w 467"/>
                  <a:gd name="T17" fmla="*/ 0 h 156"/>
                  <a:gd name="T18" fmla="*/ 94 w 467"/>
                  <a:gd name="T19" fmla="*/ 0 h 156"/>
                  <a:gd name="T20" fmla="*/ 94 w 467"/>
                  <a:gd name="T21" fmla="*/ 31 h 156"/>
                  <a:gd name="T22" fmla="*/ 94 w 467"/>
                  <a:gd name="T23" fmla="*/ 62 h 156"/>
                  <a:gd name="T24" fmla="*/ 94 w 467"/>
                  <a:gd name="T25" fmla="*/ 62 h 156"/>
                  <a:gd name="T26" fmla="*/ 62 w 467"/>
                  <a:gd name="T27" fmla="*/ 93 h 156"/>
                  <a:gd name="T28" fmla="*/ 31 w 467"/>
                  <a:gd name="T29" fmla="*/ 93 h 156"/>
                  <a:gd name="T30" fmla="*/ 31 w 467"/>
                  <a:gd name="T31" fmla="*/ 93 h 156"/>
                  <a:gd name="T32" fmla="*/ 0 w 467"/>
                  <a:gd name="T33" fmla="*/ 93 h 156"/>
                  <a:gd name="T34" fmla="*/ 31 w 467"/>
                  <a:gd name="T35" fmla="*/ 93 h 156"/>
                  <a:gd name="T36" fmla="*/ 62 w 467"/>
                  <a:gd name="T37" fmla="*/ 124 h 156"/>
                  <a:gd name="T38" fmla="*/ 94 w 467"/>
                  <a:gd name="T39" fmla="*/ 155 h 156"/>
                  <a:gd name="T40" fmla="*/ 124 w 467"/>
                  <a:gd name="T41" fmla="*/ 155 h 156"/>
                  <a:gd name="T42" fmla="*/ 124 w 467"/>
                  <a:gd name="T43" fmla="*/ 155 h 156"/>
                  <a:gd name="T44" fmla="*/ 248 w 467"/>
                  <a:gd name="T45" fmla="*/ 124 h 156"/>
                  <a:gd name="T46" fmla="*/ 248 w 467"/>
                  <a:gd name="T47" fmla="*/ 124 h 156"/>
                  <a:gd name="T48" fmla="*/ 248 w 467"/>
                  <a:gd name="T49" fmla="*/ 93 h 156"/>
                  <a:gd name="T50" fmla="*/ 310 w 467"/>
                  <a:gd name="T51" fmla="*/ 62 h 156"/>
                  <a:gd name="T52" fmla="*/ 310 w 467"/>
                  <a:gd name="T53" fmla="*/ 62 h 156"/>
                  <a:gd name="T54" fmla="*/ 310 w 467"/>
                  <a:gd name="T55" fmla="*/ 62 h 156"/>
                  <a:gd name="T56" fmla="*/ 310 w 467"/>
                  <a:gd name="T57" fmla="*/ 62 h 156"/>
                  <a:gd name="T58" fmla="*/ 342 w 467"/>
                  <a:gd name="T59" fmla="*/ 62 h 156"/>
                  <a:gd name="T60" fmla="*/ 403 w 467"/>
                  <a:gd name="T61" fmla="*/ 31 h 156"/>
                  <a:gd name="T62" fmla="*/ 466 w 467"/>
                  <a:gd name="T63" fmla="*/ 3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7" h="156">
                    <a:moveTo>
                      <a:pt x="466" y="31"/>
                    </a:moveTo>
                    <a:lnTo>
                      <a:pt x="466" y="31"/>
                    </a:lnTo>
                    <a:cubicBezTo>
                      <a:pt x="466" y="31"/>
                      <a:pt x="434" y="31"/>
                      <a:pt x="434" y="0"/>
                    </a:cubicBezTo>
                    <a:lnTo>
                      <a:pt x="403" y="0"/>
                    </a:lnTo>
                    <a:cubicBezTo>
                      <a:pt x="372" y="0"/>
                      <a:pt x="372" y="0"/>
                      <a:pt x="342" y="31"/>
                    </a:cubicBezTo>
                    <a:cubicBezTo>
                      <a:pt x="342" y="31"/>
                      <a:pt x="342" y="31"/>
                      <a:pt x="310" y="31"/>
                    </a:cubicBezTo>
                    <a:cubicBezTo>
                      <a:pt x="279" y="31"/>
                      <a:pt x="279" y="31"/>
                      <a:pt x="248" y="0"/>
                    </a:cubicBezTo>
                    <a:cubicBezTo>
                      <a:pt x="218" y="0"/>
                      <a:pt x="218" y="0"/>
                      <a:pt x="186" y="0"/>
                    </a:cubicBezTo>
                    <a:lnTo>
                      <a:pt x="186" y="0"/>
                    </a:lnTo>
                    <a:cubicBezTo>
                      <a:pt x="155" y="0"/>
                      <a:pt x="124" y="0"/>
                      <a:pt x="94" y="0"/>
                    </a:cubicBezTo>
                    <a:cubicBezTo>
                      <a:pt x="94" y="0"/>
                      <a:pt x="94" y="0"/>
                      <a:pt x="94" y="31"/>
                    </a:cubicBezTo>
                    <a:lnTo>
                      <a:pt x="94" y="62"/>
                    </a:lnTo>
                    <a:lnTo>
                      <a:pt x="94" y="62"/>
                    </a:lnTo>
                    <a:cubicBezTo>
                      <a:pt x="62" y="62"/>
                      <a:pt x="62" y="62"/>
                      <a:pt x="62" y="93"/>
                    </a:cubicBezTo>
                    <a:cubicBezTo>
                      <a:pt x="62" y="93"/>
                      <a:pt x="62" y="93"/>
                      <a:pt x="31" y="93"/>
                    </a:cubicBezTo>
                    <a:lnTo>
                      <a:pt x="31" y="93"/>
                    </a:lnTo>
                    <a:lnTo>
                      <a:pt x="0" y="93"/>
                    </a:lnTo>
                    <a:lnTo>
                      <a:pt x="31" y="93"/>
                    </a:lnTo>
                    <a:cubicBezTo>
                      <a:pt x="31" y="93"/>
                      <a:pt x="31" y="93"/>
                      <a:pt x="62" y="124"/>
                    </a:cubicBezTo>
                    <a:cubicBezTo>
                      <a:pt x="62" y="124"/>
                      <a:pt x="94" y="124"/>
                      <a:pt x="94" y="155"/>
                    </a:cubicBezTo>
                    <a:lnTo>
                      <a:pt x="124" y="155"/>
                    </a:lnTo>
                    <a:lnTo>
                      <a:pt x="124" y="155"/>
                    </a:lnTo>
                    <a:cubicBezTo>
                      <a:pt x="124" y="155"/>
                      <a:pt x="218" y="124"/>
                      <a:pt x="248" y="124"/>
                    </a:cubicBezTo>
                    <a:lnTo>
                      <a:pt x="248" y="124"/>
                    </a:lnTo>
                    <a:lnTo>
                      <a:pt x="248" y="93"/>
                    </a:lnTo>
                    <a:cubicBezTo>
                      <a:pt x="248" y="62"/>
                      <a:pt x="279" y="62"/>
                      <a:pt x="310" y="62"/>
                    </a:cubicBezTo>
                    <a:lnTo>
                      <a:pt x="310" y="62"/>
                    </a:lnTo>
                    <a:lnTo>
                      <a:pt x="310" y="62"/>
                    </a:lnTo>
                    <a:lnTo>
                      <a:pt x="310" y="62"/>
                    </a:lnTo>
                    <a:cubicBezTo>
                      <a:pt x="342" y="62"/>
                      <a:pt x="342" y="62"/>
                      <a:pt x="342" y="62"/>
                    </a:cubicBezTo>
                    <a:cubicBezTo>
                      <a:pt x="372" y="62"/>
                      <a:pt x="372" y="31"/>
                      <a:pt x="403" y="31"/>
                    </a:cubicBezTo>
                    <a:cubicBezTo>
                      <a:pt x="403" y="31"/>
                      <a:pt x="434" y="31"/>
                      <a:pt x="466"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86" name="Freeform 183"/>
              <p:cNvSpPr>
                <a:spLocks noChangeArrowheads="1"/>
              </p:cNvSpPr>
              <p:nvPr/>
            </p:nvSpPr>
            <p:spPr bwMode="auto">
              <a:xfrm>
                <a:off x="1984375" y="754063"/>
                <a:ext cx="22225" cy="11112"/>
              </a:xfrm>
              <a:custGeom>
                <a:avLst/>
                <a:gdLst>
                  <a:gd name="T0" fmla="*/ 0 w 63"/>
                  <a:gd name="T1" fmla="*/ 0 h 32"/>
                  <a:gd name="T2" fmla="*/ 0 w 63"/>
                  <a:gd name="T3" fmla="*/ 0 h 32"/>
                  <a:gd name="T4" fmla="*/ 0 w 63"/>
                  <a:gd name="T5" fmla="*/ 31 h 32"/>
                  <a:gd name="T6" fmla="*/ 62 w 63"/>
                  <a:gd name="T7" fmla="*/ 31 h 32"/>
                  <a:gd name="T8" fmla="*/ 31 w 63"/>
                  <a:gd name="T9" fmla="*/ 31 h 32"/>
                  <a:gd name="T10" fmla="*/ 0 w 63"/>
                  <a:gd name="T11" fmla="*/ 0 h 32"/>
                </a:gdLst>
                <a:ahLst/>
                <a:cxnLst>
                  <a:cxn ang="0">
                    <a:pos x="T0" y="T1"/>
                  </a:cxn>
                  <a:cxn ang="0">
                    <a:pos x="T2" y="T3"/>
                  </a:cxn>
                  <a:cxn ang="0">
                    <a:pos x="T4" y="T5"/>
                  </a:cxn>
                  <a:cxn ang="0">
                    <a:pos x="T6" y="T7"/>
                  </a:cxn>
                  <a:cxn ang="0">
                    <a:pos x="T8" y="T9"/>
                  </a:cxn>
                  <a:cxn ang="0">
                    <a:pos x="T10" y="T11"/>
                  </a:cxn>
                </a:cxnLst>
                <a:rect l="0" t="0" r="r" b="b"/>
                <a:pathLst>
                  <a:path w="63" h="32">
                    <a:moveTo>
                      <a:pt x="0" y="0"/>
                    </a:moveTo>
                    <a:lnTo>
                      <a:pt x="0" y="0"/>
                    </a:lnTo>
                    <a:lnTo>
                      <a:pt x="0" y="31"/>
                    </a:lnTo>
                    <a:cubicBezTo>
                      <a:pt x="31" y="31"/>
                      <a:pt x="31" y="31"/>
                      <a:pt x="62" y="31"/>
                    </a:cubicBezTo>
                    <a:cubicBezTo>
                      <a:pt x="62" y="31"/>
                      <a:pt x="62" y="31"/>
                      <a:pt x="31" y="31"/>
                    </a:cubicBezTo>
                    <a:cubicBezTo>
                      <a:pt x="31" y="31"/>
                      <a:pt x="31" y="0"/>
                      <a:pt x="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87" name="Freeform 184"/>
              <p:cNvSpPr>
                <a:spLocks noChangeArrowheads="1"/>
              </p:cNvSpPr>
              <p:nvPr/>
            </p:nvSpPr>
            <p:spPr bwMode="auto">
              <a:xfrm>
                <a:off x="1893888" y="865188"/>
                <a:ext cx="123825" cy="11112"/>
              </a:xfrm>
              <a:custGeom>
                <a:avLst/>
                <a:gdLst>
                  <a:gd name="T0" fmla="*/ 279 w 342"/>
                  <a:gd name="T1" fmla="*/ 31 h 32"/>
                  <a:gd name="T2" fmla="*/ 279 w 342"/>
                  <a:gd name="T3" fmla="*/ 31 h 32"/>
                  <a:gd name="T4" fmla="*/ 248 w 342"/>
                  <a:gd name="T5" fmla="*/ 31 h 32"/>
                  <a:gd name="T6" fmla="*/ 248 w 342"/>
                  <a:gd name="T7" fmla="*/ 31 h 32"/>
                  <a:gd name="T8" fmla="*/ 217 w 342"/>
                  <a:gd name="T9" fmla="*/ 31 h 32"/>
                  <a:gd name="T10" fmla="*/ 186 w 342"/>
                  <a:gd name="T11" fmla="*/ 31 h 32"/>
                  <a:gd name="T12" fmla="*/ 155 w 342"/>
                  <a:gd name="T13" fmla="*/ 31 h 32"/>
                  <a:gd name="T14" fmla="*/ 124 w 342"/>
                  <a:gd name="T15" fmla="*/ 0 h 32"/>
                  <a:gd name="T16" fmla="*/ 124 w 342"/>
                  <a:gd name="T17" fmla="*/ 0 h 32"/>
                  <a:gd name="T18" fmla="*/ 93 w 342"/>
                  <a:gd name="T19" fmla="*/ 0 h 32"/>
                  <a:gd name="T20" fmla="*/ 62 w 342"/>
                  <a:gd name="T21" fmla="*/ 0 h 32"/>
                  <a:gd name="T22" fmla="*/ 31 w 342"/>
                  <a:gd name="T23" fmla="*/ 0 h 32"/>
                  <a:gd name="T24" fmla="*/ 31 w 342"/>
                  <a:gd name="T25" fmla="*/ 0 h 32"/>
                  <a:gd name="T26" fmla="*/ 0 w 342"/>
                  <a:gd name="T27" fmla="*/ 31 h 32"/>
                  <a:gd name="T28" fmla="*/ 0 w 342"/>
                  <a:gd name="T29" fmla="*/ 31 h 32"/>
                  <a:gd name="T30" fmla="*/ 31 w 342"/>
                  <a:gd name="T31" fmla="*/ 31 h 32"/>
                  <a:gd name="T32" fmla="*/ 62 w 342"/>
                  <a:gd name="T33" fmla="*/ 31 h 32"/>
                  <a:gd name="T34" fmla="*/ 93 w 342"/>
                  <a:gd name="T35" fmla="*/ 0 h 32"/>
                  <a:gd name="T36" fmla="*/ 93 w 342"/>
                  <a:gd name="T37" fmla="*/ 31 h 32"/>
                  <a:gd name="T38" fmla="*/ 93 w 342"/>
                  <a:gd name="T39" fmla="*/ 31 h 32"/>
                  <a:gd name="T40" fmla="*/ 124 w 342"/>
                  <a:gd name="T41" fmla="*/ 31 h 32"/>
                  <a:gd name="T42" fmla="*/ 155 w 342"/>
                  <a:gd name="T43" fmla="*/ 31 h 32"/>
                  <a:gd name="T44" fmla="*/ 155 w 342"/>
                  <a:gd name="T45" fmla="*/ 31 h 32"/>
                  <a:gd name="T46" fmla="*/ 186 w 342"/>
                  <a:gd name="T47" fmla="*/ 31 h 32"/>
                  <a:gd name="T48" fmla="*/ 186 w 342"/>
                  <a:gd name="T49" fmla="*/ 31 h 32"/>
                  <a:gd name="T50" fmla="*/ 186 w 342"/>
                  <a:gd name="T51" fmla="*/ 31 h 32"/>
                  <a:gd name="T52" fmla="*/ 279 w 342"/>
                  <a:gd name="T53" fmla="*/ 31 h 32"/>
                  <a:gd name="T54" fmla="*/ 279 w 342"/>
                  <a:gd name="T55" fmla="*/ 31 h 32"/>
                  <a:gd name="T56" fmla="*/ 310 w 342"/>
                  <a:gd name="T57" fmla="*/ 31 h 32"/>
                  <a:gd name="T58" fmla="*/ 310 w 342"/>
                  <a:gd name="T59" fmla="*/ 31 h 32"/>
                  <a:gd name="T60" fmla="*/ 341 w 342"/>
                  <a:gd name="T61" fmla="*/ 31 h 32"/>
                  <a:gd name="T62" fmla="*/ 341 w 342"/>
                  <a:gd name="T63" fmla="*/ 31 h 32"/>
                  <a:gd name="T64" fmla="*/ 341 w 342"/>
                  <a:gd name="T65" fmla="*/ 0 h 32"/>
                  <a:gd name="T66" fmla="*/ 341 w 342"/>
                  <a:gd name="T67" fmla="*/ 0 h 32"/>
                  <a:gd name="T68" fmla="*/ 341 w 342"/>
                  <a:gd name="T69" fmla="*/ 0 h 32"/>
                  <a:gd name="T70" fmla="*/ 279 w 342"/>
                  <a:gd name="T7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2" h="32">
                    <a:moveTo>
                      <a:pt x="279" y="31"/>
                    </a:moveTo>
                    <a:lnTo>
                      <a:pt x="279" y="31"/>
                    </a:lnTo>
                    <a:lnTo>
                      <a:pt x="248" y="31"/>
                    </a:lnTo>
                    <a:lnTo>
                      <a:pt x="248" y="31"/>
                    </a:lnTo>
                    <a:lnTo>
                      <a:pt x="217" y="31"/>
                    </a:lnTo>
                    <a:lnTo>
                      <a:pt x="186" y="31"/>
                    </a:lnTo>
                    <a:cubicBezTo>
                      <a:pt x="155" y="31"/>
                      <a:pt x="155" y="31"/>
                      <a:pt x="155" y="31"/>
                    </a:cubicBezTo>
                    <a:cubicBezTo>
                      <a:pt x="124" y="0"/>
                      <a:pt x="124" y="0"/>
                      <a:pt x="124" y="0"/>
                    </a:cubicBezTo>
                    <a:lnTo>
                      <a:pt x="124" y="0"/>
                    </a:lnTo>
                    <a:cubicBezTo>
                      <a:pt x="93" y="0"/>
                      <a:pt x="93" y="0"/>
                      <a:pt x="93" y="0"/>
                    </a:cubicBezTo>
                    <a:lnTo>
                      <a:pt x="62" y="0"/>
                    </a:lnTo>
                    <a:lnTo>
                      <a:pt x="31" y="0"/>
                    </a:lnTo>
                    <a:lnTo>
                      <a:pt x="31" y="0"/>
                    </a:lnTo>
                    <a:cubicBezTo>
                      <a:pt x="31" y="0"/>
                      <a:pt x="31" y="31"/>
                      <a:pt x="0" y="31"/>
                    </a:cubicBezTo>
                    <a:lnTo>
                      <a:pt x="0" y="31"/>
                    </a:lnTo>
                    <a:cubicBezTo>
                      <a:pt x="31" y="31"/>
                      <a:pt x="31" y="31"/>
                      <a:pt x="31" y="31"/>
                    </a:cubicBezTo>
                    <a:lnTo>
                      <a:pt x="62" y="31"/>
                    </a:lnTo>
                    <a:cubicBezTo>
                      <a:pt x="62" y="31"/>
                      <a:pt x="62" y="0"/>
                      <a:pt x="93" y="0"/>
                    </a:cubicBezTo>
                    <a:lnTo>
                      <a:pt x="93" y="31"/>
                    </a:lnTo>
                    <a:lnTo>
                      <a:pt x="93" y="31"/>
                    </a:lnTo>
                    <a:cubicBezTo>
                      <a:pt x="124" y="31"/>
                      <a:pt x="124" y="31"/>
                      <a:pt x="124" y="31"/>
                    </a:cubicBezTo>
                    <a:cubicBezTo>
                      <a:pt x="155" y="31"/>
                      <a:pt x="155" y="31"/>
                      <a:pt x="155" y="31"/>
                    </a:cubicBezTo>
                    <a:lnTo>
                      <a:pt x="155" y="31"/>
                    </a:lnTo>
                    <a:cubicBezTo>
                      <a:pt x="186" y="31"/>
                      <a:pt x="186" y="31"/>
                      <a:pt x="186" y="31"/>
                    </a:cubicBezTo>
                    <a:lnTo>
                      <a:pt x="186" y="31"/>
                    </a:lnTo>
                    <a:lnTo>
                      <a:pt x="186" y="31"/>
                    </a:lnTo>
                    <a:cubicBezTo>
                      <a:pt x="217" y="31"/>
                      <a:pt x="248" y="31"/>
                      <a:pt x="279" y="31"/>
                    </a:cubicBezTo>
                    <a:lnTo>
                      <a:pt x="279" y="31"/>
                    </a:lnTo>
                    <a:cubicBezTo>
                      <a:pt x="279" y="31"/>
                      <a:pt x="279" y="31"/>
                      <a:pt x="310" y="31"/>
                    </a:cubicBezTo>
                    <a:lnTo>
                      <a:pt x="310" y="31"/>
                    </a:lnTo>
                    <a:lnTo>
                      <a:pt x="341" y="31"/>
                    </a:lnTo>
                    <a:lnTo>
                      <a:pt x="341" y="31"/>
                    </a:lnTo>
                    <a:lnTo>
                      <a:pt x="341" y="0"/>
                    </a:lnTo>
                    <a:lnTo>
                      <a:pt x="341" y="0"/>
                    </a:lnTo>
                    <a:lnTo>
                      <a:pt x="341" y="0"/>
                    </a:lnTo>
                    <a:cubicBezTo>
                      <a:pt x="341" y="0"/>
                      <a:pt x="310" y="31"/>
                      <a:pt x="279"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88" name="Freeform 185"/>
              <p:cNvSpPr>
                <a:spLocks noChangeArrowheads="1"/>
              </p:cNvSpPr>
              <p:nvPr/>
            </p:nvSpPr>
            <p:spPr bwMode="auto">
              <a:xfrm>
                <a:off x="1995488" y="842963"/>
                <a:ext cx="22225" cy="1587"/>
              </a:xfrm>
              <a:custGeom>
                <a:avLst/>
                <a:gdLst>
                  <a:gd name="T0" fmla="*/ 0 w 63"/>
                  <a:gd name="T1" fmla="*/ 0 h 1"/>
                  <a:gd name="T2" fmla="*/ 0 w 63"/>
                  <a:gd name="T3" fmla="*/ 0 h 1"/>
                  <a:gd name="T4" fmla="*/ 0 w 63"/>
                  <a:gd name="T5" fmla="*/ 0 h 1"/>
                  <a:gd name="T6" fmla="*/ 0 w 63"/>
                  <a:gd name="T7" fmla="*/ 0 h 1"/>
                  <a:gd name="T8" fmla="*/ 62 w 63"/>
                  <a:gd name="T9" fmla="*/ 0 h 1"/>
                  <a:gd name="T10" fmla="*/ 31 w 63"/>
                  <a:gd name="T11" fmla="*/ 0 h 1"/>
                  <a:gd name="T12" fmla="*/ 0 w 6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63" h="1">
                    <a:moveTo>
                      <a:pt x="0" y="0"/>
                    </a:moveTo>
                    <a:lnTo>
                      <a:pt x="0" y="0"/>
                    </a:lnTo>
                    <a:lnTo>
                      <a:pt x="0" y="0"/>
                    </a:lnTo>
                    <a:lnTo>
                      <a:pt x="0" y="0"/>
                    </a:lnTo>
                    <a:cubicBezTo>
                      <a:pt x="62" y="0"/>
                      <a:pt x="62" y="0"/>
                      <a:pt x="62" y="0"/>
                    </a:cubicBezTo>
                    <a:lnTo>
                      <a:pt x="31" y="0"/>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89" name="Freeform 186"/>
              <p:cNvSpPr>
                <a:spLocks noChangeArrowheads="1"/>
              </p:cNvSpPr>
              <p:nvPr/>
            </p:nvSpPr>
            <p:spPr bwMode="auto">
              <a:xfrm>
                <a:off x="2062163" y="742950"/>
                <a:ext cx="77787" cy="22225"/>
              </a:xfrm>
              <a:custGeom>
                <a:avLst/>
                <a:gdLst>
                  <a:gd name="T0" fmla="*/ 186 w 218"/>
                  <a:gd name="T1" fmla="*/ 0 h 63"/>
                  <a:gd name="T2" fmla="*/ 186 w 218"/>
                  <a:gd name="T3" fmla="*/ 0 h 63"/>
                  <a:gd name="T4" fmla="*/ 186 w 218"/>
                  <a:gd name="T5" fmla="*/ 0 h 63"/>
                  <a:gd name="T6" fmla="*/ 124 w 218"/>
                  <a:gd name="T7" fmla="*/ 0 h 63"/>
                  <a:gd name="T8" fmla="*/ 92 w 218"/>
                  <a:gd name="T9" fmla="*/ 0 h 63"/>
                  <a:gd name="T10" fmla="*/ 62 w 218"/>
                  <a:gd name="T11" fmla="*/ 31 h 63"/>
                  <a:gd name="T12" fmla="*/ 62 w 218"/>
                  <a:gd name="T13" fmla="*/ 31 h 63"/>
                  <a:gd name="T14" fmla="*/ 0 w 218"/>
                  <a:gd name="T15" fmla="*/ 0 h 63"/>
                  <a:gd name="T16" fmla="*/ 0 w 218"/>
                  <a:gd name="T17" fmla="*/ 0 h 63"/>
                  <a:gd name="T18" fmla="*/ 0 w 218"/>
                  <a:gd name="T19" fmla="*/ 0 h 63"/>
                  <a:gd name="T20" fmla="*/ 0 w 218"/>
                  <a:gd name="T21" fmla="*/ 31 h 63"/>
                  <a:gd name="T22" fmla="*/ 62 w 218"/>
                  <a:gd name="T23" fmla="*/ 31 h 63"/>
                  <a:gd name="T24" fmla="*/ 62 w 218"/>
                  <a:gd name="T25" fmla="*/ 62 h 63"/>
                  <a:gd name="T26" fmla="*/ 62 w 218"/>
                  <a:gd name="T27" fmla="*/ 62 h 63"/>
                  <a:gd name="T28" fmla="*/ 62 w 218"/>
                  <a:gd name="T29" fmla="*/ 62 h 63"/>
                  <a:gd name="T30" fmla="*/ 92 w 218"/>
                  <a:gd name="T31" fmla="*/ 62 h 63"/>
                  <a:gd name="T32" fmla="*/ 92 w 218"/>
                  <a:gd name="T33" fmla="*/ 62 h 63"/>
                  <a:gd name="T34" fmla="*/ 124 w 218"/>
                  <a:gd name="T35" fmla="*/ 62 h 63"/>
                  <a:gd name="T36" fmla="*/ 186 w 218"/>
                  <a:gd name="T37" fmla="*/ 31 h 63"/>
                  <a:gd name="T38" fmla="*/ 217 w 218"/>
                  <a:gd name="T39" fmla="*/ 31 h 63"/>
                  <a:gd name="T40" fmla="*/ 186 w 218"/>
                  <a:gd name="T4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63">
                    <a:moveTo>
                      <a:pt x="186" y="0"/>
                    </a:moveTo>
                    <a:lnTo>
                      <a:pt x="186" y="0"/>
                    </a:lnTo>
                    <a:lnTo>
                      <a:pt x="186" y="0"/>
                    </a:lnTo>
                    <a:cubicBezTo>
                      <a:pt x="155" y="0"/>
                      <a:pt x="155" y="0"/>
                      <a:pt x="124" y="0"/>
                    </a:cubicBezTo>
                    <a:lnTo>
                      <a:pt x="92" y="0"/>
                    </a:lnTo>
                    <a:cubicBezTo>
                      <a:pt x="92" y="31"/>
                      <a:pt x="62" y="31"/>
                      <a:pt x="62" y="31"/>
                    </a:cubicBezTo>
                    <a:lnTo>
                      <a:pt x="62" y="31"/>
                    </a:lnTo>
                    <a:cubicBezTo>
                      <a:pt x="31" y="31"/>
                      <a:pt x="31" y="0"/>
                      <a:pt x="0" y="0"/>
                    </a:cubicBezTo>
                    <a:lnTo>
                      <a:pt x="0" y="0"/>
                    </a:lnTo>
                    <a:lnTo>
                      <a:pt x="0" y="0"/>
                    </a:lnTo>
                    <a:lnTo>
                      <a:pt x="0" y="31"/>
                    </a:lnTo>
                    <a:cubicBezTo>
                      <a:pt x="31" y="31"/>
                      <a:pt x="62" y="31"/>
                      <a:pt x="62" y="31"/>
                    </a:cubicBezTo>
                    <a:cubicBezTo>
                      <a:pt x="62" y="62"/>
                      <a:pt x="62" y="62"/>
                      <a:pt x="62" y="62"/>
                    </a:cubicBezTo>
                    <a:lnTo>
                      <a:pt x="62" y="62"/>
                    </a:lnTo>
                    <a:lnTo>
                      <a:pt x="62" y="62"/>
                    </a:lnTo>
                    <a:lnTo>
                      <a:pt x="92" y="62"/>
                    </a:lnTo>
                    <a:lnTo>
                      <a:pt x="92" y="62"/>
                    </a:lnTo>
                    <a:cubicBezTo>
                      <a:pt x="92" y="62"/>
                      <a:pt x="92" y="62"/>
                      <a:pt x="124" y="62"/>
                    </a:cubicBezTo>
                    <a:cubicBezTo>
                      <a:pt x="155" y="62"/>
                      <a:pt x="186" y="31"/>
                      <a:pt x="186" y="31"/>
                    </a:cubicBezTo>
                    <a:lnTo>
                      <a:pt x="217" y="31"/>
                    </a:lnTo>
                    <a:cubicBezTo>
                      <a:pt x="186" y="0"/>
                      <a:pt x="186" y="0"/>
                      <a:pt x="186"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90" name="Freeform 187"/>
              <p:cNvSpPr>
                <a:spLocks noChangeArrowheads="1"/>
              </p:cNvSpPr>
              <p:nvPr/>
            </p:nvSpPr>
            <p:spPr bwMode="auto">
              <a:xfrm>
                <a:off x="2039938" y="776288"/>
                <a:ext cx="33337" cy="1587"/>
              </a:xfrm>
              <a:custGeom>
                <a:avLst/>
                <a:gdLst>
                  <a:gd name="T0" fmla="*/ 0 w 94"/>
                  <a:gd name="T1" fmla="*/ 0 h 1"/>
                  <a:gd name="T2" fmla="*/ 0 w 94"/>
                  <a:gd name="T3" fmla="*/ 0 h 1"/>
                  <a:gd name="T4" fmla="*/ 31 w 94"/>
                  <a:gd name="T5" fmla="*/ 0 h 1"/>
                  <a:gd name="T6" fmla="*/ 62 w 94"/>
                  <a:gd name="T7" fmla="*/ 0 h 1"/>
                  <a:gd name="T8" fmla="*/ 93 w 94"/>
                  <a:gd name="T9" fmla="*/ 0 h 1"/>
                  <a:gd name="T10" fmla="*/ 93 w 94"/>
                  <a:gd name="T11" fmla="*/ 0 h 1"/>
                  <a:gd name="T12" fmla="*/ 62 w 94"/>
                  <a:gd name="T13" fmla="*/ 0 h 1"/>
                  <a:gd name="T14" fmla="*/ 0 w 94"/>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1">
                    <a:moveTo>
                      <a:pt x="0" y="0"/>
                    </a:moveTo>
                    <a:lnTo>
                      <a:pt x="0" y="0"/>
                    </a:lnTo>
                    <a:cubicBezTo>
                      <a:pt x="31" y="0"/>
                      <a:pt x="31" y="0"/>
                      <a:pt x="31" y="0"/>
                    </a:cubicBezTo>
                    <a:cubicBezTo>
                      <a:pt x="62" y="0"/>
                      <a:pt x="62" y="0"/>
                      <a:pt x="62" y="0"/>
                    </a:cubicBezTo>
                    <a:lnTo>
                      <a:pt x="93" y="0"/>
                    </a:lnTo>
                    <a:lnTo>
                      <a:pt x="93" y="0"/>
                    </a:lnTo>
                    <a:lnTo>
                      <a:pt x="62" y="0"/>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91" name="Freeform 188"/>
              <p:cNvSpPr>
                <a:spLocks noChangeArrowheads="1"/>
              </p:cNvSpPr>
              <p:nvPr/>
            </p:nvSpPr>
            <p:spPr bwMode="auto">
              <a:xfrm>
                <a:off x="2039938" y="742950"/>
                <a:ext cx="368300" cy="112713"/>
              </a:xfrm>
              <a:custGeom>
                <a:avLst/>
                <a:gdLst>
                  <a:gd name="T0" fmla="*/ 930 w 1024"/>
                  <a:gd name="T1" fmla="*/ 62 h 311"/>
                  <a:gd name="T2" fmla="*/ 961 w 1024"/>
                  <a:gd name="T3" fmla="*/ 31 h 311"/>
                  <a:gd name="T4" fmla="*/ 991 w 1024"/>
                  <a:gd name="T5" fmla="*/ 31 h 311"/>
                  <a:gd name="T6" fmla="*/ 1023 w 1024"/>
                  <a:gd name="T7" fmla="*/ 31 h 311"/>
                  <a:gd name="T8" fmla="*/ 991 w 1024"/>
                  <a:gd name="T9" fmla="*/ 0 h 311"/>
                  <a:gd name="T10" fmla="*/ 930 w 1024"/>
                  <a:gd name="T11" fmla="*/ 0 h 311"/>
                  <a:gd name="T12" fmla="*/ 899 w 1024"/>
                  <a:gd name="T13" fmla="*/ 0 h 311"/>
                  <a:gd name="T14" fmla="*/ 806 w 1024"/>
                  <a:gd name="T15" fmla="*/ 31 h 311"/>
                  <a:gd name="T16" fmla="*/ 743 w 1024"/>
                  <a:gd name="T17" fmla="*/ 31 h 311"/>
                  <a:gd name="T18" fmla="*/ 713 w 1024"/>
                  <a:gd name="T19" fmla="*/ 0 h 311"/>
                  <a:gd name="T20" fmla="*/ 682 w 1024"/>
                  <a:gd name="T21" fmla="*/ 0 h 311"/>
                  <a:gd name="T22" fmla="*/ 651 w 1024"/>
                  <a:gd name="T23" fmla="*/ 0 h 311"/>
                  <a:gd name="T24" fmla="*/ 589 w 1024"/>
                  <a:gd name="T25" fmla="*/ 0 h 311"/>
                  <a:gd name="T26" fmla="*/ 558 w 1024"/>
                  <a:gd name="T27" fmla="*/ 0 h 311"/>
                  <a:gd name="T28" fmla="*/ 495 w 1024"/>
                  <a:gd name="T29" fmla="*/ 0 h 311"/>
                  <a:gd name="T30" fmla="*/ 434 w 1024"/>
                  <a:gd name="T31" fmla="*/ 31 h 311"/>
                  <a:gd name="T32" fmla="*/ 310 w 1024"/>
                  <a:gd name="T33" fmla="*/ 0 h 311"/>
                  <a:gd name="T34" fmla="*/ 310 w 1024"/>
                  <a:gd name="T35" fmla="*/ 124 h 311"/>
                  <a:gd name="T36" fmla="*/ 248 w 1024"/>
                  <a:gd name="T37" fmla="*/ 124 h 311"/>
                  <a:gd name="T38" fmla="*/ 217 w 1024"/>
                  <a:gd name="T39" fmla="*/ 155 h 311"/>
                  <a:gd name="T40" fmla="*/ 154 w 1024"/>
                  <a:gd name="T41" fmla="*/ 155 h 311"/>
                  <a:gd name="T42" fmla="*/ 93 w 1024"/>
                  <a:gd name="T43" fmla="*/ 186 h 311"/>
                  <a:gd name="T44" fmla="*/ 31 w 1024"/>
                  <a:gd name="T45" fmla="*/ 217 h 311"/>
                  <a:gd name="T46" fmla="*/ 31 w 1024"/>
                  <a:gd name="T47" fmla="*/ 217 h 311"/>
                  <a:gd name="T48" fmla="*/ 0 w 1024"/>
                  <a:gd name="T49" fmla="*/ 248 h 311"/>
                  <a:gd name="T50" fmla="*/ 0 w 1024"/>
                  <a:gd name="T51" fmla="*/ 310 h 311"/>
                  <a:gd name="T52" fmla="*/ 31 w 1024"/>
                  <a:gd name="T53" fmla="*/ 310 h 311"/>
                  <a:gd name="T54" fmla="*/ 93 w 1024"/>
                  <a:gd name="T55" fmla="*/ 310 h 311"/>
                  <a:gd name="T56" fmla="*/ 186 w 1024"/>
                  <a:gd name="T57" fmla="*/ 310 h 311"/>
                  <a:gd name="T58" fmla="*/ 217 w 1024"/>
                  <a:gd name="T59" fmla="*/ 279 h 311"/>
                  <a:gd name="T60" fmla="*/ 248 w 1024"/>
                  <a:gd name="T61" fmla="*/ 279 h 311"/>
                  <a:gd name="T62" fmla="*/ 279 w 1024"/>
                  <a:gd name="T63" fmla="*/ 248 h 311"/>
                  <a:gd name="T64" fmla="*/ 217 w 1024"/>
                  <a:gd name="T65" fmla="*/ 248 h 311"/>
                  <a:gd name="T66" fmla="*/ 154 w 1024"/>
                  <a:gd name="T67" fmla="*/ 217 h 311"/>
                  <a:gd name="T68" fmla="*/ 217 w 1024"/>
                  <a:gd name="T69" fmla="*/ 186 h 311"/>
                  <a:gd name="T70" fmla="*/ 279 w 1024"/>
                  <a:gd name="T71" fmla="*/ 186 h 311"/>
                  <a:gd name="T72" fmla="*/ 341 w 1024"/>
                  <a:gd name="T73" fmla="*/ 186 h 311"/>
                  <a:gd name="T74" fmla="*/ 371 w 1024"/>
                  <a:gd name="T75" fmla="*/ 186 h 311"/>
                  <a:gd name="T76" fmla="*/ 403 w 1024"/>
                  <a:gd name="T77" fmla="*/ 155 h 311"/>
                  <a:gd name="T78" fmla="*/ 495 w 1024"/>
                  <a:gd name="T79" fmla="*/ 155 h 311"/>
                  <a:gd name="T80" fmla="*/ 527 w 1024"/>
                  <a:gd name="T81" fmla="*/ 155 h 311"/>
                  <a:gd name="T82" fmla="*/ 558 w 1024"/>
                  <a:gd name="T83" fmla="*/ 155 h 311"/>
                  <a:gd name="T84" fmla="*/ 558 w 1024"/>
                  <a:gd name="T85" fmla="*/ 93 h 311"/>
                  <a:gd name="T86" fmla="*/ 651 w 1024"/>
                  <a:gd name="T87" fmla="*/ 124 h 311"/>
                  <a:gd name="T88" fmla="*/ 775 w 1024"/>
                  <a:gd name="T89" fmla="*/ 93 h 311"/>
                  <a:gd name="T90" fmla="*/ 775 w 1024"/>
                  <a:gd name="T91" fmla="*/ 93 h 311"/>
                  <a:gd name="T92" fmla="*/ 899 w 1024"/>
                  <a:gd name="T93"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24" h="311">
                    <a:moveTo>
                      <a:pt x="930" y="62"/>
                    </a:moveTo>
                    <a:lnTo>
                      <a:pt x="930" y="62"/>
                    </a:lnTo>
                    <a:cubicBezTo>
                      <a:pt x="930" y="62"/>
                      <a:pt x="930" y="62"/>
                      <a:pt x="930" y="31"/>
                    </a:cubicBezTo>
                    <a:cubicBezTo>
                      <a:pt x="961" y="31"/>
                      <a:pt x="961" y="31"/>
                      <a:pt x="961" y="31"/>
                    </a:cubicBezTo>
                    <a:lnTo>
                      <a:pt x="991" y="31"/>
                    </a:lnTo>
                    <a:lnTo>
                      <a:pt x="991" y="31"/>
                    </a:lnTo>
                    <a:cubicBezTo>
                      <a:pt x="1023" y="31"/>
                      <a:pt x="1023" y="31"/>
                      <a:pt x="1023" y="31"/>
                    </a:cubicBezTo>
                    <a:lnTo>
                      <a:pt x="1023" y="31"/>
                    </a:lnTo>
                    <a:lnTo>
                      <a:pt x="1023" y="31"/>
                    </a:lnTo>
                    <a:cubicBezTo>
                      <a:pt x="991" y="31"/>
                      <a:pt x="991" y="31"/>
                      <a:pt x="991" y="0"/>
                    </a:cubicBezTo>
                    <a:lnTo>
                      <a:pt x="961" y="0"/>
                    </a:lnTo>
                    <a:cubicBezTo>
                      <a:pt x="961" y="0"/>
                      <a:pt x="961" y="0"/>
                      <a:pt x="930" y="0"/>
                    </a:cubicBezTo>
                    <a:cubicBezTo>
                      <a:pt x="930" y="0"/>
                      <a:pt x="930" y="0"/>
                      <a:pt x="899" y="0"/>
                    </a:cubicBezTo>
                    <a:lnTo>
                      <a:pt x="899" y="0"/>
                    </a:lnTo>
                    <a:lnTo>
                      <a:pt x="867" y="0"/>
                    </a:lnTo>
                    <a:cubicBezTo>
                      <a:pt x="867" y="0"/>
                      <a:pt x="837" y="0"/>
                      <a:pt x="806" y="31"/>
                    </a:cubicBezTo>
                    <a:lnTo>
                      <a:pt x="806" y="31"/>
                    </a:lnTo>
                    <a:cubicBezTo>
                      <a:pt x="775" y="31"/>
                      <a:pt x="775" y="31"/>
                      <a:pt x="743" y="31"/>
                    </a:cubicBezTo>
                    <a:lnTo>
                      <a:pt x="743" y="31"/>
                    </a:lnTo>
                    <a:cubicBezTo>
                      <a:pt x="743" y="0"/>
                      <a:pt x="713" y="0"/>
                      <a:pt x="713" y="0"/>
                    </a:cubicBezTo>
                    <a:lnTo>
                      <a:pt x="713" y="0"/>
                    </a:lnTo>
                    <a:cubicBezTo>
                      <a:pt x="713" y="0"/>
                      <a:pt x="713" y="0"/>
                      <a:pt x="682" y="0"/>
                    </a:cubicBezTo>
                    <a:lnTo>
                      <a:pt x="682" y="0"/>
                    </a:lnTo>
                    <a:lnTo>
                      <a:pt x="651" y="0"/>
                    </a:lnTo>
                    <a:lnTo>
                      <a:pt x="651" y="0"/>
                    </a:lnTo>
                    <a:cubicBezTo>
                      <a:pt x="619" y="0"/>
                      <a:pt x="589" y="0"/>
                      <a:pt x="589" y="0"/>
                    </a:cubicBezTo>
                    <a:lnTo>
                      <a:pt x="558" y="0"/>
                    </a:lnTo>
                    <a:lnTo>
                      <a:pt x="558" y="0"/>
                    </a:lnTo>
                    <a:cubicBezTo>
                      <a:pt x="527" y="0"/>
                      <a:pt x="527" y="0"/>
                      <a:pt x="495" y="0"/>
                    </a:cubicBezTo>
                    <a:lnTo>
                      <a:pt x="495" y="0"/>
                    </a:lnTo>
                    <a:cubicBezTo>
                      <a:pt x="495" y="31"/>
                      <a:pt x="495" y="31"/>
                      <a:pt x="465" y="31"/>
                    </a:cubicBezTo>
                    <a:cubicBezTo>
                      <a:pt x="465" y="31"/>
                      <a:pt x="465" y="31"/>
                      <a:pt x="434" y="31"/>
                    </a:cubicBezTo>
                    <a:cubicBezTo>
                      <a:pt x="403" y="0"/>
                      <a:pt x="371" y="0"/>
                      <a:pt x="341" y="0"/>
                    </a:cubicBezTo>
                    <a:lnTo>
                      <a:pt x="310" y="0"/>
                    </a:lnTo>
                    <a:cubicBezTo>
                      <a:pt x="310" y="124"/>
                      <a:pt x="310" y="124"/>
                      <a:pt x="310" y="124"/>
                    </a:cubicBezTo>
                    <a:lnTo>
                      <a:pt x="310" y="124"/>
                    </a:lnTo>
                    <a:lnTo>
                      <a:pt x="279" y="124"/>
                    </a:lnTo>
                    <a:lnTo>
                      <a:pt x="248" y="124"/>
                    </a:lnTo>
                    <a:lnTo>
                      <a:pt x="217" y="124"/>
                    </a:lnTo>
                    <a:lnTo>
                      <a:pt x="217" y="155"/>
                    </a:lnTo>
                    <a:cubicBezTo>
                      <a:pt x="217" y="155"/>
                      <a:pt x="217" y="155"/>
                      <a:pt x="186" y="155"/>
                    </a:cubicBezTo>
                    <a:cubicBezTo>
                      <a:pt x="186" y="155"/>
                      <a:pt x="186" y="155"/>
                      <a:pt x="154" y="155"/>
                    </a:cubicBezTo>
                    <a:cubicBezTo>
                      <a:pt x="154" y="155"/>
                      <a:pt x="124" y="155"/>
                      <a:pt x="62" y="155"/>
                    </a:cubicBezTo>
                    <a:cubicBezTo>
                      <a:pt x="93" y="186"/>
                      <a:pt x="93" y="186"/>
                      <a:pt x="93" y="186"/>
                    </a:cubicBezTo>
                    <a:cubicBezTo>
                      <a:pt x="93" y="186"/>
                      <a:pt x="93" y="217"/>
                      <a:pt x="62" y="217"/>
                    </a:cubicBezTo>
                    <a:cubicBezTo>
                      <a:pt x="62" y="217"/>
                      <a:pt x="62" y="217"/>
                      <a:pt x="31" y="217"/>
                    </a:cubicBezTo>
                    <a:lnTo>
                      <a:pt x="31" y="217"/>
                    </a:lnTo>
                    <a:lnTo>
                      <a:pt x="31" y="217"/>
                    </a:lnTo>
                    <a:cubicBezTo>
                      <a:pt x="31" y="217"/>
                      <a:pt x="31" y="248"/>
                      <a:pt x="0" y="248"/>
                    </a:cubicBezTo>
                    <a:lnTo>
                      <a:pt x="0" y="248"/>
                    </a:lnTo>
                    <a:cubicBezTo>
                      <a:pt x="62" y="248"/>
                      <a:pt x="62" y="248"/>
                      <a:pt x="62" y="248"/>
                    </a:cubicBezTo>
                    <a:cubicBezTo>
                      <a:pt x="0" y="310"/>
                      <a:pt x="0" y="310"/>
                      <a:pt x="0" y="310"/>
                    </a:cubicBezTo>
                    <a:lnTo>
                      <a:pt x="0" y="310"/>
                    </a:lnTo>
                    <a:cubicBezTo>
                      <a:pt x="31" y="310"/>
                      <a:pt x="31" y="310"/>
                      <a:pt x="31" y="310"/>
                    </a:cubicBezTo>
                    <a:cubicBezTo>
                      <a:pt x="62" y="310"/>
                      <a:pt x="62" y="310"/>
                      <a:pt x="62" y="310"/>
                    </a:cubicBezTo>
                    <a:cubicBezTo>
                      <a:pt x="62" y="310"/>
                      <a:pt x="62" y="310"/>
                      <a:pt x="93" y="310"/>
                    </a:cubicBezTo>
                    <a:cubicBezTo>
                      <a:pt x="93" y="310"/>
                      <a:pt x="124" y="310"/>
                      <a:pt x="154" y="310"/>
                    </a:cubicBezTo>
                    <a:cubicBezTo>
                      <a:pt x="154" y="310"/>
                      <a:pt x="154" y="310"/>
                      <a:pt x="186" y="310"/>
                    </a:cubicBezTo>
                    <a:cubicBezTo>
                      <a:pt x="186" y="310"/>
                      <a:pt x="154" y="310"/>
                      <a:pt x="186" y="279"/>
                    </a:cubicBezTo>
                    <a:cubicBezTo>
                      <a:pt x="186" y="279"/>
                      <a:pt x="186" y="279"/>
                      <a:pt x="217" y="279"/>
                    </a:cubicBezTo>
                    <a:lnTo>
                      <a:pt x="217" y="279"/>
                    </a:lnTo>
                    <a:lnTo>
                      <a:pt x="248" y="279"/>
                    </a:lnTo>
                    <a:lnTo>
                      <a:pt x="279" y="279"/>
                    </a:lnTo>
                    <a:lnTo>
                      <a:pt x="279" y="248"/>
                    </a:lnTo>
                    <a:cubicBezTo>
                      <a:pt x="248" y="248"/>
                      <a:pt x="248" y="248"/>
                      <a:pt x="248" y="248"/>
                    </a:cubicBezTo>
                    <a:cubicBezTo>
                      <a:pt x="248" y="248"/>
                      <a:pt x="248" y="248"/>
                      <a:pt x="217" y="248"/>
                    </a:cubicBezTo>
                    <a:lnTo>
                      <a:pt x="186" y="248"/>
                    </a:lnTo>
                    <a:cubicBezTo>
                      <a:pt x="186" y="248"/>
                      <a:pt x="154" y="248"/>
                      <a:pt x="154" y="217"/>
                    </a:cubicBezTo>
                    <a:cubicBezTo>
                      <a:pt x="154" y="217"/>
                      <a:pt x="154" y="186"/>
                      <a:pt x="186" y="186"/>
                    </a:cubicBezTo>
                    <a:lnTo>
                      <a:pt x="217" y="186"/>
                    </a:lnTo>
                    <a:cubicBezTo>
                      <a:pt x="248" y="186"/>
                      <a:pt x="248" y="186"/>
                      <a:pt x="248" y="186"/>
                    </a:cubicBezTo>
                    <a:cubicBezTo>
                      <a:pt x="279" y="186"/>
                      <a:pt x="279" y="186"/>
                      <a:pt x="279" y="186"/>
                    </a:cubicBezTo>
                    <a:cubicBezTo>
                      <a:pt x="310" y="186"/>
                      <a:pt x="310" y="186"/>
                      <a:pt x="310" y="186"/>
                    </a:cubicBezTo>
                    <a:cubicBezTo>
                      <a:pt x="341" y="186"/>
                      <a:pt x="341" y="186"/>
                      <a:pt x="341" y="186"/>
                    </a:cubicBezTo>
                    <a:lnTo>
                      <a:pt x="371" y="186"/>
                    </a:lnTo>
                    <a:lnTo>
                      <a:pt x="371" y="186"/>
                    </a:lnTo>
                    <a:cubicBezTo>
                      <a:pt x="371" y="155"/>
                      <a:pt x="371" y="155"/>
                      <a:pt x="403" y="155"/>
                    </a:cubicBezTo>
                    <a:lnTo>
                      <a:pt x="403" y="155"/>
                    </a:lnTo>
                    <a:lnTo>
                      <a:pt x="434" y="155"/>
                    </a:lnTo>
                    <a:cubicBezTo>
                      <a:pt x="465" y="155"/>
                      <a:pt x="465" y="155"/>
                      <a:pt x="495" y="155"/>
                    </a:cubicBezTo>
                    <a:lnTo>
                      <a:pt x="495" y="155"/>
                    </a:lnTo>
                    <a:lnTo>
                      <a:pt x="527" y="155"/>
                    </a:lnTo>
                    <a:lnTo>
                      <a:pt x="527" y="155"/>
                    </a:lnTo>
                    <a:cubicBezTo>
                      <a:pt x="558" y="155"/>
                      <a:pt x="558" y="155"/>
                      <a:pt x="558" y="155"/>
                    </a:cubicBezTo>
                    <a:lnTo>
                      <a:pt x="558" y="124"/>
                    </a:lnTo>
                    <a:cubicBezTo>
                      <a:pt x="558" y="93"/>
                      <a:pt x="558" y="93"/>
                      <a:pt x="558" y="93"/>
                    </a:cubicBezTo>
                    <a:cubicBezTo>
                      <a:pt x="589" y="124"/>
                      <a:pt x="589" y="124"/>
                      <a:pt x="589" y="124"/>
                    </a:cubicBezTo>
                    <a:cubicBezTo>
                      <a:pt x="589" y="124"/>
                      <a:pt x="619" y="124"/>
                      <a:pt x="651" y="124"/>
                    </a:cubicBezTo>
                    <a:lnTo>
                      <a:pt x="651" y="124"/>
                    </a:lnTo>
                    <a:cubicBezTo>
                      <a:pt x="682" y="93"/>
                      <a:pt x="743" y="93"/>
                      <a:pt x="775" y="93"/>
                    </a:cubicBezTo>
                    <a:lnTo>
                      <a:pt x="775" y="93"/>
                    </a:lnTo>
                    <a:lnTo>
                      <a:pt x="775" y="93"/>
                    </a:lnTo>
                    <a:cubicBezTo>
                      <a:pt x="775" y="93"/>
                      <a:pt x="806" y="93"/>
                      <a:pt x="837" y="93"/>
                    </a:cubicBezTo>
                    <a:cubicBezTo>
                      <a:pt x="837" y="62"/>
                      <a:pt x="867" y="62"/>
                      <a:pt x="899" y="62"/>
                    </a:cubicBezTo>
                    <a:lnTo>
                      <a:pt x="930" y="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92" name="Freeform 189"/>
              <p:cNvSpPr>
                <a:spLocks noChangeArrowheads="1"/>
              </p:cNvSpPr>
              <p:nvPr/>
            </p:nvSpPr>
            <p:spPr bwMode="auto">
              <a:xfrm>
                <a:off x="1973263" y="809625"/>
                <a:ext cx="55562" cy="11113"/>
              </a:xfrm>
              <a:custGeom>
                <a:avLst/>
                <a:gdLst>
                  <a:gd name="T0" fmla="*/ 124 w 156"/>
                  <a:gd name="T1" fmla="*/ 31 h 32"/>
                  <a:gd name="T2" fmla="*/ 124 w 156"/>
                  <a:gd name="T3" fmla="*/ 31 h 32"/>
                  <a:gd name="T4" fmla="*/ 62 w 156"/>
                  <a:gd name="T5" fmla="*/ 0 h 32"/>
                  <a:gd name="T6" fmla="*/ 0 w 156"/>
                  <a:gd name="T7" fmla="*/ 0 h 32"/>
                  <a:gd name="T8" fmla="*/ 31 w 156"/>
                  <a:gd name="T9" fmla="*/ 0 h 32"/>
                  <a:gd name="T10" fmla="*/ 31 w 156"/>
                  <a:gd name="T11" fmla="*/ 0 h 32"/>
                  <a:gd name="T12" fmla="*/ 31 w 156"/>
                  <a:gd name="T13" fmla="*/ 0 h 32"/>
                  <a:gd name="T14" fmla="*/ 62 w 156"/>
                  <a:gd name="T15" fmla="*/ 0 h 32"/>
                  <a:gd name="T16" fmla="*/ 124 w 156"/>
                  <a:gd name="T17" fmla="*/ 31 h 32"/>
                  <a:gd name="T18" fmla="*/ 124 w 156"/>
                  <a:gd name="T19" fmla="*/ 31 h 32"/>
                  <a:gd name="T20" fmla="*/ 155 w 156"/>
                  <a:gd name="T21" fmla="*/ 31 h 32"/>
                  <a:gd name="T22" fmla="*/ 155 w 156"/>
                  <a:gd name="T23" fmla="*/ 31 h 32"/>
                  <a:gd name="T24" fmla="*/ 124 w 156"/>
                  <a:gd name="T2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32">
                    <a:moveTo>
                      <a:pt x="124" y="31"/>
                    </a:moveTo>
                    <a:lnTo>
                      <a:pt x="124" y="31"/>
                    </a:lnTo>
                    <a:cubicBezTo>
                      <a:pt x="93" y="0"/>
                      <a:pt x="93" y="0"/>
                      <a:pt x="62" y="0"/>
                    </a:cubicBezTo>
                    <a:cubicBezTo>
                      <a:pt x="62" y="0"/>
                      <a:pt x="31" y="0"/>
                      <a:pt x="0" y="0"/>
                    </a:cubicBezTo>
                    <a:cubicBezTo>
                      <a:pt x="31" y="0"/>
                      <a:pt x="31" y="0"/>
                      <a:pt x="31" y="0"/>
                    </a:cubicBezTo>
                    <a:lnTo>
                      <a:pt x="31" y="0"/>
                    </a:lnTo>
                    <a:lnTo>
                      <a:pt x="31" y="0"/>
                    </a:lnTo>
                    <a:cubicBezTo>
                      <a:pt x="31" y="0"/>
                      <a:pt x="31" y="0"/>
                      <a:pt x="62" y="0"/>
                    </a:cubicBezTo>
                    <a:cubicBezTo>
                      <a:pt x="93" y="0"/>
                      <a:pt x="93" y="31"/>
                      <a:pt x="124" y="31"/>
                    </a:cubicBezTo>
                    <a:lnTo>
                      <a:pt x="124" y="31"/>
                    </a:lnTo>
                    <a:lnTo>
                      <a:pt x="155" y="31"/>
                    </a:lnTo>
                    <a:lnTo>
                      <a:pt x="155" y="31"/>
                    </a:lnTo>
                    <a:lnTo>
                      <a:pt x="124" y="3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93" name="Freeform 190"/>
              <p:cNvSpPr>
                <a:spLocks noChangeArrowheads="1"/>
              </p:cNvSpPr>
              <p:nvPr/>
            </p:nvSpPr>
            <p:spPr bwMode="auto">
              <a:xfrm>
                <a:off x="2062163" y="876300"/>
                <a:ext cx="22225" cy="11113"/>
              </a:xfrm>
              <a:custGeom>
                <a:avLst/>
                <a:gdLst>
                  <a:gd name="T0" fmla="*/ 62 w 63"/>
                  <a:gd name="T1" fmla="*/ 0 h 32"/>
                  <a:gd name="T2" fmla="*/ 62 w 63"/>
                  <a:gd name="T3" fmla="*/ 0 h 32"/>
                  <a:gd name="T4" fmla="*/ 62 w 63"/>
                  <a:gd name="T5" fmla="*/ 0 h 32"/>
                  <a:gd name="T6" fmla="*/ 62 w 63"/>
                  <a:gd name="T7" fmla="*/ 0 h 32"/>
                  <a:gd name="T8" fmla="*/ 31 w 63"/>
                  <a:gd name="T9" fmla="*/ 0 h 32"/>
                  <a:gd name="T10" fmla="*/ 0 w 63"/>
                  <a:gd name="T11" fmla="*/ 0 h 32"/>
                  <a:gd name="T12" fmla="*/ 0 w 63"/>
                  <a:gd name="T13" fmla="*/ 0 h 32"/>
                  <a:gd name="T14" fmla="*/ 0 w 63"/>
                  <a:gd name="T15" fmla="*/ 31 h 32"/>
                  <a:gd name="T16" fmla="*/ 62 w 63"/>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32">
                    <a:moveTo>
                      <a:pt x="62" y="0"/>
                    </a:moveTo>
                    <a:lnTo>
                      <a:pt x="62" y="0"/>
                    </a:lnTo>
                    <a:lnTo>
                      <a:pt x="62" y="0"/>
                    </a:lnTo>
                    <a:lnTo>
                      <a:pt x="62" y="0"/>
                    </a:lnTo>
                    <a:cubicBezTo>
                      <a:pt x="62" y="0"/>
                      <a:pt x="62" y="0"/>
                      <a:pt x="31" y="0"/>
                    </a:cubicBezTo>
                    <a:cubicBezTo>
                      <a:pt x="31" y="0"/>
                      <a:pt x="31" y="0"/>
                      <a:pt x="0" y="0"/>
                    </a:cubicBezTo>
                    <a:lnTo>
                      <a:pt x="0" y="0"/>
                    </a:lnTo>
                    <a:cubicBezTo>
                      <a:pt x="0" y="0"/>
                      <a:pt x="0" y="0"/>
                      <a:pt x="0" y="31"/>
                    </a:cubicBezTo>
                    <a:cubicBezTo>
                      <a:pt x="31" y="31"/>
                      <a:pt x="31" y="31"/>
                      <a:pt x="62"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94" name="Freeform 191"/>
              <p:cNvSpPr>
                <a:spLocks noChangeArrowheads="1"/>
              </p:cNvSpPr>
              <p:nvPr/>
            </p:nvSpPr>
            <p:spPr bwMode="auto">
              <a:xfrm>
                <a:off x="1882775" y="765175"/>
                <a:ext cx="66675" cy="11113"/>
              </a:xfrm>
              <a:custGeom>
                <a:avLst/>
                <a:gdLst>
                  <a:gd name="T0" fmla="*/ 155 w 187"/>
                  <a:gd name="T1" fmla="*/ 0 h 32"/>
                  <a:gd name="T2" fmla="*/ 155 w 187"/>
                  <a:gd name="T3" fmla="*/ 0 h 32"/>
                  <a:gd name="T4" fmla="*/ 93 w 187"/>
                  <a:gd name="T5" fmla="*/ 0 h 32"/>
                  <a:gd name="T6" fmla="*/ 31 w 187"/>
                  <a:gd name="T7" fmla="*/ 0 h 32"/>
                  <a:gd name="T8" fmla="*/ 0 w 187"/>
                  <a:gd name="T9" fmla="*/ 31 h 32"/>
                  <a:gd name="T10" fmla="*/ 31 w 187"/>
                  <a:gd name="T11" fmla="*/ 31 h 32"/>
                  <a:gd name="T12" fmla="*/ 62 w 187"/>
                  <a:gd name="T13" fmla="*/ 31 h 32"/>
                  <a:gd name="T14" fmla="*/ 93 w 187"/>
                  <a:gd name="T15" fmla="*/ 31 h 32"/>
                  <a:gd name="T16" fmla="*/ 155 w 187"/>
                  <a:gd name="T17" fmla="*/ 31 h 32"/>
                  <a:gd name="T18" fmla="*/ 155 w 187"/>
                  <a:gd name="T19" fmla="*/ 0 h 32"/>
                  <a:gd name="T20" fmla="*/ 186 w 187"/>
                  <a:gd name="T21" fmla="*/ 0 h 32"/>
                  <a:gd name="T22" fmla="*/ 155 w 187"/>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32">
                    <a:moveTo>
                      <a:pt x="155" y="0"/>
                    </a:moveTo>
                    <a:lnTo>
                      <a:pt x="155" y="0"/>
                    </a:lnTo>
                    <a:cubicBezTo>
                      <a:pt x="124" y="0"/>
                      <a:pt x="124" y="0"/>
                      <a:pt x="93" y="0"/>
                    </a:cubicBezTo>
                    <a:cubicBezTo>
                      <a:pt x="93" y="0"/>
                      <a:pt x="62" y="0"/>
                      <a:pt x="31" y="0"/>
                    </a:cubicBezTo>
                    <a:cubicBezTo>
                      <a:pt x="31" y="31"/>
                      <a:pt x="0" y="31"/>
                      <a:pt x="0" y="31"/>
                    </a:cubicBezTo>
                    <a:lnTo>
                      <a:pt x="31" y="31"/>
                    </a:lnTo>
                    <a:lnTo>
                      <a:pt x="62" y="31"/>
                    </a:lnTo>
                    <a:cubicBezTo>
                      <a:pt x="93" y="31"/>
                      <a:pt x="93" y="31"/>
                      <a:pt x="93" y="31"/>
                    </a:cubicBezTo>
                    <a:cubicBezTo>
                      <a:pt x="93" y="31"/>
                      <a:pt x="124" y="31"/>
                      <a:pt x="155" y="31"/>
                    </a:cubicBezTo>
                    <a:lnTo>
                      <a:pt x="155" y="0"/>
                    </a:lnTo>
                    <a:lnTo>
                      <a:pt x="186" y="0"/>
                    </a:lnTo>
                    <a:lnTo>
                      <a:pt x="155"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95" name="Freeform 192"/>
              <p:cNvSpPr>
                <a:spLocks noChangeArrowheads="1"/>
              </p:cNvSpPr>
              <p:nvPr/>
            </p:nvSpPr>
            <p:spPr bwMode="auto">
              <a:xfrm>
                <a:off x="2017713" y="1166813"/>
                <a:ext cx="11112" cy="11112"/>
              </a:xfrm>
              <a:custGeom>
                <a:avLst/>
                <a:gdLst>
                  <a:gd name="T0" fmla="*/ 31 w 32"/>
                  <a:gd name="T1" fmla="*/ 31 h 32"/>
                  <a:gd name="T2" fmla="*/ 31 w 32"/>
                  <a:gd name="T3" fmla="*/ 31 h 32"/>
                  <a:gd name="T4" fmla="*/ 31 w 32"/>
                  <a:gd name="T5" fmla="*/ 0 h 32"/>
                  <a:gd name="T6" fmla="*/ 0 w 32"/>
                  <a:gd name="T7" fmla="*/ 0 h 32"/>
                  <a:gd name="T8" fmla="*/ 0 w 32"/>
                  <a:gd name="T9" fmla="*/ 0 h 32"/>
                  <a:gd name="T10" fmla="*/ 31 w 32"/>
                  <a:gd name="T11" fmla="*/ 31 h 32"/>
                </a:gdLst>
                <a:ahLst/>
                <a:cxnLst>
                  <a:cxn ang="0">
                    <a:pos x="T0" y="T1"/>
                  </a:cxn>
                  <a:cxn ang="0">
                    <a:pos x="T2" y="T3"/>
                  </a:cxn>
                  <a:cxn ang="0">
                    <a:pos x="T4" y="T5"/>
                  </a:cxn>
                  <a:cxn ang="0">
                    <a:pos x="T6" y="T7"/>
                  </a:cxn>
                  <a:cxn ang="0">
                    <a:pos x="T8" y="T9"/>
                  </a:cxn>
                  <a:cxn ang="0">
                    <a:pos x="T10" y="T11"/>
                  </a:cxn>
                </a:cxnLst>
                <a:rect l="0" t="0" r="r" b="b"/>
                <a:pathLst>
                  <a:path w="32" h="32">
                    <a:moveTo>
                      <a:pt x="31" y="31"/>
                    </a:moveTo>
                    <a:lnTo>
                      <a:pt x="31" y="31"/>
                    </a:lnTo>
                    <a:cubicBezTo>
                      <a:pt x="31" y="0"/>
                      <a:pt x="31" y="0"/>
                      <a:pt x="31" y="0"/>
                    </a:cubicBezTo>
                    <a:cubicBezTo>
                      <a:pt x="31" y="0"/>
                      <a:pt x="31" y="0"/>
                      <a:pt x="0" y="0"/>
                    </a:cubicBezTo>
                    <a:lnTo>
                      <a:pt x="0" y="0"/>
                    </a:lnTo>
                    <a:cubicBezTo>
                      <a:pt x="31" y="0"/>
                      <a:pt x="31" y="31"/>
                      <a:pt x="31"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96" name="Freeform 193"/>
              <p:cNvSpPr>
                <a:spLocks noChangeArrowheads="1"/>
              </p:cNvSpPr>
              <p:nvPr/>
            </p:nvSpPr>
            <p:spPr bwMode="auto">
              <a:xfrm>
                <a:off x="1951038" y="1144588"/>
                <a:ext cx="55562" cy="33337"/>
              </a:xfrm>
              <a:custGeom>
                <a:avLst/>
                <a:gdLst>
                  <a:gd name="T0" fmla="*/ 62 w 156"/>
                  <a:gd name="T1" fmla="*/ 31 h 94"/>
                  <a:gd name="T2" fmla="*/ 62 w 156"/>
                  <a:gd name="T3" fmla="*/ 31 h 94"/>
                  <a:gd name="T4" fmla="*/ 62 w 156"/>
                  <a:gd name="T5" fmla="*/ 62 h 94"/>
                  <a:gd name="T6" fmla="*/ 31 w 156"/>
                  <a:gd name="T7" fmla="*/ 0 h 94"/>
                  <a:gd name="T8" fmla="*/ 0 w 156"/>
                  <a:gd name="T9" fmla="*/ 0 h 94"/>
                  <a:gd name="T10" fmla="*/ 0 w 156"/>
                  <a:gd name="T11" fmla="*/ 0 h 94"/>
                  <a:gd name="T12" fmla="*/ 0 w 156"/>
                  <a:gd name="T13" fmla="*/ 31 h 94"/>
                  <a:gd name="T14" fmla="*/ 0 w 156"/>
                  <a:gd name="T15" fmla="*/ 31 h 94"/>
                  <a:gd name="T16" fmla="*/ 0 w 156"/>
                  <a:gd name="T17" fmla="*/ 62 h 94"/>
                  <a:gd name="T18" fmla="*/ 0 w 156"/>
                  <a:gd name="T19" fmla="*/ 62 h 94"/>
                  <a:gd name="T20" fmla="*/ 31 w 156"/>
                  <a:gd name="T21" fmla="*/ 93 h 94"/>
                  <a:gd name="T22" fmla="*/ 62 w 156"/>
                  <a:gd name="T23" fmla="*/ 93 h 94"/>
                  <a:gd name="T24" fmla="*/ 93 w 156"/>
                  <a:gd name="T25" fmla="*/ 93 h 94"/>
                  <a:gd name="T26" fmla="*/ 124 w 156"/>
                  <a:gd name="T27" fmla="*/ 62 h 94"/>
                  <a:gd name="T28" fmla="*/ 124 w 156"/>
                  <a:gd name="T29" fmla="*/ 62 h 94"/>
                  <a:gd name="T30" fmla="*/ 155 w 156"/>
                  <a:gd name="T31" fmla="*/ 62 h 94"/>
                  <a:gd name="T32" fmla="*/ 155 w 156"/>
                  <a:gd name="T33" fmla="*/ 62 h 94"/>
                  <a:gd name="T34" fmla="*/ 124 w 156"/>
                  <a:gd name="T35" fmla="*/ 31 h 94"/>
                  <a:gd name="T36" fmla="*/ 93 w 156"/>
                  <a:gd name="T37" fmla="*/ 31 h 94"/>
                  <a:gd name="T38" fmla="*/ 93 w 156"/>
                  <a:gd name="T39" fmla="*/ 31 h 94"/>
                  <a:gd name="T40" fmla="*/ 62 w 156"/>
                  <a:gd name="T41"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94">
                    <a:moveTo>
                      <a:pt x="62" y="31"/>
                    </a:moveTo>
                    <a:lnTo>
                      <a:pt x="62" y="31"/>
                    </a:lnTo>
                    <a:cubicBezTo>
                      <a:pt x="62" y="62"/>
                      <a:pt x="62" y="62"/>
                      <a:pt x="62" y="62"/>
                    </a:cubicBezTo>
                    <a:cubicBezTo>
                      <a:pt x="31" y="0"/>
                      <a:pt x="31" y="0"/>
                      <a:pt x="31" y="0"/>
                    </a:cubicBezTo>
                    <a:lnTo>
                      <a:pt x="0" y="0"/>
                    </a:lnTo>
                    <a:lnTo>
                      <a:pt x="0" y="0"/>
                    </a:lnTo>
                    <a:cubicBezTo>
                      <a:pt x="0" y="31"/>
                      <a:pt x="0" y="31"/>
                      <a:pt x="0" y="31"/>
                    </a:cubicBezTo>
                    <a:lnTo>
                      <a:pt x="0" y="31"/>
                    </a:lnTo>
                    <a:cubicBezTo>
                      <a:pt x="0" y="62"/>
                      <a:pt x="0" y="62"/>
                      <a:pt x="0" y="62"/>
                    </a:cubicBezTo>
                    <a:lnTo>
                      <a:pt x="0" y="62"/>
                    </a:lnTo>
                    <a:cubicBezTo>
                      <a:pt x="31" y="62"/>
                      <a:pt x="31" y="93"/>
                      <a:pt x="31" y="93"/>
                    </a:cubicBezTo>
                    <a:lnTo>
                      <a:pt x="62" y="93"/>
                    </a:lnTo>
                    <a:lnTo>
                      <a:pt x="93" y="93"/>
                    </a:lnTo>
                    <a:cubicBezTo>
                      <a:pt x="93" y="62"/>
                      <a:pt x="124" y="62"/>
                      <a:pt x="124" y="62"/>
                    </a:cubicBezTo>
                    <a:lnTo>
                      <a:pt x="124" y="62"/>
                    </a:lnTo>
                    <a:lnTo>
                      <a:pt x="155" y="62"/>
                    </a:lnTo>
                    <a:lnTo>
                      <a:pt x="155" y="62"/>
                    </a:lnTo>
                    <a:cubicBezTo>
                      <a:pt x="155" y="31"/>
                      <a:pt x="155" y="31"/>
                      <a:pt x="124" y="31"/>
                    </a:cubicBezTo>
                    <a:lnTo>
                      <a:pt x="93" y="31"/>
                    </a:lnTo>
                    <a:lnTo>
                      <a:pt x="93" y="31"/>
                    </a:lnTo>
                    <a:cubicBezTo>
                      <a:pt x="62" y="31"/>
                      <a:pt x="62" y="31"/>
                      <a:pt x="62"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97" name="Freeform 194"/>
              <p:cNvSpPr>
                <a:spLocks noChangeArrowheads="1"/>
              </p:cNvSpPr>
              <p:nvPr/>
            </p:nvSpPr>
            <p:spPr bwMode="auto">
              <a:xfrm>
                <a:off x="2419350" y="1122363"/>
                <a:ext cx="1588" cy="11112"/>
              </a:xfrm>
              <a:custGeom>
                <a:avLst/>
                <a:gdLst>
                  <a:gd name="T0" fmla="*/ 0 w 1"/>
                  <a:gd name="T1" fmla="*/ 31 h 32"/>
                  <a:gd name="T2" fmla="*/ 0 w 1"/>
                  <a:gd name="T3" fmla="*/ 31 h 32"/>
                  <a:gd name="T4" fmla="*/ 0 w 1"/>
                  <a:gd name="T5" fmla="*/ 0 h 32"/>
                  <a:gd name="T6" fmla="*/ 0 w 1"/>
                  <a:gd name="T7" fmla="*/ 0 h 32"/>
                  <a:gd name="T8" fmla="*/ 0 w 1"/>
                  <a:gd name="T9" fmla="*/ 31 h 32"/>
                </a:gdLst>
                <a:ahLst/>
                <a:cxnLst>
                  <a:cxn ang="0">
                    <a:pos x="T0" y="T1"/>
                  </a:cxn>
                  <a:cxn ang="0">
                    <a:pos x="T2" y="T3"/>
                  </a:cxn>
                  <a:cxn ang="0">
                    <a:pos x="T4" y="T5"/>
                  </a:cxn>
                  <a:cxn ang="0">
                    <a:pos x="T6" y="T7"/>
                  </a:cxn>
                  <a:cxn ang="0">
                    <a:pos x="T8" y="T9"/>
                  </a:cxn>
                </a:cxnLst>
                <a:rect l="0" t="0" r="r" b="b"/>
                <a:pathLst>
                  <a:path w="1" h="32">
                    <a:moveTo>
                      <a:pt x="0" y="31"/>
                    </a:moveTo>
                    <a:lnTo>
                      <a:pt x="0" y="31"/>
                    </a:lnTo>
                    <a:cubicBezTo>
                      <a:pt x="0" y="0"/>
                      <a:pt x="0" y="0"/>
                      <a:pt x="0" y="0"/>
                    </a:cubicBezTo>
                    <a:lnTo>
                      <a:pt x="0" y="0"/>
                    </a:lnTo>
                    <a:cubicBezTo>
                      <a:pt x="0" y="0"/>
                      <a:pt x="0" y="0"/>
                      <a:pt x="0"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98" name="Freeform 195"/>
              <p:cNvSpPr>
                <a:spLocks noChangeArrowheads="1"/>
              </p:cNvSpPr>
              <p:nvPr/>
            </p:nvSpPr>
            <p:spPr bwMode="auto">
              <a:xfrm>
                <a:off x="2017713" y="987425"/>
                <a:ext cx="401637" cy="223838"/>
              </a:xfrm>
              <a:custGeom>
                <a:avLst/>
                <a:gdLst>
                  <a:gd name="T0" fmla="*/ 248 w 1117"/>
                  <a:gd name="T1" fmla="*/ 31 h 621"/>
                  <a:gd name="T2" fmla="*/ 186 w 1117"/>
                  <a:gd name="T3" fmla="*/ 31 h 621"/>
                  <a:gd name="T4" fmla="*/ 155 w 1117"/>
                  <a:gd name="T5" fmla="*/ 0 h 621"/>
                  <a:gd name="T6" fmla="*/ 0 w 1117"/>
                  <a:gd name="T7" fmla="*/ 62 h 621"/>
                  <a:gd name="T8" fmla="*/ 31 w 1117"/>
                  <a:gd name="T9" fmla="*/ 93 h 621"/>
                  <a:gd name="T10" fmla="*/ 62 w 1117"/>
                  <a:gd name="T11" fmla="*/ 93 h 621"/>
                  <a:gd name="T12" fmla="*/ 124 w 1117"/>
                  <a:gd name="T13" fmla="*/ 124 h 621"/>
                  <a:gd name="T14" fmla="*/ 186 w 1117"/>
                  <a:gd name="T15" fmla="*/ 93 h 621"/>
                  <a:gd name="T16" fmla="*/ 248 w 1117"/>
                  <a:gd name="T17" fmla="*/ 93 h 621"/>
                  <a:gd name="T18" fmla="*/ 341 w 1117"/>
                  <a:gd name="T19" fmla="*/ 93 h 621"/>
                  <a:gd name="T20" fmla="*/ 372 w 1117"/>
                  <a:gd name="T21" fmla="*/ 155 h 621"/>
                  <a:gd name="T22" fmla="*/ 433 w 1117"/>
                  <a:gd name="T23" fmla="*/ 155 h 621"/>
                  <a:gd name="T24" fmla="*/ 433 w 1117"/>
                  <a:gd name="T25" fmla="*/ 186 h 621"/>
                  <a:gd name="T26" fmla="*/ 496 w 1117"/>
                  <a:gd name="T27" fmla="*/ 217 h 621"/>
                  <a:gd name="T28" fmla="*/ 557 w 1117"/>
                  <a:gd name="T29" fmla="*/ 248 h 621"/>
                  <a:gd name="T30" fmla="*/ 589 w 1117"/>
                  <a:gd name="T31" fmla="*/ 341 h 621"/>
                  <a:gd name="T32" fmla="*/ 496 w 1117"/>
                  <a:gd name="T33" fmla="*/ 372 h 621"/>
                  <a:gd name="T34" fmla="*/ 527 w 1117"/>
                  <a:gd name="T35" fmla="*/ 465 h 621"/>
                  <a:gd name="T36" fmla="*/ 589 w 1117"/>
                  <a:gd name="T37" fmla="*/ 527 h 621"/>
                  <a:gd name="T38" fmla="*/ 651 w 1117"/>
                  <a:gd name="T39" fmla="*/ 557 h 621"/>
                  <a:gd name="T40" fmla="*/ 713 w 1117"/>
                  <a:gd name="T41" fmla="*/ 557 h 621"/>
                  <a:gd name="T42" fmla="*/ 805 w 1117"/>
                  <a:gd name="T43" fmla="*/ 620 h 621"/>
                  <a:gd name="T44" fmla="*/ 899 w 1117"/>
                  <a:gd name="T45" fmla="*/ 620 h 621"/>
                  <a:gd name="T46" fmla="*/ 929 w 1117"/>
                  <a:gd name="T47" fmla="*/ 620 h 621"/>
                  <a:gd name="T48" fmla="*/ 992 w 1117"/>
                  <a:gd name="T49" fmla="*/ 557 h 621"/>
                  <a:gd name="T50" fmla="*/ 992 w 1117"/>
                  <a:gd name="T51" fmla="*/ 527 h 621"/>
                  <a:gd name="T52" fmla="*/ 929 w 1117"/>
                  <a:gd name="T53" fmla="*/ 496 h 621"/>
                  <a:gd name="T54" fmla="*/ 899 w 1117"/>
                  <a:gd name="T55" fmla="*/ 496 h 621"/>
                  <a:gd name="T56" fmla="*/ 837 w 1117"/>
                  <a:gd name="T57" fmla="*/ 465 h 621"/>
                  <a:gd name="T58" fmla="*/ 744 w 1117"/>
                  <a:gd name="T59" fmla="*/ 403 h 621"/>
                  <a:gd name="T60" fmla="*/ 837 w 1117"/>
                  <a:gd name="T61" fmla="*/ 310 h 621"/>
                  <a:gd name="T62" fmla="*/ 929 w 1117"/>
                  <a:gd name="T63" fmla="*/ 341 h 621"/>
                  <a:gd name="T64" fmla="*/ 961 w 1117"/>
                  <a:gd name="T65" fmla="*/ 310 h 621"/>
                  <a:gd name="T66" fmla="*/ 1023 w 1117"/>
                  <a:gd name="T67" fmla="*/ 341 h 621"/>
                  <a:gd name="T68" fmla="*/ 1053 w 1117"/>
                  <a:gd name="T69" fmla="*/ 403 h 621"/>
                  <a:gd name="T70" fmla="*/ 1116 w 1117"/>
                  <a:gd name="T71" fmla="*/ 372 h 621"/>
                  <a:gd name="T72" fmla="*/ 1116 w 1117"/>
                  <a:gd name="T73" fmla="*/ 372 h 621"/>
                  <a:gd name="T74" fmla="*/ 1085 w 1117"/>
                  <a:gd name="T75" fmla="*/ 341 h 621"/>
                  <a:gd name="T76" fmla="*/ 1053 w 1117"/>
                  <a:gd name="T77" fmla="*/ 341 h 621"/>
                  <a:gd name="T78" fmla="*/ 1023 w 1117"/>
                  <a:gd name="T79" fmla="*/ 310 h 621"/>
                  <a:gd name="T80" fmla="*/ 961 w 1117"/>
                  <a:gd name="T81" fmla="*/ 279 h 621"/>
                  <a:gd name="T82" fmla="*/ 929 w 1117"/>
                  <a:gd name="T83" fmla="*/ 279 h 621"/>
                  <a:gd name="T84" fmla="*/ 899 w 1117"/>
                  <a:gd name="T85" fmla="*/ 279 h 621"/>
                  <a:gd name="T86" fmla="*/ 868 w 1117"/>
                  <a:gd name="T87" fmla="*/ 279 h 621"/>
                  <a:gd name="T88" fmla="*/ 775 w 1117"/>
                  <a:gd name="T89" fmla="*/ 217 h 621"/>
                  <a:gd name="T90" fmla="*/ 713 w 1117"/>
                  <a:gd name="T91" fmla="*/ 155 h 621"/>
                  <a:gd name="T92" fmla="*/ 713 w 1117"/>
                  <a:gd name="T93" fmla="*/ 93 h 621"/>
                  <a:gd name="T94" fmla="*/ 651 w 1117"/>
                  <a:gd name="T95" fmla="*/ 124 h 621"/>
                  <a:gd name="T96" fmla="*/ 620 w 1117"/>
                  <a:gd name="T97" fmla="*/ 155 h 621"/>
                  <a:gd name="T98" fmla="*/ 527 w 1117"/>
                  <a:gd name="T99" fmla="*/ 93 h 621"/>
                  <a:gd name="T100" fmla="*/ 527 w 1117"/>
                  <a:gd name="T101" fmla="*/ 93 h 621"/>
                  <a:gd name="T102" fmla="*/ 433 w 1117"/>
                  <a:gd name="T103" fmla="*/ 62 h 621"/>
                  <a:gd name="T104" fmla="*/ 403 w 1117"/>
                  <a:gd name="T105" fmla="*/ 62 h 621"/>
                  <a:gd name="T106" fmla="*/ 403 w 1117"/>
                  <a:gd name="T107" fmla="*/ 0 h 621"/>
                  <a:gd name="T108" fmla="*/ 310 w 1117"/>
                  <a:gd name="T109"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17" h="621">
                    <a:moveTo>
                      <a:pt x="279" y="31"/>
                    </a:moveTo>
                    <a:lnTo>
                      <a:pt x="279" y="31"/>
                    </a:lnTo>
                    <a:cubicBezTo>
                      <a:pt x="248" y="31"/>
                      <a:pt x="248" y="31"/>
                      <a:pt x="248" y="31"/>
                    </a:cubicBezTo>
                    <a:cubicBezTo>
                      <a:pt x="216" y="31"/>
                      <a:pt x="216" y="31"/>
                      <a:pt x="216" y="31"/>
                    </a:cubicBezTo>
                    <a:lnTo>
                      <a:pt x="216" y="31"/>
                    </a:lnTo>
                    <a:lnTo>
                      <a:pt x="186" y="31"/>
                    </a:lnTo>
                    <a:cubicBezTo>
                      <a:pt x="186" y="31"/>
                      <a:pt x="186" y="31"/>
                      <a:pt x="155" y="31"/>
                    </a:cubicBezTo>
                    <a:cubicBezTo>
                      <a:pt x="155" y="0"/>
                      <a:pt x="155" y="0"/>
                      <a:pt x="155" y="0"/>
                    </a:cubicBezTo>
                    <a:lnTo>
                      <a:pt x="155" y="0"/>
                    </a:lnTo>
                    <a:lnTo>
                      <a:pt x="155" y="0"/>
                    </a:lnTo>
                    <a:cubicBezTo>
                      <a:pt x="155" y="0"/>
                      <a:pt x="124" y="0"/>
                      <a:pt x="124" y="31"/>
                    </a:cubicBezTo>
                    <a:cubicBezTo>
                      <a:pt x="0" y="62"/>
                      <a:pt x="0" y="62"/>
                      <a:pt x="0" y="62"/>
                    </a:cubicBezTo>
                    <a:lnTo>
                      <a:pt x="31" y="93"/>
                    </a:lnTo>
                    <a:lnTo>
                      <a:pt x="31" y="93"/>
                    </a:lnTo>
                    <a:lnTo>
                      <a:pt x="31" y="93"/>
                    </a:lnTo>
                    <a:lnTo>
                      <a:pt x="31" y="93"/>
                    </a:lnTo>
                    <a:lnTo>
                      <a:pt x="62" y="93"/>
                    </a:lnTo>
                    <a:lnTo>
                      <a:pt x="62" y="93"/>
                    </a:lnTo>
                    <a:cubicBezTo>
                      <a:pt x="93" y="93"/>
                      <a:pt x="93" y="124"/>
                      <a:pt x="93" y="124"/>
                    </a:cubicBezTo>
                    <a:lnTo>
                      <a:pt x="93" y="124"/>
                    </a:lnTo>
                    <a:cubicBezTo>
                      <a:pt x="124" y="124"/>
                      <a:pt x="124" y="124"/>
                      <a:pt x="124" y="124"/>
                    </a:cubicBezTo>
                    <a:cubicBezTo>
                      <a:pt x="155" y="124"/>
                      <a:pt x="155" y="124"/>
                      <a:pt x="155" y="124"/>
                    </a:cubicBezTo>
                    <a:lnTo>
                      <a:pt x="155" y="124"/>
                    </a:lnTo>
                    <a:cubicBezTo>
                      <a:pt x="186" y="93"/>
                      <a:pt x="186" y="93"/>
                      <a:pt x="186" y="93"/>
                    </a:cubicBezTo>
                    <a:cubicBezTo>
                      <a:pt x="186" y="93"/>
                      <a:pt x="186" y="62"/>
                      <a:pt x="216" y="62"/>
                    </a:cubicBezTo>
                    <a:cubicBezTo>
                      <a:pt x="216" y="62"/>
                      <a:pt x="216" y="62"/>
                      <a:pt x="248" y="62"/>
                    </a:cubicBezTo>
                    <a:cubicBezTo>
                      <a:pt x="248" y="93"/>
                      <a:pt x="248" y="93"/>
                      <a:pt x="248" y="93"/>
                    </a:cubicBezTo>
                    <a:lnTo>
                      <a:pt x="248" y="93"/>
                    </a:lnTo>
                    <a:cubicBezTo>
                      <a:pt x="279" y="93"/>
                      <a:pt x="279" y="93"/>
                      <a:pt x="310" y="124"/>
                    </a:cubicBezTo>
                    <a:cubicBezTo>
                      <a:pt x="341" y="93"/>
                      <a:pt x="341" y="93"/>
                      <a:pt x="341" y="93"/>
                    </a:cubicBezTo>
                    <a:cubicBezTo>
                      <a:pt x="341" y="155"/>
                      <a:pt x="341" y="155"/>
                      <a:pt x="341" y="155"/>
                    </a:cubicBezTo>
                    <a:cubicBezTo>
                      <a:pt x="341" y="155"/>
                      <a:pt x="341" y="155"/>
                      <a:pt x="372" y="155"/>
                    </a:cubicBezTo>
                    <a:lnTo>
                      <a:pt x="372" y="155"/>
                    </a:lnTo>
                    <a:cubicBezTo>
                      <a:pt x="372" y="155"/>
                      <a:pt x="372" y="155"/>
                      <a:pt x="372" y="186"/>
                    </a:cubicBezTo>
                    <a:cubicBezTo>
                      <a:pt x="403" y="186"/>
                      <a:pt x="403" y="186"/>
                      <a:pt x="403" y="186"/>
                    </a:cubicBezTo>
                    <a:cubicBezTo>
                      <a:pt x="433" y="155"/>
                      <a:pt x="433" y="155"/>
                      <a:pt x="433" y="155"/>
                    </a:cubicBezTo>
                    <a:cubicBezTo>
                      <a:pt x="433" y="186"/>
                      <a:pt x="433" y="186"/>
                      <a:pt x="433" y="186"/>
                    </a:cubicBezTo>
                    <a:lnTo>
                      <a:pt x="433" y="186"/>
                    </a:lnTo>
                    <a:lnTo>
                      <a:pt x="433" y="186"/>
                    </a:lnTo>
                    <a:lnTo>
                      <a:pt x="465" y="186"/>
                    </a:lnTo>
                    <a:cubicBezTo>
                      <a:pt x="496" y="186"/>
                      <a:pt x="496" y="186"/>
                      <a:pt x="496" y="217"/>
                    </a:cubicBezTo>
                    <a:lnTo>
                      <a:pt x="496" y="217"/>
                    </a:lnTo>
                    <a:cubicBezTo>
                      <a:pt x="496" y="217"/>
                      <a:pt x="496" y="217"/>
                      <a:pt x="527" y="217"/>
                    </a:cubicBezTo>
                    <a:lnTo>
                      <a:pt x="527" y="217"/>
                    </a:lnTo>
                    <a:cubicBezTo>
                      <a:pt x="557" y="217"/>
                      <a:pt x="557" y="217"/>
                      <a:pt x="557" y="248"/>
                    </a:cubicBezTo>
                    <a:lnTo>
                      <a:pt x="589" y="279"/>
                    </a:lnTo>
                    <a:lnTo>
                      <a:pt x="589" y="279"/>
                    </a:lnTo>
                    <a:cubicBezTo>
                      <a:pt x="589" y="341"/>
                      <a:pt x="589" y="341"/>
                      <a:pt x="589" y="341"/>
                    </a:cubicBezTo>
                    <a:lnTo>
                      <a:pt x="589" y="341"/>
                    </a:lnTo>
                    <a:cubicBezTo>
                      <a:pt x="557" y="341"/>
                      <a:pt x="527" y="372"/>
                      <a:pt x="496" y="372"/>
                    </a:cubicBezTo>
                    <a:lnTo>
                      <a:pt x="496" y="372"/>
                    </a:lnTo>
                    <a:cubicBezTo>
                      <a:pt x="496" y="403"/>
                      <a:pt x="527" y="403"/>
                      <a:pt x="527" y="403"/>
                    </a:cubicBezTo>
                    <a:cubicBezTo>
                      <a:pt x="527" y="465"/>
                      <a:pt x="527" y="465"/>
                      <a:pt x="527" y="465"/>
                    </a:cubicBezTo>
                    <a:lnTo>
                      <a:pt x="527" y="465"/>
                    </a:lnTo>
                    <a:lnTo>
                      <a:pt x="527" y="465"/>
                    </a:lnTo>
                    <a:cubicBezTo>
                      <a:pt x="557" y="465"/>
                      <a:pt x="557" y="465"/>
                      <a:pt x="557" y="496"/>
                    </a:cubicBezTo>
                    <a:cubicBezTo>
                      <a:pt x="589" y="496"/>
                      <a:pt x="589" y="496"/>
                      <a:pt x="589" y="527"/>
                    </a:cubicBezTo>
                    <a:cubicBezTo>
                      <a:pt x="713" y="527"/>
                      <a:pt x="713" y="527"/>
                      <a:pt x="713" y="527"/>
                    </a:cubicBezTo>
                    <a:cubicBezTo>
                      <a:pt x="651" y="557"/>
                      <a:pt x="651" y="557"/>
                      <a:pt x="651" y="557"/>
                    </a:cubicBezTo>
                    <a:lnTo>
                      <a:pt x="651" y="557"/>
                    </a:lnTo>
                    <a:cubicBezTo>
                      <a:pt x="651" y="557"/>
                      <a:pt x="681" y="557"/>
                      <a:pt x="681" y="589"/>
                    </a:cubicBezTo>
                    <a:cubicBezTo>
                      <a:pt x="681" y="557"/>
                      <a:pt x="713" y="557"/>
                      <a:pt x="713" y="557"/>
                    </a:cubicBezTo>
                    <a:lnTo>
                      <a:pt x="713" y="557"/>
                    </a:lnTo>
                    <a:cubicBezTo>
                      <a:pt x="744" y="557"/>
                      <a:pt x="775" y="589"/>
                      <a:pt x="775" y="589"/>
                    </a:cubicBezTo>
                    <a:lnTo>
                      <a:pt x="805" y="589"/>
                    </a:lnTo>
                    <a:cubicBezTo>
                      <a:pt x="805" y="620"/>
                      <a:pt x="805" y="620"/>
                      <a:pt x="805" y="620"/>
                    </a:cubicBezTo>
                    <a:cubicBezTo>
                      <a:pt x="805" y="620"/>
                      <a:pt x="805" y="620"/>
                      <a:pt x="837" y="620"/>
                    </a:cubicBezTo>
                    <a:lnTo>
                      <a:pt x="837" y="620"/>
                    </a:lnTo>
                    <a:cubicBezTo>
                      <a:pt x="868" y="620"/>
                      <a:pt x="868" y="620"/>
                      <a:pt x="899" y="620"/>
                    </a:cubicBezTo>
                    <a:lnTo>
                      <a:pt x="899" y="620"/>
                    </a:lnTo>
                    <a:lnTo>
                      <a:pt x="899" y="620"/>
                    </a:lnTo>
                    <a:cubicBezTo>
                      <a:pt x="899" y="620"/>
                      <a:pt x="899" y="620"/>
                      <a:pt x="929" y="620"/>
                    </a:cubicBezTo>
                    <a:cubicBezTo>
                      <a:pt x="929" y="620"/>
                      <a:pt x="929" y="620"/>
                      <a:pt x="929" y="589"/>
                    </a:cubicBezTo>
                    <a:cubicBezTo>
                      <a:pt x="929" y="589"/>
                      <a:pt x="929" y="557"/>
                      <a:pt x="961" y="557"/>
                    </a:cubicBezTo>
                    <a:cubicBezTo>
                      <a:pt x="961" y="557"/>
                      <a:pt x="961" y="557"/>
                      <a:pt x="992" y="557"/>
                    </a:cubicBezTo>
                    <a:lnTo>
                      <a:pt x="992" y="557"/>
                    </a:lnTo>
                    <a:lnTo>
                      <a:pt x="992" y="527"/>
                    </a:lnTo>
                    <a:lnTo>
                      <a:pt x="992" y="527"/>
                    </a:lnTo>
                    <a:cubicBezTo>
                      <a:pt x="961" y="527"/>
                      <a:pt x="961" y="527"/>
                      <a:pt x="961" y="527"/>
                    </a:cubicBezTo>
                    <a:lnTo>
                      <a:pt x="929" y="496"/>
                    </a:lnTo>
                    <a:lnTo>
                      <a:pt x="929" y="496"/>
                    </a:lnTo>
                    <a:lnTo>
                      <a:pt x="929" y="496"/>
                    </a:lnTo>
                    <a:lnTo>
                      <a:pt x="899" y="496"/>
                    </a:lnTo>
                    <a:lnTo>
                      <a:pt x="899" y="496"/>
                    </a:lnTo>
                    <a:cubicBezTo>
                      <a:pt x="899" y="496"/>
                      <a:pt x="899" y="496"/>
                      <a:pt x="868" y="496"/>
                    </a:cubicBezTo>
                    <a:lnTo>
                      <a:pt x="868" y="496"/>
                    </a:lnTo>
                    <a:cubicBezTo>
                      <a:pt x="868" y="465"/>
                      <a:pt x="837" y="465"/>
                      <a:pt x="837" y="465"/>
                    </a:cubicBezTo>
                    <a:cubicBezTo>
                      <a:pt x="837" y="434"/>
                      <a:pt x="805" y="434"/>
                      <a:pt x="805" y="403"/>
                    </a:cubicBezTo>
                    <a:lnTo>
                      <a:pt x="775" y="403"/>
                    </a:lnTo>
                    <a:cubicBezTo>
                      <a:pt x="744" y="403"/>
                      <a:pt x="744" y="403"/>
                      <a:pt x="744" y="403"/>
                    </a:cubicBezTo>
                    <a:cubicBezTo>
                      <a:pt x="775" y="341"/>
                      <a:pt x="775" y="341"/>
                      <a:pt x="775" y="341"/>
                    </a:cubicBezTo>
                    <a:cubicBezTo>
                      <a:pt x="775" y="341"/>
                      <a:pt x="805" y="310"/>
                      <a:pt x="837" y="310"/>
                    </a:cubicBezTo>
                    <a:lnTo>
                      <a:pt x="837" y="310"/>
                    </a:lnTo>
                    <a:cubicBezTo>
                      <a:pt x="868" y="310"/>
                      <a:pt x="868" y="310"/>
                      <a:pt x="868" y="310"/>
                    </a:cubicBezTo>
                    <a:cubicBezTo>
                      <a:pt x="868" y="310"/>
                      <a:pt x="899" y="310"/>
                      <a:pt x="899" y="341"/>
                    </a:cubicBezTo>
                    <a:lnTo>
                      <a:pt x="929" y="341"/>
                    </a:lnTo>
                    <a:lnTo>
                      <a:pt x="929" y="341"/>
                    </a:lnTo>
                    <a:lnTo>
                      <a:pt x="929" y="341"/>
                    </a:lnTo>
                    <a:cubicBezTo>
                      <a:pt x="961" y="310"/>
                      <a:pt x="961" y="310"/>
                      <a:pt x="961" y="310"/>
                    </a:cubicBezTo>
                    <a:cubicBezTo>
                      <a:pt x="961" y="341"/>
                      <a:pt x="961" y="341"/>
                      <a:pt x="961" y="341"/>
                    </a:cubicBezTo>
                    <a:cubicBezTo>
                      <a:pt x="992" y="341"/>
                      <a:pt x="1023" y="341"/>
                      <a:pt x="1023" y="341"/>
                    </a:cubicBezTo>
                    <a:lnTo>
                      <a:pt x="1023" y="341"/>
                    </a:lnTo>
                    <a:cubicBezTo>
                      <a:pt x="1023" y="341"/>
                      <a:pt x="1053" y="372"/>
                      <a:pt x="1053" y="403"/>
                    </a:cubicBezTo>
                    <a:lnTo>
                      <a:pt x="1053" y="403"/>
                    </a:lnTo>
                    <a:lnTo>
                      <a:pt x="1053" y="403"/>
                    </a:lnTo>
                    <a:lnTo>
                      <a:pt x="1053" y="372"/>
                    </a:lnTo>
                    <a:lnTo>
                      <a:pt x="1053" y="372"/>
                    </a:lnTo>
                    <a:cubicBezTo>
                      <a:pt x="1116" y="372"/>
                      <a:pt x="1116" y="372"/>
                      <a:pt x="1116" y="372"/>
                    </a:cubicBezTo>
                    <a:lnTo>
                      <a:pt x="1116" y="372"/>
                    </a:lnTo>
                    <a:lnTo>
                      <a:pt x="1116" y="372"/>
                    </a:lnTo>
                    <a:lnTo>
                      <a:pt x="1116" y="372"/>
                    </a:lnTo>
                    <a:cubicBezTo>
                      <a:pt x="1116" y="341"/>
                      <a:pt x="1116" y="341"/>
                      <a:pt x="1085" y="341"/>
                    </a:cubicBezTo>
                    <a:lnTo>
                      <a:pt x="1085" y="341"/>
                    </a:lnTo>
                    <a:lnTo>
                      <a:pt x="1085" y="341"/>
                    </a:lnTo>
                    <a:lnTo>
                      <a:pt x="1085" y="341"/>
                    </a:lnTo>
                    <a:cubicBezTo>
                      <a:pt x="1053" y="341"/>
                      <a:pt x="1053" y="341"/>
                      <a:pt x="1053" y="341"/>
                    </a:cubicBezTo>
                    <a:lnTo>
                      <a:pt x="1053" y="341"/>
                    </a:lnTo>
                    <a:cubicBezTo>
                      <a:pt x="1053" y="310"/>
                      <a:pt x="1023" y="310"/>
                      <a:pt x="1023" y="310"/>
                    </a:cubicBezTo>
                    <a:lnTo>
                      <a:pt x="1023" y="310"/>
                    </a:lnTo>
                    <a:lnTo>
                      <a:pt x="1023" y="310"/>
                    </a:lnTo>
                    <a:lnTo>
                      <a:pt x="992" y="279"/>
                    </a:lnTo>
                    <a:cubicBezTo>
                      <a:pt x="992" y="279"/>
                      <a:pt x="992" y="279"/>
                      <a:pt x="961" y="279"/>
                    </a:cubicBezTo>
                    <a:lnTo>
                      <a:pt x="961" y="279"/>
                    </a:lnTo>
                    <a:lnTo>
                      <a:pt x="961" y="279"/>
                    </a:lnTo>
                    <a:lnTo>
                      <a:pt x="961" y="279"/>
                    </a:lnTo>
                    <a:cubicBezTo>
                      <a:pt x="929" y="279"/>
                      <a:pt x="929" y="279"/>
                      <a:pt x="929" y="279"/>
                    </a:cubicBezTo>
                    <a:cubicBezTo>
                      <a:pt x="929" y="279"/>
                      <a:pt x="929" y="279"/>
                      <a:pt x="899" y="279"/>
                    </a:cubicBezTo>
                    <a:lnTo>
                      <a:pt x="899" y="279"/>
                    </a:lnTo>
                    <a:lnTo>
                      <a:pt x="899" y="279"/>
                    </a:lnTo>
                    <a:lnTo>
                      <a:pt x="899" y="279"/>
                    </a:lnTo>
                    <a:cubicBezTo>
                      <a:pt x="868" y="279"/>
                      <a:pt x="868" y="279"/>
                      <a:pt x="868" y="279"/>
                    </a:cubicBezTo>
                    <a:lnTo>
                      <a:pt x="868" y="279"/>
                    </a:lnTo>
                    <a:cubicBezTo>
                      <a:pt x="868" y="279"/>
                      <a:pt x="837" y="279"/>
                      <a:pt x="837" y="248"/>
                    </a:cubicBezTo>
                    <a:lnTo>
                      <a:pt x="805" y="248"/>
                    </a:lnTo>
                    <a:cubicBezTo>
                      <a:pt x="775" y="248"/>
                      <a:pt x="775" y="248"/>
                      <a:pt x="775" y="217"/>
                    </a:cubicBezTo>
                    <a:cubicBezTo>
                      <a:pt x="744" y="217"/>
                      <a:pt x="713" y="217"/>
                      <a:pt x="713" y="186"/>
                    </a:cubicBezTo>
                    <a:cubicBezTo>
                      <a:pt x="713" y="186"/>
                      <a:pt x="713" y="186"/>
                      <a:pt x="744" y="155"/>
                    </a:cubicBezTo>
                    <a:cubicBezTo>
                      <a:pt x="713" y="155"/>
                      <a:pt x="713" y="155"/>
                      <a:pt x="713" y="155"/>
                    </a:cubicBezTo>
                    <a:cubicBezTo>
                      <a:pt x="713" y="155"/>
                      <a:pt x="713" y="124"/>
                      <a:pt x="744" y="124"/>
                    </a:cubicBezTo>
                    <a:lnTo>
                      <a:pt x="713" y="124"/>
                    </a:lnTo>
                    <a:cubicBezTo>
                      <a:pt x="713" y="93"/>
                      <a:pt x="713" y="93"/>
                      <a:pt x="713" y="93"/>
                    </a:cubicBezTo>
                    <a:lnTo>
                      <a:pt x="713" y="93"/>
                    </a:lnTo>
                    <a:cubicBezTo>
                      <a:pt x="681" y="93"/>
                      <a:pt x="681" y="93"/>
                      <a:pt x="681" y="93"/>
                    </a:cubicBezTo>
                    <a:lnTo>
                      <a:pt x="651" y="124"/>
                    </a:lnTo>
                    <a:lnTo>
                      <a:pt x="651" y="124"/>
                    </a:lnTo>
                    <a:lnTo>
                      <a:pt x="651" y="124"/>
                    </a:lnTo>
                    <a:lnTo>
                      <a:pt x="620" y="155"/>
                    </a:lnTo>
                    <a:cubicBezTo>
                      <a:pt x="589" y="155"/>
                      <a:pt x="589" y="155"/>
                      <a:pt x="589" y="124"/>
                    </a:cubicBezTo>
                    <a:cubicBezTo>
                      <a:pt x="557" y="124"/>
                      <a:pt x="557" y="124"/>
                      <a:pt x="557" y="124"/>
                    </a:cubicBezTo>
                    <a:cubicBezTo>
                      <a:pt x="527" y="93"/>
                      <a:pt x="527" y="93"/>
                      <a:pt x="527" y="93"/>
                    </a:cubicBezTo>
                    <a:lnTo>
                      <a:pt x="527" y="93"/>
                    </a:lnTo>
                    <a:cubicBezTo>
                      <a:pt x="527" y="62"/>
                      <a:pt x="557" y="62"/>
                      <a:pt x="557" y="62"/>
                    </a:cubicBezTo>
                    <a:cubicBezTo>
                      <a:pt x="527" y="62"/>
                      <a:pt x="527" y="62"/>
                      <a:pt x="527" y="93"/>
                    </a:cubicBezTo>
                    <a:cubicBezTo>
                      <a:pt x="496" y="93"/>
                      <a:pt x="496" y="93"/>
                      <a:pt x="496" y="93"/>
                    </a:cubicBezTo>
                    <a:cubicBezTo>
                      <a:pt x="465" y="62"/>
                      <a:pt x="465" y="62"/>
                      <a:pt x="465" y="62"/>
                    </a:cubicBezTo>
                    <a:cubicBezTo>
                      <a:pt x="433" y="62"/>
                      <a:pt x="433" y="62"/>
                      <a:pt x="433" y="62"/>
                    </a:cubicBezTo>
                    <a:lnTo>
                      <a:pt x="433" y="62"/>
                    </a:lnTo>
                    <a:lnTo>
                      <a:pt x="433" y="62"/>
                    </a:lnTo>
                    <a:cubicBezTo>
                      <a:pt x="403" y="62"/>
                      <a:pt x="403" y="62"/>
                      <a:pt x="403" y="62"/>
                    </a:cubicBezTo>
                    <a:lnTo>
                      <a:pt x="403" y="31"/>
                    </a:lnTo>
                    <a:lnTo>
                      <a:pt x="403" y="0"/>
                    </a:lnTo>
                    <a:lnTo>
                      <a:pt x="403" y="0"/>
                    </a:lnTo>
                    <a:lnTo>
                      <a:pt x="403" y="0"/>
                    </a:lnTo>
                    <a:cubicBezTo>
                      <a:pt x="372" y="0"/>
                      <a:pt x="372" y="0"/>
                      <a:pt x="372" y="0"/>
                    </a:cubicBezTo>
                    <a:cubicBezTo>
                      <a:pt x="341" y="0"/>
                      <a:pt x="341" y="0"/>
                      <a:pt x="310" y="0"/>
                    </a:cubicBezTo>
                    <a:lnTo>
                      <a:pt x="310" y="0"/>
                    </a:lnTo>
                    <a:cubicBezTo>
                      <a:pt x="310" y="31"/>
                      <a:pt x="279" y="31"/>
                      <a:pt x="279"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199" name="Freeform 196"/>
              <p:cNvSpPr>
                <a:spLocks noChangeArrowheads="1"/>
              </p:cNvSpPr>
              <p:nvPr/>
            </p:nvSpPr>
            <p:spPr bwMode="auto">
              <a:xfrm>
                <a:off x="1882775" y="954088"/>
                <a:ext cx="55563" cy="66675"/>
              </a:xfrm>
              <a:custGeom>
                <a:avLst/>
                <a:gdLst>
                  <a:gd name="T0" fmla="*/ 124 w 156"/>
                  <a:gd name="T1" fmla="*/ 124 h 187"/>
                  <a:gd name="T2" fmla="*/ 124 w 156"/>
                  <a:gd name="T3" fmla="*/ 124 h 187"/>
                  <a:gd name="T4" fmla="*/ 124 w 156"/>
                  <a:gd name="T5" fmla="*/ 124 h 187"/>
                  <a:gd name="T6" fmla="*/ 124 w 156"/>
                  <a:gd name="T7" fmla="*/ 124 h 187"/>
                  <a:gd name="T8" fmla="*/ 124 w 156"/>
                  <a:gd name="T9" fmla="*/ 93 h 187"/>
                  <a:gd name="T10" fmla="*/ 124 w 156"/>
                  <a:gd name="T11" fmla="*/ 93 h 187"/>
                  <a:gd name="T12" fmla="*/ 124 w 156"/>
                  <a:gd name="T13" fmla="*/ 31 h 187"/>
                  <a:gd name="T14" fmla="*/ 155 w 156"/>
                  <a:gd name="T15" fmla="*/ 31 h 187"/>
                  <a:gd name="T16" fmla="*/ 155 w 156"/>
                  <a:gd name="T17" fmla="*/ 0 h 187"/>
                  <a:gd name="T18" fmla="*/ 155 w 156"/>
                  <a:gd name="T19" fmla="*/ 0 h 187"/>
                  <a:gd name="T20" fmla="*/ 124 w 156"/>
                  <a:gd name="T21" fmla="*/ 0 h 187"/>
                  <a:gd name="T22" fmla="*/ 31 w 156"/>
                  <a:gd name="T23" fmla="*/ 31 h 187"/>
                  <a:gd name="T24" fmla="*/ 31 w 156"/>
                  <a:gd name="T25" fmla="*/ 62 h 187"/>
                  <a:gd name="T26" fmla="*/ 31 w 156"/>
                  <a:gd name="T27" fmla="*/ 93 h 187"/>
                  <a:gd name="T28" fmla="*/ 0 w 156"/>
                  <a:gd name="T29" fmla="*/ 124 h 187"/>
                  <a:gd name="T30" fmla="*/ 0 w 156"/>
                  <a:gd name="T31" fmla="*/ 124 h 187"/>
                  <a:gd name="T32" fmla="*/ 0 w 156"/>
                  <a:gd name="T33" fmla="*/ 124 h 187"/>
                  <a:gd name="T34" fmla="*/ 31 w 156"/>
                  <a:gd name="T35" fmla="*/ 186 h 187"/>
                  <a:gd name="T36" fmla="*/ 62 w 156"/>
                  <a:gd name="T37" fmla="*/ 186 h 187"/>
                  <a:gd name="T38" fmla="*/ 93 w 156"/>
                  <a:gd name="T39" fmla="*/ 186 h 187"/>
                  <a:gd name="T40" fmla="*/ 124 w 156"/>
                  <a:gd name="T41" fmla="*/ 186 h 187"/>
                  <a:gd name="T42" fmla="*/ 124 w 156"/>
                  <a:gd name="T43" fmla="*/ 186 h 187"/>
                  <a:gd name="T44" fmla="*/ 155 w 156"/>
                  <a:gd name="T45" fmla="*/ 186 h 187"/>
                  <a:gd name="T46" fmla="*/ 124 w 156"/>
                  <a:gd name="T47" fmla="*/ 186 h 187"/>
                  <a:gd name="T48" fmla="*/ 124 w 156"/>
                  <a:gd name="T49"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187">
                    <a:moveTo>
                      <a:pt x="124" y="124"/>
                    </a:moveTo>
                    <a:lnTo>
                      <a:pt x="124" y="124"/>
                    </a:lnTo>
                    <a:lnTo>
                      <a:pt x="124" y="124"/>
                    </a:lnTo>
                    <a:lnTo>
                      <a:pt x="124" y="124"/>
                    </a:lnTo>
                    <a:cubicBezTo>
                      <a:pt x="124" y="124"/>
                      <a:pt x="155" y="93"/>
                      <a:pt x="124" y="93"/>
                    </a:cubicBezTo>
                    <a:lnTo>
                      <a:pt x="124" y="93"/>
                    </a:lnTo>
                    <a:cubicBezTo>
                      <a:pt x="124" y="62"/>
                      <a:pt x="124" y="62"/>
                      <a:pt x="124" y="31"/>
                    </a:cubicBezTo>
                    <a:cubicBezTo>
                      <a:pt x="124" y="31"/>
                      <a:pt x="124" y="31"/>
                      <a:pt x="155" y="31"/>
                    </a:cubicBezTo>
                    <a:cubicBezTo>
                      <a:pt x="155" y="0"/>
                      <a:pt x="155" y="0"/>
                      <a:pt x="155" y="0"/>
                    </a:cubicBezTo>
                    <a:lnTo>
                      <a:pt x="155" y="0"/>
                    </a:lnTo>
                    <a:lnTo>
                      <a:pt x="124" y="0"/>
                    </a:lnTo>
                    <a:cubicBezTo>
                      <a:pt x="93" y="31"/>
                      <a:pt x="62" y="31"/>
                      <a:pt x="31" y="31"/>
                    </a:cubicBezTo>
                    <a:cubicBezTo>
                      <a:pt x="31" y="62"/>
                      <a:pt x="31" y="62"/>
                      <a:pt x="31" y="62"/>
                    </a:cubicBezTo>
                    <a:lnTo>
                      <a:pt x="31" y="93"/>
                    </a:lnTo>
                    <a:cubicBezTo>
                      <a:pt x="0" y="93"/>
                      <a:pt x="0" y="124"/>
                      <a:pt x="0" y="124"/>
                    </a:cubicBezTo>
                    <a:lnTo>
                      <a:pt x="0" y="124"/>
                    </a:lnTo>
                    <a:lnTo>
                      <a:pt x="0" y="124"/>
                    </a:lnTo>
                    <a:cubicBezTo>
                      <a:pt x="31" y="155"/>
                      <a:pt x="31" y="155"/>
                      <a:pt x="31" y="186"/>
                    </a:cubicBezTo>
                    <a:lnTo>
                      <a:pt x="62" y="186"/>
                    </a:lnTo>
                    <a:lnTo>
                      <a:pt x="93" y="186"/>
                    </a:lnTo>
                    <a:lnTo>
                      <a:pt x="124" y="186"/>
                    </a:lnTo>
                    <a:lnTo>
                      <a:pt x="124" y="186"/>
                    </a:lnTo>
                    <a:cubicBezTo>
                      <a:pt x="124" y="186"/>
                      <a:pt x="124" y="186"/>
                      <a:pt x="155" y="186"/>
                    </a:cubicBezTo>
                    <a:cubicBezTo>
                      <a:pt x="155" y="186"/>
                      <a:pt x="155" y="186"/>
                      <a:pt x="124" y="186"/>
                    </a:cubicBezTo>
                    <a:cubicBezTo>
                      <a:pt x="124" y="186"/>
                      <a:pt x="124" y="155"/>
                      <a:pt x="124" y="12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00" name="Freeform 197"/>
              <p:cNvSpPr>
                <a:spLocks noChangeArrowheads="1"/>
              </p:cNvSpPr>
              <p:nvPr/>
            </p:nvSpPr>
            <p:spPr bwMode="auto">
              <a:xfrm>
                <a:off x="2173288" y="1144588"/>
                <a:ext cx="23812" cy="11112"/>
              </a:xfrm>
              <a:custGeom>
                <a:avLst/>
                <a:gdLst>
                  <a:gd name="T0" fmla="*/ 0 w 64"/>
                  <a:gd name="T1" fmla="*/ 31 h 32"/>
                  <a:gd name="T2" fmla="*/ 0 w 64"/>
                  <a:gd name="T3" fmla="*/ 31 h 32"/>
                  <a:gd name="T4" fmla="*/ 0 w 64"/>
                  <a:gd name="T5" fmla="*/ 31 h 32"/>
                  <a:gd name="T6" fmla="*/ 32 w 64"/>
                  <a:gd name="T7" fmla="*/ 31 h 32"/>
                  <a:gd name="T8" fmla="*/ 63 w 64"/>
                  <a:gd name="T9" fmla="*/ 31 h 32"/>
                  <a:gd name="T10" fmla="*/ 63 w 64"/>
                  <a:gd name="T11" fmla="*/ 31 h 32"/>
                  <a:gd name="T12" fmla="*/ 63 w 64"/>
                  <a:gd name="T13" fmla="*/ 0 h 32"/>
                  <a:gd name="T14" fmla="*/ 0 w 64"/>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32">
                    <a:moveTo>
                      <a:pt x="0" y="31"/>
                    </a:moveTo>
                    <a:lnTo>
                      <a:pt x="0" y="31"/>
                    </a:lnTo>
                    <a:lnTo>
                      <a:pt x="0" y="31"/>
                    </a:lnTo>
                    <a:cubicBezTo>
                      <a:pt x="32" y="31"/>
                      <a:pt x="32" y="31"/>
                      <a:pt x="32" y="31"/>
                    </a:cubicBezTo>
                    <a:lnTo>
                      <a:pt x="63" y="31"/>
                    </a:lnTo>
                    <a:lnTo>
                      <a:pt x="63" y="31"/>
                    </a:lnTo>
                    <a:cubicBezTo>
                      <a:pt x="63" y="0"/>
                      <a:pt x="63" y="0"/>
                      <a:pt x="63" y="0"/>
                    </a:cubicBezTo>
                    <a:cubicBezTo>
                      <a:pt x="32" y="0"/>
                      <a:pt x="32" y="31"/>
                      <a:pt x="0"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01" name="Freeform 198"/>
              <p:cNvSpPr>
                <a:spLocks noChangeArrowheads="1"/>
              </p:cNvSpPr>
              <p:nvPr/>
            </p:nvSpPr>
            <p:spPr bwMode="auto">
              <a:xfrm>
                <a:off x="1962150" y="954088"/>
                <a:ext cx="88900" cy="66675"/>
              </a:xfrm>
              <a:custGeom>
                <a:avLst/>
                <a:gdLst>
                  <a:gd name="T0" fmla="*/ 248 w 249"/>
                  <a:gd name="T1" fmla="*/ 62 h 187"/>
                  <a:gd name="T2" fmla="*/ 248 w 249"/>
                  <a:gd name="T3" fmla="*/ 62 h 187"/>
                  <a:gd name="T4" fmla="*/ 186 w 249"/>
                  <a:gd name="T5" fmla="*/ 0 h 187"/>
                  <a:gd name="T6" fmla="*/ 186 w 249"/>
                  <a:gd name="T7" fmla="*/ 0 h 187"/>
                  <a:gd name="T8" fmla="*/ 124 w 249"/>
                  <a:gd name="T9" fmla="*/ 31 h 187"/>
                  <a:gd name="T10" fmla="*/ 93 w 249"/>
                  <a:gd name="T11" fmla="*/ 31 h 187"/>
                  <a:gd name="T12" fmla="*/ 62 w 249"/>
                  <a:gd name="T13" fmla="*/ 31 h 187"/>
                  <a:gd name="T14" fmla="*/ 62 w 249"/>
                  <a:gd name="T15" fmla="*/ 31 h 187"/>
                  <a:gd name="T16" fmla="*/ 62 w 249"/>
                  <a:gd name="T17" fmla="*/ 31 h 187"/>
                  <a:gd name="T18" fmla="*/ 0 w 249"/>
                  <a:gd name="T19" fmla="*/ 62 h 187"/>
                  <a:gd name="T20" fmla="*/ 0 w 249"/>
                  <a:gd name="T21" fmla="*/ 93 h 187"/>
                  <a:gd name="T22" fmla="*/ 0 w 249"/>
                  <a:gd name="T23" fmla="*/ 93 h 187"/>
                  <a:gd name="T24" fmla="*/ 31 w 249"/>
                  <a:gd name="T25" fmla="*/ 93 h 187"/>
                  <a:gd name="T26" fmla="*/ 62 w 249"/>
                  <a:gd name="T27" fmla="*/ 93 h 187"/>
                  <a:gd name="T28" fmla="*/ 62 w 249"/>
                  <a:gd name="T29" fmla="*/ 155 h 187"/>
                  <a:gd name="T30" fmla="*/ 62 w 249"/>
                  <a:gd name="T31" fmla="*/ 155 h 187"/>
                  <a:gd name="T32" fmla="*/ 62 w 249"/>
                  <a:gd name="T33" fmla="*/ 186 h 187"/>
                  <a:gd name="T34" fmla="*/ 31 w 249"/>
                  <a:gd name="T35" fmla="*/ 186 h 187"/>
                  <a:gd name="T36" fmla="*/ 0 w 249"/>
                  <a:gd name="T37" fmla="*/ 186 h 187"/>
                  <a:gd name="T38" fmla="*/ 0 w 249"/>
                  <a:gd name="T39" fmla="*/ 186 h 187"/>
                  <a:gd name="T40" fmla="*/ 0 w 249"/>
                  <a:gd name="T41" fmla="*/ 186 h 187"/>
                  <a:gd name="T42" fmla="*/ 0 w 249"/>
                  <a:gd name="T43" fmla="*/ 186 h 187"/>
                  <a:gd name="T44" fmla="*/ 0 w 249"/>
                  <a:gd name="T45" fmla="*/ 186 h 187"/>
                  <a:gd name="T46" fmla="*/ 31 w 249"/>
                  <a:gd name="T47" fmla="*/ 186 h 187"/>
                  <a:gd name="T48" fmla="*/ 62 w 249"/>
                  <a:gd name="T49" fmla="*/ 186 h 187"/>
                  <a:gd name="T50" fmla="*/ 93 w 249"/>
                  <a:gd name="T51" fmla="*/ 186 h 187"/>
                  <a:gd name="T52" fmla="*/ 124 w 249"/>
                  <a:gd name="T53" fmla="*/ 186 h 187"/>
                  <a:gd name="T54" fmla="*/ 124 w 249"/>
                  <a:gd name="T55" fmla="*/ 186 h 187"/>
                  <a:gd name="T56" fmla="*/ 124 w 249"/>
                  <a:gd name="T57" fmla="*/ 186 h 187"/>
                  <a:gd name="T58" fmla="*/ 93 w 249"/>
                  <a:gd name="T59" fmla="*/ 186 h 187"/>
                  <a:gd name="T60" fmla="*/ 248 w 249"/>
                  <a:gd name="T61" fmla="*/ 6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9" h="187">
                    <a:moveTo>
                      <a:pt x="248" y="62"/>
                    </a:moveTo>
                    <a:lnTo>
                      <a:pt x="248" y="62"/>
                    </a:lnTo>
                    <a:cubicBezTo>
                      <a:pt x="248" y="31"/>
                      <a:pt x="217" y="0"/>
                      <a:pt x="186" y="0"/>
                    </a:cubicBezTo>
                    <a:lnTo>
                      <a:pt x="186" y="0"/>
                    </a:lnTo>
                    <a:cubicBezTo>
                      <a:pt x="155" y="0"/>
                      <a:pt x="124" y="31"/>
                      <a:pt x="124" y="31"/>
                    </a:cubicBezTo>
                    <a:cubicBezTo>
                      <a:pt x="93" y="31"/>
                      <a:pt x="93" y="31"/>
                      <a:pt x="93" y="31"/>
                    </a:cubicBezTo>
                    <a:lnTo>
                      <a:pt x="62" y="31"/>
                    </a:lnTo>
                    <a:lnTo>
                      <a:pt x="62" y="31"/>
                    </a:lnTo>
                    <a:lnTo>
                      <a:pt x="62" y="31"/>
                    </a:lnTo>
                    <a:cubicBezTo>
                      <a:pt x="31" y="31"/>
                      <a:pt x="0" y="62"/>
                      <a:pt x="0" y="62"/>
                    </a:cubicBezTo>
                    <a:cubicBezTo>
                      <a:pt x="0" y="62"/>
                      <a:pt x="0" y="62"/>
                      <a:pt x="0" y="93"/>
                    </a:cubicBezTo>
                    <a:lnTo>
                      <a:pt x="0" y="93"/>
                    </a:lnTo>
                    <a:lnTo>
                      <a:pt x="31" y="93"/>
                    </a:lnTo>
                    <a:cubicBezTo>
                      <a:pt x="62" y="93"/>
                      <a:pt x="62" y="93"/>
                      <a:pt x="62" y="93"/>
                    </a:cubicBezTo>
                    <a:cubicBezTo>
                      <a:pt x="62" y="124"/>
                      <a:pt x="62" y="124"/>
                      <a:pt x="62" y="155"/>
                    </a:cubicBezTo>
                    <a:lnTo>
                      <a:pt x="62" y="155"/>
                    </a:lnTo>
                    <a:cubicBezTo>
                      <a:pt x="62" y="186"/>
                      <a:pt x="62" y="186"/>
                      <a:pt x="62" y="186"/>
                    </a:cubicBezTo>
                    <a:cubicBezTo>
                      <a:pt x="31" y="186"/>
                      <a:pt x="31" y="186"/>
                      <a:pt x="31" y="186"/>
                    </a:cubicBezTo>
                    <a:lnTo>
                      <a:pt x="0" y="186"/>
                    </a:lnTo>
                    <a:lnTo>
                      <a:pt x="0" y="186"/>
                    </a:lnTo>
                    <a:lnTo>
                      <a:pt x="0" y="186"/>
                    </a:lnTo>
                    <a:lnTo>
                      <a:pt x="0" y="186"/>
                    </a:lnTo>
                    <a:lnTo>
                      <a:pt x="0" y="186"/>
                    </a:lnTo>
                    <a:lnTo>
                      <a:pt x="31" y="186"/>
                    </a:lnTo>
                    <a:lnTo>
                      <a:pt x="62" y="186"/>
                    </a:lnTo>
                    <a:lnTo>
                      <a:pt x="93" y="186"/>
                    </a:lnTo>
                    <a:cubicBezTo>
                      <a:pt x="124" y="186"/>
                      <a:pt x="124" y="186"/>
                      <a:pt x="124" y="186"/>
                    </a:cubicBezTo>
                    <a:lnTo>
                      <a:pt x="124" y="186"/>
                    </a:lnTo>
                    <a:lnTo>
                      <a:pt x="124" y="186"/>
                    </a:lnTo>
                    <a:cubicBezTo>
                      <a:pt x="93" y="186"/>
                      <a:pt x="93" y="186"/>
                      <a:pt x="93" y="186"/>
                    </a:cubicBezTo>
                    <a:cubicBezTo>
                      <a:pt x="248" y="62"/>
                      <a:pt x="248" y="62"/>
                      <a:pt x="248" y="6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02" name="Freeform 199"/>
              <p:cNvSpPr>
                <a:spLocks noChangeArrowheads="1"/>
              </p:cNvSpPr>
              <p:nvPr/>
            </p:nvSpPr>
            <p:spPr bwMode="auto">
              <a:xfrm>
                <a:off x="1771650" y="954088"/>
                <a:ext cx="77788" cy="22225"/>
              </a:xfrm>
              <a:custGeom>
                <a:avLst/>
                <a:gdLst>
                  <a:gd name="T0" fmla="*/ 0 w 218"/>
                  <a:gd name="T1" fmla="*/ 62 h 63"/>
                  <a:gd name="T2" fmla="*/ 0 w 218"/>
                  <a:gd name="T3" fmla="*/ 62 h 63"/>
                  <a:gd name="T4" fmla="*/ 0 w 218"/>
                  <a:gd name="T5" fmla="*/ 62 h 63"/>
                  <a:gd name="T6" fmla="*/ 31 w 218"/>
                  <a:gd name="T7" fmla="*/ 62 h 63"/>
                  <a:gd name="T8" fmla="*/ 31 w 218"/>
                  <a:gd name="T9" fmla="*/ 31 h 63"/>
                  <a:gd name="T10" fmla="*/ 31 w 218"/>
                  <a:gd name="T11" fmla="*/ 0 h 63"/>
                  <a:gd name="T12" fmla="*/ 62 w 218"/>
                  <a:gd name="T13" fmla="*/ 0 h 63"/>
                  <a:gd name="T14" fmla="*/ 124 w 218"/>
                  <a:gd name="T15" fmla="*/ 31 h 63"/>
                  <a:gd name="T16" fmla="*/ 155 w 218"/>
                  <a:gd name="T17" fmla="*/ 31 h 63"/>
                  <a:gd name="T18" fmla="*/ 155 w 218"/>
                  <a:gd name="T19" fmla="*/ 31 h 63"/>
                  <a:gd name="T20" fmla="*/ 155 w 218"/>
                  <a:gd name="T21" fmla="*/ 31 h 63"/>
                  <a:gd name="T22" fmla="*/ 186 w 218"/>
                  <a:gd name="T23" fmla="*/ 0 h 63"/>
                  <a:gd name="T24" fmla="*/ 217 w 218"/>
                  <a:gd name="T25" fmla="*/ 0 h 63"/>
                  <a:gd name="T26" fmla="*/ 217 w 218"/>
                  <a:gd name="T27" fmla="*/ 0 h 63"/>
                  <a:gd name="T28" fmla="*/ 186 w 218"/>
                  <a:gd name="T29" fmla="*/ 0 h 63"/>
                  <a:gd name="T30" fmla="*/ 155 w 218"/>
                  <a:gd name="T31" fmla="*/ 0 h 63"/>
                  <a:gd name="T32" fmla="*/ 155 w 218"/>
                  <a:gd name="T33" fmla="*/ 0 h 63"/>
                  <a:gd name="T34" fmla="*/ 124 w 218"/>
                  <a:gd name="T35" fmla="*/ 0 h 63"/>
                  <a:gd name="T36" fmla="*/ 93 w 218"/>
                  <a:gd name="T37" fmla="*/ 0 h 63"/>
                  <a:gd name="T38" fmla="*/ 93 w 218"/>
                  <a:gd name="T39" fmla="*/ 0 h 63"/>
                  <a:gd name="T40" fmla="*/ 93 w 218"/>
                  <a:gd name="T41" fmla="*/ 0 h 63"/>
                  <a:gd name="T42" fmla="*/ 62 w 218"/>
                  <a:gd name="T43" fmla="*/ 0 h 63"/>
                  <a:gd name="T44" fmla="*/ 31 w 218"/>
                  <a:gd name="T45" fmla="*/ 0 h 63"/>
                  <a:gd name="T46" fmla="*/ 0 w 218"/>
                  <a:gd name="T47" fmla="*/ 0 h 63"/>
                  <a:gd name="T48" fmla="*/ 0 w 218"/>
                  <a:gd name="T49" fmla="*/ 0 h 63"/>
                  <a:gd name="T50" fmla="*/ 0 w 218"/>
                  <a:gd name="T51" fmla="*/ 0 h 63"/>
                  <a:gd name="T52" fmla="*/ 0 w 218"/>
                  <a:gd name="T53" fmla="*/ 31 h 63"/>
                  <a:gd name="T54" fmla="*/ 0 w 218"/>
                  <a:gd name="T55"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8" h="63">
                    <a:moveTo>
                      <a:pt x="0" y="62"/>
                    </a:moveTo>
                    <a:lnTo>
                      <a:pt x="0" y="62"/>
                    </a:lnTo>
                    <a:lnTo>
                      <a:pt x="0" y="62"/>
                    </a:lnTo>
                    <a:cubicBezTo>
                      <a:pt x="0" y="62"/>
                      <a:pt x="0" y="62"/>
                      <a:pt x="31" y="62"/>
                    </a:cubicBezTo>
                    <a:cubicBezTo>
                      <a:pt x="31" y="62"/>
                      <a:pt x="31" y="62"/>
                      <a:pt x="31" y="31"/>
                    </a:cubicBezTo>
                    <a:cubicBezTo>
                      <a:pt x="31" y="31"/>
                      <a:pt x="31" y="31"/>
                      <a:pt x="31" y="0"/>
                    </a:cubicBezTo>
                    <a:lnTo>
                      <a:pt x="62" y="0"/>
                    </a:lnTo>
                    <a:cubicBezTo>
                      <a:pt x="62" y="0"/>
                      <a:pt x="93" y="31"/>
                      <a:pt x="124" y="31"/>
                    </a:cubicBezTo>
                    <a:lnTo>
                      <a:pt x="155" y="31"/>
                    </a:lnTo>
                    <a:lnTo>
                      <a:pt x="155" y="31"/>
                    </a:lnTo>
                    <a:lnTo>
                      <a:pt x="155" y="31"/>
                    </a:lnTo>
                    <a:cubicBezTo>
                      <a:pt x="155" y="0"/>
                      <a:pt x="186" y="0"/>
                      <a:pt x="186" y="0"/>
                    </a:cubicBezTo>
                    <a:cubicBezTo>
                      <a:pt x="186" y="0"/>
                      <a:pt x="186" y="0"/>
                      <a:pt x="217" y="0"/>
                    </a:cubicBezTo>
                    <a:lnTo>
                      <a:pt x="217" y="0"/>
                    </a:lnTo>
                    <a:lnTo>
                      <a:pt x="186" y="0"/>
                    </a:lnTo>
                    <a:cubicBezTo>
                      <a:pt x="186" y="0"/>
                      <a:pt x="186" y="0"/>
                      <a:pt x="155" y="0"/>
                    </a:cubicBezTo>
                    <a:lnTo>
                      <a:pt x="155" y="0"/>
                    </a:lnTo>
                    <a:cubicBezTo>
                      <a:pt x="124" y="0"/>
                      <a:pt x="124" y="0"/>
                      <a:pt x="124" y="0"/>
                    </a:cubicBezTo>
                    <a:cubicBezTo>
                      <a:pt x="124" y="0"/>
                      <a:pt x="124" y="0"/>
                      <a:pt x="93" y="0"/>
                    </a:cubicBezTo>
                    <a:lnTo>
                      <a:pt x="93" y="0"/>
                    </a:lnTo>
                    <a:lnTo>
                      <a:pt x="93" y="0"/>
                    </a:lnTo>
                    <a:cubicBezTo>
                      <a:pt x="62" y="0"/>
                      <a:pt x="62" y="0"/>
                      <a:pt x="62" y="0"/>
                    </a:cubicBezTo>
                    <a:lnTo>
                      <a:pt x="31" y="0"/>
                    </a:lnTo>
                    <a:cubicBezTo>
                      <a:pt x="31" y="0"/>
                      <a:pt x="31" y="0"/>
                      <a:pt x="0" y="0"/>
                    </a:cubicBezTo>
                    <a:lnTo>
                      <a:pt x="0" y="0"/>
                    </a:lnTo>
                    <a:lnTo>
                      <a:pt x="0" y="0"/>
                    </a:lnTo>
                    <a:cubicBezTo>
                      <a:pt x="0" y="31"/>
                      <a:pt x="0" y="31"/>
                      <a:pt x="0" y="31"/>
                    </a:cubicBezTo>
                    <a:cubicBezTo>
                      <a:pt x="0" y="62"/>
                      <a:pt x="0" y="62"/>
                      <a:pt x="0" y="6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03" name="Freeform 200"/>
              <p:cNvSpPr>
                <a:spLocks noChangeArrowheads="1"/>
              </p:cNvSpPr>
              <p:nvPr/>
            </p:nvSpPr>
            <p:spPr bwMode="auto">
              <a:xfrm>
                <a:off x="1325563" y="965200"/>
                <a:ext cx="312737" cy="100013"/>
              </a:xfrm>
              <a:custGeom>
                <a:avLst/>
                <a:gdLst>
                  <a:gd name="T0" fmla="*/ 62 w 869"/>
                  <a:gd name="T1" fmla="*/ 124 h 280"/>
                  <a:gd name="T2" fmla="*/ 186 w 869"/>
                  <a:gd name="T3" fmla="*/ 124 h 280"/>
                  <a:gd name="T4" fmla="*/ 310 w 869"/>
                  <a:gd name="T5" fmla="*/ 124 h 280"/>
                  <a:gd name="T6" fmla="*/ 341 w 869"/>
                  <a:gd name="T7" fmla="*/ 155 h 280"/>
                  <a:gd name="T8" fmla="*/ 280 w 869"/>
                  <a:gd name="T9" fmla="*/ 217 h 280"/>
                  <a:gd name="T10" fmla="*/ 186 w 869"/>
                  <a:gd name="T11" fmla="*/ 186 h 280"/>
                  <a:gd name="T12" fmla="*/ 93 w 869"/>
                  <a:gd name="T13" fmla="*/ 217 h 280"/>
                  <a:gd name="T14" fmla="*/ 156 w 869"/>
                  <a:gd name="T15" fmla="*/ 217 h 280"/>
                  <a:gd name="T16" fmla="*/ 186 w 869"/>
                  <a:gd name="T17" fmla="*/ 217 h 280"/>
                  <a:gd name="T18" fmla="*/ 248 w 869"/>
                  <a:gd name="T19" fmla="*/ 279 h 280"/>
                  <a:gd name="T20" fmla="*/ 248 w 869"/>
                  <a:gd name="T21" fmla="*/ 279 h 280"/>
                  <a:gd name="T22" fmla="*/ 310 w 869"/>
                  <a:gd name="T23" fmla="*/ 279 h 280"/>
                  <a:gd name="T24" fmla="*/ 341 w 869"/>
                  <a:gd name="T25" fmla="*/ 279 h 280"/>
                  <a:gd name="T26" fmla="*/ 404 w 869"/>
                  <a:gd name="T27" fmla="*/ 248 h 280"/>
                  <a:gd name="T28" fmla="*/ 465 w 869"/>
                  <a:gd name="T29" fmla="*/ 248 h 280"/>
                  <a:gd name="T30" fmla="*/ 558 w 869"/>
                  <a:gd name="T31" fmla="*/ 217 h 280"/>
                  <a:gd name="T32" fmla="*/ 620 w 869"/>
                  <a:gd name="T33" fmla="*/ 186 h 280"/>
                  <a:gd name="T34" fmla="*/ 620 w 869"/>
                  <a:gd name="T35" fmla="*/ 217 h 280"/>
                  <a:gd name="T36" fmla="*/ 682 w 869"/>
                  <a:gd name="T37" fmla="*/ 248 h 280"/>
                  <a:gd name="T38" fmla="*/ 806 w 869"/>
                  <a:gd name="T39" fmla="*/ 248 h 280"/>
                  <a:gd name="T40" fmla="*/ 868 w 869"/>
                  <a:gd name="T41" fmla="*/ 186 h 280"/>
                  <a:gd name="T42" fmla="*/ 806 w 869"/>
                  <a:gd name="T43" fmla="*/ 155 h 280"/>
                  <a:gd name="T44" fmla="*/ 775 w 869"/>
                  <a:gd name="T45" fmla="*/ 186 h 280"/>
                  <a:gd name="T46" fmla="*/ 713 w 869"/>
                  <a:gd name="T47" fmla="*/ 155 h 280"/>
                  <a:gd name="T48" fmla="*/ 651 w 869"/>
                  <a:gd name="T49" fmla="*/ 31 h 280"/>
                  <a:gd name="T50" fmla="*/ 589 w 869"/>
                  <a:gd name="T51" fmla="*/ 0 h 280"/>
                  <a:gd name="T52" fmla="*/ 558 w 869"/>
                  <a:gd name="T53" fmla="*/ 31 h 280"/>
                  <a:gd name="T54" fmla="*/ 589 w 869"/>
                  <a:gd name="T55" fmla="*/ 62 h 280"/>
                  <a:gd name="T56" fmla="*/ 528 w 869"/>
                  <a:gd name="T57" fmla="*/ 124 h 280"/>
                  <a:gd name="T58" fmla="*/ 496 w 869"/>
                  <a:gd name="T59" fmla="*/ 93 h 280"/>
                  <a:gd name="T60" fmla="*/ 496 w 869"/>
                  <a:gd name="T61" fmla="*/ 62 h 280"/>
                  <a:gd name="T62" fmla="*/ 465 w 869"/>
                  <a:gd name="T63" fmla="*/ 62 h 280"/>
                  <a:gd name="T64" fmla="*/ 372 w 869"/>
                  <a:gd name="T65" fmla="*/ 62 h 280"/>
                  <a:gd name="T66" fmla="*/ 341 w 869"/>
                  <a:gd name="T67" fmla="*/ 62 h 280"/>
                  <a:gd name="T68" fmla="*/ 310 w 869"/>
                  <a:gd name="T69" fmla="*/ 93 h 280"/>
                  <a:gd name="T70" fmla="*/ 310 w 869"/>
                  <a:gd name="T71" fmla="*/ 62 h 280"/>
                  <a:gd name="T72" fmla="*/ 280 w 869"/>
                  <a:gd name="T73" fmla="*/ 31 h 280"/>
                  <a:gd name="T74" fmla="*/ 248 w 869"/>
                  <a:gd name="T75" fmla="*/ 31 h 280"/>
                  <a:gd name="T76" fmla="*/ 186 w 869"/>
                  <a:gd name="T77" fmla="*/ 62 h 280"/>
                  <a:gd name="T78" fmla="*/ 156 w 869"/>
                  <a:gd name="T79" fmla="*/ 31 h 280"/>
                  <a:gd name="T80" fmla="*/ 156 w 869"/>
                  <a:gd name="T81" fmla="*/ 0 h 280"/>
                  <a:gd name="T82" fmla="*/ 93 w 869"/>
                  <a:gd name="T83" fmla="*/ 0 h 280"/>
                  <a:gd name="T84" fmla="*/ 93 w 869"/>
                  <a:gd name="T85" fmla="*/ 0 h 280"/>
                  <a:gd name="T86" fmla="*/ 32 w 869"/>
                  <a:gd name="T87" fmla="*/ 31 h 280"/>
                  <a:gd name="T88" fmla="*/ 0 w 869"/>
                  <a:gd name="T89" fmla="*/ 62 h 280"/>
                  <a:gd name="T90" fmla="*/ 0 w 869"/>
                  <a:gd name="T91" fmla="*/ 124 h 280"/>
                  <a:gd name="T92" fmla="*/ 0 w 869"/>
                  <a:gd name="T93" fmla="*/ 124 h 280"/>
                  <a:gd name="T94" fmla="*/ 32 w 869"/>
                  <a:gd name="T95"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9" h="280">
                    <a:moveTo>
                      <a:pt x="62" y="124"/>
                    </a:moveTo>
                    <a:lnTo>
                      <a:pt x="62" y="124"/>
                    </a:lnTo>
                    <a:cubicBezTo>
                      <a:pt x="62" y="124"/>
                      <a:pt x="93" y="124"/>
                      <a:pt x="124" y="124"/>
                    </a:cubicBezTo>
                    <a:cubicBezTo>
                      <a:pt x="156" y="124"/>
                      <a:pt x="186" y="124"/>
                      <a:pt x="186" y="124"/>
                    </a:cubicBezTo>
                    <a:cubicBezTo>
                      <a:pt x="186" y="124"/>
                      <a:pt x="217" y="124"/>
                      <a:pt x="248" y="124"/>
                    </a:cubicBezTo>
                    <a:cubicBezTo>
                      <a:pt x="280" y="124"/>
                      <a:pt x="310" y="124"/>
                      <a:pt x="310" y="124"/>
                    </a:cubicBezTo>
                    <a:cubicBezTo>
                      <a:pt x="310" y="124"/>
                      <a:pt x="310" y="124"/>
                      <a:pt x="341" y="124"/>
                    </a:cubicBezTo>
                    <a:lnTo>
                      <a:pt x="341" y="155"/>
                    </a:lnTo>
                    <a:cubicBezTo>
                      <a:pt x="341" y="186"/>
                      <a:pt x="341" y="186"/>
                      <a:pt x="310" y="186"/>
                    </a:cubicBezTo>
                    <a:cubicBezTo>
                      <a:pt x="310" y="217"/>
                      <a:pt x="280" y="217"/>
                      <a:pt x="280" y="217"/>
                    </a:cubicBezTo>
                    <a:cubicBezTo>
                      <a:pt x="248" y="217"/>
                      <a:pt x="248" y="217"/>
                      <a:pt x="217" y="217"/>
                    </a:cubicBezTo>
                    <a:cubicBezTo>
                      <a:pt x="217" y="186"/>
                      <a:pt x="217" y="186"/>
                      <a:pt x="186" y="186"/>
                    </a:cubicBezTo>
                    <a:lnTo>
                      <a:pt x="186" y="186"/>
                    </a:lnTo>
                    <a:cubicBezTo>
                      <a:pt x="156" y="186"/>
                      <a:pt x="124" y="217"/>
                      <a:pt x="93" y="217"/>
                    </a:cubicBezTo>
                    <a:lnTo>
                      <a:pt x="93" y="217"/>
                    </a:lnTo>
                    <a:cubicBezTo>
                      <a:pt x="124" y="217"/>
                      <a:pt x="156" y="217"/>
                      <a:pt x="156" y="217"/>
                    </a:cubicBezTo>
                    <a:lnTo>
                      <a:pt x="186" y="217"/>
                    </a:lnTo>
                    <a:lnTo>
                      <a:pt x="186" y="217"/>
                    </a:lnTo>
                    <a:cubicBezTo>
                      <a:pt x="217" y="217"/>
                      <a:pt x="217" y="248"/>
                      <a:pt x="248" y="248"/>
                    </a:cubicBezTo>
                    <a:cubicBezTo>
                      <a:pt x="248" y="248"/>
                      <a:pt x="248" y="248"/>
                      <a:pt x="248" y="279"/>
                    </a:cubicBezTo>
                    <a:lnTo>
                      <a:pt x="248" y="279"/>
                    </a:lnTo>
                    <a:lnTo>
                      <a:pt x="248" y="279"/>
                    </a:lnTo>
                    <a:lnTo>
                      <a:pt x="248" y="279"/>
                    </a:lnTo>
                    <a:cubicBezTo>
                      <a:pt x="280" y="279"/>
                      <a:pt x="280" y="279"/>
                      <a:pt x="310" y="279"/>
                    </a:cubicBezTo>
                    <a:cubicBezTo>
                      <a:pt x="310" y="279"/>
                      <a:pt x="310" y="279"/>
                      <a:pt x="341" y="279"/>
                    </a:cubicBezTo>
                    <a:lnTo>
                      <a:pt x="341" y="279"/>
                    </a:lnTo>
                    <a:lnTo>
                      <a:pt x="341" y="279"/>
                    </a:lnTo>
                    <a:cubicBezTo>
                      <a:pt x="372" y="279"/>
                      <a:pt x="372" y="248"/>
                      <a:pt x="404" y="248"/>
                    </a:cubicBezTo>
                    <a:cubicBezTo>
                      <a:pt x="434" y="248"/>
                      <a:pt x="434" y="248"/>
                      <a:pt x="465" y="248"/>
                    </a:cubicBezTo>
                    <a:lnTo>
                      <a:pt x="465" y="248"/>
                    </a:lnTo>
                    <a:cubicBezTo>
                      <a:pt x="465" y="248"/>
                      <a:pt x="496" y="217"/>
                      <a:pt x="528" y="217"/>
                    </a:cubicBezTo>
                    <a:cubicBezTo>
                      <a:pt x="528" y="217"/>
                      <a:pt x="528" y="217"/>
                      <a:pt x="558" y="217"/>
                    </a:cubicBezTo>
                    <a:cubicBezTo>
                      <a:pt x="558" y="217"/>
                      <a:pt x="558" y="217"/>
                      <a:pt x="589" y="217"/>
                    </a:cubicBezTo>
                    <a:cubicBezTo>
                      <a:pt x="620" y="186"/>
                      <a:pt x="620" y="186"/>
                      <a:pt x="620" y="186"/>
                    </a:cubicBezTo>
                    <a:cubicBezTo>
                      <a:pt x="620" y="217"/>
                      <a:pt x="620" y="217"/>
                      <a:pt x="620" y="217"/>
                    </a:cubicBezTo>
                    <a:lnTo>
                      <a:pt x="620" y="217"/>
                    </a:lnTo>
                    <a:lnTo>
                      <a:pt x="620" y="217"/>
                    </a:lnTo>
                    <a:cubicBezTo>
                      <a:pt x="651" y="217"/>
                      <a:pt x="682" y="217"/>
                      <a:pt x="682" y="248"/>
                    </a:cubicBezTo>
                    <a:cubicBezTo>
                      <a:pt x="682" y="248"/>
                      <a:pt x="713" y="248"/>
                      <a:pt x="775" y="248"/>
                    </a:cubicBezTo>
                    <a:lnTo>
                      <a:pt x="806" y="248"/>
                    </a:lnTo>
                    <a:cubicBezTo>
                      <a:pt x="837" y="217"/>
                      <a:pt x="868" y="217"/>
                      <a:pt x="868" y="186"/>
                    </a:cubicBezTo>
                    <a:lnTo>
                      <a:pt x="868" y="186"/>
                    </a:lnTo>
                    <a:lnTo>
                      <a:pt x="806" y="155"/>
                    </a:lnTo>
                    <a:lnTo>
                      <a:pt x="806" y="155"/>
                    </a:lnTo>
                    <a:lnTo>
                      <a:pt x="806" y="155"/>
                    </a:lnTo>
                    <a:cubicBezTo>
                      <a:pt x="775" y="186"/>
                      <a:pt x="775" y="186"/>
                      <a:pt x="775" y="186"/>
                    </a:cubicBezTo>
                    <a:cubicBezTo>
                      <a:pt x="744" y="186"/>
                      <a:pt x="744" y="155"/>
                      <a:pt x="713" y="155"/>
                    </a:cubicBezTo>
                    <a:lnTo>
                      <a:pt x="713" y="155"/>
                    </a:lnTo>
                    <a:lnTo>
                      <a:pt x="713" y="155"/>
                    </a:lnTo>
                    <a:cubicBezTo>
                      <a:pt x="713" y="124"/>
                      <a:pt x="651" y="62"/>
                      <a:pt x="651" y="31"/>
                    </a:cubicBezTo>
                    <a:lnTo>
                      <a:pt x="620" y="0"/>
                    </a:lnTo>
                    <a:lnTo>
                      <a:pt x="589" y="0"/>
                    </a:lnTo>
                    <a:lnTo>
                      <a:pt x="558" y="0"/>
                    </a:lnTo>
                    <a:lnTo>
                      <a:pt x="558" y="31"/>
                    </a:lnTo>
                    <a:cubicBezTo>
                      <a:pt x="558" y="31"/>
                      <a:pt x="558" y="31"/>
                      <a:pt x="558" y="62"/>
                    </a:cubicBezTo>
                    <a:lnTo>
                      <a:pt x="589" y="62"/>
                    </a:lnTo>
                    <a:cubicBezTo>
                      <a:pt x="589" y="93"/>
                      <a:pt x="589" y="93"/>
                      <a:pt x="589" y="93"/>
                    </a:cubicBezTo>
                    <a:cubicBezTo>
                      <a:pt x="558" y="124"/>
                      <a:pt x="558" y="124"/>
                      <a:pt x="528" y="124"/>
                    </a:cubicBezTo>
                    <a:lnTo>
                      <a:pt x="528" y="124"/>
                    </a:lnTo>
                    <a:cubicBezTo>
                      <a:pt x="528" y="124"/>
                      <a:pt x="496" y="124"/>
                      <a:pt x="496" y="93"/>
                    </a:cubicBezTo>
                    <a:lnTo>
                      <a:pt x="496" y="62"/>
                    </a:lnTo>
                    <a:lnTo>
                      <a:pt x="496" y="62"/>
                    </a:lnTo>
                    <a:cubicBezTo>
                      <a:pt x="496" y="62"/>
                      <a:pt x="496" y="62"/>
                      <a:pt x="465" y="62"/>
                    </a:cubicBezTo>
                    <a:lnTo>
                      <a:pt x="465" y="62"/>
                    </a:lnTo>
                    <a:cubicBezTo>
                      <a:pt x="465" y="62"/>
                      <a:pt x="465" y="62"/>
                      <a:pt x="404" y="62"/>
                    </a:cubicBezTo>
                    <a:cubicBezTo>
                      <a:pt x="372" y="62"/>
                      <a:pt x="372" y="62"/>
                      <a:pt x="372" y="62"/>
                    </a:cubicBezTo>
                    <a:lnTo>
                      <a:pt x="372" y="62"/>
                    </a:lnTo>
                    <a:cubicBezTo>
                      <a:pt x="372" y="62"/>
                      <a:pt x="372" y="62"/>
                      <a:pt x="341" y="62"/>
                    </a:cubicBezTo>
                    <a:lnTo>
                      <a:pt x="341" y="62"/>
                    </a:lnTo>
                    <a:cubicBezTo>
                      <a:pt x="341" y="62"/>
                      <a:pt x="341" y="93"/>
                      <a:pt x="310" y="93"/>
                    </a:cubicBezTo>
                    <a:lnTo>
                      <a:pt x="310" y="93"/>
                    </a:lnTo>
                    <a:lnTo>
                      <a:pt x="310" y="62"/>
                    </a:lnTo>
                    <a:lnTo>
                      <a:pt x="310" y="31"/>
                    </a:lnTo>
                    <a:cubicBezTo>
                      <a:pt x="280" y="31"/>
                      <a:pt x="280" y="31"/>
                      <a:pt x="280" y="31"/>
                    </a:cubicBezTo>
                    <a:lnTo>
                      <a:pt x="280" y="31"/>
                    </a:lnTo>
                    <a:cubicBezTo>
                      <a:pt x="248" y="31"/>
                      <a:pt x="248" y="31"/>
                      <a:pt x="248" y="31"/>
                    </a:cubicBezTo>
                    <a:cubicBezTo>
                      <a:pt x="217" y="31"/>
                      <a:pt x="217" y="31"/>
                      <a:pt x="217" y="62"/>
                    </a:cubicBezTo>
                    <a:lnTo>
                      <a:pt x="186" y="62"/>
                    </a:lnTo>
                    <a:cubicBezTo>
                      <a:pt x="156" y="62"/>
                      <a:pt x="156" y="62"/>
                      <a:pt x="156" y="62"/>
                    </a:cubicBezTo>
                    <a:cubicBezTo>
                      <a:pt x="156" y="31"/>
                      <a:pt x="156" y="31"/>
                      <a:pt x="156" y="31"/>
                    </a:cubicBezTo>
                    <a:lnTo>
                      <a:pt x="156" y="31"/>
                    </a:lnTo>
                    <a:lnTo>
                      <a:pt x="156" y="0"/>
                    </a:lnTo>
                    <a:cubicBezTo>
                      <a:pt x="124" y="0"/>
                      <a:pt x="124" y="0"/>
                      <a:pt x="124" y="0"/>
                    </a:cubicBezTo>
                    <a:lnTo>
                      <a:pt x="93" y="0"/>
                    </a:lnTo>
                    <a:lnTo>
                      <a:pt x="93" y="0"/>
                    </a:lnTo>
                    <a:lnTo>
                      <a:pt x="93" y="0"/>
                    </a:lnTo>
                    <a:cubicBezTo>
                      <a:pt x="62" y="31"/>
                      <a:pt x="62" y="31"/>
                      <a:pt x="62" y="31"/>
                    </a:cubicBezTo>
                    <a:cubicBezTo>
                      <a:pt x="62" y="31"/>
                      <a:pt x="62" y="31"/>
                      <a:pt x="32" y="31"/>
                    </a:cubicBezTo>
                    <a:cubicBezTo>
                      <a:pt x="32" y="31"/>
                      <a:pt x="32" y="31"/>
                      <a:pt x="0" y="31"/>
                    </a:cubicBezTo>
                    <a:lnTo>
                      <a:pt x="0" y="62"/>
                    </a:lnTo>
                    <a:lnTo>
                      <a:pt x="32" y="62"/>
                    </a:lnTo>
                    <a:cubicBezTo>
                      <a:pt x="32" y="93"/>
                      <a:pt x="32" y="124"/>
                      <a:pt x="0" y="124"/>
                    </a:cubicBezTo>
                    <a:lnTo>
                      <a:pt x="0" y="124"/>
                    </a:lnTo>
                    <a:lnTo>
                      <a:pt x="0" y="124"/>
                    </a:lnTo>
                    <a:lnTo>
                      <a:pt x="32" y="124"/>
                    </a:lnTo>
                    <a:lnTo>
                      <a:pt x="32" y="124"/>
                    </a:lnTo>
                    <a:lnTo>
                      <a:pt x="62" y="124"/>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04" name="Freeform 201"/>
              <p:cNvSpPr>
                <a:spLocks noChangeArrowheads="1"/>
              </p:cNvSpPr>
              <p:nvPr/>
            </p:nvSpPr>
            <p:spPr bwMode="auto">
              <a:xfrm>
                <a:off x="1660525" y="954088"/>
                <a:ext cx="66675" cy="44450"/>
              </a:xfrm>
              <a:custGeom>
                <a:avLst/>
                <a:gdLst>
                  <a:gd name="T0" fmla="*/ 155 w 187"/>
                  <a:gd name="T1" fmla="*/ 62 h 125"/>
                  <a:gd name="T2" fmla="*/ 155 w 187"/>
                  <a:gd name="T3" fmla="*/ 62 h 125"/>
                  <a:gd name="T4" fmla="*/ 124 w 187"/>
                  <a:gd name="T5" fmla="*/ 62 h 125"/>
                  <a:gd name="T6" fmla="*/ 93 w 187"/>
                  <a:gd name="T7" fmla="*/ 31 h 125"/>
                  <a:gd name="T8" fmla="*/ 93 w 187"/>
                  <a:gd name="T9" fmla="*/ 0 h 125"/>
                  <a:gd name="T10" fmla="*/ 93 w 187"/>
                  <a:gd name="T11" fmla="*/ 0 h 125"/>
                  <a:gd name="T12" fmla="*/ 62 w 187"/>
                  <a:gd name="T13" fmla="*/ 0 h 125"/>
                  <a:gd name="T14" fmla="*/ 62 w 187"/>
                  <a:gd name="T15" fmla="*/ 0 h 125"/>
                  <a:gd name="T16" fmla="*/ 0 w 187"/>
                  <a:gd name="T17" fmla="*/ 62 h 125"/>
                  <a:gd name="T18" fmla="*/ 31 w 187"/>
                  <a:gd name="T19" fmla="*/ 62 h 125"/>
                  <a:gd name="T20" fmla="*/ 62 w 187"/>
                  <a:gd name="T21" fmla="*/ 93 h 125"/>
                  <a:gd name="T22" fmla="*/ 93 w 187"/>
                  <a:gd name="T23" fmla="*/ 124 h 125"/>
                  <a:gd name="T24" fmla="*/ 93 w 187"/>
                  <a:gd name="T25" fmla="*/ 124 h 125"/>
                  <a:gd name="T26" fmla="*/ 93 w 187"/>
                  <a:gd name="T27" fmla="*/ 62 h 125"/>
                  <a:gd name="T28" fmla="*/ 155 w 187"/>
                  <a:gd name="T29" fmla="*/ 93 h 125"/>
                  <a:gd name="T30" fmla="*/ 186 w 187"/>
                  <a:gd name="T31" fmla="*/ 93 h 125"/>
                  <a:gd name="T32" fmla="*/ 186 w 187"/>
                  <a:gd name="T33" fmla="*/ 93 h 125"/>
                  <a:gd name="T34" fmla="*/ 186 w 187"/>
                  <a:gd name="T35" fmla="*/ 93 h 125"/>
                  <a:gd name="T36" fmla="*/ 155 w 187"/>
                  <a:gd name="T37" fmla="*/ 6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125">
                    <a:moveTo>
                      <a:pt x="155" y="62"/>
                    </a:moveTo>
                    <a:lnTo>
                      <a:pt x="155" y="62"/>
                    </a:lnTo>
                    <a:cubicBezTo>
                      <a:pt x="155" y="62"/>
                      <a:pt x="155" y="62"/>
                      <a:pt x="124" y="62"/>
                    </a:cubicBezTo>
                    <a:cubicBezTo>
                      <a:pt x="124" y="62"/>
                      <a:pt x="93" y="62"/>
                      <a:pt x="93" y="31"/>
                    </a:cubicBezTo>
                    <a:lnTo>
                      <a:pt x="93" y="0"/>
                    </a:lnTo>
                    <a:lnTo>
                      <a:pt x="93" y="0"/>
                    </a:lnTo>
                    <a:cubicBezTo>
                      <a:pt x="62" y="0"/>
                      <a:pt x="62" y="0"/>
                      <a:pt x="62" y="0"/>
                    </a:cubicBezTo>
                    <a:lnTo>
                      <a:pt x="62" y="0"/>
                    </a:lnTo>
                    <a:cubicBezTo>
                      <a:pt x="62" y="31"/>
                      <a:pt x="31" y="62"/>
                      <a:pt x="0" y="62"/>
                    </a:cubicBezTo>
                    <a:cubicBezTo>
                      <a:pt x="31" y="62"/>
                      <a:pt x="31" y="62"/>
                      <a:pt x="31" y="62"/>
                    </a:cubicBezTo>
                    <a:cubicBezTo>
                      <a:pt x="31" y="62"/>
                      <a:pt x="31" y="62"/>
                      <a:pt x="62" y="93"/>
                    </a:cubicBezTo>
                    <a:cubicBezTo>
                      <a:pt x="62" y="93"/>
                      <a:pt x="93" y="93"/>
                      <a:pt x="93" y="124"/>
                    </a:cubicBezTo>
                    <a:lnTo>
                      <a:pt x="93" y="124"/>
                    </a:lnTo>
                    <a:cubicBezTo>
                      <a:pt x="93" y="62"/>
                      <a:pt x="93" y="62"/>
                      <a:pt x="93" y="62"/>
                    </a:cubicBezTo>
                    <a:cubicBezTo>
                      <a:pt x="155" y="93"/>
                      <a:pt x="155" y="93"/>
                      <a:pt x="155" y="93"/>
                    </a:cubicBezTo>
                    <a:cubicBezTo>
                      <a:pt x="155" y="93"/>
                      <a:pt x="155" y="93"/>
                      <a:pt x="186" y="93"/>
                    </a:cubicBezTo>
                    <a:lnTo>
                      <a:pt x="186" y="93"/>
                    </a:lnTo>
                    <a:lnTo>
                      <a:pt x="186" y="93"/>
                    </a:lnTo>
                    <a:cubicBezTo>
                      <a:pt x="186" y="93"/>
                      <a:pt x="186" y="93"/>
                      <a:pt x="155" y="6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05" name="Freeform 202"/>
              <p:cNvSpPr>
                <a:spLocks noChangeArrowheads="1"/>
              </p:cNvSpPr>
              <p:nvPr/>
            </p:nvSpPr>
            <p:spPr bwMode="auto">
              <a:xfrm>
                <a:off x="1973263" y="909638"/>
                <a:ext cx="88900" cy="11112"/>
              </a:xfrm>
              <a:custGeom>
                <a:avLst/>
                <a:gdLst>
                  <a:gd name="T0" fmla="*/ 186 w 249"/>
                  <a:gd name="T1" fmla="*/ 0 h 32"/>
                  <a:gd name="T2" fmla="*/ 186 w 249"/>
                  <a:gd name="T3" fmla="*/ 0 h 32"/>
                  <a:gd name="T4" fmla="*/ 155 w 249"/>
                  <a:gd name="T5" fmla="*/ 0 h 32"/>
                  <a:gd name="T6" fmla="*/ 155 w 249"/>
                  <a:gd name="T7" fmla="*/ 0 h 32"/>
                  <a:gd name="T8" fmla="*/ 124 w 249"/>
                  <a:gd name="T9" fmla="*/ 0 h 32"/>
                  <a:gd name="T10" fmla="*/ 93 w 249"/>
                  <a:gd name="T11" fmla="*/ 0 h 32"/>
                  <a:gd name="T12" fmla="*/ 62 w 249"/>
                  <a:gd name="T13" fmla="*/ 0 h 32"/>
                  <a:gd name="T14" fmla="*/ 62 w 249"/>
                  <a:gd name="T15" fmla="*/ 0 h 32"/>
                  <a:gd name="T16" fmla="*/ 62 w 249"/>
                  <a:gd name="T17" fmla="*/ 0 h 32"/>
                  <a:gd name="T18" fmla="*/ 0 w 249"/>
                  <a:gd name="T19" fmla="*/ 31 h 32"/>
                  <a:gd name="T20" fmla="*/ 31 w 249"/>
                  <a:gd name="T21" fmla="*/ 31 h 32"/>
                  <a:gd name="T22" fmla="*/ 31 w 249"/>
                  <a:gd name="T23" fmla="*/ 31 h 32"/>
                  <a:gd name="T24" fmla="*/ 62 w 249"/>
                  <a:gd name="T25" fmla="*/ 0 h 32"/>
                  <a:gd name="T26" fmla="*/ 93 w 249"/>
                  <a:gd name="T27" fmla="*/ 0 h 32"/>
                  <a:gd name="T28" fmla="*/ 93 w 249"/>
                  <a:gd name="T29" fmla="*/ 0 h 32"/>
                  <a:gd name="T30" fmla="*/ 124 w 249"/>
                  <a:gd name="T31" fmla="*/ 31 h 32"/>
                  <a:gd name="T32" fmla="*/ 186 w 249"/>
                  <a:gd name="T33" fmla="*/ 31 h 32"/>
                  <a:gd name="T34" fmla="*/ 186 w 249"/>
                  <a:gd name="T35" fmla="*/ 31 h 32"/>
                  <a:gd name="T36" fmla="*/ 186 w 249"/>
                  <a:gd name="T37" fmla="*/ 31 h 32"/>
                  <a:gd name="T38" fmla="*/ 217 w 249"/>
                  <a:gd name="T39" fmla="*/ 31 h 32"/>
                  <a:gd name="T40" fmla="*/ 217 w 249"/>
                  <a:gd name="T41" fmla="*/ 31 h 32"/>
                  <a:gd name="T42" fmla="*/ 248 w 249"/>
                  <a:gd name="T43" fmla="*/ 31 h 32"/>
                  <a:gd name="T44" fmla="*/ 248 w 249"/>
                  <a:gd name="T45" fmla="*/ 31 h 32"/>
                  <a:gd name="T46" fmla="*/ 248 w 249"/>
                  <a:gd name="T47" fmla="*/ 0 h 32"/>
                  <a:gd name="T48" fmla="*/ 217 w 249"/>
                  <a:gd name="T49" fmla="*/ 0 h 32"/>
                  <a:gd name="T50" fmla="*/ 186 w 249"/>
                  <a:gd name="T5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2">
                    <a:moveTo>
                      <a:pt x="186" y="0"/>
                    </a:moveTo>
                    <a:lnTo>
                      <a:pt x="186" y="0"/>
                    </a:lnTo>
                    <a:cubicBezTo>
                      <a:pt x="186" y="0"/>
                      <a:pt x="186" y="0"/>
                      <a:pt x="155" y="0"/>
                    </a:cubicBezTo>
                    <a:lnTo>
                      <a:pt x="155" y="0"/>
                    </a:lnTo>
                    <a:cubicBezTo>
                      <a:pt x="124" y="0"/>
                      <a:pt x="124" y="0"/>
                      <a:pt x="124" y="0"/>
                    </a:cubicBezTo>
                    <a:cubicBezTo>
                      <a:pt x="93" y="0"/>
                      <a:pt x="93" y="0"/>
                      <a:pt x="93" y="0"/>
                    </a:cubicBezTo>
                    <a:lnTo>
                      <a:pt x="62" y="0"/>
                    </a:lnTo>
                    <a:lnTo>
                      <a:pt x="62" y="0"/>
                    </a:lnTo>
                    <a:lnTo>
                      <a:pt x="62" y="0"/>
                    </a:lnTo>
                    <a:cubicBezTo>
                      <a:pt x="31" y="0"/>
                      <a:pt x="31" y="31"/>
                      <a:pt x="0" y="31"/>
                    </a:cubicBezTo>
                    <a:cubicBezTo>
                      <a:pt x="0" y="31"/>
                      <a:pt x="0" y="31"/>
                      <a:pt x="31" y="31"/>
                    </a:cubicBezTo>
                    <a:lnTo>
                      <a:pt x="31" y="31"/>
                    </a:lnTo>
                    <a:cubicBezTo>
                      <a:pt x="31" y="31"/>
                      <a:pt x="62" y="31"/>
                      <a:pt x="62" y="0"/>
                    </a:cubicBezTo>
                    <a:cubicBezTo>
                      <a:pt x="93" y="0"/>
                      <a:pt x="93" y="0"/>
                      <a:pt x="93" y="0"/>
                    </a:cubicBezTo>
                    <a:lnTo>
                      <a:pt x="93" y="0"/>
                    </a:lnTo>
                    <a:cubicBezTo>
                      <a:pt x="93" y="31"/>
                      <a:pt x="124" y="31"/>
                      <a:pt x="124" y="31"/>
                    </a:cubicBezTo>
                    <a:cubicBezTo>
                      <a:pt x="155" y="31"/>
                      <a:pt x="155" y="31"/>
                      <a:pt x="186" y="31"/>
                    </a:cubicBezTo>
                    <a:lnTo>
                      <a:pt x="186" y="31"/>
                    </a:lnTo>
                    <a:lnTo>
                      <a:pt x="186" y="31"/>
                    </a:lnTo>
                    <a:cubicBezTo>
                      <a:pt x="186" y="31"/>
                      <a:pt x="186" y="31"/>
                      <a:pt x="217" y="31"/>
                    </a:cubicBezTo>
                    <a:lnTo>
                      <a:pt x="217" y="31"/>
                    </a:lnTo>
                    <a:cubicBezTo>
                      <a:pt x="248" y="31"/>
                      <a:pt x="248" y="31"/>
                      <a:pt x="248" y="31"/>
                    </a:cubicBezTo>
                    <a:lnTo>
                      <a:pt x="248" y="31"/>
                    </a:lnTo>
                    <a:cubicBezTo>
                      <a:pt x="248" y="0"/>
                      <a:pt x="248" y="0"/>
                      <a:pt x="248" y="0"/>
                    </a:cubicBezTo>
                    <a:lnTo>
                      <a:pt x="217" y="0"/>
                    </a:lnTo>
                    <a:lnTo>
                      <a:pt x="186"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06" name="Freeform 203"/>
              <p:cNvSpPr>
                <a:spLocks noChangeArrowheads="1"/>
              </p:cNvSpPr>
              <p:nvPr/>
            </p:nvSpPr>
            <p:spPr bwMode="auto">
              <a:xfrm>
                <a:off x="1951038" y="920750"/>
                <a:ext cx="11112" cy="1588"/>
              </a:xfrm>
              <a:custGeom>
                <a:avLst/>
                <a:gdLst>
                  <a:gd name="T0" fmla="*/ 0 w 32"/>
                  <a:gd name="T1" fmla="*/ 0 h 1"/>
                  <a:gd name="T2" fmla="*/ 0 w 32"/>
                  <a:gd name="T3" fmla="*/ 0 h 1"/>
                  <a:gd name="T4" fmla="*/ 31 w 32"/>
                  <a:gd name="T5" fmla="*/ 0 h 1"/>
                  <a:gd name="T6" fmla="*/ 31 w 32"/>
                  <a:gd name="T7" fmla="*/ 0 h 1"/>
                  <a:gd name="T8" fmla="*/ 31 w 32"/>
                  <a:gd name="T9" fmla="*/ 0 h 1"/>
                  <a:gd name="T10" fmla="*/ 0 w 32"/>
                  <a:gd name="T11" fmla="*/ 0 h 1"/>
                </a:gdLst>
                <a:ahLst/>
                <a:cxnLst>
                  <a:cxn ang="0">
                    <a:pos x="T0" y="T1"/>
                  </a:cxn>
                  <a:cxn ang="0">
                    <a:pos x="T2" y="T3"/>
                  </a:cxn>
                  <a:cxn ang="0">
                    <a:pos x="T4" y="T5"/>
                  </a:cxn>
                  <a:cxn ang="0">
                    <a:pos x="T6" y="T7"/>
                  </a:cxn>
                  <a:cxn ang="0">
                    <a:pos x="T8" y="T9"/>
                  </a:cxn>
                  <a:cxn ang="0">
                    <a:pos x="T10" y="T11"/>
                  </a:cxn>
                </a:cxnLst>
                <a:rect l="0" t="0" r="r" b="b"/>
                <a:pathLst>
                  <a:path w="32" h="1">
                    <a:moveTo>
                      <a:pt x="0" y="0"/>
                    </a:moveTo>
                    <a:lnTo>
                      <a:pt x="0" y="0"/>
                    </a:lnTo>
                    <a:lnTo>
                      <a:pt x="31" y="0"/>
                    </a:lnTo>
                    <a:lnTo>
                      <a:pt x="31" y="0"/>
                    </a:lnTo>
                    <a:lnTo>
                      <a:pt x="31" y="0"/>
                    </a:lnTo>
                    <a:cubicBezTo>
                      <a:pt x="31" y="0"/>
                      <a:pt x="31" y="0"/>
                      <a:pt x="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07" name="Freeform 204"/>
              <p:cNvSpPr>
                <a:spLocks noChangeArrowheads="1"/>
              </p:cNvSpPr>
              <p:nvPr/>
            </p:nvSpPr>
            <p:spPr bwMode="auto">
              <a:xfrm>
                <a:off x="1827213" y="887413"/>
                <a:ext cx="66675" cy="33337"/>
              </a:xfrm>
              <a:custGeom>
                <a:avLst/>
                <a:gdLst>
                  <a:gd name="T0" fmla="*/ 155 w 187"/>
                  <a:gd name="T1" fmla="*/ 31 h 94"/>
                  <a:gd name="T2" fmla="*/ 155 w 187"/>
                  <a:gd name="T3" fmla="*/ 31 h 94"/>
                  <a:gd name="T4" fmla="*/ 124 w 187"/>
                  <a:gd name="T5" fmla="*/ 31 h 94"/>
                  <a:gd name="T6" fmla="*/ 124 w 187"/>
                  <a:gd name="T7" fmla="*/ 31 h 94"/>
                  <a:gd name="T8" fmla="*/ 93 w 187"/>
                  <a:gd name="T9" fmla="*/ 31 h 94"/>
                  <a:gd name="T10" fmla="*/ 62 w 187"/>
                  <a:gd name="T11" fmla="*/ 31 h 94"/>
                  <a:gd name="T12" fmla="*/ 31 w 187"/>
                  <a:gd name="T13" fmla="*/ 31 h 94"/>
                  <a:gd name="T14" fmla="*/ 0 w 187"/>
                  <a:gd name="T15" fmla="*/ 0 h 94"/>
                  <a:gd name="T16" fmla="*/ 31 w 187"/>
                  <a:gd name="T17" fmla="*/ 62 h 94"/>
                  <a:gd name="T18" fmla="*/ 62 w 187"/>
                  <a:gd name="T19" fmla="*/ 93 h 94"/>
                  <a:gd name="T20" fmla="*/ 62 w 187"/>
                  <a:gd name="T21" fmla="*/ 93 h 94"/>
                  <a:gd name="T22" fmla="*/ 62 w 187"/>
                  <a:gd name="T23" fmla="*/ 93 h 94"/>
                  <a:gd name="T24" fmla="*/ 62 w 187"/>
                  <a:gd name="T25" fmla="*/ 93 h 94"/>
                  <a:gd name="T26" fmla="*/ 93 w 187"/>
                  <a:gd name="T27" fmla="*/ 93 h 94"/>
                  <a:gd name="T28" fmla="*/ 93 w 187"/>
                  <a:gd name="T29" fmla="*/ 93 h 94"/>
                  <a:gd name="T30" fmla="*/ 124 w 187"/>
                  <a:gd name="T31" fmla="*/ 93 h 94"/>
                  <a:gd name="T32" fmla="*/ 186 w 187"/>
                  <a:gd name="T33" fmla="*/ 93 h 94"/>
                  <a:gd name="T34" fmla="*/ 186 w 187"/>
                  <a:gd name="T35" fmla="*/ 93 h 94"/>
                  <a:gd name="T36" fmla="*/ 155 w 187"/>
                  <a:gd name="T3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94">
                    <a:moveTo>
                      <a:pt x="155" y="31"/>
                    </a:moveTo>
                    <a:lnTo>
                      <a:pt x="155" y="31"/>
                    </a:lnTo>
                    <a:lnTo>
                      <a:pt x="124" y="31"/>
                    </a:lnTo>
                    <a:lnTo>
                      <a:pt x="124" y="31"/>
                    </a:lnTo>
                    <a:cubicBezTo>
                      <a:pt x="124" y="31"/>
                      <a:pt x="124" y="31"/>
                      <a:pt x="93" y="31"/>
                    </a:cubicBezTo>
                    <a:lnTo>
                      <a:pt x="62" y="31"/>
                    </a:lnTo>
                    <a:lnTo>
                      <a:pt x="31" y="31"/>
                    </a:lnTo>
                    <a:cubicBezTo>
                      <a:pt x="31" y="0"/>
                      <a:pt x="31" y="0"/>
                      <a:pt x="0" y="0"/>
                    </a:cubicBezTo>
                    <a:cubicBezTo>
                      <a:pt x="31" y="31"/>
                      <a:pt x="31" y="62"/>
                      <a:pt x="31" y="62"/>
                    </a:cubicBezTo>
                    <a:cubicBezTo>
                      <a:pt x="31" y="62"/>
                      <a:pt x="31" y="93"/>
                      <a:pt x="62" y="93"/>
                    </a:cubicBezTo>
                    <a:lnTo>
                      <a:pt x="62" y="93"/>
                    </a:lnTo>
                    <a:lnTo>
                      <a:pt x="62" y="93"/>
                    </a:lnTo>
                    <a:lnTo>
                      <a:pt x="62" y="93"/>
                    </a:lnTo>
                    <a:cubicBezTo>
                      <a:pt x="93" y="93"/>
                      <a:pt x="93" y="93"/>
                      <a:pt x="93" y="93"/>
                    </a:cubicBezTo>
                    <a:lnTo>
                      <a:pt x="93" y="93"/>
                    </a:lnTo>
                    <a:lnTo>
                      <a:pt x="124" y="93"/>
                    </a:lnTo>
                    <a:cubicBezTo>
                      <a:pt x="124" y="93"/>
                      <a:pt x="155" y="93"/>
                      <a:pt x="186" y="93"/>
                    </a:cubicBezTo>
                    <a:lnTo>
                      <a:pt x="186" y="93"/>
                    </a:lnTo>
                    <a:cubicBezTo>
                      <a:pt x="155" y="62"/>
                      <a:pt x="155" y="62"/>
                      <a:pt x="155"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08" name="Freeform 205"/>
              <p:cNvSpPr>
                <a:spLocks noChangeArrowheads="1"/>
              </p:cNvSpPr>
              <p:nvPr/>
            </p:nvSpPr>
            <p:spPr bwMode="auto">
              <a:xfrm>
                <a:off x="1962150" y="909638"/>
                <a:ext cx="1588" cy="11112"/>
              </a:xfrm>
              <a:custGeom>
                <a:avLst/>
                <a:gdLst>
                  <a:gd name="T0" fmla="*/ 0 w 1"/>
                  <a:gd name="T1" fmla="*/ 0 h 32"/>
                  <a:gd name="T2" fmla="*/ 0 w 1"/>
                  <a:gd name="T3" fmla="*/ 0 h 32"/>
                  <a:gd name="T4" fmla="*/ 0 w 1"/>
                  <a:gd name="T5" fmla="*/ 31 h 32"/>
                  <a:gd name="T6" fmla="*/ 0 w 1"/>
                  <a:gd name="T7" fmla="*/ 0 h 32"/>
                </a:gdLst>
                <a:ahLst/>
                <a:cxnLst>
                  <a:cxn ang="0">
                    <a:pos x="T0" y="T1"/>
                  </a:cxn>
                  <a:cxn ang="0">
                    <a:pos x="T2" y="T3"/>
                  </a:cxn>
                  <a:cxn ang="0">
                    <a:pos x="T4" y="T5"/>
                  </a:cxn>
                  <a:cxn ang="0">
                    <a:pos x="T6" y="T7"/>
                  </a:cxn>
                </a:cxnLst>
                <a:rect l="0" t="0" r="r" b="b"/>
                <a:pathLst>
                  <a:path w="1" h="32">
                    <a:moveTo>
                      <a:pt x="0" y="0"/>
                    </a:moveTo>
                    <a:lnTo>
                      <a:pt x="0" y="0"/>
                    </a:lnTo>
                    <a:lnTo>
                      <a:pt x="0" y="31"/>
                    </a:lnTo>
                    <a:cubicBezTo>
                      <a:pt x="0" y="31"/>
                      <a:pt x="0" y="31"/>
                      <a:pt x="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09" name="Freeform 206"/>
              <p:cNvSpPr>
                <a:spLocks noChangeArrowheads="1"/>
              </p:cNvSpPr>
              <p:nvPr/>
            </p:nvSpPr>
            <p:spPr bwMode="auto">
              <a:xfrm>
                <a:off x="1906588" y="909638"/>
                <a:ext cx="33337" cy="11112"/>
              </a:xfrm>
              <a:custGeom>
                <a:avLst/>
                <a:gdLst>
                  <a:gd name="T0" fmla="*/ 62 w 94"/>
                  <a:gd name="T1" fmla="*/ 31 h 32"/>
                  <a:gd name="T2" fmla="*/ 62 w 94"/>
                  <a:gd name="T3" fmla="*/ 31 h 32"/>
                  <a:gd name="T4" fmla="*/ 62 w 94"/>
                  <a:gd name="T5" fmla="*/ 0 h 32"/>
                  <a:gd name="T6" fmla="*/ 62 w 94"/>
                  <a:gd name="T7" fmla="*/ 31 h 32"/>
                  <a:gd name="T8" fmla="*/ 31 w 94"/>
                  <a:gd name="T9" fmla="*/ 0 h 32"/>
                  <a:gd name="T10" fmla="*/ 31 w 94"/>
                  <a:gd name="T11" fmla="*/ 0 h 32"/>
                  <a:gd name="T12" fmla="*/ 31 w 94"/>
                  <a:gd name="T13" fmla="*/ 0 h 32"/>
                  <a:gd name="T14" fmla="*/ 31 w 94"/>
                  <a:gd name="T15" fmla="*/ 0 h 32"/>
                  <a:gd name="T16" fmla="*/ 0 w 94"/>
                  <a:gd name="T17" fmla="*/ 31 h 32"/>
                  <a:gd name="T18" fmla="*/ 0 w 94"/>
                  <a:gd name="T19" fmla="*/ 31 h 32"/>
                  <a:gd name="T20" fmla="*/ 62 w 94"/>
                  <a:gd name="T21" fmla="*/ 31 h 32"/>
                  <a:gd name="T22" fmla="*/ 62 w 94"/>
                  <a:gd name="T23" fmla="*/ 31 h 32"/>
                  <a:gd name="T24" fmla="*/ 93 w 94"/>
                  <a:gd name="T25" fmla="*/ 31 h 32"/>
                  <a:gd name="T26" fmla="*/ 93 w 94"/>
                  <a:gd name="T27" fmla="*/ 31 h 32"/>
                  <a:gd name="T28" fmla="*/ 93 w 94"/>
                  <a:gd name="T29" fmla="*/ 31 h 32"/>
                  <a:gd name="T30" fmla="*/ 62 w 94"/>
                  <a:gd name="T3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32">
                    <a:moveTo>
                      <a:pt x="62" y="31"/>
                    </a:moveTo>
                    <a:lnTo>
                      <a:pt x="62" y="31"/>
                    </a:lnTo>
                    <a:lnTo>
                      <a:pt x="62" y="0"/>
                    </a:lnTo>
                    <a:cubicBezTo>
                      <a:pt x="62" y="31"/>
                      <a:pt x="62" y="31"/>
                      <a:pt x="62" y="31"/>
                    </a:cubicBezTo>
                    <a:cubicBezTo>
                      <a:pt x="31" y="31"/>
                      <a:pt x="31" y="31"/>
                      <a:pt x="31" y="0"/>
                    </a:cubicBezTo>
                    <a:lnTo>
                      <a:pt x="31" y="0"/>
                    </a:lnTo>
                    <a:lnTo>
                      <a:pt x="31" y="0"/>
                    </a:lnTo>
                    <a:lnTo>
                      <a:pt x="31" y="0"/>
                    </a:lnTo>
                    <a:cubicBezTo>
                      <a:pt x="0" y="31"/>
                      <a:pt x="0" y="31"/>
                      <a:pt x="0" y="31"/>
                    </a:cubicBezTo>
                    <a:lnTo>
                      <a:pt x="0" y="31"/>
                    </a:lnTo>
                    <a:cubicBezTo>
                      <a:pt x="31" y="31"/>
                      <a:pt x="62" y="31"/>
                      <a:pt x="62" y="31"/>
                    </a:cubicBezTo>
                    <a:lnTo>
                      <a:pt x="62" y="31"/>
                    </a:lnTo>
                    <a:cubicBezTo>
                      <a:pt x="93" y="31"/>
                      <a:pt x="93" y="31"/>
                      <a:pt x="93" y="31"/>
                    </a:cubicBezTo>
                    <a:lnTo>
                      <a:pt x="93" y="31"/>
                    </a:lnTo>
                    <a:lnTo>
                      <a:pt x="93" y="31"/>
                    </a:lnTo>
                    <a:cubicBezTo>
                      <a:pt x="93" y="31"/>
                      <a:pt x="93" y="31"/>
                      <a:pt x="62"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10" name="Freeform 207"/>
              <p:cNvSpPr>
                <a:spLocks noChangeArrowheads="1"/>
              </p:cNvSpPr>
              <p:nvPr/>
            </p:nvSpPr>
            <p:spPr bwMode="auto">
              <a:xfrm>
                <a:off x="2073275" y="954088"/>
                <a:ext cx="22225" cy="11112"/>
              </a:xfrm>
              <a:custGeom>
                <a:avLst/>
                <a:gdLst>
                  <a:gd name="T0" fmla="*/ 31 w 62"/>
                  <a:gd name="T1" fmla="*/ 31 h 32"/>
                  <a:gd name="T2" fmla="*/ 31 w 62"/>
                  <a:gd name="T3" fmla="*/ 31 h 32"/>
                  <a:gd name="T4" fmla="*/ 31 w 62"/>
                  <a:gd name="T5" fmla="*/ 31 h 32"/>
                  <a:gd name="T6" fmla="*/ 31 w 62"/>
                  <a:gd name="T7" fmla="*/ 31 h 32"/>
                  <a:gd name="T8" fmla="*/ 61 w 62"/>
                  <a:gd name="T9" fmla="*/ 0 h 32"/>
                  <a:gd name="T10" fmla="*/ 0 w 62"/>
                  <a:gd name="T11" fmla="*/ 0 h 32"/>
                  <a:gd name="T12" fmla="*/ 31 w 62"/>
                  <a:gd name="T13" fmla="*/ 31 h 32"/>
                </a:gdLst>
                <a:ahLst/>
                <a:cxnLst>
                  <a:cxn ang="0">
                    <a:pos x="T0" y="T1"/>
                  </a:cxn>
                  <a:cxn ang="0">
                    <a:pos x="T2" y="T3"/>
                  </a:cxn>
                  <a:cxn ang="0">
                    <a:pos x="T4" y="T5"/>
                  </a:cxn>
                  <a:cxn ang="0">
                    <a:pos x="T6" y="T7"/>
                  </a:cxn>
                  <a:cxn ang="0">
                    <a:pos x="T8" y="T9"/>
                  </a:cxn>
                  <a:cxn ang="0">
                    <a:pos x="T10" y="T11"/>
                  </a:cxn>
                  <a:cxn ang="0">
                    <a:pos x="T12" y="T13"/>
                  </a:cxn>
                </a:cxnLst>
                <a:rect l="0" t="0" r="r" b="b"/>
                <a:pathLst>
                  <a:path w="62" h="32">
                    <a:moveTo>
                      <a:pt x="31" y="31"/>
                    </a:moveTo>
                    <a:lnTo>
                      <a:pt x="31" y="31"/>
                    </a:lnTo>
                    <a:lnTo>
                      <a:pt x="31" y="31"/>
                    </a:lnTo>
                    <a:lnTo>
                      <a:pt x="31" y="31"/>
                    </a:lnTo>
                    <a:cubicBezTo>
                      <a:pt x="31" y="31"/>
                      <a:pt x="31" y="0"/>
                      <a:pt x="61" y="0"/>
                    </a:cubicBezTo>
                    <a:cubicBezTo>
                      <a:pt x="31" y="0"/>
                      <a:pt x="31" y="0"/>
                      <a:pt x="0" y="0"/>
                    </a:cubicBezTo>
                    <a:lnTo>
                      <a:pt x="31" y="31"/>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11" name="Freeform 208"/>
              <p:cNvSpPr>
                <a:spLocks noChangeArrowheads="1"/>
              </p:cNvSpPr>
              <p:nvPr/>
            </p:nvSpPr>
            <p:spPr bwMode="auto">
              <a:xfrm>
                <a:off x="1793875" y="787400"/>
                <a:ext cx="134938" cy="44450"/>
              </a:xfrm>
              <a:custGeom>
                <a:avLst/>
                <a:gdLst>
                  <a:gd name="T0" fmla="*/ 0 w 373"/>
                  <a:gd name="T1" fmla="*/ 62 h 125"/>
                  <a:gd name="T2" fmla="*/ 0 w 373"/>
                  <a:gd name="T3" fmla="*/ 62 h 125"/>
                  <a:gd name="T4" fmla="*/ 31 w 373"/>
                  <a:gd name="T5" fmla="*/ 62 h 125"/>
                  <a:gd name="T6" fmla="*/ 62 w 373"/>
                  <a:gd name="T7" fmla="*/ 62 h 125"/>
                  <a:gd name="T8" fmla="*/ 62 w 373"/>
                  <a:gd name="T9" fmla="*/ 62 h 125"/>
                  <a:gd name="T10" fmla="*/ 93 w 373"/>
                  <a:gd name="T11" fmla="*/ 62 h 125"/>
                  <a:gd name="T12" fmla="*/ 124 w 373"/>
                  <a:gd name="T13" fmla="*/ 62 h 125"/>
                  <a:gd name="T14" fmla="*/ 186 w 373"/>
                  <a:gd name="T15" fmla="*/ 62 h 125"/>
                  <a:gd name="T16" fmla="*/ 186 w 373"/>
                  <a:gd name="T17" fmla="*/ 93 h 125"/>
                  <a:gd name="T18" fmla="*/ 248 w 373"/>
                  <a:gd name="T19" fmla="*/ 124 h 125"/>
                  <a:gd name="T20" fmla="*/ 279 w 373"/>
                  <a:gd name="T21" fmla="*/ 124 h 125"/>
                  <a:gd name="T22" fmla="*/ 279 w 373"/>
                  <a:gd name="T23" fmla="*/ 124 h 125"/>
                  <a:gd name="T24" fmla="*/ 310 w 373"/>
                  <a:gd name="T25" fmla="*/ 124 h 125"/>
                  <a:gd name="T26" fmla="*/ 341 w 373"/>
                  <a:gd name="T27" fmla="*/ 124 h 125"/>
                  <a:gd name="T28" fmla="*/ 372 w 373"/>
                  <a:gd name="T29" fmla="*/ 93 h 125"/>
                  <a:gd name="T30" fmla="*/ 372 w 373"/>
                  <a:gd name="T31" fmla="*/ 93 h 125"/>
                  <a:gd name="T32" fmla="*/ 372 w 373"/>
                  <a:gd name="T33" fmla="*/ 93 h 125"/>
                  <a:gd name="T34" fmla="*/ 372 w 373"/>
                  <a:gd name="T35" fmla="*/ 93 h 125"/>
                  <a:gd name="T36" fmla="*/ 341 w 373"/>
                  <a:gd name="T37" fmla="*/ 93 h 125"/>
                  <a:gd name="T38" fmla="*/ 310 w 373"/>
                  <a:gd name="T39" fmla="*/ 62 h 125"/>
                  <a:gd name="T40" fmla="*/ 310 w 373"/>
                  <a:gd name="T41" fmla="*/ 62 h 125"/>
                  <a:gd name="T42" fmla="*/ 279 w 373"/>
                  <a:gd name="T43" fmla="*/ 62 h 125"/>
                  <a:gd name="T44" fmla="*/ 279 w 373"/>
                  <a:gd name="T45" fmla="*/ 62 h 125"/>
                  <a:gd name="T46" fmla="*/ 248 w 373"/>
                  <a:gd name="T47" fmla="*/ 31 h 125"/>
                  <a:gd name="T48" fmla="*/ 248 w 373"/>
                  <a:gd name="T49" fmla="*/ 31 h 125"/>
                  <a:gd name="T50" fmla="*/ 217 w 373"/>
                  <a:gd name="T51" fmla="*/ 31 h 125"/>
                  <a:gd name="T52" fmla="*/ 186 w 373"/>
                  <a:gd name="T53" fmla="*/ 31 h 125"/>
                  <a:gd name="T54" fmla="*/ 155 w 373"/>
                  <a:gd name="T55" fmla="*/ 31 h 125"/>
                  <a:gd name="T56" fmla="*/ 124 w 373"/>
                  <a:gd name="T57" fmla="*/ 0 h 125"/>
                  <a:gd name="T58" fmla="*/ 93 w 373"/>
                  <a:gd name="T59" fmla="*/ 0 h 125"/>
                  <a:gd name="T60" fmla="*/ 93 w 373"/>
                  <a:gd name="T61" fmla="*/ 0 h 125"/>
                  <a:gd name="T62" fmla="*/ 62 w 373"/>
                  <a:gd name="T63" fmla="*/ 0 h 125"/>
                  <a:gd name="T64" fmla="*/ 31 w 373"/>
                  <a:gd name="T65" fmla="*/ 0 h 125"/>
                  <a:gd name="T66" fmla="*/ 0 w 373"/>
                  <a:gd name="T67" fmla="*/ 0 h 125"/>
                  <a:gd name="T68" fmla="*/ 0 w 373"/>
                  <a:gd name="T69" fmla="*/ 0 h 125"/>
                  <a:gd name="T70" fmla="*/ 0 w 373"/>
                  <a:gd name="T71" fmla="*/ 31 h 125"/>
                  <a:gd name="T72" fmla="*/ 0 w 373"/>
                  <a:gd name="T73" fmla="*/ 6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3" h="125">
                    <a:moveTo>
                      <a:pt x="0" y="62"/>
                    </a:moveTo>
                    <a:lnTo>
                      <a:pt x="0" y="62"/>
                    </a:lnTo>
                    <a:cubicBezTo>
                      <a:pt x="0" y="62"/>
                      <a:pt x="0" y="62"/>
                      <a:pt x="31" y="62"/>
                    </a:cubicBezTo>
                    <a:cubicBezTo>
                      <a:pt x="31" y="62"/>
                      <a:pt x="31" y="62"/>
                      <a:pt x="62" y="62"/>
                    </a:cubicBezTo>
                    <a:lnTo>
                      <a:pt x="62" y="62"/>
                    </a:lnTo>
                    <a:lnTo>
                      <a:pt x="93" y="62"/>
                    </a:lnTo>
                    <a:cubicBezTo>
                      <a:pt x="93" y="62"/>
                      <a:pt x="93" y="62"/>
                      <a:pt x="124" y="62"/>
                    </a:cubicBezTo>
                    <a:cubicBezTo>
                      <a:pt x="155" y="62"/>
                      <a:pt x="155" y="62"/>
                      <a:pt x="186" y="62"/>
                    </a:cubicBezTo>
                    <a:lnTo>
                      <a:pt x="186" y="93"/>
                    </a:lnTo>
                    <a:cubicBezTo>
                      <a:pt x="248" y="124"/>
                      <a:pt x="248" y="124"/>
                      <a:pt x="248" y="124"/>
                    </a:cubicBezTo>
                    <a:cubicBezTo>
                      <a:pt x="248" y="124"/>
                      <a:pt x="248" y="124"/>
                      <a:pt x="279" y="124"/>
                    </a:cubicBezTo>
                    <a:lnTo>
                      <a:pt x="279" y="124"/>
                    </a:lnTo>
                    <a:lnTo>
                      <a:pt x="310" y="124"/>
                    </a:lnTo>
                    <a:cubicBezTo>
                      <a:pt x="341" y="124"/>
                      <a:pt x="341" y="124"/>
                      <a:pt x="341" y="124"/>
                    </a:cubicBezTo>
                    <a:cubicBezTo>
                      <a:pt x="372" y="124"/>
                      <a:pt x="372" y="93"/>
                      <a:pt x="372" y="93"/>
                    </a:cubicBezTo>
                    <a:lnTo>
                      <a:pt x="372" y="93"/>
                    </a:lnTo>
                    <a:lnTo>
                      <a:pt x="372" y="93"/>
                    </a:lnTo>
                    <a:lnTo>
                      <a:pt x="372" y="93"/>
                    </a:lnTo>
                    <a:cubicBezTo>
                      <a:pt x="341" y="93"/>
                      <a:pt x="341" y="93"/>
                      <a:pt x="341" y="93"/>
                    </a:cubicBezTo>
                    <a:cubicBezTo>
                      <a:pt x="310" y="93"/>
                      <a:pt x="310" y="62"/>
                      <a:pt x="310" y="62"/>
                    </a:cubicBezTo>
                    <a:lnTo>
                      <a:pt x="310" y="62"/>
                    </a:lnTo>
                    <a:cubicBezTo>
                      <a:pt x="310" y="62"/>
                      <a:pt x="310" y="62"/>
                      <a:pt x="279" y="62"/>
                    </a:cubicBezTo>
                    <a:lnTo>
                      <a:pt x="279" y="62"/>
                    </a:lnTo>
                    <a:cubicBezTo>
                      <a:pt x="248" y="31"/>
                      <a:pt x="248" y="31"/>
                      <a:pt x="248" y="31"/>
                    </a:cubicBezTo>
                    <a:lnTo>
                      <a:pt x="248" y="31"/>
                    </a:lnTo>
                    <a:cubicBezTo>
                      <a:pt x="217" y="31"/>
                      <a:pt x="217" y="31"/>
                      <a:pt x="217" y="31"/>
                    </a:cubicBezTo>
                    <a:cubicBezTo>
                      <a:pt x="186" y="31"/>
                      <a:pt x="186" y="31"/>
                      <a:pt x="186" y="31"/>
                    </a:cubicBezTo>
                    <a:lnTo>
                      <a:pt x="155" y="31"/>
                    </a:lnTo>
                    <a:cubicBezTo>
                      <a:pt x="124" y="31"/>
                      <a:pt x="124" y="0"/>
                      <a:pt x="124" y="0"/>
                    </a:cubicBezTo>
                    <a:cubicBezTo>
                      <a:pt x="124" y="0"/>
                      <a:pt x="124" y="0"/>
                      <a:pt x="93" y="0"/>
                    </a:cubicBezTo>
                    <a:lnTo>
                      <a:pt x="93" y="0"/>
                    </a:lnTo>
                    <a:cubicBezTo>
                      <a:pt x="62" y="0"/>
                      <a:pt x="62" y="0"/>
                      <a:pt x="62" y="0"/>
                    </a:cubicBezTo>
                    <a:lnTo>
                      <a:pt x="31" y="0"/>
                    </a:lnTo>
                    <a:lnTo>
                      <a:pt x="0" y="0"/>
                    </a:lnTo>
                    <a:lnTo>
                      <a:pt x="0" y="0"/>
                    </a:lnTo>
                    <a:lnTo>
                      <a:pt x="0" y="31"/>
                    </a:lnTo>
                    <a:lnTo>
                      <a:pt x="0" y="62"/>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12" name="Freeform 209"/>
              <p:cNvSpPr>
                <a:spLocks noChangeArrowheads="1"/>
              </p:cNvSpPr>
              <p:nvPr/>
            </p:nvSpPr>
            <p:spPr bwMode="auto">
              <a:xfrm>
                <a:off x="1827213" y="831850"/>
                <a:ext cx="44450" cy="11113"/>
              </a:xfrm>
              <a:custGeom>
                <a:avLst/>
                <a:gdLst>
                  <a:gd name="T0" fmla="*/ 62 w 125"/>
                  <a:gd name="T1" fmla="*/ 0 h 32"/>
                  <a:gd name="T2" fmla="*/ 62 w 125"/>
                  <a:gd name="T3" fmla="*/ 0 h 32"/>
                  <a:gd name="T4" fmla="*/ 62 w 125"/>
                  <a:gd name="T5" fmla="*/ 0 h 32"/>
                  <a:gd name="T6" fmla="*/ 0 w 125"/>
                  <a:gd name="T7" fmla="*/ 0 h 32"/>
                  <a:gd name="T8" fmla="*/ 0 w 125"/>
                  <a:gd name="T9" fmla="*/ 0 h 32"/>
                  <a:gd name="T10" fmla="*/ 0 w 125"/>
                  <a:gd name="T11" fmla="*/ 31 h 32"/>
                  <a:gd name="T12" fmla="*/ 31 w 125"/>
                  <a:gd name="T13" fmla="*/ 31 h 32"/>
                  <a:gd name="T14" fmla="*/ 62 w 125"/>
                  <a:gd name="T15" fmla="*/ 31 h 32"/>
                  <a:gd name="T16" fmla="*/ 93 w 125"/>
                  <a:gd name="T17" fmla="*/ 31 h 32"/>
                  <a:gd name="T18" fmla="*/ 124 w 125"/>
                  <a:gd name="T19" fmla="*/ 31 h 32"/>
                  <a:gd name="T20" fmla="*/ 93 w 125"/>
                  <a:gd name="T21" fmla="*/ 0 h 32"/>
                  <a:gd name="T22" fmla="*/ 62 w 125"/>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32">
                    <a:moveTo>
                      <a:pt x="62" y="0"/>
                    </a:moveTo>
                    <a:lnTo>
                      <a:pt x="62" y="0"/>
                    </a:lnTo>
                    <a:lnTo>
                      <a:pt x="62" y="0"/>
                    </a:lnTo>
                    <a:cubicBezTo>
                      <a:pt x="62" y="0"/>
                      <a:pt x="31" y="0"/>
                      <a:pt x="0" y="0"/>
                    </a:cubicBezTo>
                    <a:lnTo>
                      <a:pt x="0" y="0"/>
                    </a:lnTo>
                    <a:lnTo>
                      <a:pt x="0" y="31"/>
                    </a:lnTo>
                    <a:lnTo>
                      <a:pt x="31" y="31"/>
                    </a:lnTo>
                    <a:lnTo>
                      <a:pt x="62" y="31"/>
                    </a:lnTo>
                    <a:lnTo>
                      <a:pt x="93" y="31"/>
                    </a:lnTo>
                    <a:cubicBezTo>
                      <a:pt x="93" y="31"/>
                      <a:pt x="93" y="31"/>
                      <a:pt x="124" y="31"/>
                    </a:cubicBezTo>
                    <a:cubicBezTo>
                      <a:pt x="93" y="0"/>
                      <a:pt x="93" y="0"/>
                      <a:pt x="93" y="0"/>
                    </a:cubicBezTo>
                    <a:cubicBezTo>
                      <a:pt x="93" y="0"/>
                      <a:pt x="93" y="0"/>
                      <a:pt x="62"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13" name="Freeform 210"/>
              <p:cNvSpPr>
                <a:spLocks noChangeArrowheads="1"/>
              </p:cNvSpPr>
              <p:nvPr/>
            </p:nvSpPr>
            <p:spPr bwMode="auto">
              <a:xfrm>
                <a:off x="2117725" y="1155700"/>
                <a:ext cx="33338" cy="1588"/>
              </a:xfrm>
              <a:custGeom>
                <a:avLst/>
                <a:gdLst>
                  <a:gd name="T0" fmla="*/ 31 w 94"/>
                  <a:gd name="T1" fmla="*/ 0 h 1"/>
                  <a:gd name="T2" fmla="*/ 31 w 94"/>
                  <a:gd name="T3" fmla="*/ 0 h 1"/>
                  <a:gd name="T4" fmla="*/ 0 w 94"/>
                  <a:gd name="T5" fmla="*/ 0 h 1"/>
                  <a:gd name="T6" fmla="*/ 31 w 94"/>
                  <a:gd name="T7" fmla="*/ 0 h 1"/>
                  <a:gd name="T8" fmla="*/ 31 w 94"/>
                  <a:gd name="T9" fmla="*/ 0 h 1"/>
                  <a:gd name="T10" fmla="*/ 62 w 94"/>
                  <a:gd name="T11" fmla="*/ 0 h 1"/>
                  <a:gd name="T12" fmla="*/ 93 w 94"/>
                  <a:gd name="T13" fmla="*/ 0 h 1"/>
                  <a:gd name="T14" fmla="*/ 93 w 94"/>
                  <a:gd name="T15" fmla="*/ 0 h 1"/>
                  <a:gd name="T16" fmla="*/ 93 w 94"/>
                  <a:gd name="T17" fmla="*/ 0 h 1"/>
                  <a:gd name="T18" fmla="*/ 93 w 94"/>
                  <a:gd name="T19" fmla="*/ 0 h 1"/>
                  <a:gd name="T20" fmla="*/ 31 w 94"/>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1">
                    <a:moveTo>
                      <a:pt x="31" y="0"/>
                    </a:moveTo>
                    <a:lnTo>
                      <a:pt x="31" y="0"/>
                    </a:lnTo>
                    <a:lnTo>
                      <a:pt x="0" y="0"/>
                    </a:lnTo>
                    <a:lnTo>
                      <a:pt x="31" y="0"/>
                    </a:lnTo>
                    <a:lnTo>
                      <a:pt x="31" y="0"/>
                    </a:lnTo>
                    <a:lnTo>
                      <a:pt x="62" y="0"/>
                    </a:lnTo>
                    <a:lnTo>
                      <a:pt x="93" y="0"/>
                    </a:lnTo>
                    <a:lnTo>
                      <a:pt x="93" y="0"/>
                    </a:lnTo>
                    <a:lnTo>
                      <a:pt x="93" y="0"/>
                    </a:lnTo>
                    <a:lnTo>
                      <a:pt x="93" y="0"/>
                    </a:lnTo>
                    <a:lnTo>
                      <a:pt x="31"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14" name="Freeform 211"/>
              <p:cNvSpPr>
                <a:spLocks noChangeArrowheads="1"/>
              </p:cNvSpPr>
              <p:nvPr/>
            </p:nvSpPr>
            <p:spPr bwMode="auto">
              <a:xfrm>
                <a:off x="2028825" y="2449513"/>
                <a:ext cx="22225" cy="11112"/>
              </a:xfrm>
              <a:custGeom>
                <a:avLst/>
                <a:gdLst>
                  <a:gd name="T0" fmla="*/ 31 w 63"/>
                  <a:gd name="T1" fmla="*/ 30 h 31"/>
                  <a:gd name="T2" fmla="*/ 31 w 63"/>
                  <a:gd name="T3" fmla="*/ 30 h 31"/>
                  <a:gd name="T4" fmla="*/ 31 w 63"/>
                  <a:gd name="T5" fmla="*/ 30 h 31"/>
                  <a:gd name="T6" fmla="*/ 31 w 63"/>
                  <a:gd name="T7" fmla="*/ 30 h 31"/>
                  <a:gd name="T8" fmla="*/ 62 w 63"/>
                  <a:gd name="T9" fmla="*/ 30 h 31"/>
                  <a:gd name="T10" fmla="*/ 62 w 63"/>
                  <a:gd name="T11" fmla="*/ 30 h 31"/>
                  <a:gd name="T12" fmla="*/ 62 w 63"/>
                  <a:gd name="T13" fmla="*/ 30 h 31"/>
                  <a:gd name="T14" fmla="*/ 62 w 63"/>
                  <a:gd name="T15" fmla="*/ 30 h 31"/>
                  <a:gd name="T16" fmla="*/ 62 w 63"/>
                  <a:gd name="T17" fmla="*/ 30 h 31"/>
                  <a:gd name="T18" fmla="*/ 31 w 63"/>
                  <a:gd name="T19" fmla="*/ 0 h 31"/>
                  <a:gd name="T20" fmla="*/ 31 w 63"/>
                  <a:gd name="T21" fmla="*/ 0 h 31"/>
                  <a:gd name="T22" fmla="*/ 31 w 63"/>
                  <a:gd name="T23" fmla="*/ 0 h 31"/>
                  <a:gd name="T24" fmla="*/ 0 w 63"/>
                  <a:gd name="T25" fmla="*/ 0 h 31"/>
                  <a:gd name="T26" fmla="*/ 0 w 63"/>
                  <a:gd name="T27" fmla="*/ 0 h 31"/>
                  <a:gd name="T28" fmla="*/ 0 w 63"/>
                  <a:gd name="T29" fmla="*/ 0 h 31"/>
                  <a:gd name="T30" fmla="*/ 0 w 63"/>
                  <a:gd name="T31" fmla="*/ 30 h 31"/>
                  <a:gd name="T32" fmla="*/ 31 w 63"/>
                  <a:gd name="T33"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31">
                    <a:moveTo>
                      <a:pt x="31" y="30"/>
                    </a:moveTo>
                    <a:lnTo>
                      <a:pt x="31" y="30"/>
                    </a:lnTo>
                    <a:lnTo>
                      <a:pt x="31" y="30"/>
                    </a:lnTo>
                    <a:lnTo>
                      <a:pt x="31" y="30"/>
                    </a:lnTo>
                    <a:cubicBezTo>
                      <a:pt x="62" y="30"/>
                      <a:pt x="62" y="30"/>
                      <a:pt x="62" y="30"/>
                    </a:cubicBezTo>
                    <a:lnTo>
                      <a:pt x="62" y="30"/>
                    </a:lnTo>
                    <a:lnTo>
                      <a:pt x="62" y="30"/>
                    </a:lnTo>
                    <a:lnTo>
                      <a:pt x="62" y="30"/>
                    </a:lnTo>
                    <a:lnTo>
                      <a:pt x="62" y="30"/>
                    </a:lnTo>
                    <a:cubicBezTo>
                      <a:pt x="62" y="30"/>
                      <a:pt x="62" y="30"/>
                      <a:pt x="31" y="0"/>
                    </a:cubicBezTo>
                    <a:lnTo>
                      <a:pt x="31" y="0"/>
                    </a:lnTo>
                    <a:lnTo>
                      <a:pt x="31" y="0"/>
                    </a:lnTo>
                    <a:lnTo>
                      <a:pt x="0" y="0"/>
                    </a:lnTo>
                    <a:lnTo>
                      <a:pt x="0" y="0"/>
                    </a:lnTo>
                    <a:lnTo>
                      <a:pt x="0" y="0"/>
                    </a:lnTo>
                    <a:cubicBezTo>
                      <a:pt x="0" y="0"/>
                      <a:pt x="0" y="0"/>
                      <a:pt x="0" y="30"/>
                    </a:cubicBezTo>
                    <a:lnTo>
                      <a:pt x="31" y="3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15" name="Freeform 212"/>
              <p:cNvSpPr>
                <a:spLocks noChangeArrowheads="1"/>
              </p:cNvSpPr>
              <p:nvPr/>
            </p:nvSpPr>
            <p:spPr bwMode="auto">
              <a:xfrm>
                <a:off x="1962150" y="2405063"/>
                <a:ext cx="44450" cy="44450"/>
              </a:xfrm>
              <a:custGeom>
                <a:avLst/>
                <a:gdLst>
                  <a:gd name="T0" fmla="*/ 93 w 125"/>
                  <a:gd name="T1" fmla="*/ 30 h 125"/>
                  <a:gd name="T2" fmla="*/ 93 w 125"/>
                  <a:gd name="T3" fmla="*/ 30 h 125"/>
                  <a:gd name="T4" fmla="*/ 62 w 125"/>
                  <a:gd name="T5" fmla="*/ 30 h 125"/>
                  <a:gd name="T6" fmla="*/ 62 w 125"/>
                  <a:gd name="T7" fmla="*/ 0 h 125"/>
                  <a:gd name="T8" fmla="*/ 31 w 125"/>
                  <a:gd name="T9" fmla="*/ 0 h 125"/>
                  <a:gd name="T10" fmla="*/ 31 w 125"/>
                  <a:gd name="T11" fmla="*/ 0 h 125"/>
                  <a:gd name="T12" fmla="*/ 0 w 125"/>
                  <a:gd name="T13" fmla="*/ 0 h 125"/>
                  <a:gd name="T14" fmla="*/ 0 w 125"/>
                  <a:gd name="T15" fmla="*/ 0 h 125"/>
                  <a:gd name="T16" fmla="*/ 31 w 125"/>
                  <a:gd name="T17" fmla="*/ 30 h 125"/>
                  <a:gd name="T18" fmla="*/ 93 w 125"/>
                  <a:gd name="T19" fmla="*/ 61 h 125"/>
                  <a:gd name="T20" fmla="*/ 93 w 125"/>
                  <a:gd name="T21" fmla="*/ 61 h 125"/>
                  <a:gd name="T22" fmla="*/ 93 w 125"/>
                  <a:gd name="T23" fmla="*/ 61 h 125"/>
                  <a:gd name="T24" fmla="*/ 124 w 125"/>
                  <a:gd name="T25" fmla="*/ 92 h 125"/>
                  <a:gd name="T26" fmla="*/ 124 w 125"/>
                  <a:gd name="T27" fmla="*/ 124 h 125"/>
                  <a:gd name="T28" fmla="*/ 124 w 125"/>
                  <a:gd name="T29" fmla="*/ 124 h 125"/>
                  <a:gd name="T30" fmla="*/ 124 w 125"/>
                  <a:gd name="T31" fmla="*/ 92 h 125"/>
                  <a:gd name="T32" fmla="*/ 124 w 125"/>
                  <a:gd name="T33" fmla="*/ 92 h 125"/>
                  <a:gd name="T34" fmla="*/ 124 w 125"/>
                  <a:gd name="T35" fmla="*/ 61 h 125"/>
                  <a:gd name="T36" fmla="*/ 124 w 125"/>
                  <a:gd name="T37" fmla="*/ 61 h 125"/>
                  <a:gd name="T38" fmla="*/ 124 w 125"/>
                  <a:gd name="T39" fmla="*/ 61 h 125"/>
                  <a:gd name="T40" fmla="*/ 124 w 125"/>
                  <a:gd name="T41" fmla="*/ 61 h 125"/>
                  <a:gd name="T42" fmla="*/ 93 w 125"/>
                  <a:gd name="T43" fmla="*/ 3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125">
                    <a:moveTo>
                      <a:pt x="93" y="30"/>
                    </a:moveTo>
                    <a:lnTo>
                      <a:pt x="93" y="30"/>
                    </a:lnTo>
                    <a:cubicBezTo>
                      <a:pt x="93" y="30"/>
                      <a:pt x="93" y="30"/>
                      <a:pt x="62" y="30"/>
                    </a:cubicBezTo>
                    <a:lnTo>
                      <a:pt x="62" y="0"/>
                    </a:lnTo>
                    <a:lnTo>
                      <a:pt x="31" y="0"/>
                    </a:lnTo>
                    <a:lnTo>
                      <a:pt x="31" y="0"/>
                    </a:lnTo>
                    <a:cubicBezTo>
                      <a:pt x="31" y="0"/>
                      <a:pt x="31" y="0"/>
                      <a:pt x="0" y="0"/>
                    </a:cubicBezTo>
                    <a:lnTo>
                      <a:pt x="0" y="0"/>
                    </a:lnTo>
                    <a:lnTo>
                      <a:pt x="31" y="30"/>
                    </a:lnTo>
                    <a:cubicBezTo>
                      <a:pt x="31" y="30"/>
                      <a:pt x="62" y="61"/>
                      <a:pt x="93" y="61"/>
                    </a:cubicBezTo>
                    <a:lnTo>
                      <a:pt x="93" y="61"/>
                    </a:lnTo>
                    <a:lnTo>
                      <a:pt x="93" y="61"/>
                    </a:lnTo>
                    <a:lnTo>
                      <a:pt x="124" y="92"/>
                    </a:lnTo>
                    <a:cubicBezTo>
                      <a:pt x="124" y="124"/>
                      <a:pt x="124" y="124"/>
                      <a:pt x="124" y="124"/>
                    </a:cubicBezTo>
                    <a:lnTo>
                      <a:pt x="124" y="124"/>
                    </a:lnTo>
                    <a:cubicBezTo>
                      <a:pt x="124" y="92"/>
                      <a:pt x="124" y="92"/>
                      <a:pt x="124" y="92"/>
                    </a:cubicBezTo>
                    <a:lnTo>
                      <a:pt x="124" y="92"/>
                    </a:lnTo>
                    <a:cubicBezTo>
                      <a:pt x="124" y="92"/>
                      <a:pt x="124" y="92"/>
                      <a:pt x="124" y="61"/>
                    </a:cubicBezTo>
                    <a:lnTo>
                      <a:pt x="124" y="61"/>
                    </a:lnTo>
                    <a:lnTo>
                      <a:pt x="124" y="61"/>
                    </a:lnTo>
                    <a:lnTo>
                      <a:pt x="124" y="61"/>
                    </a:lnTo>
                    <a:lnTo>
                      <a:pt x="93" y="3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16" name="Freeform 213"/>
              <p:cNvSpPr>
                <a:spLocks noChangeArrowheads="1"/>
              </p:cNvSpPr>
              <p:nvPr/>
            </p:nvSpPr>
            <p:spPr bwMode="auto">
              <a:xfrm>
                <a:off x="1192213" y="1535113"/>
                <a:ext cx="1127125" cy="525462"/>
              </a:xfrm>
              <a:custGeom>
                <a:avLst/>
                <a:gdLst>
                  <a:gd name="T0" fmla="*/ 3099 w 3132"/>
                  <a:gd name="T1" fmla="*/ 154 h 1458"/>
                  <a:gd name="T2" fmla="*/ 3099 w 3132"/>
                  <a:gd name="T3" fmla="*/ 93 h 1458"/>
                  <a:gd name="T4" fmla="*/ 3038 w 3132"/>
                  <a:gd name="T5" fmla="*/ 93 h 1458"/>
                  <a:gd name="T6" fmla="*/ 3007 w 3132"/>
                  <a:gd name="T7" fmla="*/ 154 h 1458"/>
                  <a:gd name="T8" fmla="*/ 2914 w 3132"/>
                  <a:gd name="T9" fmla="*/ 217 h 1458"/>
                  <a:gd name="T10" fmla="*/ 2666 w 3132"/>
                  <a:gd name="T11" fmla="*/ 278 h 1458"/>
                  <a:gd name="T12" fmla="*/ 2510 w 3132"/>
                  <a:gd name="T13" fmla="*/ 371 h 1458"/>
                  <a:gd name="T14" fmla="*/ 2294 w 3132"/>
                  <a:gd name="T15" fmla="*/ 465 h 1458"/>
                  <a:gd name="T16" fmla="*/ 2232 w 3132"/>
                  <a:gd name="T17" fmla="*/ 341 h 1458"/>
                  <a:gd name="T18" fmla="*/ 2201 w 3132"/>
                  <a:gd name="T19" fmla="*/ 186 h 1458"/>
                  <a:gd name="T20" fmla="*/ 2139 w 3132"/>
                  <a:gd name="T21" fmla="*/ 248 h 1458"/>
                  <a:gd name="T22" fmla="*/ 2046 w 3132"/>
                  <a:gd name="T23" fmla="*/ 371 h 1458"/>
                  <a:gd name="T24" fmla="*/ 2077 w 3132"/>
                  <a:gd name="T25" fmla="*/ 154 h 1458"/>
                  <a:gd name="T26" fmla="*/ 1891 w 3132"/>
                  <a:gd name="T27" fmla="*/ 186 h 1458"/>
                  <a:gd name="T28" fmla="*/ 1798 w 3132"/>
                  <a:gd name="T29" fmla="*/ 93 h 1458"/>
                  <a:gd name="T30" fmla="*/ 1829 w 3132"/>
                  <a:gd name="T31" fmla="*/ 62 h 1458"/>
                  <a:gd name="T32" fmla="*/ 1705 w 3132"/>
                  <a:gd name="T33" fmla="*/ 30 h 1458"/>
                  <a:gd name="T34" fmla="*/ 1612 w 3132"/>
                  <a:gd name="T35" fmla="*/ 0 h 1458"/>
                  <a:gd name="T36" fmla="*/ 124 w 3132"/>
                  <a:gd name="T37" fmla="*/ 0 h 1458"/>
                  <a:gd name="T38" fmla="*/ 93 w 3132"/>
                  <a:gd name="T39" fmla="*/ 93 h 1458"/>
                  <a:gd name="T40" fmla="*/ 32 w 3132"/>
                  <a:gd name="T41" fmla="*/ 30 h 1458"/>
                  <a:gd name="T42" fmla="*/ 32 w 3132"/>
                  <a:gd name="T43" fmla="*/ 93 h 1458"/>
                  <a:gd name="T44" fmla="*/ 32 w 3132"/>
                  <a:gd name="T45" fmla="*/ 248 h 1458"/>
                  <a:gd name="T46" fmla="*/ 0 w 3132"/>
                  <a:gd name="T47" fmla="*/ 402 h 1458"/>
                  <a:gd name="T48" fmla="*/ 32 w 3132"/>
                  <a:gd name="T49" fmla="*/ 558 h 1458"/>
                  <a:gd name="T50" fmla="*/ 93 w 3132"/>
                  <a:gd name="T51" fmla="*/ 650 h 1458"/>
                  <a:gd name="T52" fmla="*/ 186 w 3132"/>
                  <a:gd name="T53" fmla="*/ 650 h 1458"/>
                  <a:gd name="T54" fmla="*/ 217 w 3132"/>
                  <a:gd name="T55" fmla="*/ 867 h 1458"/>
                  <a:gd name="T56" fmla="*/ 310 w 3132"/>
                  <a:gd name="T57" fmla="*/ 898 h 1458"/>
                  <a:gd name="T58" fmla="*/ 465 w 3132"/>
                  <a:gd name="T59" fmla="*/ 991 h 1458"/>
                  <a:gd name="T60" fmla="*/ 496 w 3132"/>
                  <a:gd name="T61" fmla="*/ 961 h 1458"/>
                  <a:gd name="T62" fmla="*/ 589 w 3132"/>
                  <a:gd name="T63" fmla="*/ 991 h 1458"/>
                  <a:gd name="T64" fmla="*/ 837 w 3132"/>
                  <a:gd name="T65" fmla="*/ 1085 h 1458"/>
                  <a:gd name="T66" fmla="*/ 930 w 3132"/>
                  <a:gd name="T67" fmla="*/ 1022 h 1458"/>
                  <a:gd name="T68" fmla="*/ 1116 w 3132"/>
                  <a:gd name="T69" fmla="*/ 1178 h 1458"/>
                  <a:gd name="T70" fmla="*/ 1147 w 3132"/>
                  <a:gd name="T71" fmla="*/ 1209 h 1458"/>
                  <a:gd name="T72" fmla="*/ 1271 w 3132"/>
                  <a:gd name="T73" fmla="*/ 1178 h 1458"/>
                  <a:gd name="T74" fmla="*/ 1395 w 3132"/>
                  <a:gd name="T75" fmla="*/ 1363 h 1458"/>
                  <a:gd name="T76" fmla="*/ 1426 w 3132"/>
                  <a:gd name="T77" fmla="*/ 1394 h 1458"/>
                  <a:gd name="T78" fmla="*/ 1519 w 3132"/>
                  <a:gd name="T79" fmla="*/ 1270 h 1458"/>
                  <a:gd name="T80" fmla="*/ 1705 w 3132"/>
                  <a:gd name="T81" fmla="*/ 1178 h 1458"/>
                  <a:gd name="T82" fmla="*/ 2015 w 3132"/>
                  <a:gd name="T83" fmla="*/ 1146 h 1458"/>
                  <a:gd name="T84" fmla="*/ 2108 w 3132"/>
                  <a:gd name="T85" fmla="*/ 1146 h 1458"/>
                  <a:gd name="T86" fmla="*/ 2170 w 3132"/>
                  <a:gd name="T87" fmla="*/ 1178 h 1458"/>
                  <a:gd name="T88" fmla="*/ 2294 w 3132"/>
                  <a:gd name="T89" fmla="*/ 1209 h 1458"/>
                  <a:gd name="T90" fmla="*/ 2325 w 3132"/>
                  <a:gd name="T91" fmla="*/ 1333 h 1458"/>
                  <a:gd name="T92" fmla="*/ 2418 w 3132"/>
                  <a:gd name="T93" fmla="*/ 1457 h 1458"/>
                  <a:gd name="T94" fmla="*/ 2356 w 3132"/>
                  <a:gd name="T95" fmla="*/ 1178 h 1458"/>
                  <a:gd name="T96" fmla="*/ 2510 w 3132"/>
                  <a:gd name="T97" fmla="*/ 930 h 1458"/>
                  <a:gd name="T98" fmla="*/ 2604 w 3132"/>
                  <a:gd name="T99" fmla="*/ 837 h 1458"/>
                  <a:gd name="T100" fmla="*/ 2604 w 3132"/>
                  <a:gd name="T101" fmla="*/ 743 h 1458"/>
                  <a:gd name="T102" fmla="*/ 2573 w 3132"/>
                  <a:gd name="T103" fmla="*/ 619 h 1458"/>
                  <a:gd name="T104" fmla="*/ 2666 w 3132"/>
                  <a:gd name="T105" fmla="*/ 526 h 1458"/>
                  <a:gd name="T106" fmla="*/ 2759 w 3132"/>
                  <a:gd name="T107" fmla="*/ 526 h 1458"/>
                  <a:gd name="T108" fmla="*/ 2759 w 3132"/>
                  <a:gd name="T109" fmla="*/ 465 h 1458"/>
                  <a:gd name="T110" fmla="*/ 2914 w 3132"/>
                  <a:gd name="T111" fmla="*/ 434 h 1458"/>
                  <a:gd name="T112" fmla="*/ 2975 w 3132"/>
                  <a:gd name="T113" fmla="*/ 278 h 1458"/>
                  <a:gd name="T114" fmla="*/ 3069 w 3132"/>
                  <a:gd name="T115" fmla="*/ 217 h 1458"/>
                  <a:gd name="T116" fmla="*/ 3131 w 3132"/>
                  <a:gd name="T117" fmla="*/ 217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32" h="1458">
                    <a:moveTo>
                      <a:pt x="3099" y="217"/>
                    </a:moveTo>
                    <a:lnTo>
                      <a:pt x="3099" y="217"/>
                    </a:lnTo>
                    <a:lnTo>
                      <a:pt x="3099" y="186"/>
                    </a:lnTo>
                    <a:cubicBezTo>
                      <a:pt x="3099" y="186"/>
                      <a:pt x="3099" y="186"/>
                      <a:pt x="3099" y="154"/>
                    </a:cubicBezTo>
                    <a:lnTo>
                      <a:pt x="3099" y="154"/>
                    </a:lnTo>
                    <a:lnTo>
                      <a:pt x="3099" y="124"/>
                    </a:lnTo>
                    <a:cubicBezTo>
                      <a:pt x="3099" y="124"/>
                      <a:pt x="3099" y="124"/>
                      <a:pt x="3099" y="93"/>
                    </a:cubicBezTo>
                    <a:lnTo>
                      <a:pt x="3099" y="93"/>
                    </a:lnTo>
                    <a:lnTo>
                      <a:pt x="3099" y="93"/>
                    </a:lnTo>
                    <a:lnTo>
                      <a:pt x="3099" y="93"/>
                    </a:lnTo>
                    <a:lnTo>
                      <a:pt x="3069" y="93"/>
                    </a:lnTo>
                    <a:lnTo>
                      <a:pt x="3069" y="93"/>
                    </a:lnTo>
                    <a:lnTo>
                      <a:pt x="3038" y="93"/>
                    </a:lnTo>
                    <a:lnTo>
                      <a:pt x="3038" y="93"/>
                    </a:lnTo>
                    <a:lnTo>
                      <a:pt x="3038" y="93"/>
                    </a:lnTo>
                    <a:lnTo>
                      <a:pt x="3038" y="93"/>
                    </a:lnTo>
                    <a:cubicBezTo>
                      <a:pt x="3038" y="93"/>
                      <a:pt x="3038" y="124"/>
                      <a:pt x="3007" y="124"/>
                    </a:cubicBezTo>
                    <a:lnTo>
                      <a:pt x="3007" y="124"/>
                    </a:lnTo>
                    <a:lnTo>
                      <a:pt x="3007" y="124"/>
                    </a:lnTo>
                    <a:cubicBezTo>
                      <a:pt x="3007" y="124"/>
                      <a:pt x="3007" y="124"/>
                      <a:pt x="3007" y="154"/>
                    </a:cubicBezTo>
                    <a:lnTo>
                      <a:pt x="3007" y="154"/>
                    </a:lnTo>
                    <a:lnTo>
                      <a:pt x="2975" y="217"/>
                    </a:lnTo>
                    <a:lnTo>
                      <a:pt x="2975" y="217"/>
                    </a:lnTo>
                    <a:cubicBezTo>
                      <a:pt x="2945" y="217"/>
                      <a:pt x="2945" y="217"/>
                      <a:pt x="2945" y="217"/>
                    </a:cubicBezTo>
                    <a:cubicBezTo>
                      <a:pt x="2945" y="217"/>
                      <a:pt x="2945" y="217"/>
                      <a:pt x="2914" y="217"/>
                    </a:cubicBezTo>
                    <a:cubicBezTo>
                      <a:pt x="2914" y="248"/>
                      <a:pt x="2914" y="248"/>
                      <a:pt x="2883" y="248"/>
                    </a:cubicBezTo>
                    <a:lnTo>
                      <a:pt x="2883" y="248"/>
                    </a:lnTo>
                    <a:cubicBezTo>
                      <a:pt x="2851" y="248"/>
                      <a:pt x="2821" y="248"/>
                      <a:pt x="2790" y="248"/>
                    </a:cubicBezTo>
                    <a:cubicBezTo>
                      <a:pt x="2759" y="248"/>
                      <a:pt x="2727" y="248"/>
                      <a:pt x="2727" y="248"/>
                    </a:cubicBezTo>
                    <a:cubicBezTo>
                      <a:pt x="2666" y="278"/>
                      <a:pt x="2666" y="278"/>
                      <a:pt x="2666" y="278"/>
                    </a:cubicBezTo>
                    <a:cubicBezTo>
                      <a:pt x="2666" y="310"/>
                      <a:pt x="2635" y="341"/>
                      <a:pt x="2635" y="341"/>
                    </a:cubicBezTo>
                    <a:cubicBezTo>
                      <a:pt x="2635" y="371"/>
                      <a:pt x="2635" y="371"/>
                      <a:pt x="2604" y="371"/>
                    </a:cubicBezTo>
                    <a:cubicBezTo>
                      <a:pt x="2573" y="371"/>
                      <a:pt x="2573" y="371"/>
                      <a:pt x="2573" y="371"/>
                    </a:cubicBezTo>
                    <a:cubicBezTo>
                      <a:pt x="2542" y="371"/>
                      <a:pt x="2542" y="371"/>
                      <a:pt x="2542" y="371"/>
                    </a:cubicBezTo>
                    <a:cubicBezTo>
                      <a:pt x="2542" y="371"/>
                      <a:pt x="2542" y="371"/>
                      <a:pt x="2510" y="371"/>
                    </a:cubicBezTo>
                    <a:cubicBezTo>
                      <a:pt x="2510" y="402"/>
                      <a:pt x="2510" y="402"/>
                      <a:pt x="2480" y="434"/>
                    </a:cubicBezTo>
                    <a:cubicBezTo>
                      <a:pt x="2449" y="434"/>
                      <a:pt x="2325" y="495"/>
                      <a:pt x="2325" y="495"/>
                    </a:cubicBezTo>
                    <a:lnTo>
                      <a:pt x="2325" y="495"/>
                    </a:lnTo>
                    <a:cubicBezTo>
                      <a:pt x="2294" y="495"/>
                      <a:pt x="2294" y="465"/>
                      <a:pt x="2294" y="465"/>
                    </a:cubicBezTo>
                    <a:lnTo>
                      <a:pt x="2294" y="465"/>
                    </a:lnTo>
                    <a:cubicBezTo>
                      <a:pt x="2263" y="465"/>
                      <a:pt x="2232" y="402"/>
                      <a:pt x="2232" y="402"/>
                    </a:cubicBezTo>
                    <a:cubicBezTo>
                      <a:pt x="2232" y="371"/>
                      <a:pt x="2232" y="371"/>
                      <a:pt x="2232" y="371"/>
                    </a:cubicBezTo>
                    <a:lnTo>
                      <a:pt x="2232" y="371"/>
                    </a:lnTo>
                    <a:lnTo>
                      <a:pt x="2263" y="341"/>
                    </a:lnTo>
                    <a:cubicBezTo>
                      <a:pt x="2263" y="341"/>
                      <a:pt x="2263" y="341"/>
                      <a:pt x="2232" y="341"/>
                    </a:cubicBezTo>
                    <a:lnTo>
                      <a:pt x="2232" y="341"/>
                    </a:lnTo>
                    <a:cubicBezTo>
                      <a:pt x="2201" y="310"/>
                      <a:pt x="2232" y="278"/>
                      <a:pt x="2232" y="278"/>
                    </a:cubicBezTo>
                    <a:cubicBezTo>
                      <a:pt x="2232" y="278"/>
                      <a:pt x="2232" y="278"/>
                      <a:pt x="2232" y="248"/>
                    </a:cubicBezTo>
                    <a:cubicBezTo>
                      <a:pt x="2232" y="248"/>
                      <a:pt x="2232" y="248"/>
                      <a:pt x="2232" y="217"/>
                    </a:cubicBezTo>
                    <a:cubicBezTo>
                      <a:pt x="2201" y="217"/>
                      <a:pt x="2201" y="217"/>
                      <a:pt x="2201" y="186"/>
                    </a:cubicBezTo>
                    <a:lnTo>
                      <a:pt x="2201" y="186"/>
                    </a:lnTo>
                    <a:cubicBezTo>
                      <a:pt x="2170" y="186"/>
                      <a:pt x="2170" y="217"/>
                      <a:pt x="2170" y="217"/>
                    </a:cubicBezTo>
                    <a:lnTo>
                      <a:pt x="2170" y="248"/>
                    </a:lnTo>
                    <a:cubicBezTo>
                      <a:pt x="2139" y="248"/>
                      <a:pt x="2139" y="248"/>
                      <a:pt x="2139" y="248"/>
                    </a:cubicBezTo>
                    <a:lnTo>
                      <a:pt x="2139" y="248"/>
                    </a:lnTo>
                    <a:lnTo>
                      <a:pt x="2139" y="278"/>
                    </a:lnTo>
                    <a:lnTo>
                      <a:pt x="2139" y="310"/>
                    </a:lnTo>
                    <a:cubicBezTo>
                      <a:pt x="2108" y="310"/>
                      <a:pt x="2108" y="310"/>
                      <a:pt x="2108" y="341"/>
                    </a:cubicBezTo>
                    <a:lnTo>
                      <a:pt x="2077" y="341"/>
                    </a:lnTo>
                    <a:cubicBezTo>
                      <a:pt x="2077" y="371"/>
                      <a:pt x="2046" y="371"/>
                      <a:pt x="2046" y="371"/>
                    </a:cubicBezTo>
                    <a:lnTo>
                      <a:pt x="2046" y="371"/>
                    </a:lnTo>
                    <a:cubicBezTo>
                      <a:pt x="2015" y="341"/>
                      <a:pt x="2015" y="341"/>
                      <a:pt x="2015" y="341"/>
                    </a:cubicBezTo>
                    <a:cubicBezTo>
                      <a:pt x="2015" y="217"/>
                      <a:pt x="2015" y="217"/>
                      <a:pt x="2015" y="217"/>
                    </a:cubicBezTo>
                    <a:cubicBezTo>
                      <a:pt x="2108" y="154"/>
                      <a:pt x="2108" y="154"/>
                      <a:pt x="2108" y="154"/>
                    </a:cubicBezTo>
                    <a:cubicBezTo>
                      <a:pt x="2077" y="154"/>
                      <a:pt x="2077" y="154"/>
                      <a:pt x="2077" y="154"/>
                    </a:cubicBezTo>
                    <a:cubicBezTo>
                      <a:pt x="2046" y="154"/>
                      <a:pt x="2046" y="154"/>
                      <a:pt x="2046" y="154"/>
                    </a:cubicBezTo>
                    <a:cubicBezTo>
                      <a:pt x="2015" y="124"/>
                      <a:pt x="2015" y="124"/>
                      <a:pt x="2015" y="124"/>
                    </a:cubicBezTo>
                    <a:lnTo>
                      <a:pt x="1984" y="124"/>
                    </a:lnTo>
                    <a:lnTo>
                      <a:pt x="1922" y="154"/>
                    </a:lnTo>
                    <a:cubicBezTo>
                      <a:pt x="1922" y="186"/>
                      <a:pt x="1891" y="186"/>
                      <a:pt x="1891" y="186"/>
                    </a:cubicBezTo>
                    <a:cubicBezTo>
                      <a:pt x="1891" y="186"/>
                      <a:pt x="1891" y="186"/>
                      <a:pt x="1860" y="186"/>
                    </a:cubicBezTo>
                    <a:cubicBezTo>
                      <a:pt x="1860" y="154"/>
                      <a:pt x="1860" y="154"/>
                      <a:pt x="1860" y="154"/>
                    </a:cubicBezTo>
                    <a:cubicBezTo>
                      <a:pt x="1829" y="154"/>
                      <a:pt x="1798" y="154"/>
                      <a:pt x="1798" y="154"/>
                    </a:cubicBezTo>
                    <a:cubicBezTo>
                      <a:pt x="1736" y="124"/>
                      <a:pt x="1736" y="124"/>
                      <a:pt x="1736" y="124"/>
                    </a:cubicBezTo>
                    <a:cubicBezTo>
                      <a:pt x="1798" y="93"/>
                      <a:pt x="1798" y="93"/>
                      <a:pt x="1798" y="93"/>
                    </a:cubicBezTo>
                    <a:cubicBezTo>
                      <a:pt x="1798" y="93"/>
                      <a:pt x="1829" y="62"/>
                      <a:pt x="1860" y="62"/>
                    </a:cubicBezTo>
                    <a:cubicBezTo>
                      <a:pt x="1860" y="62"/>
                      <a:pt x="1860" y="30"/>
                      <a:pt x="1829" y="30"/>
                    </a:cubicBezTo>
                    <a:lnTo>
                      <a:pt x="1829" y="62"/>
                    </a:lnTo>
                    <a:lnTo>
                      <a:pt x="1829" y="62"/>
                    </a:lnTo>
                    <a:lnTo>
                      <a:pt x="1829" y="62"/>
                    </a:lnTo>
                    <a:cubicBezTo>
                      <a:pt x="1798" y="62"/>
                      <a:pt x="1798" y="30"/>
                      <a:pt x="1798" y="30"/>
                    </a:cubicBezTo>
                    <a:cubicBezTo>
                      <a:pt x="1767" y="30"/>
                      <a:pt x="1736" y="0"/>
                      <a:pt x="1736" y="0"/>
                    </a:cubicBezTo>
                    <a:lnTo>
                      <a:pt x="1736" y="0"/>
                    </a:lnTo>
                    <a:cubicBezTo>
                      <a:pt x="1705" y="0"/>
                      <a:pt x="1705" y="30"/>
                      <a:pt x="1705" y="30"/>
                    </a:cubicBezTo>
                    <a:lnTo>
                      <a:pt x="1705" y="30"/>
                    </a:lnTo>
                    <a:cubicBezTo>
                      <a:pt x="1705" y="30"/>
                      <a:pt x="1705" y="30"/>
                      <a:pt x="1674" y="30"/>
                    </a:cubicBezTo>
                    <a:lnTo>
                      <a:pt x="1674" y="30"/>
                    </a:lnTo>
                    <a:cubicBezTo>
                      <a:pt x="1674" y="30"/>
                      <a:pt x="1643" y="0"/>
                      <a:pt x="1612" y="0"/>
                    </a:cubicBezTo>
                    <a:lnTo>
                      <a:pt x="1612" y="0"/>
                    </a:lnTo>
                    <a:lnTo>
                      <a:pt x="1612" y="0"/>
                    </a:lnTo>
                    <a:lnTo>
                      <a:pt x="1612" y="0"/>
                    </a:lnTo>
                    <a:lnTo>
                      <a:pt x="1612" y="0"/>
                    </a:lnTo>
                    <a:cubicBezTo>
                      <a:pt x="1612" y="0"/>
                      <a:pt x="1612" y="0"/>
                      <a:pt x="1581" y="0"/>
                    </a:cubicBezTo>
                    <a:cubicBezTo>
                      <a:pt x="124" y="0"/>
                      <a:pt x="124" y="0"/>
                      <a:pt x="124" y="0"/>
                    </a:cubicBezTo>
                    <a:lnTo>
                      <a:pt x="124" y="0"/>
                    </a:lnTo>
                    <a:cubicBezTo>
                      <a:pt x="124" y="0"/>
                      <a:pt x="124" y="0"/>
                      <a:pt x="124" y="30"/>
                    </a:cubicBezTo>
                    <a:lnTo>
                      <a:pt x="124" y="62"/>
                    </a:lnTo>
                    <a:lnTo>
                      <a:pt x="124" y="62"/>
                    </a:lnTo>
                    <a:cubicBezTo>
                      <a:pt x="124" y="93"/>
                      <a:pt x="124" y="93"/>
                      <a:pt x="93" y="93"/>
                    </a:cubicBezTo>
                    <a:lnTo>
                      <a:pt x="93" y="93"/>
                    </a:lnTo>
                    <a:lnTo>
                      <a:pt x="93" y="93"/>
                    </a:lnTo>
                    <a:lnTo>
                      <a:pt x="93" y="93"/>
                    </a:lnTo>
                    <a:cubicBezTo>
                      <a:pt x="62" y="93"/>
                      <a:pt x="62" y="93"/>
                      <a:pt x="62" y="62"/>
                    </a:cubicBezTo>
                    <a:lnTo>
                      <a:pt x="62" y="62"/>
                    </a:lnTo>
                    <a:cubicBezTo>
                      <a:pt x="32" y="62"/>
                      <a:pt x="32" y="30"/>
                      <a:pt x="32" y="30"/>
                    </a:cubicBezTo>
                    <a:lnTo>
                      <a:pt x="0" y="30"/>
                    </a:lnTo>
                    <a:lnTo>
                      <a:pt x="0" y="30"/>
                    </a:lnTo>
                    <a:cubicBezTo>
                      <a:pt x="32" y="30"/>
                      <a:pt x="32" y="62"/>
                      <a:pt x="32" y="62"/>
                    </a:cubicBezTo>
                    <a:lnTo>
                      <a:pt x="32" y="62"/>
                    </a:lnTo>
                    <a:cubicBezTo>
                      <a:pt x="32" y="62"/>
                      <a:pt x="32" y="62"/>
                      <a:pt x="32" y="93"/>
                    </a:cubicBezTo>
                    <a:lnTo>
                      <a:pt x="62" y="93"/>
                    </a:lnTo>
                    <a:cubicBezTo>
                      <a:pt x="62" y="124"/>
                      <a:pt x="32" y="124"/>
                      <a:pt x="32" y="124"/>
                    </a:cubicBezTo>
                    <a:lnTo>
                      <a:pt x="32" y="124"/>
                    </a:lnTo>
                    <a:cubicBezTo>
                      <a:pt x="32" y="154"/>
                      <a:pt x="32" y="186"/>
                      <a:pt x="32" y="248"/>
                    </a:cubicBezTo>
                    <a:lnTo>
                      <a:pt x="32" y="248"/>
                    </a:lnTo>
                    <a:cubicBezTo>
                      <a:pt x="32" y="278"/>
                      <a:pt x="32" y="310"/>
                      <a:pt x="32" y="310"/>
                    </a:cubicBezTo>
                    <a:cubicBezTo>
                      <a:pt x="0" y="341"/>
                      <a:pt x="0" y="341"/>
                      <a:pt x="0" y="371"/>
                    </a:cubicBezTo>
                    <a:lnTo>
                      <a:pt x="0" y="371"/>
                    </a:lnTo>
                    <a:lnTo>
                      <a:pt x="0" y="371"/>
                    </a:lnTo>
                    <a:lnTo>
                      <a:pt x="0" y="402"/>
                    </a:lnTo>
                    <a:cubicBezTo>
                      <a:pt x="32" y="434"/>
                      <a:pt x="32" y="465"/>
                      <a:pt x="32" y="465"/>
                    </a:cubicBezTo>
                    <a:cubicBezTo>
                      <a:pt x="32" y="465"/>
                      <a:pt x="32" y="495"/>
                      <a:pt x="0" y="495"/>
                    </a:cubicBezTo>
                    <a:lnTo>
                      <a:pt x="0" y="495"/>
                    </a:lnTo>
                    <a:cubicBezTo>
                      <a:pt x="32" y="495"/>
                      <a:pt x="32" y="526"/>
                      <a:pt x="32" y="526"/>
                    </a:cubicBezTo>
                    <a:cubicBezTo>
                      <a:pt x="32" y="526"/>
                      <a:pt x="32" y="526"/>
                      <a:pt x="32" y="558"/>
                    </a:cubicBezTo>
                    <a:cubicBezTo>
                      <a:pt x="62" y="558"/>
                      <a:pt x="62" y="558"/>
                      <a:pt x="62" y="589"/>
                    </a:cubicBezTo>
                    <a:cubicBezTo>
                      <a:pt x="62" y="589"/>
                      <a:pt x="32" y="589"/>
                      <a:pt x="62" y="589"/>
                    </a:cubicBezTo>
                    <a:lnTo>
                      <a:pt x="62" y="589"/>
                    </a:lnTo>
                    <a:cubicBezTo>
                      <a:pt x="62" y="619"/>
                      <a:pt x="62" y="619"/>
                      <a:pt x="62" y="619"/>
                    </a:cubicBezTo>
                    <a:cubicBezTo>
                      <a:pt x="93" y="650"/>
                      <a:pt x="93" y="650"/>
                      <a:pt x="93" y="650"/>
                    </a:cubicBezTo>
                    <a:lnTo>
                      <a:pt x="93" y="650"/>
                    </a:lnTo>
                    <a:cubicBezTo>
                      <a:pt x="124" y="650"/>
                      <a:pt x="124" y="650"/>
                      <a:pt x="124" y="650"/>
                    </a:cubicBezTo>
                    <a:lnTo>
                      <a:pt x="156" y="650"/>
                    </a:lnTo>
                    <a:lnTo>
                      <a:pt x="156" y="650"/>
                    </a:lnTo>
                    <a:lnTo>
                      <a:pt x="186" y="650"/>
                    </a:lnTo>
                    <a:cubicBezTo>
                      <a:pt x="186" y="682"/>
                      <a:pt x="186" y="682"/>
                      <a:pt x="156" y="713"/>
                    </a:cubicBezTo>
                    <a:cubicBezTo>
                      <a:pt x="156" y="713"/>
                      <a:pt x="156" y="713"/>
                      <a:pt x="156" y="743"/>
                    </a:cubicBezTo>
                    <a:cubicBezTo>
                      <a:pt x="156" y="743"/>
                      <a:pt x="156" y="743"/>
                      <a:pt x="156" y="774"/>
                    </a:cubicBezTo>
                    <a:lnTo>
                      <a:pt x="186" y="806"/>
                    </a:lnTo>
                    <a:cubicBezTo>
                      <a:pt x="217" y="837"/>
                      <a:pt x="217" y="837"/>
                      <a:pt x="217" y="867"/>
                    </a:cubicBezTo>
                    <a:lnTo>
                      <a:pt x="217" y="867"/>
                    </a:lnTo>
                    <a:cubicBezTo>
                      <a:pt x="248" y="867"/>
                      <a:pt x="248" y="867"/>
                      <a:pt x="280" y="867"/>
                    </a:cubicBezTo>
                    <a:lnTo>
                      <a:pt x="280" y="867"/>
                    </a:lnTo>
                    <a:lnTo>
                      <a:pt x="310" y="898"/>
                    </a:lnTo>
                    <a:lnTo>
                      <a:pt x="310" y="898"/>
                    </a:lnTo>
                    <a:cubicBezTo>
                      <a:pt x="341" y="898"/>
                      <a:pt x="341" y="898"/>
                      <a:pt x="372" y="930"/>
                    </a:cubicBezTo>
                    <a:cubicBezTo>
                      <a:pt x="372" y="930"/>
                      <a:pt x="372" y="961"/>
                      <a:pt x="404" y="961"/>
                    </a:cubicBezTo>
                    <a:cubicBezTo>
                      <a:pt x="404" y="961"/>
                      <a:pt x="404" y="961"/>
                      <a:pt x="404" y="991"/>
                    </a:cubicBezTo>
                    <a:lnTo>
                      <a:pt x="404" y="991"/>
                    </a:lnTo>
                    <a:cubicBezTo>
                      <a:pt x="434" y="991"/>
                      <a:pt x="434" y="991"/>
                      <a:pt x="465" y="991"/>
                    </a:cubicBezTo>
                    <a:lnTo>
                      <a:pt x="465" y="991"/>
                    </a:lnTo>
                    <a:cubicBezTo>
                      <a:pt x="465" y="991"/>
                      <a:pt x="496" y="991"/>
                      <a:pt x="496" y="961"/>
                    </a:cubicBezTo>
                    <a:lnTo>
                      <a:pt x="496" y="961"/>
                    </a:lnTo>
                    <a:lnTo>
                      <a:pt x="496" y="961"/>
                    </a:lnTo>
                    <a:lnTo>
                      <a:pt x="496" y="961"/>
                    </a:lnTo>
                    <a:cubicBezTo>
                      <a:pt x="528" y="961"/>
                      <a:pt x="528" y="991"/>
                      <a:pt x="528" y="991"/>
                    </a:cubicBezTo>
                    <a:lnTo>
                      <a:pt x="528" y="991"/>
                    </a:lnTo>
                    <a:cubicBezTo>
                      <a:pt x="558" y="991"/>
                      <a:pt x="558" y="991"/>
                      <a:pt x="558" y="991"/>
                    </a:cubicBezTo>
                    <a:lnTo>
                      <a:pt x="558" y="991"/>
                    </a:lnTo>
                    <a:cubicBezTo>
                      <a:pt x="558" y="991"/>
                      <a:pt x="558" y="991"/>
                      <a:pt x="589" y="991"/>
                    </a:cubicBezTo>
                    <a:cubicBezTo>
                      <a:pt x="589" y="1022"/>
                      <a:pt x="620" y="1022"/>
                      <a:pt x="652" y="1022"/>
                    </a:cubicBezTo>
                    <a:cubicBezTo>
                      <a:pt x="682" y="1054"/>
                      <a:pt x="713" y="1054"/>
                      <a:pt x="744" y="1054"/>
                    </a:cubicBezTo>
                    <a:cubicBezTo>
                      <a:pt x="744" y="1054"/>
                      <a:pt x="744" y="1085"/>
                      <a:pt x="776" y="1085"/>
                    </a:cubicBezTo>
                    <a:lnTo>
                      <a:pt x="776" y="1085"/>
                    </a:lnTo>
                    <a:cubicBezTo>
                      <a:pt x="806" y="1085"/>
                      <a:pt x="806" y="1085"/>
                      <a:pt x="837" y="1085"/>
                    </a:cubicBezTo>
                    <a:cubicBezTo>
                      <a:pt x="837" y="1085"/>
                      <a:pt x="837" y="1085"/>
                      <a:pt x="868" y="1085"/>
                    </a:cubicBezTo>
                    <a:cubicBezTo>
                      <a:pt x="837" y="1022"/>
                      <a:pt x="837" y="1022"/>
                      <a:pt x="837" y="1022"/>
                    </a:cubicBezTo>
                    <a:cubicBezTo>
                      <a:pt x="868" y="1022"/>
                      <a:pt x="868" y="1022"/>
                      <a:pt x="868" y="1022"/>
                    </a:cubicBezTo>
                    <a:lnTo>
                      <a:pt x="868" y="1022"/>
                    </a:lnTo>
                    <a:cubicBezTo>
                      <a:pt x="868" y="1022"/>
                      <a:pt x="900" y="1022"/>
                      <a:pt x="930" y="1022"/>
                    </a:cubicBezTo>
                    <a:lnTo>
                      <a:pt x="930" y="1022"/>
                    </a:lnTo>
                    <a:cubicBezTo>
                      <a:pt x="930" y="1022"/>
                      <a:pt x="930" y="1022"/>
                      <a:pt x="961" y="1022"/>
                    </a:cubicBezTo>
                    <a:cubicBezTo>
                      <a:pt x="961" y="1022"/>
                      <a:pt x="961" y="1022"/>
                      <a:pt x="992" y="1054"/>
                    </a:cubicBezTo>
                    <a:lnTo>
                      <a:pt x="1054" y="1085"/>
                    </a:lnTo>
                    <a:cubicBezTo>
                      <a:pt x="1054" y="1115"/>
                      <a:pt x="1085" y="1146"/>
                      <a:pt x="1116" y="1178"/>
                    </a:cubicBezTo>
                    <a:lnTo>
                      <a:pt x="1116" y="1178"/>
                    </a:lnTo>
                    <a:cubicBezTo>
                      <a:pt x="1116" y="1178"/>
                      <a:pt x="1116" y="1209"/>
                      <a:pt x="1147" y="1209"/>
                    </a:cubicBezTo>
                    <a:lnTo>
                      <a:pt x="1147" y="1209"/>
                    </a:lnTo>
                    <a:lnTo>
                      <a:pt x="1147" y="1209"/>
                    </a:lnTo>
                    <a:lnTo>
                      <a:pt x="1147" y="1209"/>
                    </a:lnTo>
                    <a:lnTo>
                      <a:pt x="1147" y="1209"/>
                    </a:lnTo>
                    <a:cubicBezTo>
                      <a:pt x="1178" y="1178"/>
                      <a:pt x="1178" y="1178"/>
                      <a:pt x="1209" y="1146"/>
                    </a:cubicBezTo>
                    <a:lnTo>
                      <a:pt x="1209" y="1146"/>
                    </a:lnTo>
                    <a:cubicBezTo>
                      <a:pt x="1240" y="1146"/>
                      <a:pt x="1240" y="1146"/>
                      <a:pt x="1240" y="1178"/>
                    </a:cubicBezTo>
                    <a:cubicBezTo>
                      <a:pt x="1271" y="1178"/>
                      <a:pt x="1271" y="1178"/>
                      <a:pt x="1271" y="1178"/>
                    </a:cubicBezTo>
                    <a:cubicBezTo>
                      <a:pt x="1302" y="1178"/>
                      <a:pt x="1333" y="1239"/>
                      <a:pt x="1333" y="1270"/>
                    </a:cubicBezTo>
                    <a:lnTo>
                      <a:pt x="1364" y="1302"/>
                    </a:lnTo>
                    <a:cubicBezTo>
                      <a:pt x="1395" y="1333"/>
                      <a:pt x="1395" y="1363"/>
                      <a:pt x="1395" y="1363"/>
                    </a:cubicBezTo>
                    <a:lnTo>
                      <a:pt x="1395" y="1363"/>
                    </a:lnTo>
                    <a:lnTo>
                      <a:pt x="1395" y="1363"/>
                    </a:lnTo>
                    <a:lnTo>
                      <a:pt x="1395" y="1363"/>
                    </a:lnTo>
                    <a:cubicBezTo>
                      <a:pt x="1395" y="1363"/>
                      <a:pt x="1395" y="1363"/>
                      <a:pt x="1395" y="1394"/>
                    </a:cubicBezTo>
                    <a:cubicBezTo>
                      <a:pt x="1426" y="1394"/>
                      <a:pt x="1426" y="1394"/>
                      <a:pt x="1426" y="1394"/>
                    </a:cubicBezTo>
                    <a:lnTo>
                      <a:pt x="1426" y="1394"/>
                    </a:lnTo>
                    <a:lnTo>
                      <a:pt x="1426" y="1394"/>
                    </a:lnTo>
                    <a:lnTo>
                      <a:pt x="1426" y="1394"/>
                    </a:lnTo>
                    <a:lnTo>
                      <a:pt x="1426" y="1394"/>
                    </a:lnTo>
                    <a:cubicBezTo>
                      <a:pt x="1457" y="1394"/>
                      <a:pt x="1457" y="1394"/>
                      <a:pt x="1457" y="1394"/>
                    </a:cubicBezTo>
                    <a:cubicBezTo>
                      <a:pt x="1457" y="1363"/>
                      <a:pt x="1457" y="1333"/>
                      <a:pt x="1488" y="1302"/>
                    </a:cubicBezTo>
                    <a:cubicBezTo>
                      <a:pt x="1488" y="1302"/>
                      <a:pt x="1488" y="1302"/>
                      <a:pt x="1519" y="1270"/>
                    </a:cubicBezTo>
                    <a:cubicBezTo>
                      <a:pt x="1550" y="1239"/>
                      <a:pt x="1581" y="1239"/>
                      <a:pt x="1581" y="1239"/>
                    </a:cubicBezTo>
                    <a:cubicBezTo>
                      <a:pt x="1612" y="1209"/>
                      <a:pt x="1643" y="1178"/>
                      <a:pt x="1674" y="1178"/>
                    </a:cubicBezTo>
                    <a:cubicBezTo>
                      <a:pt x="1674" y="1146"/>
                      <a:pt x="1674" y="1146"/>
                      <a:pt x="1674" y="1146"/>
                    </a:cubicBezTo>
                    <a:cubicBezTo>
                      <a:pt x="1705" y="1178"/>
                      <a:pt x="1705" y="1178"/>
                      <a:pt x="1705" y="1178"/>
                    </a:cubicBezTo>
                    <a:lnTo>
                      <a:pt x="1705" y="1178"/>
                    </a:lnTo>
                    <a:cubicBezTo>
                      <a:pt x="1891" y="1146"/>
                      <a:pt x="1891" y="1146"/>
                      <a:pt x="1891" y="1146"/>
                    </a:cubicBezTo>
                    <a:cubicBezTo>
                      <a:pt x="1891" y="1146"/>
                      <a:pt x="1953" y="1115"/>
                      <a:pt x="1984" y="1115"/>
                    </a:cubicBezTo>
                    <a:cubicBezTo>
                      <a:pt x="1984" y="1115"/>
                      <a:pt x="1984" y="1115"/>
                      <a:pt x="2015" y="1146"/>
                    </a:cubicBezTo>
                    <a:lnTo>
                      <a:pt x="2015" y="1146"/>
                    </a:lnTo>
                    <a:lnTo>
                      <a:pt x="2015" y="1146"/>
                    </a:lnTo>
                    <a:lnTo>
                      <a:pt x="2046" y="1146"/>
                    </a:lnTo>
                    <a:cubicBezTo>
                      <a:pt x="2046" y="1146"/>
                      <a:pt x="2046" y="1115"/>
                      <a:pt x="2077" y="1115"/>
                    </a:cubicBezTo>
                    <a:cubicBezTo>
                      <a:pt x="2077" y="1115"/>
                      <a:pt x="2077" y="1115"/>
                      <a:pt x="2077" y="1146"/>
                    </a:cubicBezTo>
                    <a:cubicBezTo>
                      <a:pt x="2108" y="1146"/>
                      <a:pt x="2108" y="1146"/>
                      <a:pt x="2108" y="1146"/>
                    </a:cubicBezTo>
                    <a:lnTo>
                      <a:pt x="2108" y="1146"/>
                    </a:lnTo>
                    <a:lnTo>
                      <a:pt x="2108" y="1146"/>
                    </a:lnTo>
                    <a:cubicBezTo>
                      <a:pt x="2108" y="1146"/>
                      <a:pt x="2108" y="1146"/>
                      <a:pt x="2139" y="1146"/>
                    </a:cubicBezTo>
                    <a:cubicBezTo>
                      <a:pt x="2139" y="1146"/>
                      <a:pt x="2170" y="1146"/>
                      <a:pt x="2170" y="1178"/>
                    </a:cubicBezTo>
                    <a:lnTo>
                      <a:pt x="2170" y="1178"/>
                    </a:lnTo>
                    <a:lnTo>
                      <a:pt x="2170" y="1178"/>
                    </a:lnTo>
                    <a:cubicBezTo>
                      <a:pt x="2170" y="1178"/>
                      <a:pt x="2201" y="1178"/>
                      <a:pt x="2201" y="1146"/>
                    </a:cubicBezTo>
                    <a:cubicBezTo>
                      <a:pt x="2232" y="1146"/>
                      <a:pt x="2232" y="1146"/>
                      <a:pt x="2232" y="1146"/>
                    </a:cubicBezTo>
                    <a:lnTo>
                      <a:pt x="2232" y="1146"/>
                    </a:lnTo>
                    <a:cubicBezTo>
                      <a:pt x="2232" y="1178"/>
                      <a:pt x="2294" y="1209"/>
                      <a:pt x="2294" y="1209"/>
                    </a:cubicBezTo>
                    <a:lnTo>
                      <a:pt x="2294" y="1209"/>
                    </a:lnTo>
                    <a:cubicBezTo>
                      <a:pt x="2325" y="1239"/>
                      <a:pt x="2325" y="1270"/>
                      <a:pt x="2325" y="1302"/>
                    </a:cubicBezTo>
                    <a:lnTo>
                      <a:pt x="2325" y="1302"/>
                    </a:lnTo>
                    <a:lnTo>
                      <a:pt x="2325" y="1302"/>
                    </a:lnTo>
                    <a:cubicBezTo>
                      <a:pt x="2325" y="1333"/>
                      <a:pt x="2325" y="1333"/>
                      <a:pt x="2325" y="1333"/>
                    </a:cubicBezTo>
                    <a:lnTo>
                      <a:pt x="2325" y="1333"/>
                    </a:lnTo>
                    <a:lnTo>
                      <a:pt x="2325" y="1333"/>
                    </a:lnTo>
                    <a:cubicBezTo>
                      <a:pt x="2325" y="1333"/>
                      <a:pt x="2356" y="1333"/>
                      <a:pt x="2356" y="1363"/>
                    </a:cubicBezTo>
                    <a:cubicBezTo>
                      <a:pt x="2356" y="1394"/>
                      <a:pt x="2356" y="1394"/>
                      <a:pt x="2356" y="1394"/>
                    </a:cubicBezTo>
                    <a:cubicBezTo>
                      <a:pt x="2356" y="1426"/>
                      <a:pt x="2356" y="1426"/>
                      <a:pt x="2387" y="1457"/>
                    </a:cubicBezTo>
                    <a:cubicBezTo>
                      <a:pt x="2418" y="1457"/>
                      <a:pt x="2418" y="1457"/>
                      <a:pt x="2418" y="1457"/>
                    </a:cubicBezTo>
                    <a:cubicBezTo>
                      <a:pt x="2418" y="1426"/>
                      <a:pt x="2418" y="1394"/>
                      <a:pt x="2418" y="1394"/>
                    </a:cubicBezTo>
                    <a:lnTo>
                      <a:pt x="2418" y="1363"/>
                    </a:lnTo>
                    <a:cubicBezTo>
                      <a:pt x="2387" y="1333"/>
                      <a:pt x="2387" y="1302"/>
                      <a:pt x="2387" y="1302"/>
                    </a:cubicBezTo>
                    <a:cubicBezTo>
                      <a:pt x="2387" y="1302"/>
                      <a:pt x="2387" y="1270"/>
                      <a:pt x="2387" y="1239"/>
                    </a:cubicBezTo>
                    <a:cubicBezTo>
                      <a:pt x="2356" y="1209"/>
                      <a:pt x="2356" y="1209"/>
                      <a:pt x="2356" y="1178"/>
                    </a:cubicBezTo>
                    <a:cubicBezTo>
                      <a:pt x="2325" y="1146"/>
                      <a:pt x="2356" y="1085"/>
                      <a:pt x="2356" y="1054"/>
                    </a:cubicBezTo>
                    <a:lnTo>
                      <a:pt x="2356" y="1054"/>
                    </a:lnTo>
                    <a:cubicBezTo>
                      <a:pt x="2356" y="1022"/>
                      <a:pt x="2418" y="991"/>
                      <a:pt x="2449" y="961"/>
                    </a:cubicBezTo>
                    <a:lnTo>
                      <a:pt x="2449" y="961"/>
                    </a:lnTo>
                    <a:cubicBezTo>
                      <a:pt x="2480" y="961"/>
                      <a:pt x="2480" y="930"/>
                      <a:pt x="2510" y="930"/>
                    </a:cubicBezTo>
                    <a:cubicBezTo>
                      <a:pt x="2510" y="898"/>
                      <a:pt x="2510" y="898"/>
                      <a:pt x="2542" y="898"/>
                    </a:cubicBezTo>
                    <a:cubicBezTo>
                      <a:pt x="2542" y="867"/>
                      <a:pt x="2573" y="867"/>
                      <a:pt x="2604" y="867"/>
                    </a:cubicBezTo>
                    <a:cubicBezTo>
                      <a:pt x="2604" y="867"/>
                      <a:pt x="2604" y="867"/>
                      <a:pt x="2604" y="837"/>
                    </a:cubicBezTo>
                    <a:lnTo>
                      <a:pt x="2604" y="837"/>
                    </a:lnTo>
                    <a:lnTo>
                      <a:pt x="2604" y="837"/>
                    </a:lnTo>
                    <a:cubicBezTo>
                      <a:pt x="2604" y="806"/>
                      <a:pt x="2604" y="806"/>
                      <a:pt x="2604" y="806"/>
                    </a:cubicBezTo>
                    <a:lnTo>
                      <a:pt x="2604" y="806"/>
                    </a:lnTo>
                    <a:cubicBezTo>
                      <a:pt x="2604" y="774"/>
                      <a:pt x="2604" y="774"/>
                      <a:pt x="2635" y="743"/>
                    </a:cubicBezTo>
                    <a:cubicBezTo>
                      <a:pt x="2635" y="743"/>
                      <a:pt x="2635" y="743"/>
                      <a:pt x="2604" y="743"/>
                    </a:cubicBezTo>
                    <a:lnTo>
                      <a:pt x="2604" y="743"/>
                    </a:lnTo>
                    <a:lnTo>
                      <a:pt x="2573" y="713"/>
                    </a:lnTo>
                    <a:cubicBezTo>
                      <a:pt x="2573" y="682"/>
                      <a:pt x="2604" y="682"/>
                      <a:pt x="2604" y="682"/>
                    </a:cubicBezTo>
                    <a:lnTo>
                      <a:pt x="2604" y="682"/>
                    </a:lnTo>
                    <a:cubicBezTo>
                      <a:pt x="2573" y="650"/>
                      <a:pt x="2573" y="619"/>
                      <a:pt x="2573" y="619"/>
                    </a:cubicBezTo>
                    <a:lnTo>
                      <a:pt x="2573" y="619"/>
                    </a:lnTo>
                    <a:cubicBezTo>
                      <a:pt x="2573" y="589"/>
                      <a:pt x="2604" y="589"/>
                      <a:pt x="2604" y="589"/>
                    </a:cubicBezTo>
                    <a:lnTo>
                      <a:pt x="2604" y="589"/>
                    </a:lnTo>
                    <a:cubicBezTo>
                      <a:pt x="2604" y="589"/>
                      <a:pt x="2604" y="558"/>
                      <a:pt x="2635" y="558"/>
                    </a:cubicBezTo>
                    <a:lnTo>
                      <a:pt x="2666" y="526"/>
                    </a:lnTo>
                    <a:lnTo>
                      <a:pt x="2666" y="526"/>
                    </a:lnTo>
                    <a:lnTo>
                      <a:pt x="2666" y="526"/>
                    </a:lnTo>
                    <a:cubicBezTo>
                      <a:pt x="2697" y="495"/>
                      <a:pt x="2697" y="495"/>
                      <a:pt x="2727" y="495"/>
                    </a:cubicBezTo>
                    <a:cubicBezTo>
                      <a:pt x="2727" y="495"/>
                      <a:pt x="2727" y="495"/>
                      <a:pt x="2727" y="526"/>
                    </a:cubicBezTo>
                    <a:cubicBezTo>
                      <a:pt x="2759" y="526"/>
                      <a:pt x="2759" y="526"/>
                      <a:pt x="2759" y="526"/>
                    </a:cubicBezTo>
                    <a:lnTo>
                      <a:pt x="2759" y="526"/>
                    </a:lnTo>
                    <a:lnTo>
                      <a:pt x="2759" y="526"/>
                    </a:lnTo>
                    <a:lnTo>
                      <a:pt x="2759" y="526"/>
                    </a:lnTo>
                    <a:lnTo>
                      <a:pt x="2759" y="526"/>
                    </a:lnTo>
                    <a:cubicBezTo>
                      <a:pt x="2759" y="526"/>
                      <a:pt x="2727" y="495"/>
                      <a:pt x="2759" y="495"/>
                    </a:cubicBezTo>
                    <a:cubicBezTo>
                      <a:pt x="2759" y="465"/>
                      <a:pt x="2759" y="465"/>
                      <a:pt x="2759" y="465"/>
                    </a:cubicBezTo>
                    <a:lnTo>
                      <a:pt x="2790" y="465"/>
                    </a:lnTo>
                    <a:lnTo>
                      <a:pt x="2790" y="465"/>
                    </a:lnTo>
                    <a:lnTo>
                      <a:pt x="2790" y="434"/>
                    </a:lnTo>
                    <a:cubicBezTo>
                      <a:pt x="2821" y="434"/>
                      <a:pt x="2821" y="434"/>
                      <a:pt x="2883" y="434"/>
                    </a:cubicBezTo>
                    <a:cubicBezTo>
                      <a:pt x="2914" y="434"/>
                      <a:pt x="2914" y="434"/>
                      <a:pt x="2914" y="434"/>
                    </a:cubicBezTo>
                    <a:cubicBezTo>
                      <a:pt x="2914" y="434"/>
                      <a:pt x="2914" y="434"/>
                      <a:pt x="2914" y="402"/>
                    </a:cubicBezTo>
                    <a:lnTo>
                      <a:pt x="2914" y="402"/>
                    </a:lnTo>
                    <a:lnTo>
                      <a:pt x="2914" y="371"/>
                    </a:lnTo>
                    <a:cubicBezTo>
                      <a:pt x="2914" y="341"/>
                      <a:pt x="2914" y="341"/>
                      <a:pt x="2914" y="341"/>
                    </a:cubicBezTo>
                    <a:cubicBezTo>
                      <a:pt x="2945" y="310"/>
                      <a:pt x="2945" y="310"/>
                      <a:pt x="2975" y="278"/>
                    </a:cubicBezTo>
                    <a:lnTo>
                      <a:pt x="2975" y="278"/>
                    </a:lnTo>
                    <a:cubicBezTo>
                      <a:pt x="3007" y="278"/>
                      <a:pt x="3007" y="278"/>
                      <a:pt x="3007" y="278"/>
                    </a:cubicBezTo>
                    <a:cubicBezTo>
                      <a:pt x="3007" y="278"/>
                      <a:pt x="3038" y="278"/>
                      <a:pt x="3038" y="248"/>
                    </a:cubicBezTo>
                    <a:lnTo>
                      <a:pt x="3038" y="248"/>
                    </a:lnTo>
                    <a:cubicBezTo>
                      <a:pt x="3038" y="248"/>
                      <a:pt x="3038" y="217"/>
                      <a:pt x="3069" y="217"/>
                    </a:cubicBezTo>
                    <a:cubicBezTo>
                      <a:pt x="3069" y="217"/>
                      <a:pt x="3069" y="217"/>
                      <a:pt x="3099" y="217"/>
                    </a:cubicBezTo>
                    <a:lnTo>
                      <a:pt x="3099" y="248"/>
                    </a:lnTo>
                    <a:lnTo>
                      <a:pt x="3099" y="248"/>
                    </a:lnTo>
                    <a:cubicBezTo>
                      <a:pt x="3099" y="217"/>
                      <a:pt x="3099" y="217"/>
                      <a:pt x="3131" y="217"/>
                    </a:cubicBezTo>
                    <a:lnTo>
                      <a:pt x="3131" y="217"/>
                    </a:lnTo>
                    <a:lnTo>
                      <a:pt x="3131" y="217"/>
                    </a:lnTo>
                    <a:cubicBezTo>
                      <a:pt x="3131" y="217"/>
                      <a:pt x="3131" y="217"/>
                      <a:pt x="3099" y="217"/>
                    </a:cubicBezTo>
                  </a:path>
                </a:pathLst>
              </a:custGeom>
              <a:solidFill>
                <a:schemeClr val="accent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17" name="Freeform 214"/>
              <p:cNvSpPr>
                <a:spLocks noChangeArrowheads="1"/>
              </p:cNvSpPr>
              <p:nvPr/>
            </p:nvSpPr>
            <p:spPr bwMode="auto">
              <a:xfrm>
                <a:off x="1939925" y="2327275"/>
                <a:ext cx="55563" cy="66675"/>
              </a:xfrm>
              <a:custGeom>
                <a:avLst/>
                <a:gdLst>
                  <a:gd name="T0" fmla="*/ 124 w 156"/>
                  <a:gd name="T1" fmla="*/ 0 h 187"/>
                  <a:gd name="T2" fmla="*/ 124 w 156"/>
                  <a:gd name="T3" fmla="*/ 0 h 187"/>
                  <a:gd name="T4" fmla="*/ 93 w 156"/>
                  <a:gd name="T5" fmla="*/ 0 h 187"/>
                  <a:gd name="T6" fmla="*/ 93 w 156"/>
                  <a:gd name="T7" fmla="*/ 0 h 187"/>
                  <a:gd name="T8" fmla="*/ 93 w 156"/>
                  <a:gd name="T9" fmla="*/ 0 h 187"/>
                  <a:gd name="T10" fmla="*/ 31 w 156"/>
                  <a:gd name="T11" fmla="*/ 31 h 187"/>
                  <a:gd name="T12" fmla="*/ 31 w 156"/>
                  <a:gd name="T13" fmla="*/ 31 h 187"/>
                  <a:gd name="T14" fmla="*/ 31 w 156"/>
                  <a:gd name="T15" fmla="*/ 31 h 187"/>
                  <a:gd name="T16" fmla="*/ 0 w 156"/>
                  <a:gd name="T17" fmla="*/ 94 h 187"/>
                  <a:gd name="T18" fmla="*/ 0 w 156"/>
                  <a:gd name="T19" fmla="*/ 94 h 187"/>
                  <a:gd name="T20" fmla="*/ 0 w 156"/>
                  <a:gd name="T21" fmla="*/ 124 h 187"/>
                  <a:gd name="T22" fmla="*/ 31 w 156"/>
                  <a:gd name="T23" fmla="*/ 155 h 187"/>
                  <a:gd name="T24" fmla="*/ 62 w 156"/>
                  <a:gd name="T25" fmla="*/ 155 h 187"/>
                  <a:gd name="T26" fmla="*/ 93 w 156"/>
                  <a:gd name="T27" fmla="*/ 155 h 187"/>
                  <a:gd name="T28" fmla="*/ 124 w 156"/>
                  <a:gd name="T29" fmla="*/ 155 h 187"/>
                  <a:gd name="T30" fmla="*/ 124 w 156"/>
                  <a:gd name="T31" fmla="*/ 155 h 187"/>
                  <a:gd name="T32" fmla="*/ 124 w 156"/>
                  <a:gd name="T33" fmla="*/ 155 h 187"/>
                  <a:gd name="T34" fmla="*/ 155 w 156"/>
                  <a:gd name="T35" fmla="*/ 186 h 187"/>
                  <a:gd name="T36" fmla="*/ 155 w 156"/>
                  <a:gd name="T37" fmla="*/ 155 h 187"/>
                  <a:gd name="T38" fmla="*/ 155 w 156"/>
                  <a:gd name="T39" fmla="*/ 62 h 187"/>
                  <a:gd name="T40" fmla="*/ 155 w 156"/>
                  <a:gd name="T41" fmla="*/ 62 h 187"/>
                  <a:gd name="T42" fmla="*/ 155 w 156"/>
                  <a:gd name="T43" fmla="*/ 0 h 187"/>
                  <a:gd name="T44" fmla="*/ 155 w 156"/>
                  <a:gd name="T45" fmla="*/ 0 h 187"/>
                  <a:gd name="T46" fmla="*/ 124 w 156"/>
                  <a:gd name="T4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6" h="187">
                    <a:moveTo>
                      <a:pt x="124" y="0"/>
                    </a:moveTo>
                    <a:lnTo>
                      <a:pt x="124" y="0"/>
                    </a:lnTo>
                    <a:lnTo>
                      <a:pt x="93" y="0"/>
                    </a:lnTo>
                    <a:lnTo>
                      <a:pt x="93" y="0"/>
                    </a:lnTo>
                    <a:lnTo>
                      <a:pt x="93" y="0"/>
                    </a:lnTo>
                    <a:cubicBezTo>
                      <a:pt x="62" y="31"/>
                      <a:pt x="62" y="31"/>
                      <a:pt x="31" y="31"/>
                    </a:cubicBezTo>
                    <a:lnTo>
                      <a:pt x="31" y="31"/>
                    </a:lnTo>
                    <a:lnTo>
                      <a:pt x="31" y="31"/>
                    </a:lnTo>
                    <a:cubicBezTo>
                      <a:pt x="31" y="62"/>
                      <a:pt x="31" y="62"/>
                      <a:pt x="0" y="94"/>
                    </a:cubicBezTo>
                    <a:lnTo>
                      <a:pt x="0" y="94"/>
                    </a:lnTo>
                    <a:cubicBezTo>
                      <a:pt x="0" y="94"/>
                      <a:pt x="0" y="94"/>
                      <a:pt x="0" y="124"/>
                    </a:cubicBezTo>
                    <a:cubicBezTo>
                      <a:pt x="31" y="124"/>
                      <a:pt x="31" y="155"/>
                      <a:pt x="31" y="155"/>
                    </a:cubicBezTo>
                    <a:cubicBezTo>
                      <a:pt x="62" y="155"/>
                      <a:pt x="62" y="155"/>
                      <a:pt x="62" y="155"/>
                    </a:cubicBezTo>
                    <a:lnTo>
                      <a:pt x="93" y="155"/>
                    </a:lnTo>
                    <a:cubicBezTo>
                      <a:pt x="93" y="155"/>
                      <a:pt x="93" y="155"/>
                      <a:pt x="124" y="155"/>
                    </a:cubicBezTo>
                    <a:lnTo>
                      <a:pt x="124" y="155"/>
                    </a:lnTo>
                    <a:lnTo>
                      <a:pt x="124" y="155"/>
                    </a:lnTo>
                    <a:cubicBezTo>
                      <a:pt x="124" y="155"/>
                      <a:pt x="155" y="155"/>
                      <a:pt x="155" y="186"/>
                    </a:cubicBezTo>
                    <a:cubicBezTo>
                      <a:pt x="155" y="155"/>
                      <a:pt x="155" y="155"/>
                      <a:pt x="155" y="155"/>
                    </a:cubicBezTo>
                    <a:cubicBezTo>
                      <a:pt x="155" y="124"/>
                      <a:pt x="155" y="94"/>
                      <a:pt x="155" y="62"/>
                    </a:cubicBezTo>
                    <a:lnTo>
                      <a:pt x="155" y="62"/>
                    </a:lnTo>
                    <a:cubicBezTo>
                      <a:pt x="155" y="31"/>
                      <a:pt x="155" y="31"/>
                      <a:pt x="155" y="0"/>
                    </a:cubicBezTo>
                    <a:lnTo>
                      <a:pt x="155" y="0"/>
                    </a:lnTo>
                    <a:cubicBezTo>
                      <a:pt x="155" y="0"/>
                      <a:pt x="155" y="0"/>
                      <a:pt x="124"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18" name="Freeform 215"/>
              <p:cNvSpPr>
                <a:spLocks noChangeArrowheads="1"/>
              </p:cNvSpPr>
              <p:nvPr/>
            </p:nvSpPr>
            <p:spPr bwMode="auto">
              <a:xfrm>
                <a:off x="1414463" y="1925638"/>
                <a:ext cx="514350" cy="368300"/>
              </a:xfrm>
              <a:custGeom>
                <a:avLst/>
                <a:gdLst>
                  <a:gd name="T0" fmla="*/ 775 w 1427"/>
                  <a:gd name="T1" fmla="*/ 341 h 1023"/>
                  <a:gd name="T2" fmla="*/ 713 w 1427"/>
                  <a:gd name="T3" fmla="*/ 309 h 1023"/>
                  <a:gd name="T4" fmla="*/ 713 w 1427"/>
                  <a:gd name="T5" fmla="*/ 278 h 1023"/>
                  <a:gd name="T6" fmla="*/ 682 w 1427"/>
                  <a:gd name="T7" fmla="*/ 217 h 1023"/>
                  <a:gd name="T8" fmla="*/ 589 w 1427"/>
                  <a:gd name="T9" fmla="*/ 124 h 1023"/>
                  <a:gd name="T10" fmla="*/ 589 w 1427"/>
                  <a:gd name="T11" fmla="*/ 124 h 1023"/>
                  <a:gd name="T12" fmla="*/ 527 w 1427"/>
                  <a:gd name="T13" fmla="*/ 185 h 1023"/>
                  <a:gd name="T14" fmla="*/ 527 w 1427"/>
                  <a:gd name="T15" fmla="*/ 185 h 1023"/>
                  <a:gd name="T16" fmla="*/ 434 w 1427"/>
                  <a:gd name="T17" fmla="*/ 93 h 1023"/>
                  <a:gd name="T18" fmla="*/ 341 w 1427"/>
                  <a:gd name="T19" fmla="*/ 0 h 1023"/>
                  <a:gd name="T20" fmla="*/ 280 w 1427"/>
                  <a:gd name="T21" fmla="*/ 0 h 1023"/>
                  <a:gd name="T22" fmla="*/ 156 w 1427"/>
                  <a:gd name="T23" fmla="*/ 30 h 1023"/>
                  <a:gd name="T24" fmla="*/ 32 w 1427"/>
                  <a:gd name="T25" fmla="*/ 61 h 1023"/>
                  <a:gd name="T26" fmla="*/ 32 w 1427"/>
                  <a:gd name="T27" fmla="*/ 124 h 1023"/>
                  <a:gd name="T28" fmla="*/ 124 w 1427"/>
                  <a:gd name="T29" fmla="*/ 217 h 1023"/>
                  <a:gd name="T30" fmla="*/ 156 w 1427"/>
                  <a:gd name="T31" fmla="*/ 217 h 1023"/>
                  <a:gd name="T32" fmla="*/ 186 w 1427"/>
                  <a:gd name="T33" fmla="*/ 278 h 1023"/>
                  <a:gd name="T34" fmla="*/ 217 w 1427"/>
                  <a:gd name="T35" fmla="*/ 372 h 1023"/>
                  <a:gd name="T36" fmla="*/ 248 w 1427"/>
                  <a:gd name="T37" fmla="*/ 372 h 1023"/>
                  <a:gd name="T38" fmla="*/ 341 w 1427"/>
                  <a:gd name="T39" fmla="*/ 465 h 1023"/>
                  <a:gd name="T40" fmla="*/ 434 w 1427"/>
                  <a:gd name="T41" fmla="*/ 681 h 1023"/>
                  <a:gd name="T42" fmla="*/ 434 w 1427"/>
                  <a:gd name="T43" fmla="*/ 681 h 1023"/>
                  <a:gd name="T44" fmla="*/ 465 w 1427"/>
                  <a:gd name="T45" fmla="*/ 743 h 1023"/>
                  <a:gd name="T46" fmla="*/ 558 w 1427"/>
                  <a:gd name="T47" fmla="*/ 837 h 1023"/>
                  <a:gd name="T48" fmla="*/ 620 w 1427"/>
                  <a:gd name="T49" fmla="*/ 837 h 1023"/>
                  <a:gd name="T50" fmla="*/ 682 w 1427"/>
                  <a:gd name="T51" fmla="*/ 898 h 1023"/>
                  <a:gd name="T52" fmla="*/ 806 w 1427"/>
                  <a:gd name="T53" fmla="*/ 929 h 1023"/>
                  <a:gd name="T54" fmla="*/ 899 w 1427"/>
                  <a:gd name="T55" fmla="*/ 991 h 1023"/>
                  <a:gd name="T56" fmla="*/ 930 w 1427"/>
                  <a:gd name="T57" fmla="*/ 991 h 1023"/>
                  <a:gd name="T58" fmla="*/ 992 w 1427"/>
                  <a:gd name="T59" fmla="*/ 929 h 1023"/>
                  <a:gd name="T60" fmla="*/ 1116 w 1427"/>
                  <a:gd name="T61" fmla="*/ 1022 h 1023"/>
                  <a:gd name="T62" fmla="*/ 1178 w 1427"/>
                  <a:gd name="T63" fmla="*/ 961 h 1023"/>
                  <a:gd name="T64" fmla="*/ 1209 w 1427"/>
                  <a:gd name="T65" fmla="*/ 961 h 1023"/>
                  <a:gd name="T66" fmla="*/ 1178 w 1427"/>
                  <a:gd name="T67" fmla="*/ 929 h 1023"/>
                  <a:gd name="T68" fmla="*/ 1178 w 1427"/>
                  <a:gd name="T69" fmla="*/ 867 h 1023"/>
                  <a:gd name="T70" fmla="*/ 1302 w 1427"/>
                  <a:gd name="T71" fmla="*/ 774 h 1023"/>
                  <a:gd name="T72" fmla="*/ 1364 w 1427"/>
                  <a:gd name="T73" fmla="*/ 805 h 1023"/>
                  <a:gd name="T74" fmla="*/ 1364 w 1427"/>
                  <a:gd name="T75" fmla="*/ 774 h 1023"/>
                  <a:gd name="T76" fmla="*/ 1364 w 1427"/>
                  <a:gd name="T77" fmla="*/ 743 h 1023"/>
                  <a:gd name="T78" fmla="*/ 1426 w 1427"/>
                  <a:gd name="T79" fmla="*/ 681 h 1023"/>
                  <a:gd name="T80" fmla="*/ 1395 w 1427"/>
                  <a:gd name="T81" fmla="*/ 650 h 1023"/>
                  <a:gd name="T82" fmla="*/ 1364 w 1427"/>
                  <a:gd name="T83" fmla="*/ 650 h 1023"/>
                  <a:gd name="T84" fmla="*/ 1271 w 1427"/>
                  <a:gd name="T85" fmla="*/ 713 h 1023"/>
                  <a:gd name="T86" fmla="*/ 1209 w 1427"/>
                  <a:gd name="T87" fmla="*/ 837 h 1023"/>
                  <a:gd name="T88" fmla="*/ 1147 w 1427"/>
                  <a:gd name="T89" fmla="*/ 837 h 1023"/>
                  <a:gd name="T90" fmla="*/ 1023 w 1427"/>
                  <a:gd name="T91" fmla="*/ 867 h 1023"/>
                  <a:gd name="T92" fmla="*/ 961 w 1427"/>
                  <a:gd name="T93" fmla="*/ 837 h 1023"/>
                  <a:gd name="T94" fmla="*/ 899 w 1427"/>
                  <a:gd name="T95" fmla="*/ 805 h 1023"/>
                  <a:gd name="T96" fmla="*/ 868 w 1427"/>
                  <a:gd name="T97" fmla="*/ 743 h 1023"/>
                  <a:gd name="T98" fmla="*/ 806 w 1427"/>
                  <a:gd name="T99" fmla="*/ 526 h 1023"/>
                  <a:gd name="T100" fmla="*/ 806 w 1427"/>
                  <a:gd name="T101" fmla="*/ 372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27" h="1023">
                    <a:moveTo>
                      <a:pt x="806" y="372"/>
                    </a:moveTo>
                    <a:lnTo>
                      <a:pt x="806" y="372"/>
                    </a:lnTo>
                    <a:cubicBezTo>
                      <a:pt x="806" y="372"/>
                      <a:pt x="775" y="372"/>
                      <a:pt x="775" y="341"/>
                    </a:cubicBezTo>
                    <a:lnTo>
                      <a:pt x="775" y="341"/>
                    </a:lnTo>
                    <a:lnTo>
                      <a:pt x="744" y="341"/>
                    </a:lnTo>
                    <a:cubicBezTo>
                      <a:pt x="744" y="341"/>
                      <a:pt x="744" y="309"/>
                      <a:pt x="713" y="309"/>
                    </a:cubicBezTo>
                    <a:lnTo>
                      <a:pt x="713" y="309"/>
                    </a:lnTo>
                    <a:cubicBezTo>
                      <a:pt x="713" y="309"/>
                      <a:pt x="713" y="309"/>
                      <a:pt x="713" y="278"/>
                    </a:cubicBezTo>
                    <a:lnTo>
                      <a:pt x="713" y="278"/>
                    </a:lnTo>
                    <a:lnTo>
                      <a:pt x="713" y="278"/>
                    </a:lnTo>
                    <a:lnTo>
                      <a:pt x="713" y="278"/>
                    </a:lnTo>
                    <a:cubicBezTo>
                      <a:pt x="713" y="248"/>
                      <a:pt x="682" y="248"/>
                      <a:pt x="682" y="217"/>
                    </a:cubicBezTo>
                    <a:cubicBezTo>
                      <a:pt x="651" y="185"/>
                      <a:pt x="620" y="154"/>
                      <a:pt x="620" y="124"/>
                    </a:cubicBezTo>
                    <a:lnTo>
                      <a:pt x="620" y="124"/>
                    </a:lnTo>
                    <a:cubicBezTo>
                      <a:pt x="620" y="124"/>
                      <a:pt x="620" y="124"/>
                      <a:pt x="589" y="124"/>
                    </a:cubicBezTo>
                    <a:lnTo>
                      <a:pt x="589" y="124"/>
                    </a:lnTo>
                    <a:lnTo>
                      <a:pt x="589" y="124"/>
                    </a:lnTo>
                    <a:lnTo>
                      <a:pt x="589" y="124"/>
                    </a:lnTo>
                    <a:cubicBezTo>
                      <a:pt x="589" y="154"/>
                      <a:pt x="589" y="154"/>
                      <a:pt x="589" y="154"/>
                    </a:cubicBezTo>
                    <a:cubicBezTo>
                      <a:pt x="558" y="154"/>
                      <a:pt x="558" y="185"/>
                      <a:pt x="527" y="185"/>
                    </a:cubicBezTo>
                    <a:lnTo>
                      <a:pt x="527" y="185"/>
                    </a:lnTo>
                    <a:lnTo>
                      <a:pt x="527" y="185"/>
                    </a:lnTo>
                    <a:lnTo>
                      <a:pt x="527" y="185"/>
                    </a:lnTo>
                    <a:lnTo>
                      <a:pt x="527" y="185"/>
                    </a:lnTo>
                    <a:cubicBezTo>
                      <a:pt x="496" y="185"/>
                      <a:pt x="496" y="185"/>
                      <a:pt x="496" y="185"/>
                    </a:cubicBezTo>
                    <a:cubicBezTo>
                      <a:pt x="465" y="154"/>
                      <a:pt x="434" y="124"/>
                      <a:pt x="434" y="93"/>
                    </a:cubicBezTo>
                    <a:lnTo>
                      <a:pt x="434" y="93"/>
                    </a:lnTo>
                    <a:lnTo>
                      <a:pt x="403" y="61"/>
                    </a:lnTo>
                    <a:cubicBezTo>
                      <a:pt x="403" y="30"/>
                      <a:pt x="341" y="0"/>
                      <a:pt x="341" y="0"/>
                    </a:cubicBezTo>
                    <a:lnTo>
                      <a:pt x="341" y="0"/>
                    </a:lnTo>
                    <a:cubicBezTo>
                      <a:pt x="310" y="0"/>
                      <a:pt x="310" y="0"/>
                      <a:pt x="310" y="0"/>
                    </a:cubicBezTo>
                    <a:lnTo>
                      <a:pt x="310" y="0"/>
                    </a:lnTo>
                    <a:lnTo>
                      <a:pt x="280" y="0"/>
                    </a:lnTo>
                    <a:cubicBezTo>
                      <a:pt x="280" y="30"/>
                      <a:pt x="280" y="30"/>
                      <a:pt x="280" y="30"/>
                    </a:cubicBezTo>
                    <a:cubicBezTo>
                      <a:pt x="248" y="30"/>
                      <a:pt x="248" y="30"/>
                      <a:pt x="248" y="30"/>
                    </a:cubicBezTo>
                    <a:cubicBezTo>
                      <a:pt x="248" y="30"/>
                      <a:pt x="217" y="30"/>
                      <a:pt x="156" y="30"/>
                    </a:cubicBezTo>
                    <a:cubicBezTo>
                      <a:pt x="124" y="30"/>
                      <a:pt x="93" y="30"/>
                      <a:pt x="93" y="30"/>
                    </a:cubicBezTo>
                    <a:cubicBezTo>
                      <a:pt x="93" y="30"/>
                      <a:pt x="32" y="0"/>
                      <a:pt x="0" y="0"/>
                    </a:cubicBezTo>
                    <a:cubicBezTo>
                      <a:pt x="32" y="30"/>
                      <a:pt x="32" y="30"/>
                      <a:pt x="32" y="61"/>
                    </a:cubicBezTo>
                    <a:lnTo>
                      <a:pt x="32" y="61"/>
                    </a:lnTo>
                    <a:cubicBezTo>
                      <a:pt x="32" y="93"/>
                      <a:pt x="32" y="93"/>
                      <a:pt x="32" y="93"/>
                    </a:cubicBezTo>
                    <a:cubicBezTo>
                      <a:pt x="32" y="93"/>
                      <a:pt x="32" y="93"/>
                      <a:pt x="32" y="124"/>
                    </a:cubicBezTo>
                    <a:cubicBezTo>
                      <a:pt x="62" y="124"/>
                      <a:pt x="62" y="154"/>
                      <a:pt x="93" y="185"/>
                    </a:cubicBezTo>
                    <a:cubicBezTo>
                      <a:pt x="93" y="185"/>
                      <a:pt x="93" y="185"/>
                      <a:pt x="124" y="185"/>
                    </a:cubicBezTo>
                    <a:cubicBezTo>
                      <a:pt x="124" y="217"/>
                      <a:pt x="124" y="217"/>
                      <a:pt x="124" y="217"/>
                    </a:cubicBezTo>
                    <a:cubicBezTo>
                      <a:pt x="124" y="217"/>
                      <a:pt x="124" y="217"/>
                      <a:pt x="124" y="185"/>
                    </a:cubicBezTo>
                    <a:lnTo>
                      <a:pt x="124" y="185"/>
                    </a:lnTo>
                    <a:cubicBezTo>
                      <a:pt x="124" y="185"/>
                      <a:pt x="156" y="185"/>
                      <a:pt x="156" y="217"/>
                    </a:cubicBezTo>
                    <a:lnTo>
                      <a:pt x="156" y="248"/>
                    </a:lnTo>
                    <a:cubicBezTo>
                      <a:pt x="156" y="248"/>
                      <a:pt x="156" y="248"/>
                      <a:pt x="156" y="278"/>
                    </a:cubicBezTo>
                    <a:lnTo>
                      <a:pt x="186" y="278"/>
                    </a:lnTo>
                    <a:lnTo>
                      <a:pt x="217" y="278"/>
                    </a:lnTo>
                    <a:lnTo>
                      <a:pt x="248" y="309"/>
                    </a:lnTo>
                    <a:cubicBezTo>
                      <a:pt x="248" y="341"/>
                      <a:pt x="248" y="341"/>
                      <a:pt x="217" y="372"/>
                    </a:cubicBezTo>
                    <a:lnTo>
                      <a:pt x="217" y="372"/>
                    </a:lnTo>
                    <a:lnTo>
                      <a:pt x="217" y="372"/>
                    </a:lnTo>
                    <a:lnTo>
                      <a:pt x="248" y="372"/>
                    </a:lnTo>
                    <a:lnTo>
                      <a:pt x="248" y="372"/>
                    </a:lnTo>
                    <a:cubicBezTo>
                      <a:pt x="280" y="372"/>
                      <a:pt x="310" y="402"/>
                      <a:pt x="310" y="433"/>
                    </a:cubicBezTo>
                    <a:cubicBezTo>
                      <a:pt x="310" y="433"/>
                      <a:pt x="310" y="433"/>
                      <a:pt x="341" y="465"/>
                    </a:cubicBezTo>
                    <a:lnTo>
                      <a:pt x="341" y="465"/>
                    </a:lnTo>
                    <a:cubicBezTo>
                      <a:pt x="372" y="495"/>
                      <a:pt x="434" y="589"/>
                      <a:pt x="434" y="589"/>
                    </a:cubicBezTo>
                    <a:cubicBezTo>
                      <a:pt x="465" y="619"/>
                      <a:pt x="465" y="650"/>
                      <a:pt x="434" y="681"/>
                    </a:cubicBezTo>
                    <a:lnTo>
                      <a:pt x="434" y="681"/>
                    </a:lnTo>
                    <a:lnTo>
                      <a:pt x="434" y="681"/>
                    </a:lnTo>
                    <a:lnTo>
                      <a:pt x="434" y="681"/>
                    </a:lnTo>
                    <a:lnTo>
                      <a:pt x="434" y="713"/>
                    </a:lnTo>
                    <a:lnTo>
                      <a:pt x="434" y="713"/>
                    </a:lnTo>
                    <a:cubicBezTo>
                      <a:pt x="434" y="743"/>
                      <a:pt x="434" y="743"/>
                      <a:pt x="465" y="743"/>
                    </a:cubicBezTo>
                    <a:cubicBezTo>
                      <a:pt x="465" y="743"/>
                      <a:pt x="465" y="743"/>
                      <a:pt x="465" y="774"/>
                    </a:cubicBezTo>
                    <a:cubicBezTo>
                      <a:pt x="465" y="774"/>
                      <a:pt x="465" y="774"/>
                      <a:pt x="496" y="774"/>
                    </a:cubicBezTo>
                    <a:cubicBezTo>
                      <a:pt x="496" y="774"/>
                      <a:pt x="527" y="805"/>
                      <a:pt x="558" y="837"/>
                    </a:cubicBezTo>
                    <a:lnTo>
                      <a:pt x="558" y="837"/>
                    </a:lnTo>
                    <a:lnTo>
                      <a:pt x="589" y="837"/>
                    </a:lnTo>
                    <a:cubicBezTo>
                      <a:pt x="589" y="837"/>
                      <a:pt x="589" y="837"/>
                      <a:pt x="620" y="837"/>
                    </a:cubicBezTo>
                    <a:cubicBezTo>
                      <a:pt x="651" y="867"/>
                      <a:pt x="651" y="867"/>
                      <a:pt x="651" y="867"/>
                    </a:cubicBezTo>
                    <a:lnTo>
                      <a:pt x="651" y="867"/>
                    </a:lnTo>
                    <a:cubicBezTo>
                      <a:pt x="651" y="898"/>
                      <a:pt x="682" y="898"/>
                      <a:pt x="682" y="898"/>
                    </a:cubicBezTo>
                    <a:lnTo>
                      <a:pt x="682" y="898"/>
                    </a:lnTo>
                    <a:cubicBezTo>
                      <a:pt x="713" y="898"/>
                      <a:pt x="713" y="929"/>
                      <a:pt x="744" y="929"/>
                    </a:cubicBezTo>
                    <a:cubicBezTo>
                      <a:pt x="775" y="929"/>
                      <a:pt x="775" y="929"/>
                      <a:pt x="806" y="929"/>
                    </a:cubicBezTo>
                    <a:cubicBezTo>
                      <a:pt x="806" y="961"/>
                      <a:pt x="837" y="961"/>
                      <a:pt x="837" y="961"/>
                    </a:cubicBezTo>
                    <a:cubicBezTo>
                      <a:pt x="837" y="961"/>
                      <a:pt x="837" y="961"/>
                      <a:pt x="868" y="961"/>
                    </a:cubicBezTo>
                    <a:cubicBezTo>
                      <a:pt x="868" y="991"/>
                      <a:pt x="868" y="991"/>
                      <a:pt x="899" y="991"/>
                    </a:cubicBezTo>
                    <a:cubicBezTo>
                      <a:pt x="899" y="991"/>
                      <a:pt x="899" y="991"/>
                      <a:pt x="930" y="991"/>
                    </a:cubicBezTo>
                    <a:lnTo>
                      <a:pt x="930" y="991"/>
                    </a:lnTo>
                    <a:lnTo>
                      <a:pt x="930" y="991"/>
                    </a:lnTo>
                    <a:cubicBezTo>
                      <a:pt x="930" y="991"/>
                      <a:pt x="930" y="961"/>
                      <a:pt x="961" y="961"/>
                    </a:cubicBezTo>
                    <a:lnTo>
                      <a:pt x="961" y="961"/>
                    </a:lnTo>
                    <a:cubicBezTo>
                      <a:pt x="992" y="961"/>
                      <a:pt x="992" y="929"/>
                      <a:pt x="992" y="929"/>
                    </a:cubicBezTo>
                    <a:cubicBezTo>
                      <a:pt x="1023" y="929"/>
                      <a:pt x="1023" y="929"/>
                      <a:pt x="1023" y="961"/>
                    </a:cubicBezTo>
                    <a:cubicBezTo>
                      <a:pt x="1054" y="961"/>
                      <a:pt x="1054" y="961"/>
                      <a:pt x="1085" y="991"/>
                    </a:cubicBezTo>
                    <a:cubicBezTo>
                      <a:pt x="1116" y="1022"/>
                      <a:pt x="1116" y="1022"/>
                      <a:pt x="1116" y="1022"/>
                    </a:cubicBezTo>
                    <a:lnTo>
                      <a:pt x="1147" y="991"/>
                    </a:lnTo>
                    <a:lnTo>
                      <a:pt x="1147" y="991"/>
                    </a:lnTo>
                    <a:cubicBezTo>
                      <a:pt x="1147" y="961"/>
                      <a:pt x="1147" y="961"/>
                      <a:pt x="1178" y="961"/>
                    </a:cubicBezTo>
                    <a:lnTo>
                      <a:pt x="1178" y="961"/>
                    </a:lnTo>
                    <a:lnTo>
                      <a:pt x="1178" y="961"/>
                    </a:lnTo>
                    <a:cubicBezTo>
                      <a:pt x="1209" y="961"/>
                      <a:pt x="1209" y="961"/>
                      <a:pt x="1209" y="961"/>
                    </a:cubicBezTo>
                    <a:lnTo>
                      <a:pt x="1209" y="961"/>
                    </a:lnTo>
                    <a:lnTo>
                      <a:pt x="1209" y="961"/>
                    </a:lnTo>
                    <a:lnTo>
                      <a:pt x="1178" y="929"/>
                    </a:lnTo>
                    <a:lnTo>
                      <a:pt x="1178" y="929"/>
                    </a:lnTo>
                    <a:cubicBezTo>
                      <a:pt x="1147" y="898"/>
                      <a:pt x="1147" y="898"/>
                      <a:pt x="1147" y="898"/>
                    </a:cubicBezTo>
                    <a:cubicBezTo>
                      <a:pt x="1178" y="867"/>
                      <a:pt x="1178" y="867"/>
                      <a:pt x="1178" y="867"/>
                    </a:cubicBezTo>
                    <a:cubicBezTo>
                      <a:pt x="1178" y="837"/>
                      <a:pt x="1178" y="837"/>
                      <a:pt x="1178" y="837"/>
                    </a:cubicBezTo>
                    <a:cubicBezTo>
                      <a:pt x="1302" y="837"/>
                      <a:pt x="1302" y="837"/>
                      <a:pt x="1302" y="837"/>
                    </a:cubicBezTo>
                    <a:cubicBezTo>
                      <a:pt x="1302" y="774"/>
                      <a:pt x="1302" y="774"/>
                      <a:pt x="1302" y="774"/>
                    </a:cubicBezTo>
                    <a:cubicBezTo>
                      <a:pt x="1333" y="837"/>
                      <a:pt x="1333" y="837"/>
                      <a:pt x="1333" y="837"/>
                    </a:cubicBezTo>
                    <a:lnTo>
                      <a:pt x="1333" y="837"/>
                    </a:lnTo>
                    <a:cubicBezTo>
                      <a:pt x="1333" y="805"/>
                      <a:pt x="1333" y="805"/>
                      <a:pt x="1364" y="805"/>
                    </a:cubicBezTo>
                    <a:lnTo>
                      <a:pt x="1364" y="774"/>
                    </a:lnTo>
                    <a:lnTo>
                      <a:pt x="1364" y="774"/>
                    </a:lnTo>
                    <a:lnTo>
                      <a:pt x="1364" y="774"/>
                    </a:lnTo>
                    <a:lnTo>
                      <a:pt x="1364" y="774"/>
                    </a:lnTo>
                    <a:cubicBezTo>
                      <a:pt x="1395" y="774"/>
                      <a:pt x="1395" y="774"/>
                      <a:pt x="1395" y="774"/>
                    </a:cubicBezTo>
                    <a:cubicBezTo>
                      <a:pt x="1395" y="774"/>
                      <a:pt x="1364" y="774"/>
                      <a:pt x="1364" y="743"/>
                    </a:cubicBezTo>
                    <a:cubicBezTo>
                      <a:pt x="1364" y="743"/>
                      <a:pt x="1395" y="713"/>
                      <a:pt x="1395" y="681"/>
                    </a:cubicBezTo>
                    <a:lnTo>
                      <a:pt x="1395" y="681"/>
                    </a:lnTo>
                    <a:lnTo>
                      <a:pt x="1426" y="681"/>
                    </a:lnTo>
                    <a:lnTo>
                      <a:pt x="1426" y="650"/>
                    </a:lnTo>
                    <a:lnTo>
                      <a:pt x="1426" y="650"/>
                    </a:lnTo>
                    <a:cubicBezTo>
                      <a:pt x="1426" y="650"/>
                      <a:pt x="1426" y="650"/>
                      <a:pt x="1395" y="650"/>
                    </a:cubicBezTo>
                    <a:lnTo>
                      <a:pt x="1395" y="650"/>
                    </a:lnTo>
                    <a:lnTo>
                      <a:pt x="1364" y="650"/>
                    </a:lnTo>
                    <a:lnTo>
                      <a:pt x="1364" y="650"/>
                    </a:lnTo>
                    <a:cubicBezTo>
                      <a:pt x="1364" y="650"/>
                      <a:pt x="1364" y="650"/>
                      <a:pt x="1333" y="650"/>
                    </a:cubicBezTo>
                    <a:cubicBezTo>
                      <a:pt x="1333" y="681"/>
                      <a:pt x="1302" y="681"/>
                      <a:pt x="1271" y="681"/>
                    </a:cubicBezTo>
                    <a:cubicBezTo>
                      <a:pt x="1271" y="681"/>
                      <a:pt x="1271" y="681"/>
                      <a:pt x="1271" y="713"/>
                    </a:cubicBezTo>
                    <a:cubicBezTo>
                      <a:pt x="1271" y="713"/>
                      <a:pt x="1240" y="743"/>
                      <a:pt x="1240" y="774"/>
                    </a:cubicBezTo>
                    <a:cubicBezTo>
                      <a:pt x="1240" y="805"/>
                      <a:pt x="1240" y="805"/>
                      <a:pt x="1209" y="837"/>
                    </a:cubicBezTo>
                    <a:lnTo>
                      <a:pt x="1209" y="837"/>
                    </a:lnTo>
                    <a:cubicBezTo>
                      <a:pt x="1178" y="837"/>
                      <a:pt x="1178" y="837"/>
                      <a:pt x="1147" y="837"/>
                    </a:cubicBezTo>
                    <a:lnTo>
                      <a:pt x="1147" y="837"/>
                    </a:lnTo>
                    <a:lnTo>
                      <a:pt x="1147" y="837"/>
                    </a:lnTo>
                    <a:cubicBezTo>
                      <a:pt x="1116" y="867"/>
                      <a:pt x="1116" y="867"/>
                      <a:pt x="1116" y="867"/>
                    </a:cubicBezTo>
                    <a:cubicBezTo>
                      <a:pt x="1085" y="867"/>
                      <a:pt x="1023" y="867"/>
                      <a:pt x="1023" y="867"/>
                    </a:cubicBezTo>
                    <a:lnTo>
                      <a:pt x="1023" y="867"/>
                    </a:lnTo>
                    <a:lnTo>
                      <a:pt x="992" y="867"/>
                    </a:lnTo>
                    <a:cubicBezTo>
                      <a:pt x="992" y="837"/>
                      <a:pt x="992" y="837"/>
                      <a:pt x="961" y="837"/>
                    </a:cubicBezTo>
                    <a:lnTo>
                      <a:pt x="961" y="837"/>
                    </a:lnTo>
                    <a:lnTo>
                      <a:pt x="961" y="837"/>
                    </a:lnTo>
                    <a:cubicBezTo>
                      <a:pt x="930" y="837"/>
                      <a:pt x="930" y="837"/>
                      <a:pt x="930" y="805"/>
                    </a:cubicBezTo>
                    <a:cubicBezTo>
                      <a:pt x="930" y="805"/>
                      <a:pt x="930" y="805"/>
                      <a:pt x="899" y="805"/>
                    </a:cubicBezTo>
                    <a:cubicBezTo>
                      <a:pt x="899" y="805"/>
                      <a:pt x="899" y="805"/>
                      <a:pt x="899" y="774"/>
                    </a:cubicBezTo>
                    <a:lnTo>
                      <a:pt x="899" y="774"/>
                    </a:lnTo>
                    <a:cubicBezTo>
                      <a:pt x="899" y="743"/>
                      <a:pt x="868" y="743"/>
                      <a:pt x="868" y="743"/>
                    </a:cubicBezTo>
                    <a:lnTo>
                      <a:pt x="868" y="713"/>
                    </a:lnTo>
                    <a:cubicBezTo>
                      <a:pt x="837" y="681"/>
                      <a:pt x="806" y="619"/>
                      <a:pt x="806" y="589"/>
                    </a:cubicBezTo>
                    <a:cubicBezTo>
                      <a:pt x="806" y="557"/>
                      <a:pt x="806" y="557"/>
                      <a:pt x="806" y="526"/>
                    </a:cubicBezTo>
                    <a:cubicBezTo>
                      <a:pt x="806" y="495"/>
                      <a:pt x="806" y="495"/>
                      <a:pt x="806" y="495"/>
                    </a:cubicBezTo>
                    <a:cubicBezTo>
                      <a:pt x="806" y="465"/>
                      <a:pt x="837" y="402"/>
                      <a:pt x="837" y="372"/>
                    </a:cubicBezTo>
                    <a:cubicBezTo>
                      <a:pt x="837" y="372"/>
                      <a:pt x="837" y="372"/>
                      <a:pt x="806" y="372"/>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19" name="Freeform 216"/>
              <p:cNvSpPr>
                <a:spLocks noChangeArrowheads="1"/>
              </p:cNvSpPr>
              <p:nvPr/>
            </p:nvSpPr>
            <p:spPr bwMode="auto">
              <a:xfrm>
                <a:off x="1347788" y="1903413"/>
                <a:ext cx="88900" cy="134937"/>
              </a:xfrm>
              <a:custGeom>
                <a:avLst/>
                <a:gdLst>
                  <a:gd name="T0" fmla="*/ 62 w 249"/>
                  <a:gd name="T1" fmla="*/ 124 h 373"/>
                  <a:gd name="T2" fmla="*/ 62 w 249"/>
                  <a:gd name="T3" fmla="*/ 124 h 373"/>
                  <a:gd name="T4" fmla="*/ 62 w 249"/>
                  <a:gd name="T5" fmla="*/ 63 h 373"/>
                  <a:gd name="T6" fmla="*/ 62 w 249"/>
                  <a:gd name="T7" fmla="*/ 63 h 373"/>
                  <a:gd name="T8" fmla="*/ 62 w 249"/>
                  <a:gd name="T9" fmla="*/ 32 h 373"/>
                  <a:gd name="T10" fmla="*/ 62 w 249"/>
                  <a:gd name="T11" fmla="*/ 0 h 373"/>
                  <a:gd name="T12" fmla="*/ 62 w 249"/>
                  <a:gd name="T13" fmla="*/ 0 h 373"/>
                  <a:gd name="T14" fmla="*/ 62 w 249"/>
                  <a:gd name="T15" fmla="*/ 0 h 373"/>
                  <a:gd name="T16" fmla="*/ 31 w 249"/>
                  <a:gd name="T17" fmla="*/ 32 h 373"/>
                  <a:gd name="T18" fmla="*/ 0 w 249"/>
                  <a:gd name="T19" fmla="*/ 0 h 373"/>
                  <a:gd name="T20" fmla="*/ 0 w 249"/>
                  <a:gd name="T21" fmla="*/ 0 h 373"/>
                  <a:gd name="T22" fmla="*/ 0 w 249"/>
                  <a:gd name="T23" fmla="*/ 32 h 373"/>
                  <a:gd name="T24" fmla="*/ 0 w 249"/>
                  <a:gd name="T25" fmla="*/ 63 h 373"/>
                  <a:gd name="T26" fmla="*/ 0 w 249"/>
                  <a:gd name="T27" fmla="*/ 63 h 373"/>
                  <a:gd name="T28" fmla="*/ 31 w 249"/>
                  <a:gd name="T29" fmla="*/ 93 h 373"/>
                  <a:gd name="T30" fmla="*/ 31 w 249"/>
                  <a:gd name="T31" fmla="*/ 124 h 373"/>
                  <a:gd name="T32" fmla="*/ 62 w 249"/>
                  <a:gd name="T33" fmla="*/ 124 h 373"/>
                  <a:gd name="T34" fmla="*/ 62 w 249"/>
                  <a:gd name="T35" fmla="*/ 156 h 373"/>
                  <a:gd name="T36" fmla="*/ 124 w 249"/>
                  <a:gd name="T37" fmla="*/ 217 h 373"/>
                  <a:gd name="T38" fmla="*/ 155 w 249"/>
                  <a:gd name="T39" fmla="*/ 248 h 373"/>
                  <a:gd name="T40" fmla="*/ 124 w 249"/>
                  <a:gd name="T41" fmla="*/ 280 h 373"/>
                  <a:gd name="T42" fmla="*/ 94 w 249"/>
                  <a:gd name="T43" fmla="*/ 311 h 373"/>
                  <a:gd name="T44" fmla="*/ 124 w 249"/>
                  <a:gd name="T45" fmla="*/ 311 h 373"/>
                  <a:gd name="T46" fmla="*/ 155 w 249"/>
                  <a:gd name="T47" fmla="*/ 311 h 373"/>
                  <a:gd name="T48" fmla="*/ 155 w 249"/>
                  <a:gd name="T49" fmla="*/ 341 h 373"/>
                  <a:gd name="T50" fmla="*/ 186 w 249"/>
                  <a:gd name="T51" fmla="*/ 341 h 373"/>
                  <a:gd name="T52" fmla="*/ 218 w 249"/>
                  <a:gd name="T53" fmla="*/ 372 h 373"/>
                  <a:gd name="T54" fmla="*/ 248 w 249"/>
                  <a:gd name="T55" fmla="*/ 372 h 373"/>
                  <a:gd name="T56" fmla="*/ 248 w 249"/>
                  <a:gd name="T57" fmla="*/ 372 h 373"/>
                  <a:gd name="T58" fmla="*/ 218 w 249"/>
                  <a:gd name="T59" fmla="*/ 372 h 373"/>
                  <a:gd name="T60" fmla="*/ 218 w 249"/>
                  <a:gd name="T61" fmla="*/ 341 h 373"/>
                  <a:gd name="T62" fmla="*/ 155 w 249"/>
                  <a:gd name="T63" fmla="*/ 280 h 373"/>
                  <a:gd name="T64" fmla="*/ 155 w 249"/>
                  <a:gd name="T65" fmla="*/ 280 h 373"/>
                  <a:gd name="T66" fmla="*/ 155 w 249"/>
                  <a:gd name="T67" fmla="*/ 217 h 373"/>
                  <a:gd name="T68" fmla="*/ 155 w 249"/>
                  <a:gd name="T69" fmla="*/ 217 h 373"/>
                  <a:gd name="T70" fmla="*/ 155 w 249"/>
                  <a:gd name="T71" fmla="*/ 217 h 373"/>
                  <a:gd name="T72" fmla="*/ 155 w 249"/>
                  <a:gd name="T73" fmla="*/ 187 h 373"/>
                  <a:gd name="T74" fmla="*/ 155 w 249"/>
                  <a:gd name="T75" fmla="*/ 187 h 373"/>
                  <a:gd name="T76" fmla="*/ 94 w 249"/>
                  <a:gd name="T77" fmla="*/ 187 h 373"/>
                  <a:gd name="T78" fmla="*/ 62 w 249"/>
                  <a:gd name="T79" fmla="*/ 124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9" h="373">
                    <a:moveTo>
                      <a:pt x="62" y="124"/>
                    </a:moveTo>
                    <a:lnTo>
                      <a:pt x="62" y="124"/>
                    </a:lnTo>
                    <a:cubicBezTo>
                      <a:pt x="62" y="93"/>
                      <a:pt x="62" y="93"/>
                      <a:pt x="62" y="63"/>
                    </a:cubicBezTo>
                    <a:lnTo>
                      <a:pt x="62" y="63"/>
                    </a:lnTo>
                    <a:cubicBezTo>
                      <a:pt x="62" y="32"/>
                      <a:pt x="62" y="32"/>
                      <a:pt x="62" y="32"/>
                    </a:cubicBezTo>
                    <a:cubicBezTo>
                      <a:pt x="62" y="32"/>
                      <a:pt x="62" y="32"/>
                      <a:pt x="62" y="0"/>
                    </a:cubicBezTo>
                    <a:lnTo>
                      <a:pt x="62" y="0"/>
                    </a:lnTo>
                    <a:lnTo>
                      <a:pt x="62" y="0"/>
                    </a:lnTo>
                    <a:lnTo>
                      <a:pt x="31" y="32"/>
                    </a:lnTo>
                    <a:cubicBezTo>
                      <a:pt x="31" y="32"/>
                      <a:pt x="31" y="32"/>
                      <a:pt x="0" y="0"/>
                    </a:cubicBezTo>
                    <a:lnTo>
                      <a:pt x="0" y="0"/>
                    </a:lnTo>
                    <a:cubicBezTo>
                      <a:pt x="0" y="32"/>
                      <a:pt x="0" y="32"/>
                      <a:pt x="0" y="32"/>
                    </a:cubicBezTo>
                    <a:cubicBezTo>
                      <a:pt x="0" y="63"/>
                      <a:pt x="0" y="63"/>
                      <a:pt x="0" y="63"/>
                    </a:cubicBezTo>
                    <a:lnTo>
                      <a:pt x="0" y="63"/>
                    </a:lnTo>
                    <a:cubicBezTo>
                      <a:pt x="31" y="63"/>
                      <a:pt x="31" y="63"/>
                      <a:pt x="31" y="93"/>
                    </a:cubicBezTo>
                    <a:cubicBezTo>
                      <a:pt x="31" y="124"/>
                      <a:pt x="31" y="124"/>
                      <a:pt x="31" y="124"/>
                    </a:cubicBezTo>
                    <a:cubicBezTo>
                      <a:pt x="31" y="124"/>
                      <a:pt x="31" y="124"/>
                      <a:pt x="62" y="124"/>
                    </a:cubicBezTo>
                    <a:lnTo>
                      <a:pt x="62" y="156"/>
                    </a:lnTo>
                    <a:lnTo>
                      <a:pt x="124" y="217"/>
                    </a:lnTo>
                    <a:cubicBezTo>
                      <a:pt x="155" y="248"/>
                      <a:pt x="155" y="248"/>
                      <a:pt x="155" y="248"/>
                    </a:cubicBezTo>
                    <a:cubicBezTo>
                      <a:pt x="155" y="280"/>
                      <a:pt x="124" y="280"/>
                      <a:pt x="124" y="280"/>
                    </a:cubicBezTo>
                    <a:cubicBezTo>
                      <a:pt x="124" y="280"/>
                      <a:pt x="124" y="280"/>
                      <a:pt x="94" y="311"/>
                    </a:cubicBezTo>
                    <a:cubicBezTo>
                      <a:pt x="124" y="311"/>
                      <a:pt x="124" y="311"/>
                      <a:pt x="124" y="311"/>
                    </a:cubicBezTo>
                    <a:cubicBezTo>
                      <a:pt x="124" y="311"/>
                      <a:pt x="124" y="311"/>
                      <a:pt x="155" y="311"/>
                    </a:cubicBezTo>
                    <a:cubicBezTo>
                      <a:pt x="155" y="341"/>
                      <a:pt x="155" y="341"/>
                      <a:pt x="155" y="341"/>
                    </a:cubicBezTo>
                    <a:lnTo>
                      <a:pt x="186" y="341"/>
                    </a:lnTo>
                    <a:lnTo>
                      <a:pt x="218" y="372"/>
                    </a:lnTo>
                    <a:lnTo>
                      <a:pt x="248" y="372"/>
                    </a:lnTo>
                    <a:lnTo>
                      <a:pt x="248" y="372"/>
                    </a:lnTo>
                    <a:cubicBezTo>
                      <a:pt x="248" y="372"/>
                      <a:pt x="248" y="372"/>
                      <a:pt x="218" y="372"/>
                    </a:cubicBezTo>
                    <a:cubicBezTo>
                      <a:pt x="218" y="372"/>
                      <a:pt x="218" y="372"/>
                      <a:pt x="218" y="341"/>
                    </a:cubicBezTo>
                    <a:cubicBezTo>
                      <a:pt x="186" y="341"/>
                      <a:pt x="186" y="311"/>
                      <a:pt x="155" y="280"/>
                    </a:cubicBezTo>
                    <a:lnTo>
                      <a:pt x="155" y="280"/>
                    </a:lnTo>
                    <a:cubicBezTo>
                      <a:pt x="155" y="248"/>
                      <a:pt x="155" y="217"/>
                      <a:pt x="155" y="217"/>
                    </a:cubicBezTo>
                    <a:lnTo>
                      <a:pt x="155" y="217"/>
                    </a:lnTo>
                    <a:lnTo>
                      <a:pt x="155" y="217"/>
                    </a:lnTo>
                    <a:cubicBezTo>
                      <a:pt x="155" y="217"/>
                      <a:pt x="155" y="217"/>
                      <a:pt x="155" y="187"/>
                    </a:cubicBezTo>
                    <a:lnTo>
                      <a:pt x="155" y="187"/>
                    </a:lnTo>
                    <a:cubicBezTo>
                      <a:pt x="124" y="187"/>
                      <a:pt x="124" y="187"/>
                      <a:pt x="94" y="187"/>
                    </a:cubicBezTo>
                    <a:cubicBezTo>
                      <a:pt x="94" y="187"/>
                      <a:pt x="62" y="156"/>
                      <a:pt x="62" y="124"/>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sp>
            <p:nvSpPr>
              <p:cNvPr id="220" name="Freeform 217"/>
              <p:cNvSpPr>
                <a:spLocks noChangeArrowheads="1"/>
              </p:cNvSpPr>
              <p:nvPr/>
            </p:nvSpPr>
            <p:spPr bwMode="auto">
              <a:xfrm>
                <a:off x="2351088" y="1601788"/>
                <a:ext cx="68262" cy="33337"/>
              </a:xfrm>
              <a:custGeom>
                <a:avLst/>
                <a:gdLst>
                  <a:gd name="T0" fmla="*/ 63 w 188"/>
                  <a:gd name="T1" fmla="*/ 31 h 93"/>
                  <a:gd name="T2" fmla="*/ 63 w 188"/>
                  <a:gd name="T3" fmla="*/ 31 h 93"/>
                  <a:gd name="T4" fmla="*/ 32 w 188"/>
                  <a:gd name="T5" fmla="*/ 62 h 93"/>
                  <a:gd name="T6" fmla="*/ 0 w 188"/>
                  <a:gd name="T7" fmla="*/ 62 h 93"/>
                  <a:gd name="T8" fmla="*/ 32 w 188"/>
                  <a:gd name="T9" fmla="*/ 92 h 93"/>
                  <a:gd name="T10" fmla="*/ 32 w 188"/>
                  <a:gd name="T11" fmla="*/ 92 h 93"/>
                  <a:gd name="T12" fmla="*/ 32 w 188"/>
                  <a:gd name="T13" fmla="*/ 92 h 93"/>
                  <a:gd name="T14" fmla="*/ 63 w 188"/>
                  <a:gd name="T15" fmla="*/ 92 h 93"/>
                  <a:gd name="T16" fmla="*/ 94 w 188"/>
                  <a:gd name="T17" fmla="*/ 31 h 93"/>
                  <a:gd name="T18" fmla="*/ 124 w 188"/>
                  <a:gd name="T19" fmla="*/ 31 h 93"/>
                  <a:gd name="T20" fmla="*/ 124 w 188"/>
                  <a:gd name="T21" fmla="*/ 31 h 93"/>
                  <a:gd name="T22" fmla="*/ 156 w 188"/>
                  <a:gd name="T23" fmla="*/ 31 h 93"/>
                  <a:gd name="T24" fmla="*/ 156 w 188"/>
                  <a:gd name="T25" fmla="*/ 31 h 93"/>
                  <a:gd name="T26" fmla="*/ 156 w 188"/>
                  <a:gd name="T27" fmla="*/ 31 h 93"/>
                  <a:gd name="T28" fmla="*/ 156 w 188"/>
                  <a:gd name="T29" fmla="*/ 31 h 93"/>
                  <a:gd name="T30" fmla="*/ 187 w 188"/>
                  <a:gd name="T31" fmla="*/ 0 h 93"/>
                  <a:gd name="T32" fmla="*/ 156 w 188"/>
                  <a:gd name="T33" fmla="*/ 0 h 93"/>
                  <a:gd name="T34" fmla="*/ 124 w 188"/>
                  <a:gd name="T35" fmla="*/ 0 h 93"/>
                  <a:gd name="T36" fmla="*/ 124 w 188"/>
                  <a:gd name="T37" fmla="*/ 31 h 93"/>
                  <a:gd name="T38" fmla="*/ 63 w 188"/>
                  <a:gd name="T39"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93">
                    <a:moveTo>
                      <a:pt x="63" y="31"/>
                    </a:moveTo>
                    <a:lnTo>
                      <a:pt x="63" y="31"/>
                    </a:lnTo>
                    <a:lnTo>
                      <a:pt x="32" y="62"/>
                    </a:lnTo>
                    <a:lnTo>
                      <a:pt x="0" y="62"/>
                    </a:lnTo>
                    <a:lnTo>
                      <a:pt x="32" y="92"/>
                    </a:lnTo>
                    <a:lnTo>
                      <a:pt x="32" y="92"/>
                    </a:lnTo>
                    <a:lnTo>
                      <a:pt x="32" y="92"/>
                    </a:lnTo>
                    <a:cubicBezTo>
                      <a:pt x="32" y="92"/>
                      <a:pt x="32" y="92"/>
                      <a:pt x="63" y="92"/>
                    </a:cubicBezTo>
                    <a:cubicBezTo>
                      <a:pt x="63" y="62"/>
                      <a:pt x="94" y="31"/>
                      <a:pt x="94" y="31"/>
                    </a:cubicBezTo>
                    <a:cubicBezTo>
                      <a:pt x="124" y="31"/>
                      <a:pt x="124" y="31"/>
                      <a:pt x="124" y="31"/>
                    </a:cubicBezTo>
                    <a:lnTo>
                      <a:pt x="124" y="31"/>
                    </a:lnTo>
                    <a:cubicBezTo>
                      <a:pt x="156" y="31"/>
                      <a:pt x="156" y="31"/>
                      <a:pt x="156" y="31"/>
                    </a:cubicBezTo>
                    <a:lnTo>
                      <a:pt x="156" y="31"/>
                    </a:lnTo>
                    <a:lnTo>
                      <a:pt x="156" y="31"/>
                    </a:lnTo>
                    <a:lnTo>
                      <a:pt x="156" y="31"/>
                    </a:lnTo>
                    <a:cubicBezTo>
                      <a:pt x="187" y="31"/>
                      <a:pt x="187" y="0"/>
                      <a:pt x="187" y="0"/>
                    </a:cubicBezTo>
                    <a:cubicBezTo>
                      <a:pt x="156" y="0"/>
                      <a:pt x="156" y="0"/>
                      <a:pt x="156" y="0"/>
                    </a:cubicBezTo>
                    <a:lnTo>
                      <a:pt x="124" y="0"/>
                    </a:lnTo>
                    <a:cubicBezTo>
                      <a:pt x="124" y="31"/>
                      <a:pt x="124" y="31"/>
                      <a:pt x="124" y="31"/>
                    </a:cubicBezTo>
                    <a:cubicBezTo>
                      <a:pt x="94" y="31"/>
                      <a:pt x="63" y="31"/>
                      <a:pt x="63" y="31"/>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948" dirty="0">
                  <a:latin typeface="Calibri Light"/>
                </a:endParaRPr>
              </a:p>
            </p:txBody>
          </p:sp>
        </p:grpSp>
        <p:sp>
          <p:nvSpPr>
            <p:cNvPr id="257" name="Freeform 53"/>
            <p:cNvSpPr>
              <a:spLocks noChangeAspect="1"/>
            </p:cNvSpPr>
            <p:nvPr/>
          </p:nvSpPr>
          <p:spPr bwMode="gray">
            <a:xfrm>
              <a:off x="16665081" y="9223935"/>
              <a:ext cx="116470" cy="137526"/>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solidFill>
              <a:schemeClr val="accent6"/>
            </a:solidFill>
            <a:ln w="6350" cap="flat" cmpd="sng">
              <a:noFill/>
              <a:prstDash val="solid"/>
              <a:round/>
              <a:headEnd type="none" w="med" len="med"/>
              <a:tailEnd type="none" w="med" len="med"/>
            </a:ln>
            <a:effectLst/>
          </p:spPr>
          <p:txBody>
            <a:bodyPr/>
            <a:lstStyle/>
            <a:p>
              <a:pPr>
                <a:defRPr/>
              </a:pPr>
              <a:endParaRPr lang="en-US" sz="948" dirty="0">
                <a:latin typeface="Calibri Light"/>
              </a:endParaRPr>
            </a:p>
          </p:txBody>
        </p:sp>
        <p:sp>
          <p:nvSpPr>
            <p:cNvPr id="258" name="Freeform 55"/>
            <p:cNvSpPr>
              <a:spLocks noChangeAspect="1"/>
            </p:cNvSpPr>
            <p:nvPr/>
          </p:nvSpPr>
          <p:spPr bwMode="gray">
            <a:xfrm>
              <a:off x="17358077" y="9220735"/>
              <a:ext cx="247501" cy="294238"/>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solidFill>
              <a:schemeClr val="accent6"/>
            </a:solidFill>
            <a:ln w="6350" cap="flat" cmpd="sng">
              <a:noFill/>
              <a:prstDash val="solid"/>
              <a:round/>
              <a:headEnd type="none" w="med" len="med"/>
              <a:tailEnd type="none" w="med" len="med"/>
            </a:ln>
            <a:effectLst/>
          </p:spPr>
          <p:txBody>
            <a:bodyPr/>
            <a:lstStyle/>
            <a:p>
              <a:pPr>
                <a:defRPr/>
              </a:pPr>
              <a:endParaRPr lang="en-US" sz="948" dirty="0">
                <a:latin typeface="Calibri Light"/>
              </a:endParaRPr>
            </a:p>
          </p:txBody>
        </p:sp>
        <p:sp>
          <p:nvSpPr>
            <p:cNvPr id="259" name="Freeform 56"/>
            <p:cNvSpPr>
              <a:spLocks noChangeAspect="1"/>
            </p:cNvSpPr>
            <p:nvPr/>
          </p:nvSpPr>
          <p:spPr bwMode="gray">
            <a:xfrm>
              <a:off x="17556077" y="8948886"/>
              <a:ext cx="183442" cy="316625"/>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solidFill>
              <a:schemeClr val="accent6"/>
            </a:solidFill>
            <a:ln w="6350" cap="flat" cmpd="sng">
              <a:noFill/>
              <a:prstDash val="solid"/>
              <a:round/>
              <a:headEnd type="none" w="med" len="med"/>
              <a:tailEnd type="none" w="med" len="med"/>
            </a:ln>
            <a:effectLst/>
          </p:spPr>
          <p:txBody>
            <a:bodyPr/>
            <a:lstStyle/>
            <a:p>
              <a:pPr>
                <a:defRPr/>
              </a:pPr>
              <a:endParaRPr lang="en-US" sz="948" dirty="0">
                <a:latin typeface="Calibri Light"/>
              </a:endParaRPr>
            </a:p>
          </p:txBody>
        </p:sp>
        <p:sp>
          <p:nvSpPr>
            <p:cNvPr id="260" name="Freeform 57"/>
            <p:cNvSpPr>
              <a:spLocks noChangeAspect="1"/>
            </p:cNvSpPr>
            <p:nvPr/>
          </p:nvSpPr>
          <p:spPr bwMode="gray">
            <a:xfrm>
              <a:off x="17276548" y="8389194"/>
              <a:ext cx="93176" cy="83153"/>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solidFill>
              <a:schemeClr val="accent6"/>
            </a:solidFill>
            <a:ln w="6350" cap="flat" cmpd="sng">
              <a:noFill/>
              <a:prstDash val="solid"/>
              <a:round/>
              <a:headEnd type="none" w="med" len="med"/>
              <a:tailEnd type="none" w="med" len="med"/>
            </a:ln>
            <a:effectLst/>
          </p:spPr>
          <p:txBody>
            <a:bodyPr/>
            <a:lstStyle/>
            <a:p>
              <a:pPr>
                <a:defRPr/>
              </a:pPr>
              <a:endParaRPr lang="en-US" sz="948" dirty="0">
                <a:latin typeface="Calibri Light"/>
              </a:endParaRPr>
            </a:p>
          </p:txBody>
        </p:sp>
      </p:grpSp>
      <p:cxnSp>
        <p:nvCxnSpPr>
          <p:cNvPr id="224" name="Elbow Connector 223"/>
          <p:cNvCxnSpPr>
            <a:endCxn id="225" idx="0"/>
          </p:cNvCxnSpPr>
          <p:nvPr/>
        </p:nvCxnSpPr>
        <p:spPr>
          <a:xfrm rot="16200000" flipH="1">
            <a:off x="4681979" y="4025133"/>
            <a:ext cx="877785" cy="619759"/>
          </a:xfrm>
          <a:prstGeom prst="bentConnector3">
            <a:avLst>
              <a:gd name="adj1" fmla="val 475"/>
            </a:avLst>
          </a:prstGeom>
          <a:ln w="3175" cmpd="sng">
            <a:solidFill>
              <a:srgbClr val="DDDDDD"/>
            </a:solidFill>
            <a:prstDash val="solid"/>
            <a:round/>
            <a:headEnd type="oval"/>
            <a:tailEnd type="none"/>
          </a:ln>
          <a:effectLst/>
        </p:spPr>
        <p:style>
          <a:lnRef idx="2">
            <a:schemeClr val="accent1"/>
          </a:lnRef>
          <a:fillRef idx="0">
            <a:schemeClr val="accent1"/>
          </a:fillRef>
          <a:effectRef idx="1">
            <a:schemeClr val="accent1"/>
          </a:effectRef>
          <a:fontRef idx="minor">
            <a:schemeClr val="tx1"/>
          </a:fontRef>
        </p:style>
      </p:cxnSp>
      <p:cxnSp>
        <p:nvCxnSpPr>
          <p:cNvPr id="235" name="Elbow Connector 234"/>
          <p:cNvCxnSpPr>
            <a:endCxn id="233" idx="0"/>
          </p:cNvCxnSpPr>
          <p:nvPr/>
        </p:nvCxnSpPr>
        <p:spPr>
          <a:xfrm rot="16200000" flipH="1">
            <a:off x="6453512" y="3438566"/>
            <a:ext cx="1380982" cy="1275697"/>
          </a:xfrm>
          <a:prstGeom prst="bentConnector3">
            <a:avLst>
              <a:gd name="adj1" fmla="val 18037"/>
            </a:avLst>
          </a:prstGeom>
          <a:ln w="3175" cmpd="sng">
            <a:solidFill>
              <a:srgbClr val="DDDDDD"/>
            </a:solidFill>
            <a:prstDash val="solid"/>
            <a:round/>
            <a:headEnd type="oval"/>
            <a:tailEnd type="none"/>
          </a:ln>
          <a:effectLst/>
        </p:spPr>
        <p:style>
          <a:lnRef idx="2">
            <a:schemeClr val="accent1"/>
          </a:lnRef>
          <a:fillRef idx="0">
            <a:schemeClr val="accent1"/>
          </a:fillRef>
          <a:effectRef idx="1">
            <a:schemeClr val="accent1"/>
          </a:effectRef>
          <a:fontRef idx="minor">
            <a:schemeClr val="tx1"/>
          </a:fontRef>
        </p:style>
      </p:cxnSp>
      <p:cxnSp>
        <p:nvCxnSpPr>
          <p:cNvPr id="221" name="Elbow Connector 220"/>
          <p:cNvCxnSpPr>
            <a:endCxn id="222" idx="3"/>
          </p:cNvCxnSpPr>
          <p:nvPr/>
        </p:nvCxnSpPr>
        <p:spPr>
          <a:xfrm rot="10800000" flipV="1">
            <a:off x="2242601" y="2712663"/>
            <a:ext cx="1366331" cy="892135"/>
          </a:xfrm>
          <a:prstGeom prst="bentConnector3">
            <a:avLst>
              <a:gd name="adj1" fmla="val 50000"/>
            </a:avLst>
          </a:prstGeom>
          <a:ln w="3175" cmpd="sng">
            <a:solidFill>
              <a:schemeClr val="bg1">
                <a:lumMod val="85000"/>
              </a:schemeClr>
            </a:solidFill>
            <a:prstDash val="solid"/>
            <a:round/>
            <a:headEnd type="oval"/>
            <a:tailEnd type="none"/>
          </a:ln>
          <a:effectLst/>
        </p:spPr>
        <p:style>
          <a:lnRef idx="2">
            <a:schemeClr val="accent1"/>
          </a:lnRef>
          <a:fillRef idx="0">
            <a:schemeClr val="accent1"/>
          </a:fillRef>
          <a:effectRef idx="1">
            <a:schemeClr val="accent1"/>
          </a:effectRef>
          <a:fontRef idx="minor">
            <a:schemeClr val="tx1"/>
          </a:fontRef>
        </p:style>
      </p:cxnSp>
      <p:cxnSp>
        <p:nvCxnSpPr>
          <p:cNvPr id="232" name="Elbow Connector 231"/>
          <p:cNvCxnSpPr>
            <a:endCxn id="230" idx="1"/>
          </p:cNvCxnSpPr>
          <p:nvPr/>
        </p:nvCxnSpPr>
        <p:spPr>
          <a:xfrm>
            <a:off x="8030246" y="2606111"/>
            <a:ext cx="1977597" cy="227209"/>
          </a:xfrm>
          <a:prstGeom prst="bentConnector3">
            <a:avLst>
              <a:gd name="adj1" fmla="val 50000"/>
            </a:avLst>
          </a:prstGeom>
          <a:ln w="3175" cmpd="sng">
            <a:solidFill>
              <a:srgbClr val="DDDDDD"/>
            </a:solidFill>
            <a:prstDash val="solid"/>
            <a:round/>
            <a:headEnd type="oval"/>
            <a:tailEnd type="none"/>
          </a:ln>
          <a:effectLst/>
        </p:spPr>
        <p:style>
          <a:lnRef idx="2">
            <a:schemeClr val="accent1"/>
          </a:lnRef>
          <a:fillRef idx="0">
            <a:schemeClr val="accent1"/>
          </a:fillRef>
          <a:effectRef idx="1">
            <a:schemeClr val="accent1"/>
          </a:effectRef>
          <a:fontRef idx="minor">
            <a:schemeClr val="tx1"/>
          </a:fontRef>
        </p:style>
      </p:cxnSp>
      <p:cxnSp>
        <p:nvCxnSpPr>
          <p:cNvPr id="229" name="Elbow Connector 228"/>
          <p:cNvCxnSpPr>
            <a:endCxn id="227" idx="1"/>
          </p:cNvCxnSpPr>
          <p:nvPr/>
        </p:nvCxnSpPr>
        <p:spPr>
          <a:xfrm>
            <a:off x="8668775" y="4337397"/>
            <a:ext cx="1339976" cy="234685"/>
          </a:xfrm>
          <a:prstGeom prst="bentConnector3">
            <a:avLst>
              <a:gd name="adj1" fmla="val 50000"/>
            </a:avLst>
          </a:prstGeom>
          <a:ln w="3175" cmpd="sng">
            <a:solidFill>
              <a:srgbClr val="DDDDDD"/>
            </a:solidFill>
            <a:prstDash val="solid"/>
            <a:round/>
            <a:headEnd type="oval"/>
            <a:tailEnd type="none"/>
          </a:ln>
          <a:effectLst/>
        </p:spPr>
        <p:style>
          <a:lnRef idx="2">
            <a:schemeClr val="accent1"/>
          </a:lnRef>
          <a:fillRef idx="0">
            <a:schemeClr val="accent1"/>
          </a:fillRef>
          <a:effectRef idx="1">
            <a:schemeClr val="accent1"/>
          </a:effectRef>
          <a:fontRef idx="minor">
            <a:schemeClr val="tx1"/>
          </a:fontRef>
        </p:style>
      </p:cxnSp>
      <p:sp>
        <p:nvSpPr>
          <p:cNvPr id="237" name="Title 236"/>
          <p:cNvSpPr>
            <a:spLocks noGrp="1"/>
          </p:cNvSpPr>
          <p:nvPr>
            <p:ph type="title"/>
          </p:nvPr>
        </p:nvSpPr>
        <p:spPr/>
        <p:txBody>
          <a:bodyPr/>
          <a:lstStyle/>
          <a:p>
            <a:r>
              <a:rPr lang="en-US" dirty="0" smtClean="0"/>
              <a:t>WORLD MAP</a:t>
            </a:r>
            <a:endParaRPr lang="en-US" dirty="0"/>
          </a:p>
        </p:txBody>
      </p:sp>
      <p:sp>
        <p:nvSpPr>
          <p:cNvPr id="240"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262_84</a:t>
            </a:r>
            <a:endParaRPr lang="en-US" sz="100" dirty="0" err="1" smtClean="0">
              <a:solidFill>
                <a:srgbClr val="FFFFFF"/>
              </a:solidFill>
            </a:endParaRPr>
          </a:p>
        </p:txBody>
      </p:sp>
    </p:spTree>
    <p:extLst>
      <p:ext uri="{BB962C8B-B14F-4D97-AF65-F5344CB8AC3E}">
        <p14:creationId xmlns:p14="http://schemas.microsoft.com/office/powerpoint/2010/main" val="1987944731"/>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p analysis</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170_84 169_84</a:t>
            </a:r>
            <a:endParaRPr lang="en-US" sz="100" dirty="0" err="1" smtClean="0">
              <a:solidFill>
                <a:srgbClr val="FFFFFF"/>
              </a:solidFill>
            </a:endParaRPr>
          </a:p>
        </p:txBody>
      </p:sp>
      <p:grpSp>
        <p:nvGrpSpPr>
          <p:cNvPr id="170" name="Group 169"/>
          <p:cNvGrpSpPr/>
          <p:nvPr>
            <p:custDataLst>
              <p:tags r:id="rId1"/>
            </p:custDataLst>
          </p:nvPr>
        </p:nvGrpSpPr>
        <p:grpSpPr>
          <a:xfrm>
            <a:off x="615522" y="1738573"/>
            <a:ext cx="7070216" cy="3760901"/>
            <a:chOff x="615522" y="1738573"/>
            <a:chExt cx="7070216" cy="3760901"/>
          </a:xfrm>
        </p:grpSpPr>
        <p:sp>
          <p:nvSpPr>
            <p:cNvPr id="5" name="Freeform 1"/>
            <p:cNvSpPr>
              <a:spLocks noChangeArrowheads="1"/>
            </p:cNvSpPr>
            <p:nvPr/>
          </p:nvSpPr>
          <p:spPr bwMode="auto">
            <a:xfrm>
              <a:off x="6365837" y="5352123"/>
              <a:ext cx="11131" cy="15149"/>
            </a:xfrm>
            <a:custGeom>
              <a:avLst/>
              <a:gdLst>
                <a:gd name="T0" fmla="*/ 15 w 32"/>
                <a:gd name="T1" fmla="*/ 0 h 49"/>
                <a:gd name="T2" fmla="*/ 15 w 32"/>
                <a:gd name="T3" fmla="*/ 0 h 49"/>
                <a:gd name="T4" fmla="*/ 0 w 32"/>
                <a:gd name="T5" fmla="*/ 16 h 49"/>
                <a:gd name="T6" fmla="*/ 15 w 32"/>
                <a:gd name="T7" fmla="*/ 32 h 49"/>
                <a:gd name="T8" fmla="*/ 15 w 32"/>
                <a:gd name="T9" fmla="*/ 0 h 49"/>
              </a:gdLst>
              <a:ahLst/>
              <a:cxnLst>
                <a:cxn ang="0">
                  <a:pos x="T0" y="T1"/>
                </a:cxn>
                <a:cxn ang="0">
                  <a:pos x="T2" y="T3"/>
                </a:cxn>
                <a:cxn ang="0">
                  <a:pos x="T4" y="T5"/>
                </a:cxn>
                <a:cxn ang="0">
                  <a:pos x="T6" y="T7"/>
                </a:cxn>
                <a:cxn ang="0">
                  <a:pos x="T8" y="T9"/>
                </a:cxn>
              </a:cxnLst>
              <a:rect l="0" t="0" r="r" b="b"/>
              <a:pathLst>
                <a:path w="32" h="49">
                  <a:moveTo>
                    <a:pt x="15" y="0"/>
                  </a:moveTo>
                  <a:lnTo>
                    <a:pt x="15" y="0"/>
                  </a:lnTo>
                  <a:cubicBezTo>
                    <a:pt x="15" y="0"/>
                    <a:pt x="0" y="8"/>
                    <a:pt x="0" y="16"/>
                  </a:cubicBezTo>
                  <a:cubicBezTo>
                    <a:pt x="0" y="32"/>
                    <a:pt x="7" y="48"/>
                    <a:pt x="15" y="32"/>
                  </a:cubicBezTo>
                  <a:cubicBezTo>
                    <a:pt x="23" y="24"/>
                    <a:pt x="31" y="0"/>
                    <a:pt x="15" y="0"/>
                  </a:cubicBezTo>
                </a:path>
              </a:pathLst>
            </a:custGeom>
            <a:solidFill>
              <a:schemeClr val="accent6"/>
            </a:solidFill>
            <a:ln>
              <a:solidFill>
                <a:schemeClr val="bg2"/>
              </a:solidFill>
            </a:ln>
            <a:effectLst/>
          </p:spPr>
          <p:txBody>
            <a:bodyPr wrap="none" anchor="ctr"/>
            <a:lstStyle/>
            <a:p>
              <a:endParaRPr lang="en-US"/>
            </a:p>
          </p:txBody>
        </p:sp>
        <p:sp>
          <p:nvSpPr>
            <p:cNvPr id="6" name="Freeform 2"/>
            <p:cNvSpPr>
              <a:spLocks noChangeArrowheads="1"/>
            </p:cNvSpPr>
            <p:nvPr/>
          </p:nvSpPr>
          <p:spPr bwMode="auto">
            <a:xfrm>
              <a:off x="6365837" y="5352123"/>
              <a:ext cx="11131" cy="12394"/>
            </a:xfrm>
            <a:custGeom>
              <a:avLst/>
              <a:gdLst>
                <a:gd name="T0" fmla="*/ 7 w 32"/>
                <a:gd name="T1" fmla="*/ 40 h 41"/>
                <a:gd name="T2" fmla="*/ 7 w 32"/>
                <a:gd name="T3" fmla="*/ 40 h 41"/>
                <a:gd name="T4" fmla="*/ 7 w 32"/>
                <a:gd name="T5" fmla="*/ 40 h 41"/>
                <a:gd name="T6" fmla="*/ 0 w 32"/>
                <a:gd name="T7" fmla="*/ 16 h 41"/>
                <a:gd name="T8" fmla="*/ 15 w 32"/>
                <a:gd name="T9" fmla="*/ 0 h 41"/>
                <a:gd name="T10" fmla="*/ 15 w 32"/>
                <a:gd name="T11" fmla="*/ 0 h 41"/>
                <a:gd name="T12" fmla="*/ 23 w 32"/>
                <a:gd name="T13" fmla="*/ 0 h 41"/>
                <a:gd name="T14" fmla="*/ 15 w 32"/>
                <a:gd name="T15" fmla="*/ 32 h 41"/>
                <a:gd name="T16" fmla="*/ 7 w 32"/>
                <a:gd name="T17" fmla="*/ 40 h 41"/>
                <a:gd name="T18" fmla="*/ 15 w 32"/>
                <a:gd name="T19" fmla="*/ 8 h 41"/>
                <a:gd name="T20" fmla="*/ 15 w 32"/>
                <a:gd name="T21" fmla="*/ 8 h 41"/>
                <a:gd name="T22" fmla="*/ 7 w 32"/>
                <a:gd name="T23" fmla="*/ 16 h 41"/>
                <a:gd name="T24" fmla="*/ 7 w 32"/>
                <a:gd name="T25" fmla="*/ 32 h 41"/>
                <a:gd name="T26" fmla="*/ 15 w 32"/>
                <a:gd name="T27" fmla="*/ 32 h 41"/>
                <a:gd name="T28" fmla="*/ 15 w 32"/>
                <a:gd name="T29" fmla="*/ 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41">
                  <a:moveTo>
                    <a:pt x="7" y="40"/>
                  </a:moveTo>
                  <a:lnTo>
                    <a:pt x="7" y="40"/>
                  </a:lnTo>
                  <a:lnTo>
                    <a:pt x="7" y="40"/>
                  </a:lnTo>
                  <a:cubicBezTo>
                    <a:pt x="0" y="40"/>
                    <a:pt x="0" y="24"/>
                    <a:pt x="0" y="16"/>
                  </a:cubicBezTo>
                  <a:cubicBezTo>
                    <a:pt x="0" y="0"/>
                    <a:pt x="15" y="0"/>
                    <a:pt x="15" y="0"/>
                  </a:cubicBezTo>
                  <a:lnTo>
                    <a:pt x="15" y="0"/>
                  </a:lnTo>
                  <a:cubicBezTo>
                    <a:pt x="23" y="0"/>
                    <a:pt x="23" y="0"/>
                    <a:pt x="23" y="0"/>
                  </a:cubicBezTo>
                  <a:cubicBezTo>
                    <a:pt x="31" y="8"/>
                    <a:pt x="23" y="24"/>
                    <a:pt x="15" y="32"/>
                  </a:cubicBezTo>
                  <a:cubicBezTo>
                    <a:pt x="15" y="40"/>
                    <a:pt x="15" y="40"/>
                    <a:pt x="7" y="40"/>
                  </a:cubicBezTo>
                  <a:close/>
                  <a:moveTo>
                    <a:pt x="15" y="8"/>
                  </a:moveTo>
                  <a:lnTo>
                    <a:pt x="15" y="8"/>
                  </a:lnTo>
                  <a:cubicBezTo>
                    <a:pt x="15" y="8"/>
                    <a:pt x="7" y="8"/>
                    <a:pt x="7" y="16"/>
                  </a:cubicBezTo>
                  <a:cubicBezTo>
                    <a:pt x="7" y="24"/>
                    <a:pt x="7" y="32"/>
                    <a:pt x="7" y="32"/>
                  </a:cubicBezTo>
                  <a:lnTo>
                    <a:pt x="15" y="32"/>
                  </a:lnTo>
                  <a:cubicBezTo>
                    <a:pt x="15" y="16"/>
                    <a:pt x="15" y="8"/>
                    <a:pt x="15" y="8"/>
                  </a:cubicBezTo>
                  <a:close/>
                </a:path>
              </a:pathLst>
            </a:custGeom>
            <a:solidFill>
              <a:schemeClr val="accent6"/>
            </a:solidFill>
            <a:ln>
              <a:solidFill>
                <a:schemeClr val="bg2"/>
              </a:solidFill>
            </a:ln>
            <a:effectLst/>
          </p:spPr>
          <p:txBody>
            <a:bodyPr wrap="none" anchor="ctr"/>
            <a:lstStyle/>
            <a:p>
              <a:endParaRPr lang="en-US"/>
            </a:p>
          </p:txBody>
        </p:sp>
        <p:sp>
          <p:nvSpPr>
            <p:cNvPr id="7" name="Freeform 3"/>
            <p:cNvSpPr>
              <a:spLocks noChangeArrowheads="1"/>
            </p:cNvSpPr>
            <p:nvPr/>
          </p:nvSpPr>
          <p:spPr bwMode="auto">
            <a:xfrm>
              <a:off x="6351525" y="5360385"/>
              <a:ext cx="11132" cy="8263"/>
            </a:xfrm>
            <a:custGeom>
              <a:avLst/>
              <a:gdLst>
                <a:gd name="T0" fmla="*/ 8 w 33"/>
                <a:gd name="T1" fmla="*/ 0 h 25"/>
                <a:gd name="T2" fmla="*/ 8 w 33"/>
                <a:gd name="T3" fmla="*/ 0 h 25"/>
                <a:gd name="T4" fmla="*/ 8 w 33"/>
                <a:gd name="T5" fmla="*/ 16 h 25"/>
                <a:gd name="T6" fmla="*/ 24 w 33"/>
                <a:gd name="T7" fmla="*/ 8 h 25"/>
                <a:gd name="T8" fmla="*/ 8 w 33"/>
                <a:gd name="T9" fmla="*/ 0 h 25"/>
              </a:gdLst>
              <a:ahLst/>
              <a:cxnLst>
                <a:cxn ang="0">
                  <a:pos x="T0" y="T1"/>
                </a:cxn>
                <a:cxn ang="0">
                  <a:pos x="T2" y="T3"/>
                </a:cxn>
                <a:cxn ang="0">
                  <a:pos x="T4" y="T5"/>
                </a:cxn>
                <a:cxn ang="0">
                  <a:pos x="T6" y="T7"/>
                </a:cxn>
                <a:cxn ang="0">
                  <a:pos x="T8" y="T9"/>
                </a:cxn>
              </a:cxnLst>
              <a:rect l="0" t="0" r="r" b="b"/>
              <a:pathLst>
                <a:path w="33" h="25">
                  <a:moveTo>
                    <a:pt x="8" y="0"/>
                  </a:moveTo>
                  <a:lnTo>
                    <a:pt x="8" y="0"/>
                  </a:lnTo>
                  <a:cubicBezTo>
                    <a:pt x="8" y="0"/>
                    <a:pt x="0" y="16"/>
                    <a:pt x="8" y="16"/>
                  </a:cubicBezTo>
                  <a:cubicBezTo>
                    <a:pt x="24" y="16"/>
                    <a:pt x="32" y="24"/>
                    <a:pt x="24" y="8"/>
                  </a:cubicBezTo>
                  <a:cubicBezTo>
                    <a:pt x="16" y="0"/>
                    <a:pt x="16" y="0"/>
                    <a:pt x="8" y="0"/>
                  </a:cubicBezTo>
                </a:path>
              </a:pathLst>
            </a:custGeom>
            <a:solidFill>
              <a:schemeClr val="accent6"/>
            </a:solidFill>
            <a:ln>
              <a:solidFill>
                <a:schemeClr val="bg2"/>
              </a:solidFill>
            </a:ln>
            <a:effectLst/>
          </p:spPr>
          <p:txBody>
            <a:bodyPr wrap="none" anchor="ctr"/>
            <a:lstStyle/>
            <a:p>
              <a:endParaRPr lang="en-US"/>
            </a:p>
          </p:txBody>
        </p:sp>
        <p:sp>
          <p:nvSpPr>
            <p:cNvPr id="8" name="Freeform 4"/>
            <p:cNvSpPr>
              <a:spLocks noChangeArrowheads="1"/>
            </p:cNvSpPr>
            <p:nvPr/>
          </p:nvSpPr>
          <p:spPr bwMode="auto">
            <a:xfrm>
              <a:off x="6351525" y="5357631"/>
              <a:ext cx="11132" cy="9640"/>
            </a:xfrm>
            <a:custGeom>
              <a:avLst/>
              <a:gdLst>
                <a:gd name="T0" fmla="*/ 24 w 33"/>
                <a:gd name="T1" fmla="*/ 32 h 33"/>
                <a:gd name="T2" fmla="*/ 24 w 33"/>
                <a:gd name="T3" fmla="*/ 32 h 33"/>
                <a:gd name="T4" fmla="*/ 24 w 33"/>
                <a:gd name="T5" fmla="*/ 32 h 33"/>
                <a:gd name="T6" fmla="*/ 8 w 33"/>
                <a:gd name="T7" fmla="*/ 24 h 33"/>
                <a:gd name="T8" fmla="*/ 0 w 33"/>
                <a:gd name="T9" fmla="*/ 24 h 33"/>
                <a:gd name="T10" fmla="*/ 0 w 33"/>
                <a:gd name="T11" fmla="*/ 8 h 33"/>
                <a:gd name="T12" fmla="*/ 0 w 33"/>
                <a:gd name="T13" fmla="*/ 0 h 33"/>
                <a:gd name="T14" fmla="*/ 8 w 33"/>
                <a:gd name="T15" fmla="*/ 0 h 33"/>
                <a:gd name="T16" fmla="*/ 32 w 33"/>
                <a:gd name="T17" fmla="*/ 16 h 33"/>
                <a:gd name="T18" fmla="*/ 32 w 33"/>
                <a:gd name="T19" fmla="*/ 16 h 33"/>
                <a:gd name="T20" fmla="*/ 32 w 33"/>
                <a:gd name="T21" fmla="*/ 24 h 33"/>
                <a:gd name="T22" fmla="*/ 24 w 33"/>
                <a:gd name="T23" fmla="*/ 32 h 33"/>
                <a:gd name="T24" fmla="*/ 8 w 33"/>
                <a:gd name="T25" fmla="*/ 8 h 33"/>
                <a:gd name="T26" fmla="*/ 8 w 33"/>
                <a:gd name="T27" fmla="*/ 8 h 33"/>
                <a:gd name="T28" fmla="*/ 8 w 33"/>
                <a:gd name="T29" fmla="*/ 16 h 33"/>
                <a:gd name="T30" fmla="*/ 8 w 33"/>
                <a:gd name="T31" fmla="*/ 24 h 33"/>
                <a:gd name="T32" fmla="*/ 24 w 33"/>
                <a:gd name="T33" fmla="*/ 24 h 33"/>
                <a:gd name="T34" fmla="*/ 24 w 33"/>
                <a:gd name="T35" fmla="*/ 24 h 33"/>
                <a:gd name="T36" fmla="*/ 24 w 33"/>
                <a:gd name="T37" fmla="*/ 24 h 33"/>
                <a:gd name="T38" fmla="*/ 8 w 33"/>
                <a:gd name="T3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 h="33">
                  <a:moveTo>
                    <a:pt x="24" y="32"/>
                  </a:moveTo>
                  <a:lnTo>
                    <a:pt x="24" y="32"/>
                  </a:lnTo>
                  <a:lnTo>
                    <a:pt x="24" y="32"/>
                  </a:lnTo>
                  <a:cubicBezTo>
                    <a:pt x="24" y="32"/>
                    <a:pt x="16" y="32"/>
                    <a:pt x="8" y="24"/>
                  </a:cubicBezTo>
                  <a:cubicBezTo>
                    <a:pt x="0" y="24"/>
                    <a:pt x="0" y="24"/>
                    <a:pt x="0" y="24"/>
                  </a:cubicBezTo>
                  <a:cubicBezTo>
                    <a:pt x="0" y="16"/>
                    <a:pt x="0" y="8"/>
                    <a:pt x="0" y="8"/>
                  </a:cubicBezTo>
                  <a:cubicBezTo>
                    <a:pt x="0" y="0"/>
                    <a:pt x="0" y="0"/>
                    <a:pt x="0" y="0"/>
                  </a:cubicBezTo>
                  <a:cubicBezTo>
                    <a:pt x="8" y="0"/>
                    <a:pt x="8" y="0"/>
                    <a:pt x="8" y="0"/>
                  </a:cubicBezTo>
                  <a:cubicBezTo>
                    <a:pt x="16" y="0"/>
                    <a:pt x="24" y="8"/>
                    <a:pt x="32" y="16"/>
                  </a:cubicBezTo>
                  <a:lnTo>
                    <a:pt x="32" y="16"/>
                  </a:lnTo>
                  <a:lnTo>
                    <a:pt x="32" y="24"/>
                  </a:lnTo>
                  <a:cubicBezTo>
                    <a:pt x="32" y="32"/>
                    <a:pt x="24" y="32"/>
                    <a:pt x="24" y="32"/>
                  </a:cubicBezTo>
                  <a:close/>
                  <a:moveTo>
                    <a:pt x="8" y="8"/>
                  </a:moveTo>
                  <a:lnTo>
                    <a:pt x="8" y="8"/>
                  </a:lnTo>
                  <a:cubicBezTo>
                    <a:pt x="8" y="16"/>
                    <a:pt x="8" y="16"/>
                    <a:pt x="8" y="16"/>
                  </a:cubicBezTo>
                  <a:cubicBezTo>
                    <a:pt x="8" y="16"/>
                    <a:pt x="8" y="16"/>
                    <a:pt x="8" y="24"/>
                  </a:cubicBezTo>
                  <a:cubicBezTo>
                    <a:pt x="16" y="24"/>
                    <a:pt x="24" y="24"/>
                    <a:pt x="24" y="24"/>
                  </a:cubicBezTo>
                  <a:lnTo>
                    <a:pt x="24" y="24"/>
                  </a:lnTo>
                  <a:lnTo>
                    <a:pt x="24" y="24"/>
                  </a:lnTo>
                  <a:cubicBezTo>
                    <a:pt x="16" y="16"/>
                    <a:pt x="16" y="8"/>
                    <a:pt x="8" y="8"/>
                  </a:cubicBezTo>
                  <a:close/>
                </a:path>
              </a:pathLst>
            </a:custGeom>
            <a:solidFill>
              <a:schemeClr val="accent6"/>
            </a:solidFill>
            <a:ln>
              <a:solidFill>
                <a:schemeClr val="bg2"/>
              </a:solidFill>
            </a:ln>
            <a:effectLst/>
          </p:spPr>
          <p:txBody>
            <a:bodyPr wrap="none" anchor="ctr"/>
            <a:lstStyle/>
            <a:p>
              <a:endParaRPr lang="en-US"/>
            </a:p>
          </p:txBody>
        </p:sp>
        <p:sp>
          <p:nvSpPr>
            <p:cNvPr id="9" name="Freeform 5"/>
            <p:cNvSpPr>
              <a:spLocks noChangeArrowheads="1"/>
            </p:cNvSpPr>
            <p:nvPr/>
          </p:nvSpPr>
          <p:spPr bwMode="auto">
            <a:xfrm>
              <a:off x="6311769" y="5375533"/>
              <a:ext cx="31805" cy="9639"/>
            </a:xfrm>
            <a:custGeom>
              <a:avLst/>
              <a:gdLst>
                <a:gd name="T0" fmla="*/ 71 w 88"/>
                <a:gd name="T1" fmla="*/ 0 h 32"/>
                <a:gd name="T2" fmla="*/ 71 w 88"/>
                <a:gd name="T3" fmla="*/ 0 h 32"/>
                <a:gd name="T4" fmla="*/ 56 w 88"/>
                <a:gd name="T5" fmla="*/ 7 h 32"/>
                <a:gd name="T6" fmla="*/ 24 w 88"/>
                <a:gd name="T7" fmla="*/ 31 h 32"/>
                <a:gd name="T8" fmla="*/ 71 w 88"/>
                <a:gd name="T9" fmla="*/ 15 h 32"/>
                <a:gd name="T10" fmla="*/ 71 w 88"/>
                <a:gd name="T11" fmla="*/ 0 h 32"/>
              </a:gdLst>
              <a:ahLst/>
              <a:cxnLst>
                <a:cxn ang="0">
                  <a:pos x="T0" y="T1"/>
                </a:cxn>
                <a:cxn ang="0">
                  <a:pos x="T2" y="T3"/>
                </a:cxn>
                <a:cxn ang="0">
                  <a:pos x="T4" y="T5"/>
                </a:cxn>
                <a:cxn ang="0">
                  <a:pos x="T6" y="T7"/>
                </a:cxn>
                <a:cxn ang="0">
                  <a:pos x="T8" y="T9"/>
                </a:cxn>
                <a:cxn ang="0">
                  <a:pos x="T10" y="T11"/>
                </a:cxn>
              </a:cxnLst>
              <a:rect l="0" t="0" r="r" b="b"/>
              <a:pathLst>
                <a:path w="88" h="32">
                  <a:moveTo>
                    <a:pt x="71" y="0"/>
                  </a:moveTo>
                  <a:lnTo>
                    <a:pt x="71" y="0"/>
                  </a:lnTo>
                  <a:cubicBezTo>
                    <a:pt x="71" y="0"/>
                    <a:pt x="64" y="15"/>
                    <a:pt x="56" y="7"/>
                  </a:cubicBezTo>
                  <a:cubicBezTo>
                    <a:pt x="40" y="0"/>
                    <a:pt x="0" y="23"/>
                    <a:pt x="24" y="31"/>
                  </a:cubicBezTo>
                  <a:cubicBezTo>
                    <a:pt x="56" y="31"/>
                    <a:pt x="71" y="15"/>
                    <a:pt x="71" y="15"/>
                  </a:cubicBezTo>
                  <a:cubicBezTo>
                    <a:pt x="71" y="15"/>
                    <a:pt x="87" y="7"/>
                    <a:pt x="71" y="0"/>
                  </a:cubicBezTo>
                </a:path>
              </a:pathLst>
            </a:custGeom>
            <a:solidFill>
              <a:schemeClr val="accent6"/>
            </a:solidFill>
            <a:ln>
              <a:solidFill>
                <a:schemeClr val="bg2"/>
              </a:solidFill>
            </a:ln>
            <a:effectLst/>
          </p:spPr>
          <p:txBody>
            <a:bodyPr wrap="none" anchor="ctr"/>
            <a:lstStyle/>
            <a:p>
              <a:endParaRPr lang="en-US"/>
            </a:p>
          </p:txBody>
        </p:sp>
        <p:sp>
          <p:nvSpPr>
            <p:cNvPr id="10" name="Freeform 6"/>
            <p:cNvSpPr>
              <a:spLocks noChangeArrowheads="1"/>
            </p:cNvSpPr>
            <p:nvPr/>
          </p:nvSpPr>
          <p:spPr bwMode="auto">
            <a:xfrm>
              <a:off x="6318130" y="5372780"/>
              <a:ext cx="25444" cy="12394"/>
            </a:xfrm>
            <a:custGeom>
              <a:avLst/>
              <a:gdLst>
                <a:gd name="T0" fmla="*/ 24 w 72"/>
                <a:gd name="T1" fmla="*/ 39 h 40"/>
                <a:gd name="T2" fmla="*/ 24 w 72"/>
                <a:gd name="T3" fmla="*/ 39 h 40"/>
                <a:gd name="T4" fmla="*/ 24 w 72"/>
                <a:gd name="T5" fmla="*/ 39 h 40"/>
                <a:gd name="T6" fmla="*/ 8 w 72"/>
                <a:gd name="T7" fmla="*/ 39 h 40"/>
                <a:gd name="T8" fmla="*/ 0 w 72"/>
                <a:gd name="T9" fmla="*/ 31 h 40"/>
                <a:gd name="T10" fmla="*/ 32 w 72"/>
                <a:gd name="T11" fmla="*/ 8 h 40"/>
                <a:gd name="T12" fmla="*/ 40 w 72"/>
                <a:gd name="T13" fmla="*/ 15 h 40"/>
                <a:gd name="T14" fmla="*/ 55 w 72"/>
                <a:gd name="T15" fmla="*/ 8 h 40"/>
                <a:gd name="T16" fmla="*/ 55 w 72"/>
                <a:gd name="T17" fmla="*/ 0 h 40"/>
                <a:gd name="T18" fmla="*/ 55 w 72"/>
                <a:gd name="T19" fmla="*/ 0 h 40"/>
                <a:gd name="T20" fmla="*/ 71 w 72"/>
                <a:gd name="T21" fmla="*/ 15 h 40"/>
                <a:gd name="T22" fmla="*/ 55 w 72"/>
                <a:gd name="T23" fmla="*/ 23 h 40"/>
                <a:gd name="T24" fmla="*/ 24 w 72"/>
                <a:gd name="T25" fmla="*/ 39 h 40"/>
                <a:gd name="T26" fmla="*/ 8 w 72"/>
                <a:gd name="T27" fmla="*/ 31 h 40"/>
                <a:gd name="T28" fmla="*/ 8 w 72"/>
                <a:gd name="T29" fmla="*/ 31 h 40"/>
                <a:gd name="T30" fmla="*/ 8 w 72"/>
                <a:gd name="T31" fmla="*/ 31 h 40"/>
                <a:gd name="T32" fmla="*/ 24 w 72"/>
                <a:gd name="T33" fmla="*/ 31 h 40"/>
                <a:gd name="T34" fmla="*/ 55 w 72"/>
                <a:gd name="T35" fmla="*/ 23 h 40"/>
                <a:gd name="T36" fmla="*/ 55 w 72"/>
                <a:gd name="T37" fmla="*/ 15 h 40"/>
                <a:gd name="T38" fmla="*/ 63 w 72"/>
                <a:gd name="T39" fmla="*/ 15 h 40"/>
                <a:gd name="T40" fmla="*/ 55 w 72"/>
                <a:gd name="T41" fmla="*/ 8 h 40"/>
                <a:gd name="T42" fmla="*/ 40 w 72"/>
                <a:gd name="T43" fmla="*/ 23 h 40"/>
                <a:gd name="T44" fmla="*/ 32 w 72"/>
                <a:gd name="T45" fmla="*/ 23 h 40"/>
                <a:gd name="T46" fmla="*/ 32 w 72"/>
                <a:gd name="T47" fmla="*/ 15 h 40"/>
                <a:gd name="T48" fmla="*/ 8 w 72"/>
                <a:gd name="T49" fmla="*/ 3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2" h="40">
                  <a:moveTo>
                    <a:pt x="24" y="39"/>
                  </a:moveTo>
                  <a:lnTo>
                    <a:pt x="24" y="39"/>
                  </a:lnTo>
                  <a:lnTo>
                    <a:pt x="24" y="39"/>
                  </a:lnTo>
                  <a:cubicBezTo>
                    <a:pt x="16" y="39"/>
                    <a:pt x="16" y="39"/>
                    <a:pt x="8" y="39"/>
                  </a:cubicBezTo>
                  <a:cubicBezTo>
                    <a:pt x="0" y="39"/>
                    <a:pt x="0" y="31"/>
                    <a:pt x="0" y="31"/>
                  </a:cubicBezTo>
                  <a:cubicBezTo>
                    <a:pt x="0" y="23"/>
                    <a:pt x="24" y="8"/>
                    <a:pt x="32" y="8"/>
                  </a:cubicBezTo>
                  <a:lnTo>
                    <a:pt x="40" y="15"/>
                  </a:lnTo>
                  <a:cubicBezTo>
                    <a:pt x="48" y="15"/>
                    <a:pt x="48" y="8"/>
                    <a:pt x="55" y="8"/>
                  </a:cubicBezTo>
                  <a:cubicBezTo>
                    <a:pt x="55" y="0"/>
                    <a:pt x="55" y="0"/>
                    <a:pt x="55" y="0"/>
                  </a:cubicBezTo>
                  <a:lnTo>
                    <a:pt x="55" y="0"/>
                  </a:lnTo>
                  <a:cubicBezTo>
                    <a:pt x="63" y="8"/>
                    <a:pt x="63" y="8"/>
                    <a:pt x="71" y="15"/>
                  </a:cubicBezTo>
                  <a:cubicBezTo>
                    <a:pt x="71" y="15"/>
                    <a:pt x="63" y="23"/>
                    <a:pt x="55" y="23"/>
                  </a:cubicBezTo>
                  <a:cubicBezTo>
                    <a:pt x="55" y="31"/>
                    <a:pt x="40" y="39"/>
                    <a:pt x="24" y="39"/>
                  </a:cubicBezTo>
                  <a:close/>
                  <a:moveTo>
                    <a:pt x="8" y="31"/>
                  </a:moveTo>
                  <a:lnTo>
                    <a:pt x="8" y="31"/>
                  </a:lnTo>
                  <a:lnTo>
                    <a:pt x="8" y="31"/>
                  </a:lnTo>
                  <a:cubicBezTo>
                    <a:pt x="16" y="31"/>
                    <a:pt x="16" y="31"/>
                    <a:pt x="24" y="31"/>
                  </a:cubicBezTo>
                  <a:cubicBezTo>
                    <a:pt x="40" y="31"/>
                    <a:pt x="55" y="23"/>
                    <a:pt x="55" y="23"/>
                  </a:cubicBezTo>
                  <a:cubicBezTo>
                    <a:pt x="55" y="15"/>
                    <a:pt x="55" y="15"/>
                    <a:pt x="55" y="15"/>
                  </a:cubicBezTo>
                  <a:lnTo>
                    <a:pt x="63" y="15"/>
                  </a:lnTo>
                  <a:lnTo>
                    <a:pt x="55" y="8"/>
                  </a:lnTo>
                  <a:cubicBezTo>
                    <a:pt x="55" y="15"/>
                    <a:pt x="48" y="23"/>
                    <a:pt x="40" y="23"/>
                  </a:cubicBezTo>
                  <a:cubicBezTo>
                    <a:pt x="40" y="23"/>
                    <a:pt x="40" y="23"/>
                    <a:pt x="32" y="23"/>
                  </a:cubicBezTo>
                  <a:lnTo>
                    <a:pt x="32" y="15"/>
                  </a:lnTo>
                  <a:cubicBezTo>
                    <a:pt x="24" y="15"/>
                    <a:pt x="8" y="23"/>
                    <a:pt x="8" y="31"/>
                  </a:cubicBezTo>
                  <a:close/>
                </a:path>
              </a:pathLst>
            </a:custGeom>
            <a:solidFill>
              <a:schemeClr val="accent6"/>
            </a:solidFill>
            <a:ln>
              <a:solidFill>
                <a:schemeClr val="bg2"/>
              </a:solidFill>
            </a:ln>
            <a:effectLst/>
          </p:spPr>
          <p:txBody>
            <a:bodyPr wrap="none" anchor="ctr"/>
            <a:lstStyle/>
            <a:p>
              <a:endParaRPr lang="en-US"/>
            </a:p>
          </p:txBody>
        </p:sp>
        <p:sp>
          <p:nvSpPr>
            <p:cNvPr id="11" name="Freeform 7"/>
            <p:cNvSpPr>
              <a:spLocks noChangeArrowheads="1"/>
            </p:cNvSpPr>
            <p:nvPr/>
          </p:nvSpPr>
          <p:spPr bwMode="auto">
            <a:xfrm>
              <a:off x="6257701" y="5387927"/>
              <a:ext cx="17492" cy="22034"/>
            </a:xfrm>
            <a:custGeom>
              <a:avLst/>
              <a:gdLst>
                <a:gd name="T0" fmla="*/ 16 w 49"/>
                <a:gd name="T1" fmla="*/ 8 h 72"/>
                <a:gd name="T2" fmla="*/ 16 w 49"/>
                <a:gd name="T3" fmla="*/ 8 h 72"/>
                <a:gd name="T4" fmla="*/ 8 w 49"/>
                <a:gd name="T5" fmla="*/ 16 h 72"/>
                <a:gd name="T6" fmla="*/ 32 w 49"/>
                <a:gd name="T7" fmla="*/ 47 h 72"/>
                <a:gd name="T8" fmla="*/ 48 w 49"/>
                <a:gd name="T9" fmla="*/ 55 h 72"/>
                <a:gd name="T10" fmla="*/ 32 w 49"/>
                <a:gd name="T11" fmla="*/ 24 h 72"/>
                <a:gd name="T12" fmla="*/ 16 w 49"/>
                <a:gd name="T13" fmla="*/ 8 h 72"/>
              </a:gdLst>
              <a:ahLst/>
              <a:cxnLst>
                <a:cxn ang="0">
                  <a:pos x="T0" y="T1"/>
                </a:cxn>
                <a:cxn ang="0">
                  <a:pos x="T2" y="T3"/>
                </a:cxn>
                <a:cxn ang="0">
                  <a:pos x="T4" y="T5"/>
                </a:cxn>
                <a:cxn ang="0">
                  <a:pos x="T6" y="T7"/>
                </a:cxn>
                <a:cxn ang="0">
                  <a:pos x="T8" y="T9"/>
                </a:cxn>
                <a:cxn ang="0">
                  <a:pos x="T10" y="T11"/>
                </a:cxn>
                <a:cxn ang="0">
                  <a:pos x="T12" y="T13"/>
                </a:cxn>
              </a:cxnLst>
              <a:rect l="0" t="0" r="r" b="b"/>
              <a:pathLst>
                <a:path w="49" h="72">
                  <a:moveTo>
                    <a:pt x="16" y="8"/>
                  </a:moveTo>
                  <a:lnTo>
                    <a:pt x="16" y="8"/>
                  </a:lnTo>
                  <a:cubicBezTo>
                    <a:pt x="16" y="8"/>
                    <a:pt x="0" y="8"/>
                    <a:pt x="8" y="16"/>
                  </a:cubicBezTo>
                  <a:cubicBezTo>
                    <a:pt x="8" y="24"/>
                    <a:pt x="24" y="32"/>
                    <a:pt x="32" y="47"/>
                  </a:cubicBezTo>
                  <a:cubicBezTo>
                    <a:pt x="32" y="63"/>
                    <a:pt x="48" y="71"/>
                    <a:pt x="48" y="55"/>
                  </a:cubicBezTo>
                  <a:cubicBezTo>
                    <a:pt x="48" y="40"/>
                    <a:pt x="40" y="32"/>
                    <a:pt x="32" y="24"/>
                  </a:cubicBezTo>
                  <a:cubicBezTo>
                    <a:pt x="32" y="8"/>
                    <a:pt x="32" y="0"/>
                    <a:pt x="16" y="8"/>
                  </a:cubicBezTo>
                </a:path>
              </a:pathLst>
            </a:custGeom>
            <a:solidFill>
              <a:schemeClr val="accent6"/>
            </a:solidFill>
            <a:ln>
              <a:solidFill>
                <a:schemeClr val="bg2"/>
              </a:solidFill>
            </a:ln>
            <a:effectLst/>
          </p:spPr>
          <p:txBody>
            <a:bodyPr wrap="none" anchor="ctr"/>
            <a:lstStyle/>
            <a:p>
              <a:endParaRPr lang="en-US"/>
            </a:p>
          </p:txBody>
        </p:sp>
        <p:sp>
          <p:nvSpPr>
            <p:cNvPr id="12" name="Freeform 8"/>
            <p:cNvSpPr>
              <a:spLocks noChangeArrowheads="1"/>
            </p:cNvSpPr>
            <p:nvPr/>
          </p:nvSpPr>
          <p:spPr bwMode="auto">
            <a:xfrm>
              <a:off x="6257701" y="5387927"/>
              <a:ext cx="20672" cy="22034"/>
            </a:xfrm>
            <a:custGeom>
              <a:avLst/>
              <a:gdLst>
                <a:gd name="T0" fmla="*/ 48 w 56"/>
                <a:gd name="T1" fmla="*/ 71 h 72"/>
                <a:gd name="T2" fmla="*/ 48 w 56"/>
                <a:gd name="T3" fmla="*/ 71 h 72"/>
                <a:gd name="T4" fmla="*/ 48 w 56"/>
                <a:gd name="T5" fmla="*/ 71 h 72"/>
                <a:gd name="T6" fmla="*/ 24 w 56"/>
                <a:gd name="T7" fmla="*/ 47 h 72"/>
                <a:gd name="T8" fmla="*/ 8 w 56"/>
                <a:gd name="T9" fmla="*/ 32 h 72"/>
                <a:gd name="T10" fmla="*/ 0 w 56"/>
                <a:gd name="T11" fmla="*/ 16 h 72"/>
                <a:gd name="T12" fmla="*/ 0 w 56"/>
                <a:gd name="T13" fmla="*/ 8 h 72"/>
                <a:gd name="T14" fmla="*/ 16 w 56"/>
                <a:gd name="T15" fmla="*/ 0 h 72"/>
                <a:gd name="T16" fmla="*/ 32 w 56"/>
                <a:gd name="T17" fmla="*/ 16 h 72"/>
                <a:gd name="T18" fmla="*/ 40 w 56"/>
                <a:gd name="T19" fmla="*/ 24 h 72"/>
                <a:gd name="T20" fmla="*/ 48 w 56"/>
                <a:gd name="T21" fmla="*/ 32 h 72"/>
                <a:gd name="T22" fmla="*/ 55 w 56"/>
                <a:gd name="T23" fmla="*/ 55 h 72"/>
                <a:gd name="T24" fmla="*/ 55 w 56"/>
                <a:gd name="T25" fmla="*/ 63 h 72"/>
                <a:gd name="T26" fmla="*/ 48 w 56"/>
                <a:gd name="T27" fmla="*/ 71 h 72"/>
                <a:gd name="T28" fmla="*/ 24 w 56"/>
                <a:gd name="T29" fmla="*/ 8 h 72"/>
                <a:gd name="T30" fmla="*/ 24 w 56"/>
                <a:gd name="T31" fmla="*/ 8 h 72"/>
                <a:gd name="T32" fmla="*/ 16 w 56"/>
                <a:gd name="T33" fmla="*/ 8 h 72"/>
                <a:gd name="T34" fmla="*/ 16 w 56"/>
                <a:gd name="T35" fmla="*/ 8 h 72"/>
                <a:gd name="T36" fmla="*/ 8 w 56"/>
                <a:gd name="T37" fmla="*/ 16 h 72"/>
                <a:gd name="T38" fmla="*/ 8 w 56"/>
                <a:gd name="T39" fmla="*/ 16 h 72"/>
                <a:gd name="T40" fmla="*/ 16 w 56"/>
                <a:gd name="T41" fmla="*/ 24 h 72"/>
                <a:gd name="T42" fmla="*/ 32 w 56"/>
                <a:gd name="T43" fmla="*/ 47 h 72"/>
                <a:gd name="T44" fmla="*/ 48 w 56"/>
                <a:gd name="T45" fmla="*/ 63 h 72"/>
                <a:gd name="T46" fmla="*/ 48 w 56"/>
                <a:gd name="T47" fmla="*/ 63 h 72"/>
                <a:gd name="T48" fmla="*/ 48 w 56"/>
                <a:gd name="T49" fmla="*/ 55 h 72"/>
                <a:gd name="T50" fmla="*/ 40 w 56"/>
                <a:gd name="T51" fmla="*/ 40 h 72"/>
                <a:gd name="T52" fmla="*/ 32 w 56"/>
                <a:gd name="T53" fmla="*/ 24 h 72"/>
                <a:gd name="T54" fmla="*/ 24 w 56"/>
                <a:gd name="T55" fmla="*/ 16 h 72"/>
                <a:gd name="T56" fmla="*/ 24 w 56"/>
                <a:gd name="T57"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 h="72">
                  <a:moveTo>
                    <a:pt x="48" y="71"/>
                  </a:moveTo>
                  <a:lnTo>
                    <a:pt x="48" y="71"/>
                  </a:lnTo>
                  <a:lnTo>
                    <a:pt x="48" y="71"/>
                  </a:lnTo>
                  <a:cubicBezTo>
                    <a:pt x="40" y="71"/>
                    <a:pt x="32" y="63"/>
                    <a:pt x="24" y="47"/>
                  </a:cubicBezTo>
                  <a:cubicBezTo>
                    <a:pt x="24" y="40"/>
                    <a:pt x="16" y="32"/>
                    <a:pt x="8" y="32"/>
                  </a:cubicBezTo>
                  <a:cubicBezTo>
                    <a:pt x="8" y="24"/>
                    <a:pt x="0" y="24"/>
                    <a:pt x="0" y="16"/>
                  </a:cubicBezTo>
                  <a:lnTo>
                    <a:pt x="0" y="8"/>
                  </a:lnTo>
                  <a:cubicBezTo>
                    <a:pt x="0" y="0"/>
                    <a:pt x="16" y="0"/>
                    <a:pt x="16" y="0"/>
                  </a:cubicBezTo>
                  <a:cubicBezTo>
                    <a:pt x="32" y="0"/>
                    <a:pt x="32" y="8"/>
                    <a:pt x="32" y="16"/>
                  </a:cubicBezTo>
                  <a:cubicBezTo>
                    <a:pt x="32" y="16"/>
                    <a:pt x="40" y="16"/>
                    <a:pt x="40" y="24"/>
                  </a:cubicBezTo>
                  <a:cubicBezTo>
                    <a:pt x="40" y="24"/>
                    <a:pt x="40" y="24"/>
                    <a:pt x="48" y="32"/>
                  </a:cubicBezTo>
                  <a:cubicBezTo>
                    <a:pt x="48" y="32"/>
                    <a:pt x="55" y="40"/>
                    <a:pt x="55" y="55"/>
                  </a:cubicBezTo>
                  <a:lnTo>
                    <a:pt x="55" y="63"/>
                  </a:lnTo>
                  <a:cubicBezTo>
                    <a:pt x="48" y="63"/>
                    <a:pt x="48" y="71"/>
                    <a:pt x="48" y="71"/>
                  </a:cubicBezTo>
                  <a:close/>
                  <a:moveTo>
                    <a:pt x="24" y="8"/>
                  </a:moveTo>
                  <a:lnTo>
                    <a:pt x="24" y="8"/>
                  </a:lnTo>
                  <a:cubicBezTo>
                    <a:pt x="24" y="8"/>
                    <a:pt x="24" y="8"/>
                    <a:pt x="16" y="8"/>
                  </a:cubicBezTo>
                  <a:lnTo>
                    <a:pt x="16" y="8"/>
                  </a:lnTo>
                  <a:cubicBezTo>
                    <a:pt x="16" y="8"/>
                    <a:pt x="8" y="8"/>
                    <a:pt x="8" y="16"/>
                  </a:cubicBezTo>
                  <a:lnTo>
                    <a:pt x="8" y="16"/>
                  </a:lnTo>
                  <a:lnTo>
                    <a:pt x="16" y="24"/>
                  </a:lnTo>
                  <a:cubicBezTo>
                    <a:pt x="24" y="32"/>
                    <a:pt x="32" y="40"/>
                    <a:pt x="32" y="47"/>
                  </a:cubicBezTo>
                  <a:cubicBezTo>
                    <a:pt x="32" y="55"/>
                    <a:pt x="40" y="63"/>
                    <a:pt x="48" y="63"/>
                  </a:cubicBezTo>
                  <a:lnTo>
                    <a:pt x="48" y="63"/>
                  </a:lnTo>
                  <a:cubicBezTo>
                    <a:pt x="48" y="55"/>
                    <a:pt x="48" y="55"/>
                    <a:pt x="48" y="55"/>
                  </a:cubicBezTo>
                  <a:cubicBezTo>
                    <a:pt x="48" y="47"/>
                    <a:pt x="40" y="40"/>
                    <a:pt x="40" y="40"/>
                  </a:cubicBezTo>
                  <a:cubicBezTo>
                    <a:pt x="32" y="32"/>
                    <a:pt x="32" y="32"/>
                    <a:pt x="32" y="24"/>
                  </a:cubicBezTo>
                  <a:cubicBezTo>
                    <a:pt x="32" y="24"/>
                    <a:pt x="32" y="16"/>
                    <a:pt x="24" y="16"/>
                  </a:cubicBezTo>
                  <a:cubicBezTo>
                    <a:pt x="24" y="8"/>
                    <a:pt x="24" y="8"/>
                    <a:pt x="24" y="8"/>
                  </a:cubicBezTo>
                  <a:close/>
                </a:path>
              </a:pathLst>
            </a:custGeom>
            <a:solidFill>
              <a:schemeClr val="accent6"/>
            </a:solidFill>
            <a:ln>
              <a:solidFill>
                <a:schemeClr val="bg2"/>
              </a:solidFill>
            </a:ln>
            <a:effectLst/>
          </p:spPr>
          <p:txBody>
            <a:bodyPr wrap="none" anchor="ctr"/>
            <a:lstStyle/>
            <a:p>
              <a:endParaRPr lang="en-US"/>
            </a:p>
          </p:txBody>
        </p:sp>
        <p:sp>
          <p:nvSpPr>
            <p:cNvPr id="13" name="Freeform 9"/>
            <p:cNvSpPr>
              <a:spLocks noChangeArrowheads="1"/>
            </p:cNvSpPr>
            <p:nvPr/>
          </p:nvSpPr>
          <p:spPr bwMode="auto">
            <a:xfrm>
              <a:off x="6194091" y="5401699"/>
              <a:ext cx="54068" cy="33051"/>
            </a:xfrm>
            <a:custGeom>
              <a:avLst/>
              <a:gdLst>
                <a:gd name="T0" fmla="*/ 135 w 151"/>
                <a:gd name="T1" fmla="*/ 16 h 104"/>
                <a:gd name="T2" fmla="*/ 135 w 151"/>
                <a:gd name="T3" fmla="*/ 16 h 104"/>
                <a:gd name="T4" fmla="*/ 135 w 151"/>
                <a:gd name="T5" fmla="*/ 32 h 104"/>
                <a:gd name="T6" fmla="*/ 111 w 151"/>
                <a:gd name="T7" fmla="*/ 40 h 104"/>
                <a:gd name="T8" fmla="*/ 63 w 151"/>
                <a:gd name="T9" fmla="*/ 56 h 104"/>
                <a:gd name="T10" fmla="*/ 8 w 151"/>
                <a:gd name="T11" fmla="*/ 80 h 104"/>
                <a:gd name="T12" fmla="*/ 32 w 151"/>
                <a:gd name="T13" fmla="*/ 95 h 104"/>
                <a:gd name="T14" fmla="*/ 79 w 151"/>
                <a:gd name="T15" fmla="*/ 72 h 104"/>
                <a:gd name="T16" fmla="*/ 119 w 151"/>
                <a:gd name="T17" fmla="*/ 56 h 104"/>
                <a:gd name="T18" fmla="*/ 127 w 151"/>
                <a:gd name="T19" fmla="*/ 48 h 104"/>
                <a:gd name="T20" fmla="*/ 142 w 151"/>
                <a:gd name="T21" fmla="*/ 32 h 104"/>
                <a:gd name="T22" fmla="*/ 150 w 151"/>
                <a:gd name="T23" fmla="*/ 24 h 104"/>
                <a:gd name="T24" fmla="*/ 135 w 151"/>
                <a:gd name="T25" fmla="*/ 1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 h="104">
                  <a:moveTo>
                    <a:pt x="135" y="16"/>
                  </a:moveTo>
                  <a:lnTo>
                    <a:pt x="135" y="16"/>
                  </a:lnTo>
                  <a:cubicBezTo>
                    <a:pt x="135" y="16"/>
                    <a:pt x="135" y="24"/>
                    <a:pt x="135" y="32"/>
                  </a:cubicBezTo>
                  <a:cubicBezTo>
                    <a:pt x="135" y="40"/>
                    <a:pt x="127" y="40"/>
                    <a:pt x="111" y="40"/>
                  </a:cubicBezTo>
                  <a:cubicBezTo>
                    <a:pt x="95" y="40"/>
                    <a:pt x="71" y="48"/>
                    <a:pt x="63" y="56"/>
                  </a:cubicBezTo>
                  <a:cubicBezTo>
                    <a:pt x="47" y="72"/>
                    <a:pt x="8" y="72"/>
                    <a:pt x="8" y="80"/>
                  </a:cubicBezTo>
                  <a:cubicBezTo>
                    <a:pt x="16" y="87"/>
                    <a:pt x="0" y="95"/>
                    <a:pt x="32" y="95"/>
                  </a:cubicBezTo>
                  <a:cubicBezTo>
                    <a:pt x="63" y="103"/>
                    <a:pt x="63" y="72"/>
                    <a:pt x="79" y="72"/>
                  </a:cubicBezTo>
                  <a:cubicBezTo>
                    <a:pt x="103" y="72"/>
                    <a:pt x="119" y="64"/>
                    <a:pt x="119" y="56"/>
                  </a:cubicBezTo>
                  <a:cubicBezTo>
                    <a:pt x="119" y="48"/>
                    <a:pt x="119" y="48"/>
                    <a:pt x="127" y="48"/>
                  </a:cubicBezTo>
                  <a:cubicBezTo>
                    <a:pt x="135" y="48"/>
                    <a:pt x="142" y="32"/>
                    <a:pt x="142" y="32"/>
                  </a:cubicBezTo>
                  <a:cubicBezTo>
                    <a:pt x="150" y="32"/>
                    <a:pt x="150" y="32"/>
                    <a:pt x="150" y="24"/>
                  </a:cubicBezTo>
                  <a:cubicBezTo>
                    <a:pt x="150" y="16"/>
                    <a:pt x="142" y="0"/>
                    <a:pt x="135" y="16"/>
                  </a:cubicBezTo>
                </a:path>
              </a:pathLst>
            </a:custGeom>
            <a:solidFill>
              <a:schemeClr val="accent6"/>
            </a:solidFill>
            <a:ln>
              <a:solidFill>
                <a:schemeClr val="bg2"/>
              </a:solidFill>
            </a:ln>
            <a:effectLst/>
          </p:spPr>
          <p:txBody>
            <a:bodyPr wrap="none" anchor="ctr"/>
            <a:lstStyle/>
            <a:p>
              <a:endParaRPr lang="en-US"/>
            </a:p>
          </p:txBody>
        </p:sp>
        <p:sp>
          <p:nvSpPr>
            <p:cNvPr id="14" name="Freeform 10"/>
            <p:cNvSpPr>
              <a:spLocks noChangeArrowheads="1"/>
            </p:cNvSpPr>
            <p:nvPr/>
          </p:nvSpPr>
          <p:spPr bwMode="auto">
            <a:xfrm>
              <a:off x="6197272" y="5404453"/>
              <a:ext cx="54068" cy="30297"/>
            </a:xfrm>
            <a:custGeom>
              <a:avLst/>
              <a:gdLst>
                <a:gd name="T0" fmla="*/ 24 w 151"/>
                <a:gd name="T1" fmla="*/ 95 h 96"/>
                <a:gd name="T2" fmla="*/ 24 w 151"/>
                <a:gd name="T3" fmla="*/ 95 h 96"/>
                <a:gd name="T4" fmla="*/ 24 w 151"/>
                <a:gd name="T5" fmla="*/ 95 h 96"/>
                <a:gd name="T6" fmla="*/ 24 w 151"/>
                <a:gd name="T7" fmla="*/ 95 h 96"/>
                <a:gd name="T8" fmla="*/ 0 w 151"/>
                <a:gd name="T9" fmla="*/ 87 h 96"/>
                <a:gd name="T10" fmla="*/ 0 w 151"/>
                <a:gd name="T11" fmla="*/ 79 h 96"/>
                <a:gd name="T12" fmla="*/ 0 w 151"/>
                <a:gd name="T13" fmla="*/ 72 h 96"/>
                <a:gd name="T14" fmla="*/ 24 w 151"/>
                <a:gd name="T15" fmla="*/ 56 h 96"/>
                <a:gd name="T16" fmla="*/ 48 w 151"/>
                <a:gd name="T17" fmla="*/ 48 h 96"/>
                <a:gd name="T18" fmla="*/ 103 w 151"/>
                <a:gd name="T19" fmla="*/ 32 h 96"/>
                <a:gd name="T20" fmla="*/ 127 w 151"/>
                <a:gd name="T21" fmla="*/ 24 h 96"/>
                <a:gd name="T22" fmla="*/ 127 w 151"/>
                <a:gd name="T23" fmla="*/ 8 h 96"/>
                <a:gd name="T24" fmla="*/ 127 w 151"/>
                <a:gd name="T25" fmla="*/ 0 h 96"/>
                <a:gd name="T26" fmla="*/ 134 w 151"/>
                <a:gd name="T27" fmla="*/ 0 h 96"/>
                <a:gd name="T28" fmla="*/ 142 w 151"/>
                <a:gd name="T29" fmla="*/ 16 h 96"/>
                <a:gd name="T30" fmla="*/ 142 w 151"/>
                <a:gd name="T31" fmla="*/ 24 h 96"/>
                <a:gd name="T32" fmla="*/ 134 w 151"/>
                <a:gd name="T33" fmla="*/ 32 h 96"/>
                <a:gd name="T34" fmla="*/ 134 w 151"/>
                <a:gd name="T35" fmla="*/ 32 h 96"/>
                <a:gd name="T36" fmla="*/ 119 w 151"/>
                <a:gd name="T37" fmla="*/ 40 h 96"/>
                <a:gd name="T38" fmla="*/ 111 w 151"/>
                <a:gd name="T39" fmla="*/ 40 h 96"/>
                <a:gd name="T40" fmla="*/ 111 w 151"/>
                <a:gd name="T41" fmla="*/ 48 h 96"/>
                <a:gd name="T42" fmla="*/ 71 w 151"/>
                <a:gd name="T43" fmla="*/ 72 h 96"/>
                <a:gd name="T44" fmla="*/ 55 w 151"/>
                <a:gd name="T45" fmla="*/ 79 h 96"/>
                <a:gd name="T46" fmla="*/ 24 w 151"/>
                <a:gd name="T47" fmla="*/ 95 h 96"/>
                <a:gd name="T48" fmla="*/ 8 w 151"/>
                <a:gd name="T49" fmla="*/ 72 h 96"/>
                <a:gd name="T50" fmla="*/ 8 w 151"/>
                <a:gd name="T51" fmla="*/ 72 h 96"/>
                <a:gd name="T52" fmla="*/ 8 w 151"/>
                <a:gd name="T53" fmla="*/ 79 h 96"/>
                <a:gd name="T54" fmla="*/ 8 w 151"/>
                <a:gd name="T55" fmla="*/ 87 h 96"/>
                <a:gd name="T56" fmla="*/ 24 w 151"/>
                <a:gd name="T57" fmla="*/ 87 h 96"/>
                <a:gd name="T58" fmla="*/ 24 w 151"/>
                <a:gd name="T59" fmla="*/ 87 h 96"/>
                <a:gd name="T60" fmla="*/ 48 w 151"/>
                <a:gd name="T61" fmla="*/ 72 h 96"/>
                <a:gd name="T62" fmla="*/ 71 w 151"/>
                <a:gd name="T63" fmla="*/ 64 h 96"/>
                <a:gd name="T64" fmla="*/ 103 w 151"/>
                <a:gd name="T65" fmla="*/ 48 h 96"/>
                <a:gd name="T66" fmla="*/ 111 w 151"/>
                <a:gd name="T67" fmla="*/ 32 h 96"/>
                <a:gd name="T68" fmla="*/ 103 w 151"/>
                <a:gd name="T69" fmla="*/ 32 h 96"/>
                <a:gd name="T70" fmla="*/ 55 w 151"/>
                <a:gd name="T71" fmla="*/ 48 h 96"/>
                <a:gd name="T72" fmla="*/ 24 w 151"/>
                <a:gd name="T73" fmla="*/ 64 h 96"/>
                <a:gd name="T74" fmla="*/ 8 w 151"/>
                <a:gd name="T75" fmla="*/ 72 h 96"/>
                <a:gd name="T76" fmla="*/ 134 w 151"/>
                <a:gd name="T77" fmla="*/ 8 h 96"/>
                <a:gd name="T78" fmla="*/ 134 w 151"/>
                <a:gd name="T79" fmla="*/ 8 h 96"/>
                <a:gd name="T80" fmla="*/ 134 w 151"/>
                <a:gd name="T81" fmla="*/ 24 h 96"/>
                <a:gd name="T82" fmla="*/ 134 w 151"/>
                <a:gd name="T83" fmla="*/ 24 h 96"/>
                <a:gd name="T84" fmla="*/ 134 w 151"/>
                <a:gd name="T85" fmla="*/ 24 h 96"/>
                <a:gd name="T86" fmla="*/ 134 w 151"/>
                <a:gd name="T87" fmla="*/ 16 h 96"/>
                <a:gd name="T88" fmla="*/ 134 w 151"/>
                <a:gd name="T8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1" h="96">
                  <a:moveTo>
                    <a:pt x="24" y="95"/>
                  </a:moveTo>
                  <a:lnTo>
                    <a:pt x="24" y="95"/>
                  </a:lnTo>
                  <a:lnTo>
                    <a:pt x="24" y="95"/>
                  </a:lnTo>
                  <a:lnTo>
                    <a:pt x="24" y="95"/>
                  </a:lnTo>
                  <a:cubicBezTo>
                    <a:pt x="8" y="95"/>
                    <a:pt x="8" y="95"/>
                    <a:pt x="0" y="87"/>
                  </a:cubicBezTo>
                  <a:lnTo>
                    <a:pt x="0" y="79"/>
                  </a:lnTo>
                  <a:cubicBezTo>
                    <a:pt x="0" y="79"/>
                    <a:pt x="0" y="79"/>
                    <a:pt x="0" y="72"/>
                  </a:cubicBezTo>
                  <a:cubicBezTo>
                    <a:pt x="0" y="72"/>
                    <a:pt x="8" y="64"/>
                    <a:pt x="24" y="56"/>
                  </a:cubicBezTo>
                  <a:cubicBezTo>
                    <a:pt x="32" y="56"/>
                    <a:pt x="48" y="48"/>
                    <a:pt x="48" y="48"/>
                  </a:cubicBezTo>
                  <a:cubicBezTo>
                    <a:pt x="63" y="32"/>
                    <a:pt x="79" y="32"/>
                    <a:pt x="103" y="32"/>
                  </a:cubicBezTo>
                  <a:cubicBezTo>
                    <a:pt x="111" y="24"/>
                    <a:pt x="127" y="24"/>
                    <a:pt x="127" y="24"/>
                  </a:cubicBezTo>
                  <a:lnTo>
                    <a:pt x="127" y="8"/>
                  </a:lnTo>
                  <a:cubicBezTo>
                    <a:pt x="127" y="0"/>
                    <a:pt x="127" y="0"/>
                    <a:pt x="127" y="0"/>
                  </a:cubicBezTo>
                  <a:cubicBezTo>
                    <a:pt x="127" y="0"/>
                    <a:pt x="127" y="0"/>
                    <a:pt x="134" y="0"/>
                  </a:cubicBezTo>
                  <a:cubicBezTo>
                    <a:pt x="142" y="0"/>
                    <a:pt x="142" y="8"/>
                    <a:pt x="142" y="16"/>
                  </a:cubicBezTo>
                  <a:cubicBezTo>
                    <a:pt x="150" y="24"/>
                    <a:pt x="142" y="24"/>
                    <a:pt x="142" y="24"/>
                  </a:cubicBezTo>
                  <a:cubicBezTo>
                    <a:pt x="142" y="32"/>
                    <a:pt x="134" y="32"/>
                    <a:pt x="134" y="32"/>
                  </a:cubicBezTo>
                  <a:lnTo>
                    <a:pt x="134" y="32"/>
                  </a:lnTo>
                  <a:cubicBezTo>
                    <a:pt x="127" y="40"/>
                    <a:pt x="119" y="40"/>
                    <a:pt x="119" y="40"/>
                  </a:cubicBezTo>
                  <a:lnTo>
                    <a:pt x="111" y="40"/>
                  </a:lnTo>
                  <a:lnTo>
                    <a:pt x="111" y="48"/>
                  </a:lnTo>
                  <a:cubicBezTo>
                    <a:pt x="111" y="56"/>
                    <a:pt x="95" y="72"/>
                    <a:pt x="71" y="72"/>
                  </a:cubicBezTo>
                  <a:cubicBezTo>
                    <a:pt x="63" y="72"/>
                    <a:pt x="63" y="72"/>
                    <a:pt x="55" y="79"/>
                  </a:cubicBezTo>
                  <a:cubicBezTo>
                    <a:pt x="48" y="87"/>
                    <a:pt x="39" y="95"/>
                    <a:pt x="24" y="95"/>
                  </a:cubicBezTo>
                  <a:close/>
                  <a:moveTo>
                    <a:pt x="8" y="72"/>
                  </a:moveTo>
                  <a:lnTo>
                    <a:pt x="8" y="72"/>
                  </a:lnTo>
                  <a:cubicBezTo>
                    <a:pt x="8" y="79"/>
                    <a:pt x="8" y="79"/>
                    <a:pt x="8" y="79"/>
                  </a:cubicBezTo>
                  <a:cubicBezTo>
                    <a:pt x="8" y="79"/>
                    <a:pt x="8" y="79"/>
                    <a:pt x="8" y="87"/>
                  </a:cubicBezTo>
                  <a:cubicBezTo>
                    <a:pt x="8" y="87"/>
                    <a:pt x="8" y="87"/>
                    <a:pt x="24" y="87"/>
                  </a:cubicBezTo>
                  <a:lnTo>
                    <a:pt x="24" y="87"/>
                  </a:lnTo>
                  <a:cubicBezTo>
                    <a:pt x="39" y="87"/>
                    <a:pt x="48" y="79"/>
                    <a:pt x="48" y="72"/>
                  </a:cubicBezTo>
                  <a:cubicBezTo>
                    <a:pt x="55" y="64"/>
                    <a:pt x="63" y="64"/>
                    <a:pt x="71" y="64"/>
                  </a:cubicBezTo>
                  <a:cubicBezTo>
                    <a:pt x="95" y="64"/>
                    <a:pt x="103" y="48"/>
                    <a:pt x="103" y="48"/>
                  </a:cubicBezTo>
                  <a:cubicBezTo>
                    <a:pt x="103" y="40"/>
                    <a:pt x="103" y="40"/>
                    <a:pt x="111" y="32"/>
                  </a:cubicBezTo>
                  <a:cubicBezTo>
                    <a:pt x="103" y="32"/>
                    <a:pt x="103" y="32"/>
                    <a:pt x="103" y="32"/>
                  </a:cubicBezTo>
                  <a:cubicBezTo>
                    <a:pt x="87" y="40"/>
                    <a:pt x="63" y="40"/>
                    <a:pt x="55" y="48"/>
                  </a:cubicBezTo>
                  <a:cubicBezTo>
                    <a:pt x="48" y="56"/>
                    <a:pt x="39" y="64"/>
                    <a:pt x="24" y="64"/>
                  </a:cubicBezTo>
                  <a:cubicBezTo>
                    <a:pt x="16" y="72"/>
                    <a:pt x="8" y="72"/>
                    <a:pt x="8" y="72"/>
                  </a:cubicBezTo>
                  <a:close/>
                  <a:moveTo>
                    <a:pt x="134" y="8"/>
                  </a:moveTo>
                  <a:lnTo>
                    <a:pt x="134" y="8"/>
                  </a:lnTo>
                  <a:cubicBezTo>
                    <a:pt x="134" y="8"/>
                    <a:pt x="134" y="16"/>
                    <a:pt x="134" y="24"/>
                  </a:cubicBezTo>
                  <a:lnTo>
                    <a:pt x="134" y="24"/>
                  </a:lnTo>
                  <a:lnTo>
                    <a:pt x="134" y="24"/>
                  </a:lnTo>
                  <a:cubicBezTo>
                    <a:pt x="134" y="24"/>
                    <a:pt x="142" y="16"/>
                    <a:pt x="134" y="16"/>
                  </a:cubicBezTo>
                  <a:cubicBezTo>
                    <a:pt x="134" y="8"/>
                    <a:pt x="134" y="8"/>
                    <a:pt x="134" y="8"/>
                  </a:cubicBezTo>
                  <a:close/>
                </a:path>
              </a:pathLst>
            </a:custGeom>
            <a:solidFill>
              <a:schemeClr val="accent6"/>
            </a:solidFill>
            <a:ln>
              <a:solidFill>
                <a:schemeClr val="bg2"/>
              </a:solidFill>
            </a:ln>
            <a:effectLst/>
          </p:spPr>
          <p:txBody>
            <a:bodyPr wrap="none" anchor="ctr"/>
            <a:lstStyle/>
            <a:p>
              <a:endParaRPr lang="en-US"/>
            </a:p>
          </p:txBody>
        </p:sp>
        <p:sp>
          <p:nvSpPr>
            <p:cNvPr id="15" name="Freeform 11"/>
            <p:cNvSpPr>
              <a:spLocks noChangeArrowheads="1"/>
            </p:cNvSpPr>
            <p:nvPr/>
          </p:nvSpPr>
          <p:spPr bwMode="auto">
            <a:xfrm>
              <a:off x="2703510" y="3900643"/>
              <a:ext cx="1909881" cy="1597453"/>
            </a:xfrm>
            <a:custGeom>
              <a:avLst/>
              <a:gdLst>
                <a:gd name="T0" fmla="*/ 5193 w 5297"/>
                <a:gd name="T1" fmla="*/ 3170 h 5116"/>
                <a:gd name="T2" fmla="*/ 5217 w 5297"/>
                <a:gd name="T3" fmla="*/ 2965 h 5116"/>
                <a:gd name="T4" fmla="*/ 5272 w 5297"/>
                <a:gd name="T5" fmla="*/ 2799 h 5116"/>
                <a:gd name="T6" fmla="*/ 5232 w 5297"/>
                <a:gd name="T7" fmla="*/ 2498 h 5116"/>
                <a:gd name="T8" fmla="*/ 5114 w 5297"/>
                <a:gd name="T9" fmla="*/ 2237 h 5116"/>
                <a:gd name="T10" fmla="*/ 4956 w 5297"/>
                <a:gd name="T11" fmla="*/ 1431 h 5116"/>
                <a:gd name="T12" fmla="*/ 4766 w 5297"/>
                <a:gd name="T13" fmla="*/ 1376 h 5116"/>
                <a:gd name="T14" fmla="*/ 4497 w 5297"/>
                <a:gd name="T15" fmla="*/ 1320 h 5116"/>
                <a:gd name="T16" fmla="*/ 4292 w 5297"/>
                <a:gd name="T17" fmla="*/ 1312 h 5116"/>
                <a:gd name="T18" fmla="*/ 4008 w 5297"/>
                <a:gd name="T19" fmla="*/ 1305 h 5116"/>
                <a:gd name="T20" fmla="*/ 3881 w 5297"/>
                <a:gd name="T21" fmla="*/ 1336 h 5116"/>
                <a:gd name="T22" fmla="*/ 3739 w 5297"/>
                <a:gd name="T23" fmla="*/ 1312 h 5116"/>
                <a:gd name="T24" fmla="*/ 3518 w 5297"/>
                <a:gd name="T25" fmla="*/ 1320 h 5116"/>
                <a:gd name="T26" fmla="*/ 3399 w 5297"/>
                <a:gd name="T27" fmla="*/ 1194 h 5116"/>
                <a:gd name="T28" fmla="*/ 3202 w 5297"/>
                <a:gd name="T29" fmla="*/ 1194 h 5116"/>
                <a:gd name="T30" fmla="*/ 2980 w 5297"/>
                <a:gd name="T31" fmla="*/ 1028 h 5116"/>
                <a:gd name="T32" fmla="*/ 2759 w 5297"/>
                <a:gd name="T33" fmla="*/ 55 h 5116"/>
                <a:gd name="T34" fmla="*/ 39 w 5297"/>
                <a:gd name="T35" fmla="*/ 2024 h 5116"/>
                <a:gd name="T36" fmla="*/ 253 w 5297"/>
                <a:gd name="T37" fmla="*/ 2316 h 5116"/>
                <a:gd name="T38" fmla="*/ 672 w 5297"/>
                <a:gd name="T39" fmla="*/ 2719 h 5116"/>
                <a:gd name="T40" fmla="*/ 798 w 5297"/>
                <a:gd name="T41" fmla="*/ 3178 h 5116"/>
                <a:gd name="T42" fmla="*/ 1154 w 5297"/>
                <a:gd name="T43" fmla="*/ 3431 h 5116"/>
                <a:gd name="T44" fmla="*/ 1541 w 5297"/>
                <a:gd name="T45" fmla="*/ 3265 h 5116"/>
                <a:gd name="T46" fmla="*/ 1889 w 5297"/>
                <a:gd name="T47" fmla="*/ 3178 h 5116"/>
                <a:gd name="T48" fmla="*/ 2324 w 5297"/>
                <a:gd name="T49" fmla="*/ 3463 h 5116"/>
                <a:gd name="T50" fmla="*/ 2704 w 5297"/>
                <a:gd name="T51" fmla="*/ 4134 h 5116"/>
                <a:gd name="T52" fmla="*/ 2870 w 5297"/>
                <a:gd name="T53" fmla="*/ 4411 h 5116"/>
                <a:gd name="T54" fmla="*/ 3012 w 5297"/>
                <a:gd name="T55" fmla="*/ 4806 h 5116"/>
                <a:gd name="T56" fmla="*/ 3423 w 5297"/>
                <a:gd name="T57" fmla="*/ 4988 h 5116"/>
                <a:gd name="T58" fmla="*/ 3747 w 5297"/>
                <a:gd name="T59" fmla="*/ 5107 h 5116"/>
                <a:gd name="T60" fmla="*/ 3826 w 5297"/>
                <a:gd name="T61" fmla="*/ 5036 h 5116"/>
                <a:gd name="T62" fmla="*/ 3747 w 5297"/>
                <a:gd name="T63" fmla="*/ 4901 h 5116"/>
                <a:gd name="T64" fmla="*/ 3660 w 5297"/>
                <a:gd name="T65" fmla="*/ 4593 h 5116"/>
                <a:gd name="T66" fmla="*/ 3755 w 5297"/>
                <a:gd name="T67" fmla="*/ 4743 h 5116"/>
                <a:gd name="T68" fmla="*/ 3779 w 5297"/>
                <a:gd name="T69" fmla="*/ 4712 h 5116"/>
                <a:gd name="T70" fmla="*/ 3668 w 5297"/>
                <a:gd name="T71" fmla="*/ 4435 h 5116"/>
                <a:gd name="T72" fmla="*/ 3715 w 5297"/>
                <a:gd name="T73" fmla="*/ 4403 h 5116"/>
                <a:gd name="T74" fmla="*/ 3834 w 5297"/>
                <a:gd name="T75" fmla="*/ 4222 h 5116"/>
                <a:gd name="T76" fmla="*/ 3771 w 5297"/>
                <a:gd name="T77" fmla="*/ 4253 h 5116"/>
                <a:gd name="T78" fmla="*/ 3771 w 5297"/>
                <a:gd name="T79" fmla="*/ 4142 h 5116"/>
                <a:gd name="T80" fmla="*/ 3826 w 5297"/>
                <a:gd name="T81" fmla="*/ 4056 h 5116"/>
                <a:gd name="T82" fmla="*/ 3992 w 5297"/>
                <a:gd name="T83" fmla="*/ 3937 h 5116"/>
                <a:gd name="T84" fmla="*/ 4094 w 5297"/>
                <a:gd name="T85" fmla="*/ 3921 h 5116"/>
                <a:gd name="T86" fmla="*/ 4110 w 5297"/>
                <a:gd name="T87" fmla="*/ 3858 h 5116"/>
                <a:gd name="T88" fmla="*/ 4157 w 5297"/>
                <a:gd name="T89" fmla="*/ 3803 h 5116"/>
                <a:gd name="T90" fmla="*/ 4220 w 5297"/>
                <a:gd name="T91" fmla="*/ 3874 h 5116"/>
                <a:gd name="T92" fmla="*/ 4473 w 5297"/>
                <a:gd name="T93" fmla="*/ 3723 h 5116"/>
                <a:gd name="T94" fmla="*/ 4750 w 5297"/>
                <a:gd name="T95" fmla="*/ 3407 h 5116"/>
                <a:gd name="T96" fmla="*/ 4766 w 5297"/>
                <a:gd name="T97" fmla="*/ 3305 h 5116"/>
                <a:gd name="T98" fmla="*/ 4813 w 5297"/>
                <a:gd name="T99" fmla="*/ 3328 h 5116"/>
                <a:gd name="T100" fmla="*/ 4790 w 5297"/>
                <a:gd name="T101" fmla="*/ 3447 h 5116"/>
                <a:gd name="T102" fmla="*/ 4797 w 5297"/>
                <a:gd name="T103" fmla="*/ 3478 h 5116"/>
                <a:gd name="T104" fmla="*/ 5185 w 5297"/>
                <a:gd name="T105" fmla="*/ 3265 h 5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97" h="5116">
                  <a:moveTo>
                    <a:pt x="5169" y="3249"/>
                  </a:moveTo>
                  <a:lnTo>
                    <a:pt x="5169" y="3249"/>
                  </a:lnTo>
                  <a:cubicBezTo>
                    <a:pt x="5161" y="3241"/>
                    <a:pt x="5145" y="3233"/>
                    <a:pt x="5153" y="3217"/>
                  </a:cubicBezTo>
                  <a:cubicBezTo>
                    <a:pt x="5161" y="3202"/>
                    <a:pt x="5177" y="3186"/>
                    <a:pt x="5193" y="3170"/>
                  </a:cubicBezTo>
                  <a:cubicBezTo>
                    <a:pt x="5217" y="3146"/>
                    <a:pt x="5209" y="3123"/>
                    <a:pt x="5217" y="3107"/>
                  </a:cubicBezTo>
                  <a:cubicBezTo>
                    <a:pt x="5232" y="3091"/>
                    <a:pt x="5240" y="3099"/>
                    <a:pt x="5240" y="3083"/>
                  </a:cubicBezTo>
                  <a:cubicBezTo>
                    <a:pt x="5240" y="3059"/>
                    <a:pt x="5248" y="3043"/>
                    <a:pt x="5232" y="3020"/>
                  </a:cubicBezTo>
                  <a:cubicBezTo>
                    <a:pt x="5224" y="2996"/>
                    <a:pt x="5209" y="2980"/>
                    <a:pt x="5217" y="2965"/>
                  </a:cubicBezTo>
                  <a:cubicBezTo>
                    <a:pt x="5217" y="2957"/>
                    <a:pt x="5224" y="2925"/>
                    <a:pt x="5232" y="2925"/>
                  </a:cubicBezTo>
                  <a:cubicBezTo>
                    <a:pt x="5248" y="2925"/>
                    <a:pt x="5248" y="2901"/>
                    <a:pt x="5240" y="2886"/>
                  </a:cubicBezTo>
                  <a:cubicBezTo>
                    <a:pt x="5232" y="2870"/>
                    <a:pt x="5193" y="2878"/>
                    <a:pt x="5217" y="2854"/>
                  </a:cubicBezTo>
                  <a:cubicBezTo>
                    <a:pt x="5248" y="2822"/>
                    <a:pt x="5248" y="2838"/>
                    <a:pt x="5272" y="2799"/>
                  </a:cubicBezTo>
                  <a:cubicBezTo>
                    <a:pt x="5288" y="2759"/>
                    <a:pt x="5288" y="2727"/>
                    <a:pt x="5288" y="2712"/>
                  </a:cubicBezTo>
                  <a:cubicBezTo>
                    <a:pt x="5288" y="2688"/>
                    <a:pt x="5280" y="2672"/>
                    <a:pt x="5288" y="2648"/>
                  </a:cubicBezTo>
                  <a:cubicBezTo>
                    <a:pt x="5296" y="2617"/>
                    <a:pt x="5288" y="2585"/>
                    <a:pt x="5272" y="2553"/>
                  </a:cubicBezTo>
                  <a:cubicBezTo>
                    <a:pt x="5256" y="2522"/>
                    <a:pt x="5232" y="2546"/>
                    <a:pt x="5232" y="2498"/>
                  </a:cubicBezTo>
                  <a:cubicBezTo>
                    <a:pt x="5232" y="2459"/>
                    <a:pt x="5217" y="2435"/>
                    <a:pt x="5201" y="2419"/>
                  </a:cubicBezTo>
                  <a:cubicBezTo>
                    <a:pt x="5185" y="2403"/>
                    <a:pt x="5161" y="2403"/>
                    <a:pt x="5169" y="2380"/>
                  </a:cubicBezTo>
                  <a:cubicBezTo>
                    <a:pt x="5177" y="2356"/>
                    <a:pt x="5185" y="2348"/>
                    <a:pt x="5177" y="2316"/>
                  </a:cubicBezTo>
                  <a:cubicBezTo>
                    <a:pt x="5161" y="2277"/>
                    <a:pt x="5130" y="2261"/>
                    <a:pt x="5114" y="2237"/>
                  </a:cubicBezTo>
                  <a:cubicBezTo>
                    <a:pt x="5098" y="2213"/>
                    <a:pt x="5066" y="2198"/>
                    <a:pt x="5066" y="2198"/>
                  </a:cubicBezTo>
                  <a:cubicBezTo>
                    <a:pt x="5059" y="1455"/>
                    <a:pt x="5059" y="1455"/>
                    <a:pt x="5059" y="1455"/>
                  </a:cubicBezTo>
                  <a:cubicBezTo>
                    <a:pt x="5059" y="1455"/>
                    <a:pt x="5043" y="1431"/>
                    <a:pt x="5019" y="1431"/>
                  </a:cubicBezTo>
                  <a:cubicBezTo>
                    <a:pt x="4987" y="1431"/>
                    <a:pt x="4964" y="1423"/>
                    <a:pt x="4956" y="1431"/>
                  </a:cubicBezTo>
                  <a:cubicBezTo>
                    <a:pt x="4940" y="1431"/>
                    <a:pt x="4948" y="1478"/>
                    <a:pt x="4924" y="1463"/>
                  </a:cubicBezTo>
                  <a:cubicBezTo>
                    <a:pt x="4900" y="1439"/>
                    <a:pt x="4916" y="1399"/>
                    <a:pt x="4884" y="1399"/>
                  </a:cubicBezTo>
                  <a:cubicBezTo>
                    <a:pt x="4853" y="1391"/>
                    <a:pt x="4869" y="1407"/>
                    <a:pt x="4829" y="1407"/>
                  </a:cubicBezTo>
                  <a:cubicBezTo>
                    <a:pt x="4797" y="1407"/>
                    <a:pt x="4774" y="1391"/>
                    <a:pt x="4766" y="1376"/>
                  </a:cubicBezTo>
                  <a:cubicBezTo>
                    <a:pt x="4758" y="1368"/>
                    <a:pt x="4726" y="1376"/>
                    <a:pt x="4687" y="1328"/>
                  </a:cubicBezTo>
                  <a:cubicBezTo>
                    <a:pt x="4647" y="1281"/>
                    <a:pt x="4624" y="1265"/>
                    <a:pt x="4600" y="1265"/>
                  </a:cubicBezTo>
                  <a:cubicBezTo>
                    <a:pt x="4576" y="1265"/>
                    <a:pt x="4568" y="1289"/>
                    <a:pt x="4553" y="1305"/>
                  </a:cubicBezTo>
                  <a:cubicBezTo>
                    <a:pt x="4544" y="1320"/>
                    <a:pt x="4529" y="1344"/>
                    <a:pt x="4497" y="1320"/>
                  </a:cubicBezTo>
                  <a:cubicBezTo>
                    <a:pt x="4466" y="1296"/>
                    <a:pt x="4473" y="1281"/>
                    <a:pt x="4450" y="1281"/>
                  </a:cubicBezTo>
                  <a:cubicBezTo>
                    <a:pt x="4434" y="1281"/>
                    <a:pt x="4386" y="1281"/>
                    <a:pt x="4386" y="1305"/>
                  </a:cubicBezTo>
                  <a:cubicBezTo>
                    <a:pt x="4379" y="1336"/>
                    <a:pt x="4363" y="1360"/>
                    <a:pt x="4331" y="1344"/>
                  </a:cubicBezTo>
                  <a:cubicBezTo>
                    <a:pt x="4307" y="1320"/>
                    <a:pt x="4323" y="1305"/>
                    <a:pt x="4292" y="1312"/>
                  </a:cubicBezTo>
                  <a:cubicBezTo>
                    <a:pt x="4252" y="1320"/>
                    <a:pt x="4220" y="1344"/>
                    <a:pt x="4204" y="1368"/>
                  </a:cubicBezTo>
                  <a:cubicBezTo>
                    <a:pt x="4181" y="1391"/>
                    <a:pt x="4165" y="1423"/>
                    <a:pt x="4141" y="1399"/>
                  </a:cubicBezTo>
                  <a:cubicBezTo>
                    <a:pt x="4110" y="1383"/>
                    <a:pt x="4094" y="1368"/>
                    <a:pt x="4062" y="1336"/>
                  </a:cubicBezTo>
                  <a:cubicBezTo>
                    <a:pt x="4039" y="1312"/>
                    <a:pt x="4016" y="1281"/>
                    <a:pt x="4008" y="1305"/>
                  </a:cubicBezTo>
                  <a:cubicBezTo>
                    <a:pt x="4000" y="1328"/>
                    <a:pt x="3992" y="1352"/>
                    <a:pt x="3976" y="1336"/>
                  </a:cubicBezTo>
                  <a:cubicBezTo>
                    <a:pt x="3953" y="1312"/>
                    <a:pt x="3945" y="1296"/>
                    <a:pt x="3929" y="1281"/>
                  </a:cubicBezTo>
                  <a:cubicBezTo>
                    <a:pt x="3913" y="1273"/>
                    <a:pt x="3913" y="1241"/>
                    <a:pt x="3897" y="1273"/>
                  </a:cubicBezTo>
                  <a:cubicBezTo>
                    <a:pt x="3881" y="1312"/>
                    <a:pt x="3881" y="1305"/>
                    <a:pt x="3881" y="1336"/>
                  </a:cubicBezTo>
                  <a:cubicBezTo>
                    <a:pt x="3881" y="1360"/>
                    <a:pt x="3874" y="1399"/>
                    <a:pt x="3858" y="1391"/>
                  </a:cubicBezTo>
                  <a:cubicBezTo>
                    <a:pt x="3842" y="1383"/>
                    <a:pt x="3818" y="1383"/>
                    <a:pt x="3826" y="1352"/>
                  </a:cubicBezTo>
                  <a:cubicBezTo>
                    <a:pt x="3834" y="1320"/>
                    <a:pt x="3842" y="1305"/>
                    <a:pt x="3826" y="1305"/>
                  </a:cubicBezTo>
                  <a:cubicBezTo>
                    <a:pt x="3810" y="1305"/>
                    <a:pt x="3739" y="1296"/>
                    <a:pt x="3739" y="1312"/>
                  </a:cubicBezTo>
                  <a:cubicBezTo>
                    <a:pt x="3739" y="1336"/>
                    <a:pt x="3708" y="1336"/>
                    <a:pt x="3692" y="1320"/>
                  </a:cubicBezTo>
                  <a:cubicBezTo>
                    <a:pt x="3684" y="1305"/>
                    <a:pt x="3676" y="1289"/>
                    <a:pt x="3644" y="1281"/>
                  </a:cubicBezTo>
                  <a:cubicBezTo>
                    <a:pt x="3613" y="1273"/>
                    <a:pt x="3589" y="1273"/>
                    <a:pt x="3581" y="1296"/>
                  </a:cubicBezTo>
                  <a:cubicBezTo>
                    <a:pt x="3565" y="1312"/>
                    <a:pt x="3534" y="1352"/>
                    <a:pt x="3518" y="1320"/>
                  </a:cubicBezTo>
                  <a:cubicBezTo>
                    <a:pt x="3510" y="1296"/>
                    <a:pt x="3526" y="1265"/>
                    <a:pt x="3510" y="1249"/>
                  </a:cubicBezTo>
                  <a:cubicBezTo>
                    <a:pt x="3486" y="1241"/>
                    <a:pt x="3478" y="1249"/>
                    <a:pt x="3478" y="1225"/>
                  </a:cubicBezTo>
                  <a:cubicBezTo>
                    <a:pt x="3478" y="1202"/>
                    <a:pt x="3486" y="1186"/>
                    <a:pt x="3462" y="1186"/>
                  </a:cubicBezTo>
                  <a:cubicBezTo>
                    <a:pt x="3431" y="1186"/>
                    <a:pt x="3407" y="1178"/>
                    <a:pt x="3399" y="1194"/>
                  </a:cubicBezTo>
                  <a:cubicBezTo>
                    <a:pt x="3399" y="1202"/>
                    <a:pt x="3375" y="1178"/>
                    <a:pt x="3368" y="1210"/>
                  </a:cubicBezTo>
                  <a:cubicBezTo>
                    <a:pt x="3360" y="1241"/>
                    <a:pt x="3328" y="1249"/>
                    <a:pt x="3320" y="1225"/>
                  </a:cubicBezTo>
                  <a:cubicBezTo>
                    <a:pt x="3320" y="1202"/>
                    <a:pt x="3320" y="1194"/>
                    <a:pt x="3289" y="1186"/>
                  </a:cubicBezTo>
                  <a:cubicBezTo>
                    <a:pt x="3257" y="1186"/>
                    <a:pt x="3225" y="1210"/>
                    <a:pt x="3202" y="1194"/>
                  </a:cubicBezTo>
                  <a:cubicBezTo>
                    <a:pt x="3202" y="1194"/>
                    <a:pt x="3186" y="1162"/>
                    <a:pt x="3146" y="1162"/>
                  </a:cubicBezTo>
                  <a:cubicBezTo>
                    <a:pt x="3099" y="1170"/>
                    <a:pt x="3091" y="1154"/>
                    <a:pt x="3059" y="1146"/>
                  </a:cubicBezTo>
                  <a:cubicBezTo>
                    <a:pt x="3028" y="1138"/>
                    <a:pt x="3036" y="1099"/>
                    <a:pt x="3028" y="1075"/>
                  </a:cubicBezTo>
                  <a:cubicBezTo>
                    <a:pt x="3012" y="1052"/>
                    <a:pt x="2996" y="1020"/>
                    <a:pt x="2980" y="1028"/>
                  </a:cubicBezTo>
                  <a:cubicBezTo>
                    <a:pt x="2957" y="1036"/>
                    <a:pt x="2972" y="1075"/>
                    <a:pt x="2933" y="1059"/>
                  </a:cubicBezTo>
                  <a:cubicBezTo>
                    <a:pt x="2885" y="1052"/>
                    <a:pt x="2885" y="1083"/>
                    <a:pt x="2854" y="1052"/>
                  </a:cubicBezTo>
                  <a:cubicBezTo>
                    <a:pt x="2814" y="1020"/>
                    <a:pt x="2806" y="988"/>
                    <a:pt x="2775" y="965"/>
                  </a:cubicBezTo>
                  <a:cubicBezTo>
                    <a:pt x="2743" y="941"/>
                    <a:pt x="2759" y="55"/>
                    <a:pt x="2759" y="55"/>
                  </a:cubicBezTo>
                  <a:cubicBezTo>
                    <a:pt x="1613" y="0"/>
                    <a:pt x="1613" y="0"/>
                    <a:pt x="1613" y="0"/>
                  </a:cubicBezTo>
                  <a:cubicBezTo>
                    <a:pt x="1470" y="2095"/>
                    <a:pt x="1470" y="2095"/>
                    <a:pt x="1470" y="2095"/>
                  </a:cubicBezTo>
                  <a:cubicBezTo>
                    <a:pt x="1470" y="2095"/>
                    <a:pt x="1470" y="2142"/>
                    <a:pt x="1439" y="2142"/>
                  </a:cubicBezTo>
                  <a:cubicBezTo>
                    <a:pt x="1415" y="2142"/>
                    <a:pt x="39" y="2024"/>
                    <a:pt x="39" y="2024"/>
                  </a:cubicBezTo>
                  <a:cubicBezTo>
                    <a:pt x="39" y="2024"/>
                    <a:pt x="0" y="1984"/>
                    <a:pt x="71" y="2127"/>
                  </a:cubicBezTo>
                  <a:cubicBezTo>
                    <a:pt x="87" y="2127"/>
                    <a:pt x="103" y="2135"/>
                    <a:pt x="103" y="2135"/>
                  </a:cubicBezTo>
                  <a:cubicBezTo>
                    <a:pt x="111" y="2135"/>
                    <a:pt x="182" y="2182"/>
                    <a:pt x="182" y="2253"/>
                  </a:cubicBezTo>
                  <a:cubicBezTo>
                    <a:pt x="182" y="2316"/>
                    <a:pt x="190" y="2277"/>
                    <a:pt x="253" y="2316"/>
                  </a:cubicBezTo>
                  <a:cubicBezTo>
                    <a:pt x="308" y="2348"/>
                    <a:pt x="332" y="2372"/>
                    <a:pt x="371" y="2419"/>
                  </a:cubicBezTo>
                  <a:cubicBezTo>
                    <a:pt x="411" y="2459"/>
                    <a:pt x="427" y="2466"/>
                    <a:pt x="443" y="2530"/>
                  </a:cubicBezTo>
                  <a:cubicBezTo>
                    <a:pt x="458" y="2593"/>
                    <a:pt x="506" y="2569"/>
                    <a:pt x="545" y="2609"/>
                  </a:cubicBezTo>
                  <a:cubicBezTo>
                    <a:pt x="593" y="2648"/>
                    <a:pt x="609" y="2672"/>
                    <a:pt x="672" y="2719"/>
                  </a:cubicBezTo>
                  <a:cubicBezTo>
                    <a:pt x="735" y="2767"/>
                    <a:pt x="719" y="2767"/>
                    <a:pt x="719" y="2806"/>
                  </a:cubicBezTo>
                  <a:cubicBezTo>
                    <a:pt x="719" y="2846"/>
                    <a:pt x="696" y="2830"/>
                    <a:pt x="767" y="2909"/>
                  </a:cubicBezTo>
                  <a:cubicBezTo>
                    <a:pt x="830" y="2988"/>
                    <a:pt x="759" y="2957"/>
                    <a:pt x="743" y="3012"/>
                  </a:cubicBezTo>
                  <a:cubicBezTo>
                    <a:pt x="719" y="3059"/>
                    <a:pt x="782" y="3123"/>
                    <a:pt x="798" y="3178"/>
                  </a:cubicBezTo>
                  <a:cubicBezTo>
                    <a:pt x="814" y="3225"/>
                    <a:pt x="838" y="3225"/>
                    <a:pt x="885" y="3241"/>
                  </a:cubicBezTo>
                  <a:cubicBezTo>
                    <a:pt x="925" y="3257"/>
                    <a:pt x="909" y="3265"/>
                    <a:pt x="925" y="3296"/>
                  </a:cubicBezTo>
                  <a:cubicBezTo>
                    <a:pt x="949" y="3336"/>
                    <a:pt x="1012" y="3360"/>
                    <a:pt x="1044" y="3360"/>
                  </a:cubicBezTo>
                  <a:cubicBezTo>
                    <a:pt x="1083" y="3360"/>
                    <a:pt x="1138" y="3439"/>
                    <a:pt x="1154" y="3431"/>
                  </a:cubicBezTo>
                  <a:cubicBezTo>
                    <a:pt x="1178" y="3423"/>
                    <a:pt x="1288" y="3502"/>
                    <a:pt x="1344" y="3542"/>
                  </a:cubicBezTo>
                  <a:cubicBezTo>
                    <a:pt x="1407" y="3581"/>
                    <a:pt x="1383" y="3510"/>
                    <a:pt x="1431" y="3486"/>
                  </a:cubicBezTo>
                  <a:cubicBezTo>
                    <a:pt x="1478" y="3463"/>
                    <a:pt x="1478" y="3399"/>
                    <a:pt x="1486" y="3360"/>
                  </a:cubicBezTo>
                  <a:cubicBezTo>
                    <a:pt x="1502" y="3320"/>
                    <a:pt x="1526" y="3289"/>
                    <a:pt x="1541" y="3265"/>
                  </a:cubicBezTo>
                  <a:cubicBezTo>
                    <a:pt x="1549" y="3241"/>
                    <a:pt x="1534" y="3194"/>
                    <a:pt x="1613" y="3186"/>
                  </a:cubicBezTo>
                  <a:cubicBezTo>
                    <a:pt x="1692" y="3178"/>
                    <a:pt x="1692" y="3139"/>
                    <a:pt x="1739" y="3139"/>
                  </a:cubicBezTo>
                  <a:cubicBezTo>
                    <a:pt x="1794" y="3146"/>
                    <a:pt x="1794" y="3186"/>
                    <a:pt x="1826" y="3186"/>
                  </a:cubicBezTo>
                  <a:cubicBezTo>
                    <a:pt x="1850" y="3194"/>
                    <a:pt x="1850" y="3186"/>
                    <a:pt x="1889" y="3178"/>
                  </a:cubicBezTo>
                  <a:cubicBezTo>
                    <a:pt x="1929" y="3162"/>
                    <a:pt x="1929" y="3178"/>
                    <a:pt x="1952" y="3202"/>
                  </a:cubicBezTo>
                  <a:cubicBezTo>
                    <a:pt x="1968" y="3217"/>
                    <a:pt x="2008" y="3210"/>
                    <a:pt x="2024" y="3194"/>
                  </a:cubicBezTo>
                  <a:cubicBezTo>
                    <a:pt x="2047" y="3178"/>
                    <a:pt x="2127" y="3296"/>
                    <a:pt x="2166" y="3328"/>
                  </a:cubicBezTo>
                  <a:cubicBezTo>
                    <a:pt x="2205" y="3368"/>
                    <a:pt x="2277" y="3431"/>
                    <a:pt x="2324" y="3463"/>
                  </a:cubicBezTo>
                  <a:cubicBezTo>
                    <a:pt x="2372" y="3494"/>
                    <a:pt x="2316" y="3510"/>
                    <a:pt x="2419" y="3660"/>
                  </a:cubicBezTo>
                  <a:cubicBezTo>
                    <a:pt x="2522" y="3810"/>
                    <a:pt x="2482" y="3834"/>
                    <a:pt x="2514" y="3874"/>
                  </a:cubicBezTo>
                  <a:cubicBezTo>
                    <a:pt x="2545" y="3905"/>
                    <a:pt x="2498" y="3921"/>
                    <a:pt x="2538" y="3945"/>
                  </a:cubicBezTo>
                  <a:cubicBezTo>
                    <a:pt x="2585" y="3969"/>
                    <a:pt x="2688" y="4095"/>
                    <a:pt x="2704" y="4134"/>
                  </a:cubicBezTo>
                  <a:cubicBezTo>
                    <a:pt x="2727" y="4174"/>
                    <a:pt x="2727" y="4206"/>
                    <a:pt x="2767" y="4214"/>
                  </a:cubicBezTo>
                  <a:cubicBezTo>
                    <a:pt x="2806" y="4222"/>
                    <a:pt x="2814" y="4253"/>
                    <a:pt x="2838" y="4269"/>
                  </a:cubicBezTo>
                  <a:cubicBezTo>
                    <a:pt x="2862" y="4293"/>
                    <a:pt x="2838" y="4293"/>
                    <a:pt x="2838" y="4324"/>
                  </a:cubicBezTo>
                  <a:cubicBezTo>
                    <a:pt x="2830" y="4356"/>
                    <a:pt x="2814" y="4380"/>
                    <a:pt x="2870" y="4411"/>
                  </a:cubicBezTo>
                  <a:cubicBezTo>
                    <a:pt x="2917" y="4443"/>
                    <a:pt x="2830" y="4474"/>
                    <a:pt x="2862" y="4514"/>
                  </a:cubicBezTo>
                  <a:cubicBezTo>
                    <a:pt x="2893" y="4553"/>
                    <a:pt x="2941" y="4648"/>
                    <a:pt x="2964" y="4672"/>
                  </a:cubicBezTo>
                  <a:cubicBezTo>
                    <a:pt x="2988" y="4696"/>
                    <a:pt x="2949" y="4743"/>
                    <a:pt x="2972" y="4759"/>
                  </a:cubicBezTo>
                  <a:cubicBezTo>
                    <a:pt x="3004" y="4775"/>
                    <a:pt x="2988" y="4806"/>
                    <a:pt x="3012" y="4806"/>
                  </a:cubicBezTo>
                  <a:cubicBezTo>
                    <a:pt x="3028" y="4814"/>
                    <a:pt x="3067" y="4822"/>
                    <a:pt x="3115" y="4854"/>
                  </a:cubicBezTo>
                  <a:cubicBezTo>
                    <a:pt x="3170" y="4878"/>
                    <a:pt x="3154" y="4893"/>
                    <a:pt x="3202" y="4886"/>
                  </a:cubicBezTo>
                  <a:cubicBezTo>
                    <a:pt x="3241" y="4886"/>
                    <a:pt x="3257" y="4901"/>
                    <a:pt x="3312" y="4941"/>
                  </a:cubicBezTo>
                  <a:cubicBezTo>
                    <a:pt x="3360" y="4973"/>
                    <a:pt x="3375" y="4988"/>
                    <a:pt x="3423" y="4988"/>
                  </a:cubicBezTo>
                  <a:cubicBezTo>
                    <a:pt x="3470" y="4996"/>
                    <a:pt x="3478" y="4996"/>
                    <a:pt x="3510" y="4973"/>
                  </a:cubicBezTo>
                  <a:cubicBezTo>
                    <a:pt x="3542" y="4949"/>
                    <a:pt x="3597" y="5004"/>
                    <a:pt x="3637" y="5020"/>
                  </a:cubicBezTo>
                  <a:cubicBezTo>
                    <a:pt x="3668" y="5036"/>
                    <a:pt x="3684" y="5067"/>
                    <a:pt x="3708" y="5083"/>
                  </a:cubicBezTo>
                  <a:cubicBezTo>
                    <a:pt x="3723" y="5107"/>
                    <a:pt x="3715" y="5115"/>
                    <a:pt x="3747" y="5107"/>
                  </a:cubicBezTo>
                  <a:cubicBezTo>
                    <a:pt x="3779" y="5099"/>
                    <a:pt x="3763" y="5075"/>
                    <a:pt x="3763" y="5075"/>
                  </a:cubicBezTo>
                  <a:cubicBezTo>
                    <a:pt x="3763" y="5075"/>
                    <a:pt x="3794" y="5052"/>
                    <a:pt x="3802" y="5044"/>
                  </a:cubicBezTo>
                  <a:cubicBezTo>
                    <a:pt x="3810" y="5028"/>
                    <a:pt x="3826" y="5044"/>
                    <a:pt x="3834" y="5044"/>
                  </a:cubicBezTo>
                  <a:cubicBezTo>
                    <a:pt x="3834" y="5036"/>
                    <a:pt x="3826" y="5036"/>
                    <a:pt x="3826" y="5036"/>
                  </a:cubicBezTo>
                  <a:cubicBezTo>
                    <a:pt x="3818" y="4980"/>
                    <a:pt x="3810" y="4996"/>
                    <a:pt x="3802" y="5012"/>
                  </a:cubicBezTo>
                  <a:cubicBezTo>
                    <a:pt x="3794" y="5020"/>
                    <a:pt x="3794" y="5044"/>
                    <a:pt x="3779" y="5028"/>
                  </a:cubicBezTo>
                  <a:cubicBezTo>
                    <a:pt x="3771" y="5012"/>
                    <a:pt x="3802" y="5012"/>
                    <a:pt x="3779" y="4973"/>
                  </a:cubicBezTo>
                  <a:cubicBezTo>
                    <a:pt x="3763" y="4941"/>
                    <a:pt x="3755" y="4949"/>
                    <a:pt x="3747" y="4901"/>
                  </a:cubicBezTo>
                  <a:cubicBezTo>
                    <a:pt x="3739" y="4854"/>
                    <a:pt x="3708" y="4870"/>
                    <a:pt x="3708" y="4814"/>
                  </a:cubicBezTo>
                  <a:cubicBezTo>
                    <a:pt x="3708" y="4759"/>
                    <a:pt x="3731" y="4727"/>
                    <a:pt x="3708" y="4696"/>
                  </a:cubicBezTo>
                  <a:cubicBezTo>
                    <a:pt x="3684" y="4664"/>
                    <a:pt x="3668" y="4656"/>
                    <a:pt x="3676" y="4633"/>
                  </a:cubicBezTo>
                  <a:cubicBezTo>
                    <a:pt x="3684" y="4609"/>
                    <a:pt x="3660" y="4617"/>
                    <a:pt x="3660" y="4593"/>
                  </a:cubicBezTo>
                  <a:cubicBezTo>
                    <a:pt x="3652" y="4569"/>
                    <a:pt x="3652" y="4562"/>
                    <a:pt x="3676" y="4553"/>
                  </a:cubicBezTo>
                  <a:cubicBezTo>
                    <a:pt x="3700" y="4538"/>
                    <a:pt x="3708" y="4522"/>
                    <a:pt x="3708" y="4506"/>
                  </a:cubicBezTo>
                  <a:cubicBezTo>
                    <a:pt x="3700" y="4490"/>
                    <a:pt x="3723" y="4514"/>
                    <a:pt x="3723" y="4553"/>
                  </a:cubicBezTo>
                  <a:cubicBezTo>
                    <a:pt x="3723" y="4593"/>
                    <a:pt x="3739" y="4727"/>
                    <a:pt x="3755" y="4743"/>
                  </a:cubicBezTo>
                  <a:cubicBezTo>
                    <a:pt x="3771" y="4767"/>
                    <a:pt x="3802" y="4862"/>
                    <a:pt x="3802" y="4878"/>
                  </a:cubicBezTo>
                  <a:cubicBezTo>
                    <a:pt x="3794" y="4901"/>
                    <a:pt x="3802" y="4957"/>
                    <a:pt x="3818" y="4941"/>
                  </a:cubicBezTo>
                  <a:cubicBezTo>
                    <a:pt x="3826" y="4925"/>
                    <a:pt x="3826" y="4925"/>
                    <a:pt x="3818" y="4886"/>
                  </a:cubicBezTo>
                  <a:cubicBezTo>
                    <a:pt x="3802" y="4838"/>
                    <a:pt x="3794" y="4775"/>
                    <a:pt x="3779" y="4712"/>
                  </a:cubicBezTo>
                  <a:cubicBezTo>
                    <a:pt x="3755" y="4640"/>
                    <a:pt x="3747" y="4617"/>
                    <a:pt x="3747" y="4577"/>
                  </a:cubicBezTo>
                  <a:cubicBezTo>
                    <a:pt x="3747" y="4546"/>
                    <a:pt x="3739" y="4522"/>
                    <a:pt x="3731" y="4498"/>
                  </a:cubicBezTo>
                  <a:cubicBezTo>
                    <a:pt x="3723" y="4474"/>
                    <a:pt x="3723" y="4467"/>
                    <a:pt x="3715" y="4451"/>
                  </a:cubicBezTo>
                  <a:cubicBezTo>
                    <a:pt x="3700" y="4435"/>
                    <a:pt x="3692" y="4435"/>
                    <a:pt x="3668" y="4435"/>
                  </a:cubicBezTo>
                  <a:cubicBezTo>
                    <a:pt x="3652" y="4435"/>
                    <a:pt x="3637" y="4451"/>
                    <a:pt x="3621" y="4435"/>
                  </a:cubicBezTo>
                  <a:cubicBezTo>
                    <a:pt x="3597" y="4411"/>
                    <a:pt x="3581" y="4411"/>
                    <a:pt x="3597" y="4395"/>
                  </a:cubicBezTo>
                  <a:cubicBezTo>
                    <a:pt x="3613" y="4387"/>
                    <a:pt x="3652" y="4395"/>
                    <a:pt x="3676" y="4403"/>
                  </a:cubicBezTo>
                  <a:cubicBezTo>
                    <a:pt x="3692" y="4411"/>
                    <a:pt x="3700" y="4419"/>
                    <a:pt x="3715" y="4403"/>
                  </a:cubicBezTo>
                  <a:cubicBezTo>
                    <a:pt x="3731" y="4395"/>
                    <a:pt x="3731" y="4364"/>
                    <a:pt x="3739" y="4380"/>
                  </a:cubicBezTo>
                  <a:cubicBezTo>
                    <a:pt x="3739" y="4403"/>
                    <a:pt x="3723" y="4427"/>
                    <a:pt x="3739" y="4427"/>
                  </a:cubicBezTo>
                  <a:cubicBezTo>
                    <a:pt x="3763" y="4427"/>
                    <a:pt x="3755" y="4411"/>
                    <a:pt x="3763" y="4387"/>
                  </a:cubicBezTo>
                  <a:cubicBezTo>
                    <a:pt x="3763" y="4364"/>
                    <a:pt x="3826" y="4245"/>
                    <a:pt x="3834" y="4222"/>
                  </a:cubicBezTo>
                  <a:cubicBezTo>
                    <a:pt x="3850" y="4190"/>
                    <a:pt x="3850" y="4166"/>
                    <a:pt x="3834" y="4182"/>
                  </a:cubicBezTo>
                  <a:cubicBezTo>
                    <a:pt x="3818" y="4198"/>
                    <a:pt x="3802" y="4206"/>
                    <a:pt x="3802" y="4229"/>
                  </a:cubicBezTo>
                  <a:cubicBezTo>
                    <a:pt x="3802" y="4253"/>
                    <a:pt x="3794" y="4277"/>
                    <a:pt x="3779" y="4285"/>
                  </a:cubicBezTo>
                  <a:cubicBezTo>
                    <a:pt x="3771" y="4285"/>
                    <a:pt x="3771" y="4293"/>
                    <a:pt x="3771" y="4253"/>
                  </a:cubicBezTo>
                  <a:cubicBezTo>
                    <a:pt x="3771" y="4222"/>
                    <a:pt x="3771" y="4229"/>
                    <a:pt x="3747" y="4206"/>
                  </a:cubicBezTo>
                  <a:cubicBezTo>
                    <a:pt x="3723" y="4190"/>
                    <a:pt x="3700" y="4198"/>
                    <a:pt x="3700" y="4174"/>
                  </a:cubicBezTo>
                  <a:cubicBezTo>
                    <a:pt x="3700" y="4150"/>
                    <a:pt x="3684" y="4142"/>
                    <a:pt x="3708" y="4142"/>
                  </a:cubicBezTo>
                  <a:cubicBezTo>
                    <a:pt x="3731" y="4142"/>
                    <a:pt x="3755" y="4134"/>
                    <a:pt x="3771" y="4142"/>
                  </a:cubicBezTo>
                  <a:cubicBezTo>
                    <a:pt x="3779" y="4150"/>
                    <a:pt x="3779" y="4174"/>
                    <a:pt x="3794" y="4174"/>
                  </a:cubicBezTo>
                  <a:cubicBezTo>
                    <a:pt x="3810" y="4174"/>
                    <a:pt x="3802" y="4174"/>
                    <a:pt x="3826" y="4142"/>
                  </a:cubicBezTo>
                  <a:cubicBezTo>
                    <a:pt x="3842" y="4119"/>
                    <a:pt x="3897" y="4040"/>
                    <a:pt x="3874" y="4047"/>
                  </a:cubicBezTo>
                  <a:cubicBezTo>
                    <a:pt x="3850" y="4047"/>
                    <a:pt x="3826" y="4079"/>
                    <a:pt x="3826" y="4056"/>
                  </a:cubicBezTo>
                  <a:cubicBezTo>
                    <a:pt x="3818" y="4040"/>
                    <a:pt x="3818" y="4016"/>
                    <a:pt x="3842" y="4016"/>
                  </a:cubicBezTo>
                  <a:cubicBezTo>
                    <a:pt x="3858" y="4016"/>
                    <a:pt x="3881" y="3992"/>
                    <a:pt x="3905" y="4008"/>
                  </a:cubicBezTo>
                  <a:cubicBezTo>
                    <a:pt x="3929" y="4024"/>
                    <a:pt x="3929" y="4032"/>
                    <a:pt x="3937" y="4016"/>
                  </a:cubicBezTo>
                  <a:cubicBezTo>
                    <a:pt x="3953" y="4008"/>
                    <a:pt x="4016" y="3945"/>
                    <a:pt x="3992" y="3937"/>
                  </a:cubicBezTo>
                  <a:cubicBezTo>
                    <a:pt x="3961" y="3937"/>
                    <a:pt x="3961" y="3929"/>
                    <a:pt x="3961" y="3913"/>
                  </a:cubicBezTo>
                  <a:cubicBezTo>
                    <a:pt x="3961" y="3897"/>
                    <a:pt x="3961" y="3866"/>
                    <a:pt x="3992" y="3897"/>
                  </a:cubicBezTo>
                  <a:cubicBezTo>
                    <a:pt x="4023" y="3929"/>
                    <a:pt x="4000" y="3937"/>
                    <a:pt x="4039" y="3937"/>
                  </a:cubicBezTo>
                  <a:cubicBezTo>
                    <a:pt x="4070" y="3937"/>
                    <a:pt x="4094" y="3897"/>
                    <a:pt x="4094" y="3921"/>
                  </a:cubicBezTo>
                  <a:cubicBezTo>
                    <a:pt x="4086" y="3937"/>
                    <a:pt x="3984" y="4000"/>
                    <a:pt x="3992" y="4016"/>
                  </a:cubicBezTo>
                  <a:cubicBezTo>
                    <a:pt x="4000" y="4032"/>
                    <a:pt x="4016" y="4016"/>
                    <a:pt x="4039" y="4000"/>
                  </a:cubicBezTo>
                  <a:cubicBezTo>
                    <a:pt x="4054" y="3984"/>
                    <a:pt x="4165" y="3921"/>
                    <a:pt x="4141" y="3905"/>
                  </a:cubicBezTo>
                  <a:cubicBezTo>
                    <a:pt x="4118" y="3897"/>
                    <a:pt x="4149" y="3874"/>
                    <a:pt x="4110" y="3858"/>
                  </a:cubicBezTo>
                  <a:cubicBezTo>
                    <a:pt x="4070" y="3842"/>
                    <a:pt x="4094" y="3834"/>
                    <a:pt x="4070" y="3818"/>
                  </a:cubicBezTo>
                  <a:cubicBezTo>
                    <a:pt x="4054" y="3795"/>
                    <a:pt x="4039" y="3771"/>
                    <a:pt x="4054" y="3763"/>
                  </a:cubicBezTo>
                  <a:cubicBezTo>
                    <a:pt x="4078" y="3755"/>
                    <a:pt x="4062" y="3787"/>
                    <a:pt x="4094" y="3795"/>
                  </a:cubicBezTo>
                  <a:cubicBezTo>
                    <a:pt x="4126" y="3810"/>
                    <a:pt x="4141" y="3826"/>
                    <a:pt x="4157" y="3803"/>
                  </a:cubicBezTo>
                  <a:cubicBezTo>
                    <a:pt x="4173" y="3779"/>
                    <a:pt x="4181" y="3779"/>
                    <a:pt x="4204" y="3787"/>
                  </a:cubicBezTo>
                  <a:cubicBezTo>
                    <a:pt x="4220" y="3795"/>
                    <a:pt x="4244" y="3818"/>
                    <a:pt x="4268" y="3810"/>
                  </a:cubicBezTo>
                  <a:cubicBezTo>
                    <a:pt x="4292" y="3810"/>
                    <a:pt x="4276" y="3826"/>
                    <a:pt x="4252" y="3834"/>
                  </a:cubicBezTo>
                  <a:cubicBezTo>
                    <a:pt x="4228" y="3842"/>
                    <a:pt x="4213" y="3874"/>
                    <a:pt x="4220" y="3874"/>
                  </a:cubicBezTo>
                  <a:cubicBezTo>
                    <a:pt x="4236" y="3874"/>
                    <a:pt x="4276" y="3842"/>
                    <a:pt x="4323" y="3818"/>
                  </a:cubicBezTo>
                  <a:cubicBezTo>
                    <a:pt x="4371" y="3795"/>
                    <a:pt x="4402" y="3779"/>
                    <a:pt x="4386" y="3771"/>
                  </a:cubicBezTo>
                  <a:cubicBezTo>
                    <a:pt x="4371" y="3755"/>
                    <a:pt x="4379" y="3755"/>
                    <a:pt x="4402" y="3747"/>
                  </a:cubicBezTo>
                  <a:cubicBezTo>
                    <a:pt x="4426" y="3747"/>
                    <a:pt x="4450" y="3739"/>
                    <a:pt x="4473" y="3723"/>
                  </a:cubicBezTo>
                  <a:cubicBezTo>
                    <a:pt x="4489" y="3708"/>
                    <a:pt x="4616" y="3644"/>
                    <a:pt x="4639" y="3597"/>
                  </a:cubicBezTo>
                  <a:cubicBezTo>
                    <a:pt x="4663" y="3549"/>
                    <a:pt x="4647" y="3534"/>
                    <a:pt x="4679" y="3518"/>
                  </a:cubicBezTo>
                  <a:cubicBezTo>
                    <a:pt x="4703" y="3502"/>
                    <a:pt x="4734" y="3478"/>
                    <a:pt x="4742" y="3470"/>
                  </a:cubicBezTo>
                  <a:cubicBezTo>
                    <a:pt x="4758" y="3463"/>
                    <a:pt x="4766" y="3423"/>
                    <a:pt x="4750" y="3407"/>
                  </a:cubicBezTo>
                  <a:cubicBezTo>
                    <a:pt x="4734" y="3383"/>
                    <a:pt x="4734" y="3383"/>
                    <a:pt x="4726" y="3360"/>
                  </a:cubicBezTo>
                  <a:cubicBezTo>
                    <a:pt x="4711" y="3336"/>
                    <a:pt x="4703" y="3344"/>
                    <a:pt x="4703" y="3320"/>
                  </a:cubicBezTo>
                  <a:cubicBezTo>
                    <a:pt x="4703" y="3296"/>
                    <a:pt x="4695" y="3281"/>
                    <a:pt x="4711" y="3289"/>
                  </a:cubicBezTo>
                  <a:cubicBezTo>
                    <a:pt x="4726" y="3296"/>
                    <a:pt x="4750" y="3320"/>
                    <a:pt x="4766" y="3305"/>
                  </a:cubicBezTo>
                  <a:cubicBezTo>
                    <a:pt x="4774" y="3281"/>
                    <a:pt x="4774" y="3281"/>
                    <a:pt x="4790" y="3265"/>
                  </a:cubicBezTo>
                  <a:cubicBezTo>
                    <a:pt x="4797" y="3249"/>
                    <a:pt x="4813" y="3241"/>
                    <a:pt x="4821" y="3257"/>
                  </a:cubicBezTo>
                  <a:cubicBezTo>
                    <a:pt x="4821" y="3265"/>
                    <a:pt x="4853" y="3281"/>
                    <a:pt x="4829" y="3289"/>
                  </a:cubicBezTo>
                  <a:cubicBezTo>
                    <a:pt x="4813" y="3305"/>
                    <a:pt x="4813" y="3320"/>
                    <a:pt x="4813" y="3328"/>
                  </a:cubicBezTo>
                  <a:cubicBezTo>
                    <a:pt x="4821" y="3336"/>
                    <a:pt x="4790" y="3336"/>
                    <a:pt x="4806" y="3352"/>
                  </a:cubicBezTo>
                  <a:cubicBezTo>
                    <a:pt x="4813" y="3368"/>
                    <a:pt x="4797" y="3376"/>
                    <a:pt x="4829" y="3368"/>
                  </a:cubicBezTo>
                  <a:cubicBezTo>
                    <a:pt x="4853" y="3368"/>
                    <a:pt x="4869" y="3368"/>
                    <a:pt x="4853" y="3376"/>
                  </a:cubicBezTo>
                  <a:cubicBezTo>
                    <a:pt x="4837" y="3383"/>
                    <a:pt x="4797" y="3431"/>
                    <a:pt x="4790" y="3447"/>
                  </a:cubicBezTo>
                  <a:cubicBezTo>
                    <a:pt x="4782" y="3463"/>
                    <a:pt x="4766" y="3478"/>
                    <a:pt x="4750" y="3486"/>
                  </a:cubicBezTo>
                  <a:cubicBezTo>
                    <a:pt x="4734" y="3502"/>
                    <a:pt x="4703" y="3518"/>
                    <a:pt x="4703" y="3526"/>
                  </a:cubicBezTo>
                  <a:cubicBezTo>
                    <a:pt x="4695" y="3542"/>
                    <a:pt x="4679" y="3557"/>
                    <a:pt x="4719" y="3542"/>
                  </a:cubicBezTo>
                  <a:cubicBezTo>
                    <a:pt x="4758" y="3518"/>
                    <a:pt x="4790" y="3494"/>
                    <a:pt x="4797" y="3478"/>
                  </a:cubicBezTo>
                  <a:cubicBezTo>
                    <a:pt x="4806" y="3455"/>
                    <a:pt x="4829" y="3415"/>
                    <a:pt x="4877" y="3392"/>
                  </a:cubicBezTo>
                  <a:cubicBezTo>
                    <a:pt x="4932" y="3368"/>
                    <a:pt x="4964" y="3336"/>
                    <a:pt x="4995" y="3336"/>
                  </a:cubicBezTo>
                  <a:cubicBezTo>
                    <a:pt x="5035" y="3328"/>
                    <a:pt x="5145" y="3273"/>
                    <a:pt x="5177" y="3273"/>
                  </a:cubicBezTo>
                  <a:lnTo>
                    <a:pt x="5185" y="3265"/>
                  </a:lnTo>
                  <a:lnTo>
                    <a:pt x="5185" y="3265"/>
                  </a:lnTo>
                  <a:cubicBezTo>
                    <a:pt x="5185" y="3265"/>
                    <a:pt x="5185" y="3257"/>
                    <a:pt x="5169" y="3249"/>
                  </a:cubicBezTo>
                </a:path>
              </a:pathLst>
            </a:custGeom>
            <a:solidFill>
              <a:srgbClr val="41B5E8"/>
            </a:solidFill>
            <a:ln>
              <a:solidFill>
                <a:schemeClr val="bg2"/>
              </a:solidFill>
            </a:ln>
            <a:effectLst/>
          </p:spPr>
          <p:txBody>
            <a:bodyPr wrap="none" anchor="ctr"/>
            <a:lstStyle/>
            <a:p>
              <a:endParaRPr lang="en-US"/>
            </a:p>
          </p:txBody>
        </p:sp>
        <p:sp>
          <p:nvSpPr>
            <p:cNvPr id="16" name="Freeform 12"/>
            <p:cNvSpPr>
              <a:spLocks noChangeArrowheads="1"/>
            </p:cNvSpPr>
            <p:nvPr/>
          </p:nvSpPr>
          <p:spPr bwMode="auto">
            <a:xfrm>
              <a:off x="2708280" y="3899267"/>
              <a:ext cx="1905110" cy="1600207"/>
            </a:xfrm>
            <a:custGeom>
              <a:avLst/>
              <a:gdLst>
                <a:gd name="T0" fmla="*/ 3170 w 5281"/>
                <a:gd name="T1" fmla="*/ 4901 h 5124"/>
                <a:gd name="T2" fmla="*/ 2822 w 5281"/>
                <a:gd name="T3" fmla="*/ 4301 h 5124"/>
                <a:gd name="T4" fmla="*/ 2016 w 5281"/>
                <a:gd name="T5" fmla="*/ 3202 h 5124"/>
                <a:gd name="T6" fmla="*/ 1525 w 5281"/>
                <a:gd name="T7" fmla="*/ 3273 h 5124"/>
                <a:gd name="T8" fmla="*/ 893 w 5281"/>
                <a:gd name="T9" fmla="*/ 3281 h 5124"/>
                <a:gd name="T10" fmla="*/ 482 w 5281"/>
                <a:gd name="T11" fmla="*/ 2593 h 5124"/>
                <a:gd name="T12" fmla="*/ 1454 w 5281"/>
                <a:gd name="T13" fmla="*/ 2103 h 5124"/>
                <a:gd name="T14" fmla="*/ 2972 w 5281"/>
                <a:gd name="T15" fmla="*/ 1028 h 5124"/>
                <a:gd name="T16" fmla="*/ 3320 w 5281"/>
                <a:gd name="T17" fmla="*/ 1241 h 5124"/>
                <a:gd name="T18" fmla="*/ 3510 w 5281"/>
                <a:gd name="T19" fmla="*/ 1328 h 5124"/>
                <a:gd name="T20" fmla="*/ 3842 w 5281"/>
                <a:gd name="T21" fmla="*/ 1399 h 5124"/>
                <a:gd name="T22" fmla="*/ 4125 w 5281"/>
                <a:gd name="T23" fmla="*/ 1407 h 5124"/>
                <a:gd name="T24" fmla="*/ 4537 w 5281"/>
                <a:gd name="T25" fmla="*/ 1313 h 5124"/>
                <a:gd name="T26" fmla="*/ 5003 w 5281"/>
                <a:gd name="T27" fmla="*/ 1439 h 5124"/>
                <a:gd name="T28" fmla="*/ 5280 w 5281"/>
                <a:gd name="T29" fmla="*/ 2656 h 5124"/>
                <a:gd name="T30" fmla="*/ 5232 w 5281"/>
                <a:gd name="T31" fmla="*/ 3075 h 5124"/>
                <a:gd name="T32" fmla="*/ 4924 w 5281"/>
                <a:gd name="T33" fmla="*/ 3368 h 5124"/>
                <a:gd name="T34" fmla="*/ 4813 w 5281"/>
                <a:gd name="T35" fmla="*/ 3384 h 5124"/>
                <a:gd name="T36" fmla="*/ 4734 w 5281"/>
                <a:gd name="T37" fmla="*/ 3320 h 5124"/>
                <a:gd name="T38" fmla="*/ 4457 w 5281"/>
                <a:gd name="T39" fmla="*/ 3739 h 5124"/>
                <a:gd name="T40" fmla="*/ 4204 w 5281"/>
                <a:gd name="T41" fmla="*/ 3811 h 5124"/>
                <a:gd name="T42" fmla="*/ 4125 w 5281"/>
                <a:gd name="T43" fmla="*/ 3913 h 5124"/>
                <a:gd name="T44" fmla="*/ 3960 w 5281"/>
                <a:gd name="T45" fmla="*/ 3897 h 5124"/>
                <a:gd name="T46" fmla="*/ 3826 w 5281"/>
                <a:gd name="T47" fmla="*/ 4064 h 5124"/>
                <a:gd name="T48" fmla="*/ 3684 w 5281"/>
                <a:gd name="T49" fmla="*/ 4158 h 5124"/>
                <a:gd name="T50" fmla="*/ 3826 w 5281"/>
                <a:gd name="T51" fmla="*/ 4230 h 5124"/>
                <a:gd name="T52" fmla="*/ 3581 w 5281"/>
                <a:gd name="T53" fmla="*/ 4411 h 5124"/>
                <a:gd name="T54" fmla="*/ 3802 w 5281"/>
                <a:gd name="T55" fmla="*/ 4949 h 5124"/>
                <a:gd name="T56" fmla="*/ 3699 w 5281"/>
                <a:gd name="T57" fmla="*/ 4822 h 5124"/>
                <a:gd name="T58" fmla="*/ 3810 w 5281"/>
                <a:gd name="T59" fmla="*/ 5052 h 5124"/>
                <a:gd name="T60" fmla="*/ 3723 w 5281"/>
                <a:gd name="T61" fmla="*/ 5115 h 5124"/>
                <a:gd name="T62" fmla="*/ 3763 w 5281"/>
                <a:gd name="T63" fmla="*/ 4981 h 5124"/>
                <a:gd name="T64" fmla="*/ 3707 w 5281"/>
                <a:gd name="T65" fmla="*/ 4561 h 5124"/>
                <a:gd name="T66" fmla="*/ 3652 w 5281"/>
                <a:gd name="T67" fmla="*/ 4443 h 5124"/>
                <a:gd name="T68" fmla="*/ 3723 w 5281"/>
                <a:gd name="T69" fmla="*/ 4435 h 5124"/>
                <a:gd name="T70" fmla="*/ 3731 w 5281"/>
                <a:gd name="T71" fmla="*/ 4222 h 5124"/>
                <a:gd name="T72" fmla="*/ 3802 w 5281"/>
                <a:gd name="T73" fmla="*/ 4150 h 5124"/>
                <a:gd name="T74" fmla="*/ 3976 w 5281"/>
                <a:gd name="T75" fmla="*/ 3953 h 5124"/>
                <a:gd name="T76" fmla="*/ 3984 w 5281"/>
                <a:gd name="T77" fmla="*/ 4024 h 5124"/>
                <a:gd name="T78" fmla="*/ 4117 w 5281"/>
                <a:gd name="T79" fmla="*/ 3818 h 5124"/>
                <a:gd name="T80" fmla="*/ 4363 w 5281"/>
                <a:gd name="T81" fmla="*/ 3763 h 5124"/>
                <a:gd name="T82" fmla="*/ 4687 w 5281"/>
                <a:gd name="T83" fmla="*/ 3289 h 5124"/>
                <a:gd name="T84" fmla="*/ 4790 w 5281"/>
                <a:gd name="T85" fmla="*/ 3360 h 5124"/>
                <a:gd name="T86" fmla="*/ 4781 w 5281"/>
                <a:gd name="T87" fmla="*/ 3478 h 5124"/>
                <a:gd name="T88" fmla="*/ 5224 w 5281"/>
                <a:gd name="T89" fmla="*/ 3075 h 5124"/>
                <a:gd name="T90" fmla="*/ 5272 w 5281"/>
                <a:gd name="T91" fmla="*/ 2656 h 5124"/>
                <a:gd name="T92" fmla="*/ 5003 w 5281"/>
                <a:gd name="T93" fmla="*/ 1447 h 5124"/>
                <a:gd name="T94" fmla="*/ 4544 w 5281"/>
                <a:gd name="T95" fmla="*/ 1313 h 5124"/>
                <a:gd name="T96" fmla="*/ 4117 w 5281"/>
                <a:gd name="T97" fmla="*/ 1415 h 5124"/>
                <a:gd name="T98" fmla="*/ 3842 w 5281"/>
                <a:gd name="T99" fmla="*/ 1399 h 5124"/>
                <a:gd name="T100" fmla="*/ 3502 w 5281"/>
                <a:gd name="T101" fmla="*/ 1336 h 5124"/>
                <a:gd name="T102" fmla="*/ 3320 w 5281"/>
                <a:gd name="T103" fmla="*/ 1249 h 5124"/>
                <a:gd name="T104" fmla="*/ 3004 w 5281"/>
                <a:gd name="T105" fmla="*/ 1083 h 5124"/>
                <a:gd name="T106" fmla="*/ 1423 w 5281"/>
                <a:gd name="T107" fmla="*/ 2150 h 5124"/>
                <a:gd name="T108" fmla="*/ 569 w 5281"/>
                <a:gd name="T109" fmla="*/ 2648 h 5124"/>
                <a:gd name="T110" fmla="*/ 1028 w 5281"/>
                <a:gd name="T111" fmla="*/ 3368 h 5124"/>
                <a:gd name="T112" fmla="*/ 1597 w 5281"/>
                <a:gd name="T113" fmla="*/ 3186 h 5124"/>
                <a:gd name="T114" fmla="*/ 2150 w 5281"/>
                <a:gd name="T115" fmla="*/ 3336 h 5124"/>
                <a:gd name="T116" fmla="*/ 2822 w 5281"/>
                <a:gd name="T117" fmla="*/ 4348 h 5124"/>
                <a:gd name="T118" fmla="*/ 3265 w 5281"/>
                <a:gd name="T119" fmla="*/ 4917 h 5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81" h="5124">
                  <a:moveTo>
                    <a:pt x="3715" y="5123"/>
                  </a:moveTo>
                  <a:lnTo>
                    <a:pt x="3715" y="5123"/>
                  </a:lnTo>
                  <a:cubicBezTo>
                    <a:pt x="3699" y="5123"/>
                    <a:pt x="3699" y="5115"/>
                    <a:pt x="3699" y="5115"/>
                  </a:cubicBezTo>
                  <a:cubicBezTo>
                    <a:pt x="3699" y="5107"/>
                    <a:pt x="3692" y="5107"/>
                    <a:pt x="3684" y="5099"/>
                  </a:cubicBezTo>
                  <a:cubicBezTo>
                    <a:pt x="3684" y="5091"/>
                    <a:pt x="3676" y="5083"/>
                    <a:pt x="3668" y="5075"/>
                  </a:cubicBezTo>
                  <a:cubicBezTo>
                    <a:pt x="3660" y="5060"/>
                    <a:pt x="3644" y="5044"/>
                    <a:pt x="3621" y="5028"/>
                  </a:cubicBezTo>
                  <a:cubicBezTo>
                    <a:pt x="3605" y="5028"/>
                    <a:pt x="3597" y="5020"/>
                    <a:pt x="3589" y="5012"/>
                  </a:cubicBezTo>
                  <a:cubicBezTo>
                    <a:pt x="3565" y="4996"/>
                    <a:pt x="3534" y="4981"/>
                    <a:pt x="3518" y="4981"/>
                  </a:cubicBezTo>
                  <a:cubicBezTo>
                    <a:pt x="3510" y="4981"/>
                    <a:pt x="3502" y="4981"/>
                    <a:pt x="3494" y="4988"/>
                  </a:cubicBezTo>
                  <a:cubicBezTo>
                    <a:pt x="3462" y="5012"/>
                    <a:pt x="3454" y="5012"/>
                    <a:pt x="3407" y="5004"/>
                  </a:cubicBezTo>
                  <a:cubicBezTo>
                    <a:pt x="3367" y="4996"/>
                    <a:pt x="3352" y="4988"/>
                    <a:pt x="3312" y="4965"/>
                  </a:cubicBezTo>
                  <a:cubicBezTo>
                    <a:pt x="3304" y="4957"/>
                    <a:pt x="3296" y="4957"/>
                    <a:pt x="3288" y="4949"/>
                  </a:cubicBezTo>
                  <a:cubicBezTo>
                    <a:pt x="3281" y="4941"/>
                    <a:pt x="3265" y="4933"/>
                    <a:pt x="3257" y="4925"/>
                  </a:cubicBezTo>
                  <a:cubicBezTo>
                    <a:pt x="3233" y="4909"/>
                    <a:pt x="3217" y="4894"/>
                    <a:pt x="3186" y="4901"/>
                  </a:cubicBezTo>
                  <a:cubicBezTo>
                    <a:pt x="3178" y="4901"/>
                    <a:pt x="3170" y="4901"/>
                    <a:pt x="3170" y="4901"/>
                  </a:cubicBezTo>
                  <a:cubicBezTo>
                    <a:pt x="3154" y="4901"/>
                    <a:pt x="3146" y="4894"/>
                    <a:pt x="3138" y="4886"/>
                  </a:cubicBezTo>
                  <a:cubicBezTo>
                    <a:pt x="3130" y="4886"/>
                    <a:pt x="3122" y="4878"/>
                    <a:pt x="3099" y="4862"/>
                  </a:cubicBezTo>
                  <a:cubicBezTo>
                    <a:pt x="3035" y="4830"/>
                    <a:pt x="3004" y="4822"/>
                    <a:pt x="2988" y="4822"/>
                  </a:cubicBezTo>
                  <a:cubicBezTo>
                    <a:pt x="2980" y="4822"/>
                    <a:pt x="2980" y="4807"/>
                    <a:pt x="2972" y="4799"/>
                  </a:cubicBezTo>
                  <a:cubicBezTo>
                    <a:pt x="2972" y="4791"/>
                    <a:pt x="2972" y="4775"/>
                    <a:pt x="2956" y="4767"/>
                  </a:cubicBezTo>
                  <a:cubicBezTo>
                    <a:pt x="2941" y="4759"/>
                    <a:pt x="2948" y="4743"/>
                    <a:pt x="2948" y="4728"/>
                  </a:cubicBezTo>
                  <a:cubicBezTo>
                    <a:pt x="2956" y="4712"/>
                    <a:pt x="2956" y="4696"/>
                    <a:pt x="2948" y="4688"/>
                  </a:cubicBezTo>
                  <a:cubicBezTo>
                    <a:pt x="2933" y="4672"/>
                    <a:pt x="2917" y="4641"/>
                    <a:pt x="2901" y="4617"/>
                  </a:cubicBezTo>
                  <a:cubicBezTo>
                    <a:pt x="2877" y="4577"/>
                    <a:pt x="2862" y="4546"/>
                    <a:pt x="2846" y="4530"/>
                  </a:cubicBezTo>
                  <a:cubicBezTo>
                    <a:pt x="2830" y="4506"/>
                    <a:pt x="2838" y="4482"/>
                    <a:pt x="2854" y="4467"/>
                  </a:cubicBezTo>
                  <a:cubicBezTo>
                    <a:pt x="2862" y="4459"/>
                    <a:pt x="2862" y="4443"/>
                    <a:pt x="2862" y="4435"/>
                  </a:cubicBezTo>
                  <a:cubicBezTo>
                    <a:pt x="2862" y="4435"/>
                    <a:pt x="2854" y="4427"/>
                    <a:pt x="2846" y="4419"/>
                  </a:cubicBezTo>
                  <a:cubicBezTo>
                    <a:pt x="2798" y="4395"/>
                    <a:pt x="2806" y="4372"/>
                    <a:pt x="2814" y="4348"/>
                  </a:cubicBezTo>
                  <a:cubicBezTo>
                    <a:pt x="2814" y="4340"/>
                    <a:pt x="2814" y="4332"/>
                    <a:pt x="2814" y="4332"/>
                  </a:cubicBezTo>
                  <a:cubicBezTo>
                    <a:pt x="2814" y="4317"/>
                    <a:pt x="2822" y="4308"/>
                    <a:pt x="2822" y="4301"/>
                  </a:cubicBezTo>
                  <a:cubicBezTo>
                    <a:pt x="2830" y="4293"/>
                    <a:pt x="2830" y="4293"/>
                    <a:pt x="2822" y="4285"/>
                  </a:cubicBezTo>
                  <a:cubicBezTo>
                    <a:pt x="2814" y="4277"/>
                    <a:pt x="2806" y="4269"/>
                    <a:pt x="2798" y="4261"/>
                  </a:cubicBezTo>
                  <a:cubicBezTo>
                    <a:pt x="2790" y="4245"/>
                    <a:pt x="2775" y="4230"/>
                    <a:pt x="2751" y="4222"/>
                  </a:cubicBezTo>
                  <a:cubicBezTo>
                    <a:pt x="2719" y="4222"/>
                    <a:pt x="2711" y="4206"/>
                    <a:pt x="2703" y="4182"/>
                  </a:cubicBezTo>
                  <a:cubicBezTo>
                    <a:pt x="2703" y="4166"/>
                    <a:pt x="2695" y="4158"/>
                    <a:pt x="2688" y="4142"/>
                  </a:cubicBezTo>
                  <a:cubicBezTo>
                    <a:pt x="2664" y="4111"/>
                    <a:pt x="2569" y="3977"/>
                    <a:pt x="2522" y="3953"/>
                  </a:cubicBezTo>
                  <a:cubicBezTo>
                    <a:pt x="2498" y="3945"/>
                    <a:pt x="2498" y="3929"/>
                    <a:pt x="2506" y="3921"/>
                  </a:cubicBezTo>
                  <a:cubicBezTo>
                    <a:pt x="2506" y="3905"/>
                    <a:pt x="2514" y="3897"/>
                    <a:pt x="2498" y="3882"/>
                  </a:cubicBezTo>
                  <a:cubicBezTo>
                    <a:pt x="2490" y="3866"/>
                    <a:pt x="2482" y="3858"/>
                    <a:pt x="2482" y="3842"/>
                  </a:cubicBezTo>
                  <a:cubicBezTo>
                    <a:pt x="2474" y="3811"/>
                    <a:pt x="2466" y="3763"/>
                    <a:pt x="2395" y="3668"/>
                  </a:cubicBezTo>
                  <a:cubicBezTo>
                    <a:pt x="2340" y="3581"/>
                    <a:pt x="2332" y="3534"/>
                    <a:pt x="2332" y="3510"/>
                  </a:cubicBezTo>
                  <a:cubicBezTo>
                    <a:pt x="2332" y="3494"/>
                    <a:pt x="2324" y="3486"/>
                    <a:pt x="2308" y="3471"/>
                  </a:cubicBezTo>
                  <a:cubicBezTo>
                    <a:pt x="2261" y="3439"/>
                    <a:pt x="2182" y="3376"/>
                    <a:pt x="2150" y="3336"/>
                  </a:cubicBezTo>
                  <a:cubicBezTo>
                    <a:pt x="2134" y="3328"/>
                    <a:pt x="2118" y="3313"/>
                    <a:pt x="2103" y="3289"/>
                  </a:cubicBezTo>
                  <a:cubicBezTo>
                    <a:pt x="2071" y="3249"/>
                    <a:pt x="2031" y="3202"/>
                    <a:pt x="2016" y="3202"/>
                  </a:cubicBezTo>
                  <a:lnTo>
                    <a:pt x="2016" y="3202"/>
                  </a:lnTo>
                  <a:cubicBezTo>
                    <a:pt x="2000" y="3218"/>
                    <a:pt x="1976" y="3225"/>
                    <a:pt x="1960" y="3225"/>
                  </a:cubicBezTo>
                  <a:cubicBezTo>
                    <a:pt x="1952" y="3225"/>
                    <a:pt x="1945" y="3218"/>
                    <a:pt x="1936" y="3210"/>
                  </a:cubicBezTo>
                  <a:cubicBezTo>
                    <a:pt x="1929" y="3210"/>
                    <a:pt x="1929" y="3202"/>
                    <a:pt x="1921" y="3202"/>
                  </a:cubicBezTo>
                  <a:cubicBezTo>
                    <a:pt x="1913" y="3186"/>
                    <a:pt x="1905" y="3186"/>
                    <a:pt x="1897" y="3186"/>
                  </a:cubicBezTo>
                  <a:cubicBezTo>
                    <a:pt x="1889" y="3186"/>
                    <a:pt x="1881" y="3186"/>
                    <a:pt x="1873" y="3186"/>
                  </a:cubicBezTo>
                  <a:cubicBezTo>
                    <a:pt x="1865" y="3186"/>
                    <a:pt x="1858" y="3194"/>
                    <a:pt x="1850" y="3194"/>
                  </a:cubicBezTo>
                  <a:cubicBezTo>
                    <a:pt x="1834" y="3202"/>
                    <a:pt x="1826" y="3202"/>
                    <a:pt x="1810" y="3202"/>
                  </a:cubicBezTo>
                  <a:cubicBezTo>
                    <a:pt x="1794" y="3202"/>
                    <a:pt x="1786" y="3186"/>
                    <a:pt x="1778" y="3178"/>
                  </a:cubicBezTo>
                  <a:cubicBezTo>
                    <a:pt x="1763" y="3170"/>
                    <a:pt x="1755" y="3154"/>
                    <a:pt x="1723" y="3154"/>
                  </a:cubicBezTo>
                  <a:cubicBezTo>
                    <a:pt x="1723" y="3154"/>
                    <a:pt x="1723" y="3154"/>
                    <a:pt x="1715" y="3154"/>
                  </a:cubicBezTo>
                  <a:cubicBezTo>
                    <a:pt x="1699" y="3154"/>
                    <a:pt x="1692" y="3154"/>
                    <a:pt x="1676" y="3162"/>
                  </a:cubicBezTo>
                  <a:cubicBezTo>
                    <a:pt x="1660" y="3178"/>
                    <a:pt x="1644" y="3186"/>
                    <a:pt x="1597" y="3194"/>
                  </a:cubicBezTo>
                  <a:cubicBezTo>
                    <a:pt x="1533" y="3202"/>
                    <a:pt x="1533" y="3225"/>
                    <a:pt x="1533" y="3249"/>
                  </a:cubicBezTo>
                  <a:cubicBezTo>
                    <a:pt x="1533" y="3257"/>
                    <a:pt x="1525" y="3265"/>
                    <a:pt x="1525" y="3273"/>
                  </a:cubicBezTo>
                  <a:cubicBezTo>
                    <a:pt x="1525" y="3281"/>
                    <a:pt x="1518" y="3289"/>
                    <a:pt x="1510" y="3297"/>
                  </a:cubicBezTo>
                  <a:cubicBezTo>
                    <a:pt x="1502" y="3320"/>
                    <a:pt x="1486" y="3344"/>
                    <a:pt x="1478" y="3376"/>
                  </a:cubicBezTo>
                  <a:cubicBezTo>
                    <a:pt x="1470" y="3384"/>
                    <a:pt x="1470" y="3391"/>
                    <a:pt x="1470" y="3400"/>
                  </a:cubicBezTo>
                  <a:cubicBezTo>
                    <a:pt x="1462" y="3439"/>
                    <a:pt x="1454" y="3478"/>
                    <a:pt x="1415" y="3494"/>
                  </a:cubicBezTo>
                  <a:cubicBezTo>
                    <a:pt x="1399" y="3502"/>
                    <a:pt x="1391" y="3526"/>
                    <a:pt x="1383" y="3542"/>
                  </a:cubicBezTo>
                  <a:cubicBezTo>
                    <a:pt x="1375" y="3550"/>
                    <a:pt x="1375" y="3565"/>
                    <a:pt x="1359" y="3565"/>
                  </a:cubicBezTo>
                  <a:cubicBezTo>
                    <a:pt x="1352" y="3565"/>
                    <a:pt x="1336" y="3565"/>
                    <a:pt x="1328" y="3557"/>
                  </a:cubicBezTo>
                  <a:cubicBezTo>
                    <a:pt x="1312" y="3550"/>
                    <a:pt x="1304" y="3534"/>
                    <a:pt x="1288" y="3526"/>
                  </a:cubicBezTo>
                  <a:cubicBezTo>
                    <a:pt x="1233" y="3494"/>
                    <a:pt x="1162" y="3439"/>
                    <a:pt x="1146" y="3439"/>
                  </a:cubicBezTo>
                  <a:cubicBezTo>
                    <a:pt x="1138" y="3439"/>
                    <a:pt x="1138" y="3439"/>
                    <a:pt x="1138" y="3439"/>
                  </a:cubicBezTo>
                  <a:cubicBezTo>
                    <a:pt x="1138" y="3447"/>
                    <a:pt x="1138" y="3447"/>
                    <a:pt x="1138" y="3447"/>
                  </a:cubicBezTo>
                  <a:cubicBezTo>
                    <a:pt x="1122" y="3447"/>
                    <a:pt x="1106" y="3431"/>
                    <a:pt x="1091" y="3415"/>
                  </a:cubicBezTo>
                  <a:cubicBezTo>
                    <a:pt x="1067" y="3391"/>
                    <a:pt x="1051" y="3376"/>
                    <a:pt x="1028" y="3376"/>
                  </a:cubicBezTo>
                  <a:cubicBezTo>
                    <a:pt x="996" y="3376"/>
                    <a:pt x="933" y="3344"/>
                    <a:pt x="909" y="3304"/>
                  </a:cubicBezTo>
                  <a:cubicBezTo>
                    <a:pt x="901" y="3297"/>
                    <a:pt x="901" y="3289"/>
                    <a:pt x="893" y="3281"/>
                  </a:cubicBezTo>
                  <a:cubicBezTo>
                    <a:pt x="893" y="3265"/>
                    <a:pt x="893" y="3265"/>
                    <a:pt x="869" y="3257"/>
                  </a:cubicBezTo>
                  <a:cubicBezTo>
                    <a:pt x="861" y="3249"/>
                    <a:pt x="861" y="3249"/>
                    <a:pt x="861" y="3249"/>
                  </a:cubicBezTo>
                  <a:cubicBezTo>
                    <a:pt x="822" y="3241"/>
                    <a:pt x="798" y="3233"/>
                    <a:pt x="782" y="3186"/>
                  </a:cubicBezTo>
                  <a:cubicBezTo>
                    <a:pt x="775" y="3170"/>
                    <a:pt x="766" y="3147"/>
                    <a:pt x="751" y="3131"/>
                  </a:cubicBezTo>
                  <a:cubicBezTo>
                    <a:pt x="735" y="3091"/>
                    <a:pt x="711" y="3051"/>
                    <a:pt x="719" y="3020"/>
                  </a:cubicBezTo>
                  <a:cubicBezTo>
                    <a:pt x="727" y="2996"/>
                    <a:pt x="743" y="2988"/>
                    <a:pt x="759" y="2980"/>
                  </a:cubicBezTo>
                  <a:cubicBezTo>
                    <a:pt x="766" y="2980"/>
                    <a:pt x="766" y="2973"/>
                    <a:pt x="775" y="2965"/>
                  </a:cubicBezTo>
                  <a:cubicBezTo>
                    <a:pt x="775" y="2957"/>
                    <a:pt x="766" y="2941"/>
                    <a:pt x="743" y="2917"/>
                  </a:cubicBezTo>
                  <a:cubicBezTo>
                    <a:pt x="695" y="2854"/>
                    <a:pt x="695" y="2854"/>
                    <a:pt x="695" y="2830"/>
                  </a:cubicBezTo>
                  <a:cubicBezTo>
                    <a:pt x="695" y="2830"/>
                    <a:pt x="695" y="2822"/>
                    <a:pt x="695" y="2814"/>
                  </a:cubicBezTo>
                  <a:cubicBezTo>
                    <a:pt x="695" y="2807"/>
                    <a:pt x="695" y="2799"/>
                    <a:pt x="695" y="2791"/>
                  </a:cubicBezTo>
                  <a:cubicBezTo>
                    <a:pt x="703" y="2775"/>
                    <a:pt x="703" y="2767"/>
                    <a:pt x="656" y="2727"/>
                  </a:cubicBezTo>
                  <a:cubicBezTo>
                    <a:pt x="608" y="2696"/>
                    <a:pt x="585" y="2672"/>
                    <a:pt x="561" y="2648"/>
                  </a:cubicBezTo>
                  <a:cubicBezTo>
                    <a:pt x="553" y="2641"/>
                    <a:pt x="545" y="2633"/>
                    <a:pt x="529" y="2617"/>
                  </a:cubicBezTo>
                  <a:cubicBezTo>
                    <a:pt x="513" y="2601"/>
                    <a:pt x="498" y="2593"/>
                    <a:pt x="482" y="2593"/>
                  </a:cubicBezTo>
                  <a:cubicBezTo>
                    <a:pt x="458" y="2585"/>
                    <a:pt x="435" y="2577"/>
                    <a:pt x="427" y="2538"/>
                  </a:cubicBezTo>
                  <a:cubicBezTo>
                    <a:pt x="411" y="2490"/>
                    <a:pt x="403" y="2474"/>
                    <a:pt x="371" y="2451"/>
                  </a:cubicBezTo>
                  <a:cubicBezTo>
                    <a:pt x="371" y="2443"/>
                    <a:pt x="363" y="2435"/>
                    <a:pt x="355" y="2427"/>
                  </a:cubicBezTo>
                  <a:cubicBezTo>
                    <a:pt x="308" y="2380"/>
                    <a:pt x="292" y="2364"/>
                    <a:pt x="229" y="2324"/>
                  </a:cubicBezTo>
                  <a:cubicBezTo>
                    <a:pt x="213" y="2308"/>
                    <a:pt x="197" y="2308"/>
                    <a:pt x="189" y="2308"/>
                  </a:cubicBezTo>
                  <a:cubicBezTo>
                    <a:pt x="166" y="2301"/>
                    <a:pt x="166" y="2301"/>
                    <a:pt x="166" y="2261"/>
                  </a:cubicBezTo>
                  <a:cubicBezTo>
                    <a:pt x="166" y="2190"/>
                    <a:pt x="95" y="2143"/>
                    <a:pt x="87" y="2143"/>
                  </a:cubicBezTo>
                  <a:cubicBezTo>
                    <a:pt x="87" y="2143"/>
                    <a:pt x="87" y="2143"/>
                    <a:pt x="55" y="2143"/>
                  </a:cubicBezTo>
                  <a:cubicBezTo>
                    <a:pt x="47" y="2143"/>
                    <a:pt x="47" y="2143"/>
                    <a:pt x="47" y="2143"/>
                  </a:cubicBezTo>
                  <a:cubicBezTo>
                    <a:pt x="47" y="2135"/>
                    <a:pt x="47" y="2135"/>
                    <a:pt x="47" y="2135"/>
                  </a:cubicBezTo>
                  <a:cubicBezTo>
                    <a:pt x="0" y="2040"/>
                    <a:pt x="8" y="2032"/>
                    <a:pt x="8" y="2024"/>
                  </a:cubicBezTo>
                  <a:lnTo>
                    <a:pt x="16" y="2024"/>
                  </a:lnTo>
                  <a:lnTo>
                    <a:pt x="23" y="2024"/>
                  </a:lnTo>
                  <a:cubicBezTo>
                    <a:pt x="71" y="2032"/>
                    <a:pt x="1399" y="2143"/>
                    <a:pt x="1423" y="2143"/>
                  </a:cubicBezTo>
                  <a:cubicBezTo>
                    <a:pt x="1454" y="2143"/>
                    <a:pt x="1454" y="2103"/>
                    <a:pt x="1454" y="2103"/>
                  </a:cubicBezTo>
                  <a:cubicBezTo>
                    <a:pt x="1597" y="0"/>
                    <a:pt x="1597" y="0"/>
                    <a:pt x="1597" y="0"/>
                  </a:cubicBezTo>
                  <a:lnTo>
                    <a:pt x="1597" y="0"/>
                  </a:lnTo>
                  <a:cubicBezTo>
                    <a:pt x="2743" y="63"/>
                    <a:pt x="2743" y="63"/>
                    <a:pt x="2743" y="63"/>
                  </a:cubicBezTo>
                  <a:lnTo>
                    <a:pt x="2743" y="63"/>
                  </a:lnTo>
                  <a:cubicBezTo>
                    <a:pt x="2735" y="419"/>
                    <a:pt x="2735" y="949"/>
                    <a:pt x="2759" y="965"/>
                  </a:cubicBezTo>
                  <a:cubicBezTo>
                    <a:pt x="2775" y="980"/>
                    <a:pt x="2790" y="996"/>
                    <a:pt x="2798" y="1012"/>
                  </a:cubicBezTo>
                  <a:cubicBezTo>
                    <a:pt x="2806" y="1028"/>
                    <a:pt x="2822" y="1044"/>
                    <a:pt x="2838" y="1060"/>
                  </a:cubicBezTo>
                  <a:cubicBezTo>
                    <a:pt x="2846" y="1067"/>
                    <a:pt x="2854" y="1067"/>
                    <a:pt x="2862" y="1067"/>
                  </a:cubicBezTo>
                  <a:cubicBezTo>
                    <a:pt x="2869" y="1067"/>
                    <a:pt x="2869" y="1067"/>
                    <a:pt x="2877" y="1067"/>
                  </a:cubicBezTo>
                  <a:cubicBezTo>
                    <a:pt x="2885" y="1067"/>
                    <a:pt x="2885" y="1060"/>
                    <a:pt x="2893" y="1060"/>
                  </a:cubicBezTo>
                  <a:cubicBezTo>
                    <a:pt x="2901" y="1060"/>
                    <a:pt x="2909" y="1060"/>
                    <a:pt x="2917" y="1067"/>
                  </a:cubicBezTo>
                  <a:cubicBezTo>
                    <a:pt x="2925" y="1067"/>
                    <a:pt x="2925" y="1067"/>
                    <a:pt x="2933" y="1067"/>
                  </a:cubicBezTo>
                  <a:cubicBezTo>
                    <a:pt x="2941" y="1067"/>
                    <a:pt x="2941" y="1060"/>
                    <a:pt x="2948" y="1051"/>
                  </a:cubicBezTo>
                  <a:cubicBezTo>
                    <a:pt x="2948" y="1044"/>
                    <a:pt x="2948" y="1036"/>
                    <a:pt x="2964" y="1028"/>
                  </a:cubicBezTo>
                  <a:cubicBezTo>
                    <a:pt x="2964" y="1028"/>
                    <a:pt x="2964" y="1028"/>
                    <a:pt x="2972" y="1028"/>
                  </a:cubicBezTo>
                  <a:cubicBezTo>
                    <a:pt x="2988" y="1028"/>
                    <a:pt x="2996" y="1051"/>
                    <a:pt x="3012" y="1075"/>
                  </a:cubicBezTo>
                  <a:cubicBezTo>
                    <a:pt x="3012" y="1083"/>
                    <a:pt x="3012" y="1083"/>
                    <a:pt x="3012" y="1083"/>
                  </a:cubicBezTo>
                  <a:cubicBezTo>
                    <a:pt x="3020" y="1091"/>
                    <a:pt x="3020" y="1099"/>
                    <a:pt x="3020" y="1107"/>
                  </a:cubicBezTo>
                  <a:cubicBezTo>
                    <a:pt x="3020" y="1131"/>
                    <a:pt x="3028" y="1146"/>
                    <a:pt x="3043" y="1146"/>
                  </a:cubicBezTo>
                  <a:cubicBezTo>
                    <a:pt x="3051" y="1154"/>
                    <a:pt x="3067" y="1154"/>
                    <a:pt x="3067" y="1162"/>
                  </a:cubicBezTo>
                  <a:cubicBezTo>
                    <a:pt x="3083" y="1162"/>
                    <a:pt x="3091" y="1170"/>
                    <a:pt x="3115" y="1170"/>
                  </a:cubicBezTo>
                  <a:cubicBezTo>
                    <a:pt x="3115" y="1170"/>
                    <a:pt x="3122" y="1170"/>
                    <a:pt x="3130" y="1170"/>
                  </a:cubicBezTo>
                  <a:cubicBezTo>
                    <a:pt x="3170" y="1162"/>
                    <a:pt x="3186" y="1194"/>
                    <a:pt x="3186" y="1194"/>
                  </a:cubicBezTo>
                  <a:cubicBezTo>
                    <a:pt x="3194" y="1202"/>
                    <a:pt x="3201" y="1202"/>
                    <a:pt x="3209" y="1202"/>
                  </a:cubicBezTo>
                  <a:cubicBezTo>
                    <a:pt x="3217" y="1202"/>
                    <a:pt x="3225" y="1202"/>
                    <a:pt x="3233" y="1202"/>
                  </a:cubicBezTo>
                  <a:cubicBezTo>
                    <a:pt x="3241" y="1194"/>
                    <a:pt x="3249" y="1194"/>
                    <a:pt x="3265" y="1194"/>
                  </a:cubicBezTo>
                  <a:lnTo>
                    <a:pt x="3273" y="1194"/>
                  </a:lnTo>
                  <a:cubicBezTo>
                    <a:pt x="3304" y="1194"/>
                    <a:pt x="3304" y="1210"/>
                    <a:pt x="3312" y="1226"/>
                  </a:cubicBezTo>
                  <a:cubicBezTo>
                    <a:pt x="3312" y="1233"/>
                    <a:pt x="3312" y="1233"/>
                    <a:pt x="3312" y="1233"/>
                  </a:cubicBezTo>
                  <a:cubicBezTo>
                    <a:pt x="3312" y="1241"/>
                    <a:pt x="3312" y="1241"/>
                    <a:pt x="3320" y="1241"/>
                  </a:cubicBezTo>
                  <a:cubicBezTo>
                    <a:pt x="3328" y="1241"/>
                    <a:pt x="3344" y="1233"/>
                    <a:pt x="3352" y="1218"/>
                  </a:cubicBezTo>
                  <a:cubicBezTo>
                    <a:pt x="3352" y="1202"/>
                    <a:pt x="3359" y="1194"/>
                    <a:pt x="3367" y="1194"/>
                  </a:cubicBezTo>
                  <a:cubicBezTo>
                    <a:pt x="3367" y="1194"/>
                    <a:pt x="3375" y="1194"/>
                    <a:pt x="3375" y="1202"/>
                  </a:cubicBezTo>
                  <a:lnTo>
                    <a:pt x="3383" y="1202"/>
                  </a:lnTo>
                  <a:lnTo>
                    <a:pt x="3383" y="1202"/>
                  </a:lnTo>
                  <a:cubicBezTo>
                    <a:pt x="3383" y="1186"/>
                    <a:pt x="3399" y="1186"/>
                    <a:pt x="3399" y="1186"/>
                  </a:cubicBezTo>
                  <a:cubicBezTo>
                    <a:pt x="3407" y="1186"/>
                    <a:pt x="3415" y="1186"/>
                    <a:pt x="3423" y="1186"/>
                  </a:cubicBezTo>
                  <a:cubicBezTo>
                    <a:pt x="3423" y="1186"/>
                    <a:pt x="3439" y="1186"/>
                    <a:pt x="3446" y="1186"/>
                  </a:cubicBezTo>
                  <a:cubicBezTo>
                    <a:pt x="3454" y="1186"/>
                    <a:pt x="3462" y="1194"/>
                    <a:pt x="3462" y="1194"/>
                  </a:cubicBezTo>
                  <a:cubicBezTo>
                    <a:pt x="3470" y="1202"/>
                    <a:pt x="3470" y="1210"/>
                    <a:pt x="3470" y="1226"/>
                  </a:cubicBezTo>
                  <a:lnTo>
                    <a:pt x="3470" y="1233"/>
                  </a:lnTo>
                  <a:cubicBezTo>
                    <a:pt x="3470" y="1249"/>
                    <a:pt x="3470" y="1249"/>
                    <a:pt x="3478" y="1249"/>
                  </a:cubicBezTo>
                  <a:cubicBezTo>
                    <a:pt x="3486" y="1257"/>
                    <a:pt x="3486" y="1257"/>
                    <a:pt x="3494" y="1257"/>
                  </a:cubicBezTo>
                  <a:cubicBezTo>
                    <a:pt x="3510" y="1265"/>
                    <a:pt x="3510" y="1281"/>
                    <a:pt x="3510" y="1297"/>
                  </a:cubicBezTo>
                  <a:cubicBezTo>
                    <a:pt x="3510" y="1304"/>
                    <a:pt x="3502" y="1320"/>
                    <a:pt x="3510" y="1328"/>
                  </a:cubicBezTo>
                  <a:cubicBezTo>
                    <a:pt x="3510" y="1336"/>
                    <a:pt x="3518" y="1336"/>
                    <a:pt x="3518" y="1336"/>
                  </a:cubicBezTo>
                  <a:cubicBezTo>
                    <a:pt x="3526" y="1336"/>
                    <a:pt x="3549" y="1320"/>
                    <a:pt x="3557" y="1304"/>
                  </a:cubicBezTo>
                  <a:cubicBezTo>
                    <a:pt x="3573" y="1281"/>
                    <a:pt x="3597" y="1273"/>
                    <a:pt x="3628" y="1281"/>
                  </a:cubicBezTo>
                  <a:cubicBezTo>
                    <a:pt x="3660" y="1289"/>
                    <a:pt x="3668" y="1304"/>
                    <a:pt x="3676" y="1320"/>
                  </a:cubicBezTo>
                  <a:cubicBezTo>
                    <a:pt x="3684" y="1328"/>
                    <a:pt x="3684" y="1328"/>
                    <a:pt x="3684" y="1328"/>
                  </a:cubicBezTo>
                  <a:cubicBezTo>
                    <a:pt x="3684" y="1336"/>
                    <a:pt x="3692" y="1336"/>
                    <a:pt x="3699" y="1336"/>
                  </a:cubicBezTo>
                  <a:cubicBezTo>
                    <a:pt x="3707" y="1336"/>
                    <a:pt x="3715" y="1336"/>
                    <a:pt x="3715" y="1320"/>
                  </a:cubicBezTo>
                  <a:cubicBezTo>
                    <a:pt x="3715" y="1313"/>
                    <a:pt x="3739" y="1304"/>
                    <a:pt x="3778" y="1304"/>
                  </a:cubicBezTo>
                  <a:cubicBezTo>
                    <a:pt x="3786" y="1304"/>
                    <a:pt x="3794" y="1304"/>
                    <a:pt x="3802" y="1304"/>
                  </a:cubicBezTo>
                  <a:cubicBezTo>
                    <a:pt x="3810" y="1304"/>
                    <a:pt x="3810" y="1304"/>
                    <a:pt x="3810" y="1304"/>
                  </a:cubicBezTo>
                  <a:cubicBezTo>
                    <a:pt x="3818" y="1304"/>
                    <a:pt x="3818" y="1304"/>
                    <a:pt x="3818" y="1313"/>
                  </a:cubicBezTo>
                  <a:cubicBezTo>
                    <a:pt x="3826" y="1313"/>
                    <a:pt x="3818" y="1320"/>
                    <a:pt x="3818" y="1336"/>
                  </a:cubicBezTo>
                  <a:cubicBezTo>
                    <a:pt x="3818" y="1344"/>
                    <a:pt x="3818" y="1352"/>
                    <a:pt x="3810" y="1360"/>
                  </a:cubicBezTo>
                  <a:cubicBezTo>
                    <a:pt x="3810" y="1384"/>
                    <a:pt x="3818" y="1391"/>
                    <a:pt x="3834" y="1391"/>
                  </a:cubicBezTo>
                  <a:cubicBezTo>
                    <a:pt x="3834" y="1391"/>
                    <a:pt x="3842" y="1391"/>
                    <a:pt x="3842" y="1399"/>
                  </a:cubicBezTo>
                  <a:lnTo>
                    <a:pt x="3842" y="1399"/>
                  </a:lnTo>
                  <a:cubicBezTo>
                    <a:pt x="3850" y="1399"/>
                    <a:pt x="3858" y="1368"/>
                    <a:pt x="3858" y="1344"/>
                  </a:cubicBezTo>
                  <a:cubicBezTo>
                    <a:pt x="3858" y="1320"/>
                    <a:pt x="3865" y="1320"/>
                    <a:pt x="3865" y="1304"/>
                  </a:cubicBezTo>
                  <a:cubicBezTo>
                    <a:pt x="3874" y="1297"/>
                    <a:pt x="3874" y="1297"/>
                    <a:pt x="3881" y="1281"/>
                  </a:cubicBezTo>
                  <a:cubicBezTo>
                    <a:pt x="3881" y="1273"/>
                    <a:pt x="3889" y="1265"/>
                    <a:pt x="3897" y="1265"/>
                  </a:cubicBezTo>
                  <a:lnTo>
                    <a:pt x="3905" y="1273"/>
                  </a:lnTo>
                  <a:cubicBezTo>
                    <a:pt x="3913" y="1281"/>
                    <a:pt x="3913" y="1289"/>
                    <a:pt x="3913" y="1289"/>
                  </a:cubicBezTo>
                  <a:cubicBezTo>
                    <a:pt x="3929" y="1304"/>
                    <a:pt x="3945" y="1313"/>
                    <a:pt x="3960" y="1336"/>
                  </a:cubicBezTo>
                  <a:cubicBezTo>
                    <a:pt x="3960" y="1344"/>
                    <a:pt x="3968" y="1344"/>
                    <a:pt x="3968" y="1344"/>
                  </a:cubicBezTo>
                  <a:cubicBezTo>
                    <a:pt x="3976" y="1344"/>
                    <a:pt x="3984" y="1328"/>
                    <a:pt x="3984" y="1313"/>
                  </a:cubicBezTo>
                  <a:lnTo>
                    <a:pt x="3984" y="1313"/>
                  </a:lnTo>
                  <a:cubicBezTo>
                    <a:pt x="3992" y="1304"/>
                    <a:pt x="3992" y="1297"/>
                    <a:pt x="4000" y="1297"/>
                  </a:cubicBezTo>
                  <a:cubicBezTo>
                    <a:pt x="4007" y="1297"/>
                    <a:pt x="4023" y="1313"/>
                    <a:pt x="4038" y="1328"/>
                  </a:cubicBezTo>
                  <a:cubicBezTo>
                    <a:pt x="4046" y="1336"/>
                    <a:pt x="4046" y="1336"/>
                    <a:pt x="4054" y="1344"/>
                  </a:cubicBezTo>
                  <a:cubicBezTo>
                    <a:pt x="4078" y="1368"/>
                    <a:pt x="4094" y="1391"/>
                    <a:pt x="4125" y="1407"/>
                  </a:cubicBezTo>
                  <a:cubicBezTo>
                    <a:pt x="4133" y="1415"/>
                    <a:pt x="4133" y="1415"/>
                    <a:pt x="4141" y="1415"/>
                  </a:cubicBezTo>
                  <a:cubicBezTo>
                    <a:pt x="4157" y="1415"/>
                    <a:pt x="4165" y="1399"/>
                    <a:pt x="4181" y="1384"/>
                  </a:cubicBezTo>
                  <a:cubicBezTo>
                    <a:pt x="4181" y="1376"/>
                    <a:pt x="4181" y="1376"/>
                    <a:pt x="4188" y="1376"/>
                  </a:cubicBezTo>
                  <a:cubicBezTo>
                    <a:pt x="4204" y="1352"/>
                    <a:pt x="4236" y="1328"/>
                    <a:pt x="4276" y="1320"/>
                  </a:cubicBezTo>
                  <a:cubicBezTo>
                    <a:pt x="4276" y="1313"/>
                    <a:pt x="4284" y="1313"/>
                    <a:pt x="4291" y="1313"/>
                  </a:cubicBezTo>
                  <a:cubicBezTo>
                    <a:pt x="4299" y="1313"/>
                    <a:pt x="4299" y="1320"/>
                    <a:pt x="4307" y="1328"/>
                  </a:cubicBezTo>
                  <a:cubicBezTo>
                    <a:pt x="4307" y="1328"/>
                    <a:pt x="4315" y="1336"/>
                    <a:pt x="4323" y="1344"/>
                  </a:cubicBezTo>
                  <a:cubicBezTo>
                    <a:pt x="4323" y="1352"/>
                    <a:pt x="4331" y="1352"/>
                    <a:pt x="4339" y="1352"/>
                  </a:cubicBezTo>
                  <a:cubicBezTo>
                    <a:pt x="4347" y="1352"/>
                    <a:pt x="4363" y="1328"/>
                    <a:pt x="4363" y="1313"/>
                  </a:cubicBezTo>
                  <a:cubicBezTo>
                    <a:pt x="4370" y="1281"/>
                    <a:pt x="4410" y="1281"/>
                    <a:pt x="4434" y="1281"/>
                  </a:cubicBezTo>
                  <a:cubicBezTo>
                    <a:pt x="4450" y="1281"/>
                    <a:pt x="4450" y="1289"/>
                    <a:pt x="4457" y="1297"/>
                  </a:cubicBezTo>
                  <a:cubicBezTo>
                    <a:pt x="4465" y="1304"/>
                    <a:pt x="4465" y="1313"/>
                    <a:pt x="4481" y="1328"/>
                  </a:cubicBezTo>
                  <a:cubicBezTo>
                    <a:pt x="4489" y="1336"/>
                    <a:pt x="4497" y="1336"/>
                    <a:pt x="4505" y="1336"/>
                  </a:cubicBezTo>
                  <a:cubicBezTo>
                    <a:pt x="4521" y="1336"/>
                    <a:pt x="4528" y="1320"/>
                    <a:pt x="4537" y="1313"/>
                  </a:cubicBezTo>
                  <a:lnTo>
                    <a:pt x="4537" y="1313"/>
                  </a:lnTo>
                  <a:cubicBezTo>
                    <a:pt x="4537" y="1304"/>
                    <a:pt x="4544" y="1304"/>
                    <a:pt x="4544" y="1304"/>
                  </a:cubicBezTo>
                  <a:cubicBezTo>
                    <a:pt x="4552" y="1289"/>
                    <a:pt x="4568" y="1273"/>
                    <a:pt x="4584" y="1265"/>
                  </a:cubicBezTo>
                  <a:cubicBezTo>
                    <a:pt x="4608" y="1265"/>
                    <a:pt x="4631" y="1281"/>
                    <a:pt x="4671" y="1328"/>
                  </a:cubicBezTo>
                  <a:cubicBezTo>
                    <a:pt x="4703" y="1368"/>
                    <a:pt x="4718" y="1368"/>
                    <a:pt x="4734" y="1376"/>
                  </a:cubicBezTo>
                  <a:cubicBezTo>
                    <a:pt x="4742" y="1376"/>
                    <a:pt x="4750" y="1376"/>
                    <a:pt x="4750" y="1384"/>
                  </a:cubicBezTo>
                  <a:cubicBezTo>
                    <a:pt x="4766" y="1391"/>
                    <a:pt x="4781" y="1415"/>
                    <a:pt x="4813" y="1415"/>
                  </a:cubicBezTo>
                  <a:cubicBezTo>
                    <a:pt x="4829" y="1415"/>
                    <a:pt x="4837" y="1407"/>
                    <a:pt x="4845" y="1407"/>
                  </a:cubicBezTo>
                  <a:cubicBezTo>
                    <a:pt x="4845" y="1399"/>
                    <a:pt x="4853" y="1399"/>
                    <a:pt x="4868" y="1399"/>
                  </a:cubicBezTo>
                  <a:cubicBezTo>
                    <a:pt x="4884" y="1399"/>
                    <a:pt x="4892" y="1415"/>
                    <a:pt x="4892" y="1431"/>
                  </a:cubicBezTo>
                  <a:cubicBezTo>
                    <a:pt x="4900" y="1447"/>
                    <a:pt x="4900" y="1455"/>
                    <a:pt x="4908" y="1463"/>
                  </a:cubicBezTo>
                  <a:cubicBezTo>
                    <a:pt x="4916" y="1471"/>
                    <a:pt x="4916" y="1471"/>
                    <a:pt x="4916" y="1471"/>
                  </a:cubicBezTo>
                  <a:cubicBezTo>
                    <a:pt x="4916" y="1471"/>
                    <a:pt x="4924" y="1463"/>
                    <a:pt x="4924" y="1455"/>
                  </a:cubicBezTo>
                  <a:cubicBezTo>
                    <a:pt x="4924" y="1439"/>
                    <a:pt x="4932" y="1431"/>
                    <a:pt x="4940" y="1431"/>
                  </a:cubicBezTo>
                  <a:cubicBezTo>
                    <a:pt x="4940" y="1431"/>
                    <a:pt x="4956" y="1431"/>
                    <a:pt x="4963" y="1431"/>
                  </a:cubicBezTo>
                  <a:cubicBezTo>
                    <a:pt x="4971" y="1439"/>
                    <a:pt x="4987" y="1439"/>
                    <a:pt x="5003" y="1439"/>
                  </a:cubicBezTo>
                  <a:cubicBezTo>
                    <a:pt x="5027" y="1439"/>
                    <a:pt x="5043" y="1463"/>
                    <a:pt x="5043" y="1463"/>
                  </a:cubicBezTo>
                  <a:lnTo>
                    <a:pt x="5043" y="1463"/>
                  </a:lnTo>
                  <a:lnTo>
                    <a:pt x="5043" y="1463"/>
                  </a:lnTo>
                  <a:cubicBezTo>
                    <a:pt x="5058" y="2206"/>
                    <a:pt x="5058" y="2206"/>
                    <a:pt x="5058" y="2206"/>
                  </a:cubicBezTo>
                  <a:cubicBezTo>
                    <a:pt x="5066" y="2206"/>
                    <a:pt x="5090" y="2221"/>
                    <a:pt x="5106" y="2245"/>
                  </a:cubicBezTo>
                  <a:cubicBezTo>
                    <a:pt x="5106" y="2253"/>
                    <a:pt x="5114" y="2261"/>
                    <a:pt x="5121" y="2269"/>
                  </a:cubicBezTo>
                  <a:cubicBezTo>
                    <a:pt x="5137" y="2277"/>
                    <a:pt x="5153" y="2293"/>
                    <a:pt x="5161" y="2316"/>
                  </a:cubicBezTo>
                  <a:cubicBezTo>
                    <a:pt x="5169" y="2348"/>
                    <a:pt x="5169" y="2356"/>
                    <a:pt x="5161" y="2372"/>
                  </a:cubicBezTo>
                  <a:cubicBezTo>
                    <a:pt x="5161" y="2372"/>
                    <a:pt x="5161" y="2380"/>
                    <a:pt x="5153" y="2388"/>
                  </a:cubicBezTo>
                  <a:cubicBezTo>
                    <a:pt x="5153" y="2403"/>
                    <a:pt x="5161" y="2403"/>
                    <a:pt x="5169" y="2411"/>
                  </a:cubicBezTo>
                  <a:cubicBezTo>
                    <a:pt x="5177" y="2411"/>
                    <a:pt x="5177" y="2419"/>
                    <a:pt x="5185" y="2419"/>
                  </a:cubicBezTo>
                  <a:cubicBezTo>
                    <a:pt x="5201" y="2435"/>
                    <a:pt x="5224" y="2459"/>
                    <a:pt x="5216" y="2506"/>
                  </a:cubicBezTo>
                  <a:cubicBezTo>
                    <a:pt x="5216" y="2530"/>
                    <a:pt x="5224" y="2530"/>
                    <a:pt x="5232" y="2538"/>
                  </a:cubicBezTo>
                  <a:cubicBezTo>
                    <a:pt x="5240" y="2538"/>
                    <a:pt x="5256" y="2546"/>
                    <a:pt x="5264" y="2561"/>
                  </a:cubicBezTo>
                  <a:cubicBezTo>
                    <a:pt x="5280" y="2593"/>
                    <a:pt x="5280" y="2625"/>
                    <a:pt x="5280" y="2656"/>
                  </a:cubicBezTo>
                  <a:cubicBezTo>
                    <a:pt x="5272" y="2672"/>
                    <a:pt x="5272" y="2696"/>
                    <a:pt x="5272" y="2712"/>
                  </a:cubicBezTo>
                  <a:cubicBezTo>
                    <a:pt x="5272" y="2712"/>
                    <a:pt x="5272" y="2712"/>
                    <a:pt x="5280" y="2720"/>
                  </a:cubicBezTo>
                  <a:cubicBezTo>
                    <a:pt x="5280" y="2727"/>
                    <a:pt x="5280" y="2759"/>
                    <a:pt x="5256" y="2807"/>
                  </a:cubicBezTo>
                  <a:cubicBezTo>
                    <a:pt x="5248" y="2830"/>
                    <a:pt x="5240" y="2838"/>
                    <a:pt x="5224" y="2846"/>
                  </a:cubicBezTo>
                  <a:cubicBezTo>
                    <a:pt x="5224" y="2846"/>
                    <a:pt x="5216" y="2854"/>
                    <a:pt x="5208" y="2862"/>
                  </a:cubicBezTo>
                  <a:cubicBezTo>
                    <a:pt x="5201" y="2870"/>
                    <a:pt x="5201" y="2878"/>
                    <a:pt x="5201" y="2878"/>
                  </a:cubicBezTo>
                  <a:cubicBezTo>
                    <a:pt x="5201" y="2878"/>
                    <a:pt x="5201" y="2878"/>
                    <a:pt x="5208" y="2878"/>
                  </a:cubicBezTo>
                  <a:cubicBezTo>
                    <a:pt x="5216" y="2886"/>
                    <a:pt x="5224" y="2886"/>
                    <a:pt x="5224" y="2894"/>
                  </a:cubicBezTo>
                  <a:cubicBezTo>
                    <a:pt x="5232" y="2909"/>
                    <a:pt x="5232" y="2925"/>
                    <a:pt x="5232" y="2933"/>
                  </a:cubicBezTo>
                  <a:cubicBezTo>
                    <a:pt x="5224" y="2933"/>
                    <a:pt x="5224" y="2933"/>
                    <a:pt x="5216" y="2933"/>
                  </a:cubicBezTo>
                  <a:cubicBezTo>
                    <a:pt x="5216" y="2933"/>
                    <a:pt x="5208" y="2957"/>
                    <a:pt x="5201" y="2973"/>
                  </a:cubicBezTo>
                  <a:cubicBezTo>
                    <a:pt x="5201" y="2973"/>
                    <a:pt x="5201" y="2973"/>
                    <a:pt x="5201" y="2980"/>
                  </a:cubicBezTo>
                  <a:cubicBezTo>
                    <a:pt x="5201" y="2988"/>
                    <a:pt x="5208" y="2996"/>
                    <a:pt x="5216" y="3012"/>
                  </a:cubicBezTo>
                  <a:cubicBezTo>
                    <a:pt x="5216" y="3020"/>
                    <a:pt x="5216" y="3020"/>
                    <a:pt x="5224" y="3028"/>
                  </a:cubicBezTo>
                  <a:cubicBezTo>
                    <a:pt x="5232" y="3044"/>
                    <a:pt x="5232" y="3060"/>
                    <a:pt x="5232" y="3075"/>
                  </a:cubicBezTo>
                  <a:cubicBezTo>
                    <a:pt x="5232" y="3083"/>
                    <a:pt x="5232" y="3083"/>
                    <a:pt x="5232" y="3091"/>
                  </a:cubicBezTo>
                  <a:cubicBezTo>
                    <a:pt x="5232" y="3099"/>
                    <a:pt x="5224" y="3107"/>
                    <a:pt x="5216" y="3107"/>
                  </a:cubicBezTo>
                  <a:lnTo>
                    <a:pt x="5208" y="3115"/>
                  </a:lnTo>
                  <a:cubicBezTo>
                    <a:pt x="5201" y="3123"/>
                    <a:pt x="5201" y="3131"/>
                    <a:pt x="5201" y="3138"/>
                  </a:cubicBezTo>
                  <a:cubicBezTo>
                    <a:pt x="5201" y="3154"/>
                    <a:pt x="5193" y="3170"/>
                    <a:pt x="5185" y="3178"/>
                  </a:cubicBezTo>
                  <a:cubicBezTo>
                    <a:pt x="5161" y="3202"/>
                    <a:pt x="5153" y="3210"/>
                    <a:pt x="5145" y="3225"/>
                  </a:cubicBezTo>
                  <a:cubicBezTo>
                    <a:pt x="5137" y="3241"/>
                    <a:pt x="5145" y="3241"/>
                    <a:pt x="5153" y="3249"/>
                  </a:cubicBezTo>
                  <a:lnTo>
                    <a:pt x="5153" y="3249"/>
                  </a:lnTo>
                  <a:cubicBezTo>
                    <a:pt x="5169" y="3257"/>
                    <a:pt x="5177" y="3273"/>
                    <a:pt x="5177" y="3273"/>
                  </a:cubicBezTo>
                  <a:cubicBezTo>
                    <a:pt x="5177" y="3281"/>
                    <a:pt x="5177" y="3281"/>
                    <a:pt x="5177" y="3281"/>
                  </a:cubicBezTo>
                  <a:cubicBezTo>
                    <a:pt x="5169" y="3281"/>
                    <a:pt x="5169" y="3281"/>
                    <a:pt x="5169" y="3281"/>
                  </a:cubicBezTo>
                  <a:cubicBezTo>
                    <a:pt x="5169" y="3281"/>
                    <a:pt x="5169" y="3281"/>
                    <a:pt x="5161" y="3281"/>
                  </a:cubicBezTo>
                  <a:cubicBezTo>
                    <a:pt x="5145" y="3281"/>
                    <a:pt x="5114" y="3297"/>
                    <a:pt x="5074" y="3313"/>
                  </a:cubicBezTo>
                  <a:cubicBezTo>
                    <a:pt x="5034" y="3328"/>
                    <a:pt x="5003" y="3336"/>
                    <a:pt x="4979" y="3344"/>
                  </a:cubicBezTo>
                  <a:cubicBezTo>
                    <a:pt x="4963" y="3344"/>
                    <a:pt x="4948" y="3360"/>
                    <a:pt x="4924" y="3368"/>
                  </a:cubicBezTo>
                  <a:cubicBezTo>
                    <a:pt x="4908" y="3384"/>
                    <a:pt x="4892" y="3391"/>
                    <a:pt x="4868" y="3407"/>
                  </a:cubicBezTo>
                  <a:cubicBezTo>
                    <a:pt x="4813" y="3431"/>
                    <a:pt x="4797" y="3463"/>
                    <a:pt x="4790" y="3486"/>
                  </a:cubicBezTo>
                  <a:lnTo>
                    <a:pt x="4790" y="3486"/>
                  </a:lnTo>
                  <a:cubicBezTo>
                    <a:pt x="4781" y="3502"/>
                    <a:pt x="4742" y="3534"/>
                    <a:pt x="4703" y="3550"/>
                  </a:cubicBezTo>
                  <a:cubicBezTo>
                    <a:pt x="4695" y="3557"/>
                    <a:pt x="4687" y="3557"/>
                    <a:pt x="4679" y="3557"/>
                  </a:cubicBezTo>
                  <a:lnTo>
                    <a:pt x="4679" y="3557"/>
                  </a:lnTo>
                  <a:cubicBezTo>
                    <a:pt x="4671" y="3550"/>
                    <a:pt x="4671" y="3550"/>
                    <a:pt x="4679" y="3542"/>
                  </a:cubicBezTo>
                  <a:lnTo>
                    <a:pt x="4679" y="3534"/>
                  </a:lnTo>
                  <a:cubicBezTo>
                    <a:pt x="4679" y="3526"/>
                    <a:pt x="4695" y="3518"/>
                    <a:pt x="4710" y="3510"/>
                  </a:cubicBezTo>
                  <a:cubicBezTo>
                    <a:pt x="4718" y="3502"/>
                    <a:pt x="4726" y="3494"/>
                    <a:pt x="4734" y="3494"/>
                  </a:cubicBezTo>
                  <a:cubicBezTo>
                    <a:pt x="4758" y="3478"/>
                    <a:pt x="4766" y="3463"/>
                    <a:pt x="4774" y="3455"/>
                  </a:cubicBezTo>
                  <a:cubicBezTo>
                    <a:pt x="4781" y="3439"/>
                    <a:pt x="4813" y="3391"/>
                    <a:pt x="4837" y="3384"/>
                  </a:cubicBezTo>
                  <a:lnTo>
                    <a:pt x="4837" y="3384"/>
                  </a:lnTo>
                  <a:lnTo>
                    <a:pt x="4829" y="3384"/>
                  </a:lnTo>
                  <a:cubicBezTo>
                    <a:pt x="4821" y="3384"/>
                    <a:pt x="4821" y="3384"/>
                    <a:pt x="4813" y="3384"/>
                  </a:cubicBezTo>
                  <a:cubicBezTo>
                    <a:pt x="4805" y="3384"/>
                    <a:pt x="4805" y="3384"/>
                    <a:pt x="4797" y="3384"/>
                  </a:cubicBezTo>
                  <a:cubicBezTo>
                    <a:pt x="4790" y="3384"/>
                    <a:pt x="4790" y="3384"/>
                    <a:pt x="4790" y="3376"/>
                  </a:cubicBezTo>
                  <a:cubicBezTo>
                    <a:pt x="4790" y="3368"/>
                    <a:pt x="4781" y="3368"/>
                    <a:pt x="4781" y="3360"/>
                  </a:cubicBezTo>
                  <a:cubicBezTo>
                    <a:pt x="4774" y="3352"/>
                    <a:pt x="4790" y="3344"/>
                    <a:pt x="4790" y="3344"/>
                  </a:cubicBezTo>
                  <a:cubicBezTo>
                    <a:pt x="4790" y="3336"/>
                    <a:pt x="4797" y="3336"/>
                    <a:pt x="4797" y="3336"/>
                  </a:cubicBezTo>
                  <a:cubicBezTo>
                    <a:pt x="4790" y="3336"/>
                    <a:pt x="4790" y="3328"/>
                    <a:pt x="4797" y="3320"/>
                  </a:cubicBezTo>
                  <a:cubicBezTo>
                    <a:pt x="4797" y="3313"/>
                    <a:pt x="4805" y="3304"/>
                    <a:pt x="4813" y="3297"/>
                  </a:cubicBezTo>
                  <a:cubicBezTo>
                    <a:pt x="4821" y="3297"/>
                    <a:pt x="4821" y="3297"/>
                    <a:pt x="4821" y="3289"/>
                  </a:cubicBezTo>
                  <a:cubicBezTo>
                    <a:pt x="4821" y="3289"/>
                    <a:pt x="4813" y="3281"/>
                    <a:pt x="4805" y="3273"/>
                  </a:cubicBezTo>
                  <a:lnTo>
                    <a:pt x="4797" y="3265"/>
                  </a:lnTo>
                  <a:lnTo>
                    <a:pt x="4797" y="3265"/>
                  </a:lnTo>
                  <a:cubicBezTo>
                    <a:pt x="4790" y="3265"/>
                    <a:pt x="4781" y="3265"/>
                    <a:pt x="4774" y="3273"/>
                  </a:cubicBezTo>
                  <a:cubicBezTo>
                    <a:pt x="4766" y="3281"/>
                    <a:pt x="4766" y="3289"/>
                    <a:pt x="4766" y="3297"/>
                  </a:cubicBezTo>
                  <a:cubicBezTo>
                    <a:pt x="4758" y="3297"/>
                    <a:pt x="4758" y="3304"/>
                    <a:pt x="4750" y="3313"/>
                  </a:cubicBezTo>
                  <a:cubicBezTo>
                    <a:pt x="4742" y="3320"/>
                    <a:pt x="4742" y="3320"/>
                    <a:pt x="4734" y="3320"/>
                  </a:cubicBezTo>
                  <a:cubicBezTo>
                    <a:pt x="4726" y="3320"/>
                    <a:pt x="4718" y="3313"/>
                    <a:pt x="4710" y="3304"/>
                  </a:cubicBezTo>
                  <a:cubicBezTo>
                    <a:pt x="4703" y="3304"/>
                    <a:pt x="4695" y="3297"/>
                    <a:pt x="4695" y="3297"/>
                  </a:cubicBezTo>
                  <a:lnTo>
                    <a:pt x="4687" y="3297"/>
                  </a:lnTo>
                  <a:lnTo>
                    <a:pt x="4687" y="3304"/>
                  </a:lnTo>
                  <a:cubicBezTo>
                    <a:pt x="4687" y="3313"/>
                    <a:pt x="4695" y="3320"/>
                    <a:pt x="4687" y="3328"/>
                  </a:cubicBezTo>
                  <a:cubicBezTo>
                    <a:pt x="4687" y="3336"/>
                    <a:pt x="4695" y="3344"/>
                    <a:pt x="4695" y="3344"/>
                  </a:cubicBezTo>
                  <a:cubicBezTo>
                    <a:pt x="4703" y="3352"/>
                    <a:pt x="4703" y="3352"/>
                    <a:pt x="4710" y="3368"/>
                  </a:cubicBezTo>
                  <a:cubicBezTo>
                    <a:pt x="4718" y="3376"/>
                    <a:pt x="4718" y="3384"/>
                    <a:pt x="4718" y="3384"/>
                  </a:cubicBezTo>
                  <a:cubicBezTo>
                    <a:pt x="4726" y="3391"/>
                    <a:pt x="4726" y="3400"/>
                    <a:pt x="4734" y="3407"/>
                  </a:cubicBezTo>
                  <a:cubicBezTo>
                    <a:pt x="4758" y="3431"/>
                    <a:pt x="4742" y="3471"/>
                    <a:pt x="4734" y="3478"/>
                  </a:cubicBezTo>
                  <a:cubicBezTo>
                    <a:pt x="4726" y="3486"/>
                    <a:pt x="4695" y="3518"/>
                    <a:pt x="4663" y="3534"/>
                  </a:cubicBezTo>
                  <a:cubicBezTo>
                    <a:pt x="4647" y="3534"/>
                    <a:pt x="4647" y="3542"/>
                    <a:pt x="4647" y="3557"/>
                  </a:cubicBezTo>
                  <a:cubicBezTo>
                    <a:pt x="4639" y="3565"/>
                    <a:pt x="4639" y="3581"/>
                    <a:pt x="4631" y="3605"/>
                  </a:cubicBezTo>
                  <a:cubicBezTo>
                    <a:pt x="4608" y="3637"/>
                    <a:pt x="4537" y="3684"/>
                    <a:pt x="4489" y="3716"/>
                  </a:cubicBezTo>
                  <a:cubicBezTo>
                    <a:pt x="4473" y="3724"/>
                    <a:pt x="4465" y="3731"/>
                    <a:pt x="4457" y="3739"/>
                  </a:cubicBezTo>
                  <a:cubicBezTo>
                    <a:pt x="4442" y="3755"/>
                    <a:pt x="4410" y="3755"/>
                    <a:pt x="4386" y="3763"/>
                  </a:cubicBezTo>
                  <a:lnTo>
                    <a:pt x="4386" y="3763"/>
                  </a:lnTo>
                  <a:cubicBezTo>
                    <a:pt x="4370" y="3763"/>
                    <a:pt x="4370" y="3763"/>
                    <a:pt x="4370" y="3763"/>
                  </a:cubicBezTo>
                  <a:cubicBezTo>
                    <a:pt x="4370" y="3771"/>
                    <a:pt x="4370" y="3771"/>
                    <a:pt x="4378" y="3779"/>
                  </a:cubicBezTo>
                  <a:cubicBezTo>
                    <a:pt x="4378" y="3779"/>
                    <a:pt x="4378" y="3779"/>
                    <a:pt x="4378" y="3787"/>
                  </a:cubicBezTo>
                  <a:cubicBezTo>
                    <a:pt x="4378" y="3803"/>
                    <a:pt x="4355" y="3811"/>
                    <a:pt x="4315" y="3834"/>
                  </a:cubicBezTo>
                  <a:cubicBezTo>
                    <a:pt x="4291" y="3842"/>
                    <a:pt x="4268" y="3858"/>
                    <a:pt x="4252" y="3866"/>
                  </a:cubicBezTo>
                  <a:cubicBezTo>
                    <a:pt x="4228" y="3882"/>
                    <a:pt x="4212" y="3890"/>
                    <a:pt x="4204" y="3890"/>
                  </a:cubicBezTo>
                  <a:lnTo>
                    <a:pt x="4204" y="3882"/>
                  </a:lnTo>
                  <a:cubicBezTo>
                    <a:pt x="4204" y="3874"/>
                    <a:pt x="4212" y="3842"/>
                    <a:pt x="4236" y="3834"/>
                  </a:cubicBezTo>
                  <a:cubicBezTo>
                    <a:pt x="4252" y="3834"/>
                    <a:pt x="4260" y="3826"/>
                    <a:pt x="4260" y="3818"/>
                  </a:cubicBezTo>
                  <a:cubicBezTo>
                    <a:pt x="4260" y="3826"/>
                    <a:pt x="4260" y="3818"/>
                    <a:pt x="4252" y="3818"/>
                  </a:cubicBezTo>
                  <a:lnTo>
                    <a:pt x="4252" y="3826"/>
                  </a:lnTo>
                  <a:cubicBezTo>
                    <a:pt x="4244" y="3826"/>
                    <a:pt x="4244" y="3826"/>
                    <a:pt x="4244" y="3826"/>
                  </a:cubicBezTo>
                  <a:cubicBezTo>
                    <a:pt x="4228" y="3826"/>
                    <a:pt x="4220" y="3818"/>
                    <a:pt x="4204" y="3811"/>
                  </a:cubicBezTo>
                  <a:cubicBezTo>
                    <a:pt x="4197" y="3803"/>
                    <a:pt x="4188" y="3803"/>
                    <a:pt x="4188" y="3795"/>
                  </a:cubicBezTo>
                  <a:cubicBezTo>
                    <a:pt x="4181" y="3795"/>
                    <a:pt x="4173" y="3795"/>
                    <a:pt x="4165" y="3795"/>
                  </a:cubicBezTo>
                  <a:cubicBezTo>
                    <a:pt x="4157" y="3795"/>
                    <a:pt x="4149" y="3795"/>
                    <a:pt x="4141" y="3811"/>
                  </a:cubicBezTo>
                  <a:cubicBezTo>
                    <a:pt x="4133" y="3818"/>
                    <a:pt x="4133" y="3826"/>
                    <a:pt x="4117" y="3826"/>
                  </a:cubicBezTo>
                  <a:cubicBezTo>
                    <a:pt x="4110" y="3826"/>
                    <a:pt x="4102" y="3818"/>
                    <a:pt x="4086" y="3811"/>
                  </a:cubicBezTo>
                  <a:lnTo>
                    <a:pt x="4078" y="3811"/>
                  </a:lnTo>
                  <a:cubicBezTo>
                    <a:pt x="4054" y="3803"/>
                    <a:pt x="4054" y="3787"/>
                    <a:pt x="4054" y="3779"/>
                  </a:cubicBezTo>
                  <a:cubicBezTo>
                    <a:pt x="4054" y="3771"/>
                    <a:pt x="4046" y="3771"/>
                    <a:pt x="4046" y="3771"/>
                  </a:cubicBezTo>
                  <a:lnTo>
                    <a:pt x="4046" y="3771"/>
                  </a:lnTo>
                  <a:cubicBezTo>
                    <a:pt x="4038" y="3779"/>
                    <a:pt x="4038" y="3779"/>
                    <a:pt x="4038" y="3779"/>
                  </a:cubicBezTo>
                  <a:cubicBezTo>
                    <a:pt x="4031" y="3787"/>
                    <a:pt x="4046" y="3811"/>
                    <a:pt x="4062" y="3826"/>
                  </a:cubicBezTo>
                  <a:cubicBezTo>
                    <a:pt x="4070" y="3834"/>
                    <a:pt x="4070" y="3834"/>
                    <a:pt x="4070" y="3842"/>
                  </a:cubicBezTo>
                  <a:cubicBezTo>
                    <a:pt x="4070" y="3850"/>
                    <a:pt x="4078" y="3858"/>
                    <a:pt x="4094" y="3866"/>
                  </a:cubicBezTo>
                  <a:cubicBezTo>
                    <a:pt x="4117" y="3874"/>
                    <a:pt x="4117" y="3890"/>
                    <a:pt x="4117" y="3897"/>
                  </a:cubicBezTo>
                  <a:cubicBezTo>
                    <a:pt x="4117" y="3905"/>
                    <a:pt x="4117" y="3913"/>
                    <a:pt x="4125" y="3913"/>
                  </a:cubicBezTo>
                  <a:cubicBezTo>
                    <a:pt x="4133" y="3913"/>
                    <a:pt x="4133" y="3921"/>
                    <a:pt x="4133" y="3921"/>
                  </a:cubicBezTo>
                  <a:cubicBezTo>
                    <a:pt x="4133" y="3937"/>
                    <a:pt x="4094" y="3961"/>
                    <a:pt x="4046" y="3992"/>
                  </a:cubicBezTo>
                  <a:cubicBezTo>
                    <a:pt x="4038" y="4000"/>
                    <a:pt x="4023" y="4008"/>
                    <a:pt x="4023" y="4008"/>
                  </a:cubicBezTo>
                  <a:cubicBezTo>
                    <a:pt x="4015" y="4016"/>
                    <a:pt x="4015" y="4016"/>
                    <a:pt x="4015" y="4016"/>
                  </a:cubicBezTo>
                  <a:cubicBezTo>
                    <a:pt x="4007" y="4024"/>
                    <a:pt x="3992" y="4032"/>
                    <a:pt x="3984" y="4032"/>
                  </a:cubicBezTo>
                  <a:cubicBezTo>
                    <a:pt x="3976" y="4032"/>
                    <a:pt x="3976" y="4032"/>
                    <a:pt x="3968" y="4024"/>
                  </a:cubicBezTo>
                  <a:cubicBezTo>
                    <a:pt x="3968" y="4016"/>
                    <a:pt x="3992" y="4000"/>
                    <a:pt x="4023" y="3969"/>
                  </a:cubicBezTo>
                  <a:cubicBezTo>
                    <a:pt x="4046" y="3953"/>
                    <a:pt x="4070" y="3937"/>
                    <a:pt x="4070" y="3929"/>
                  </a:cubicBezTo>
                  <a:cubicBezTo>
                    <a:pt x="4070" y="3921"/>
                    <a:pt x="4070" y="3921"/>
                    <a:pt x="4070" y="3921"/>
                  </a:cubicBezTo>
                  <a:cubicBezTo>
                    <a:pt x="4070" y="3929"/>
                    <a:pt x="4070" y="3929"/>
                    <a:pt x="4062" y="3929"/>
                  </a:cubicBezTo>
                  <a:cubicBezTo>
                    <a:pt x="4054" y="3937"/>
                    <a:pt x="4038" y="3953"/>
                    <a:pt x="4023" y="3953"/>
                  </a:cubicBezTo>
                  <a:cubicBezTo>
                    <a:pt x="4015" y="3953"/>
                    <a:pt x="4015" y="3953"/>
                    <a:pt x="4015" y="3953"/>
                  </a:cubicBezTo>
                  <a:cubicBezTo>
                    <a:pt x="4000" y="3953"/>
                    <a:pt x="4000" y="3945"/>
                    <a:pt x="3992" y="3937"/>
                  </a:cubicBezTo>
                  <a:cubicBezTo>
                    <a:pt x="3992" y="3929"/>
                    <a:pt x="3992" y="3921"/>
                    <a:pt x="3976" y="3905"/>
                  </a:cubicBezTo>
                  <a:cubicBezTo>
                    <a:pt x="3968" y="3897"/>
                    <a:pt x="3960" y="3897"/>
                    <a:pt x="3960" y="3897"/>
                  </a:cubicBezTo>
                  <a:cubicBezTo>
                    <a:pt x="3952" y="3897"/>
                    <a:pt x="3952" y="3905"/>
                    <a:pt x="3952" y="3913"/>
                  </a:cubicBezTo>
                  <a:cubicBezTo>
                    <a:pt x="3952" y="3921"/>
                    <a:pt x="3952" y="3921"/>
                    <a:pt x="3952" y="3921"/>
                  </a:cubicBezTo>
                  <a:cubicBezTo>
                    <a:pt x="3945" y="3937"/>
                    <a:pt x="3945" y="3937"/>
                    <a:pt x="3976" y="3945"/>
                  </a:cubicBezTo>
                  <a:lnTo>
                    <a:pt x="3984" y="3953"/>
                  </a:lnTo>
                  <a:cubicBezTo>
                    <a:pt x="3992" y="3977"/>
                    <a:pt x="3929" y="4032"/>
                    <a:pt x="3929" y="4032"/>
                  </a:cubicBezTo>
                  <a:cubicBezTo>
                    <a:pt x="3921" y="4032"/>
                    <a:pt x="3913" y="4040"/>
                    <a:pt x="3913" y="4040"/>
                  </a:cubicBezTo>
                  <a:cubicBezTo>
                    <a:pt x="3905" y="4040"/>
                    <a:pt x="3905" y="4032"/>
                    <a:pt x="3897" y="4024"/>
                  </a:cubicBezTo>
                  <a:cubicBezTo>
                    <a:pt x="3889" y="4024"/>
                    <a:pt x="3889" y="4024"/>
                    <a:pt x="3889" y="4016"/>
                  </a:cubicBezTo>
                  <a:cubicBezTo>
                    <a:pt x="3881" y="4016"/>
                    <a:pt x="3874" y="4016"/>
                    <a:pt x="3874" y="4016"/>
                  </a:cubicBezTo>
                  <a:cubicBezTo>
                    <a:pt x="3865" y="4016"/>
                    <a:pt x="3858" y="4016"/>
                    <a:pt x="3850" y="4016"/>
                  </a:cubicBezTo>
                  <a:cubicBezTo>
                    <a:pt x="3842" y="4024"/>
                    <a:pt x="3834" y="4024"/>
                    <a:pt x="3826" y="4024"/>
                  </a:cubicBezTo>
                  <a:cubicBezTo>
                    <a:pt x="3818" y="4024"/>
                    <a:pt x="3818" y="4024"/>
                    <a:pt x="3810" y="4032"/>
                  </a:cubicBezTo>
                  <a:cubicBezTo>
                    <a:pt x="3810" y="4040"/>
                    <a:pt x="3810" y="4048"/>
                    <a:pt x="3810" y="4064"/>
                  </a:cubicBezTo>
                  <a:cubicBezTo>
                    <a:pt x="3810" y="4071"/>
                    <a:pt x="3810" y="4071"/>
                    <a:pt x="3810" y="4071"/>
                  </a:cubicBezTo>
                  <a:cubicBezTo>
                    <a:pt x="3818" y="4071"/>
                    <a:pt x="3818" y="4064"/>
                    <a:pt x="3826" y="4064"/>
                  </a:cubicBezTo>
                  <a:cubicBezTo>
                    <a:pt x="3834" y="4055"/>
                    <a:pt x="3842" y="4048"/>
                    <a:pt x="3858" y="4048"/>
                  </a:cubicBezTo>
                  <a:cubicBezTo>
                    <a:pt x="3858" y="4048"/>
                    <a:pt x="3865" y="4048"/>
                    <a:pt x="3865" y="4055"/>
                  </a:cubicBezTo>
                  <a:cubicBezTo>
                    <a:pt x="3874" y="4064"/>
                    <a:pt x="3850" y="4087"/>
                    <a:pt x="3826" y="4127"/>
                  </a:cubicBezTo>
                  <a:cubicBezTo>
                    <a:pt x="3818" y="4142"/>
                    <a:pt x="3818" y="4150"/>
                    <a:pt x="3810" y="4158"/>
                  </a:cubicBezTo>
                  <a:lnTo>
                    <a:pt x="3802" y="4166"/>
                  </a:lnTo>
                  <a:cubicBezTo>
                    <a:pt x="3794" y="4182"/>
                    <a:pt x="3794" y="4182"/>
                    <a:pt x="3786" y="4182"/>
                  </a:cubicBezTo>
                  <a:lnTo>
                    <a:pt x="3778" y="4182"/>
                  </a:lnTo>
                  <a:lnTo>
                    <a:pt x="3778" y="4182"/>
                  </a:lnTo>
                  <a:cubicBezTo>
                    <a:pt x="3763" y="4182"/>
                    <a:pt x="3763" y="4174"/>
                    <a:pt x="3755" y="4166"/>
                  </a:cubicBezTo>
                  <a:cubicBezTo>
                    <a:pt x="3755" y="4158"/>
                    <a:pt x="3755" y="4158"/>
                    <a:pt x="3747" y="4150"/>
                  </a:cubicBezTo>
                  <a:lnTo>
                    <a:pt x="3739" y="4150"/>
                  </a:lnTo>
                  <a:cubicBezTo>
                    <a:pt x="3731" y="4150"/>
                    <a:pt x="3723" y="4150"/>
                    <a:pt x="3715" y="4150"/>
                  </a:cubicBezTo>
                  <a:cubicBezTo>
                    <a:pt x="3707" y="4150"/>
                    <a:pt x="3699" y="4150"/>
                    <a:pt x="3692" y="4150"/>
                  </a:cubicBezTo>
                  <a:cubicBezTo>
                    <a:pt x="3684" y="4150"/>
                    <a:pt x="3684" y="4158"/>
                    <a:pt x="3684" y="4158"/>
                  </a:cubicBezTo>
                  <a:lnTo>
                    <a:pt x="3684" y="4158"/>
                  </a:lnTo>
                  <a:cubicBezTo>
                    <a:pt x="3684" y="4166"/>
                    <a:pt x="3684" y="4174"/>
                    <a:pt x="3684" y="4182"/>
                  </a:cubicBezTo>
                  <a:cubicBezTo>
                    <a:pt x="3684" y="4190"/>
                    <a:pt x="3692" y="4190"/>
                    <a:pt x="3699" y="4198"/>
                  </a:cubicBezTo>
                  <a:cubicBezTo>
                    <a:pt x="3715" y="4198"/>
                    <a:pt x="3723" y="4206"/>
                    <a:pt x="3731" y="4214"/>
                  </a:cubicBezTo>
                  <a:cubicBezTo>
                    <a:pt x="3739" y="4214"/>
                    <a:pt x="3739" y="4214"/>
                    <a:pt x="3739" y="4214"/>
                  </a:cubicBezTo>
                  <a:cubicBezTo>
                    <a:pt x="3755" y="4230"/>
                    <a:pt x="3755" y="4230"/>
                    <a:pt x="3755" y="4245"/>
                  </a:cubicBezTo>
                  <a:cubicBezTo>
                    <a:pt x="3755" y="4253"/>
                    <a:pt x="3755" y="4261"/>
                    <a:pt x="3755" y="4261"/>
                  </a:cubicBezTo>
                  <a:cubicBezTo>
                    <a:pt x="3755" y="4277"/>
                    <a:pt x="3755" y="4285"/>
                    <a:pt x="3755" y="4285"/>
                  </a:cubicBezTo>
                  <a:cubicBezTo>
                    <a:pt x="3755" y="4293"/>
                    <a:pt x="3755" y="4293"/>
                    <a:pt x="3763" y="4293"/>
                  </a:cubicBezTo>
                  <a:lnTo>
                    <a:pt x="3763" y="4285"/>
                  </a:lnTo>
                  <a:cubicBezTo>
                    <a:pt x="3771" y="4285"/>
                    <a:pt x="3778" y="4261"/>
                    <a:pt x="3778" y="4237"/>
                  </a:cubicBezTo>
                  <a:cubicBezTo>
                    <a:pt x="3778" y="4222"/>
                    <a:pt x="3786" y="4214"/>
                    <a:pt x="3802" y="4198"/>
                  </a:cubicBezTo>
                  <a:lnTo>
                    <a:pt x="3810" y="4190"/>
                  </a:lnTo>
                  <a:cubicBezTo>
                    <a:pt x="3818" y="4182"/>
                    <a:pt x="3818" y="4182"/>
                    <a:pt x="3826" y="4182"/>
                  </a:cubicBezTo>
                  <a:lnTo>
                    <a:pt x="3834" y="4182"/>
                  </a:lnTo>
                  <a:cubicBezTo>
                    <a:pt x="3834" y="4190"/>
                    <a:pt x="3834" y="4214"/>
                    <a:pt x="3826" y="4230"/>
                  </a:cubicBezTo>
                  <a:cubicBezTo>
                    <a:pt x="3810" y="4253"/>
                    <a:pt x="3747" y="4372"/>
                    <a:pt x="3747" y="4395"/>
                  </a:cubicBezTo>
                  <a:cubicBezTo>
                    <a:pt x="3747" y="4403"/>
                    <a:pt x="3747" y="4411"/>
                    <a:pt x="3747" y="4411"/>
                  </a:cubicBezTo>
                  <a:cubicBezTo>
                    <a:pt x="3747" y="4427"/>
                    <a:pt x="3739" y="4435"/>
                    <a:pt x="3723" y="4443"/>
                  </a:cubicBezTo>
                  <a:lnTo>
                    <a:pt x="3715" y="4435"/>
                  </a:lnTo>
                  <a:cubicBezTo>
                    <a:pt x="3715" y="4435"/>
                    <a:pt x="3715" y="4427"/>
                    <a:pt x="3715" y="4411"/>
                  </a:cubicBezTo>
                  <a:cubicBezTo>
                    <a:pt x="3715" y="4403"/>
                    <a:pt x="3723" y="4395"/>
                    <a:pt x="3715" y="4395"/>
                  </a:cubicBezTo>
                  <a:lnTo>
                    <a:pt x="3715" y="4395"/>
                  </a:lnTo>
                  <a:lnTo>
                    <a:pt x="3715" y="4395"/>
                  </a:lnTo>
                  <a:cubicBezTo>
                    <a:pt x="3715" y="4403"/>
                    <a:pt x="3707" y="4411"/>
                    <a:pt x="3699" y="4419"/>
                  </a:cubicBezTo>
                  <a:cubicBezTo>
                    <a:pt x="3692" y="4419"/>
                    <a:pt x="3692" y="4427"/>
                    <a:pt x="3684" y="4427"/>
                  </a:cubicBezTo>
                  <a:cubicBezTo>
                    <a:pt x="3676" y="4427"/>
                    <a:pt x="3676" y="4419"/>
                    <a:pt x="3668" y="4419"/>
                  </a:cubicBezTo>
                  <a:cubicBezTo>
                    <a:pt x="3660" y="4419"/>
                    <a:pt x="3660" y="4419"/>
                    <a:pt x="3660" y="4411"/>
                  </a:cubicBezTo>
                  <a:cubicBezTo>
                    <a:pt x="3644" y="4411"/>
                    <a:pt x="3628" y="4403"/>
                    <a:pt x="3605" y="4403"/>
                  </a:cubicBezTo>
                  <a:cubicBezTo>
                    <a:pt x="3597" y="4403"/>
                    <a:pt x="3589" y="4403"/>
                    <a:pt x="3581" y="4411"/>
                  </a:cubicBezTo>
                  <a:lnTo>
                    <a:pt x="3581" y="4411"/>
                  </a:lnTo>
                  <a:cubicBezTo>
                    <a:pt x="3581" y="4419"/>
                    <a:pt x="3581" y="4419"/>
                    <a:pt x="3589" y="4427"/>
                  </a:cubicBezTo>
                  <a:cubicBezTo>
                    <a:pt x="3597" y="4427"/>
                    <a:pt x="3597" y="4435"/>
                    <a:pt x="3605" y="4435"/>
                  </a:cubicBezTo>
                  <a:cubicBezTo>
                    <a:pt x="3612" y="4443"/>
                    <a:pt x="3612" y="4443"/>
                    <a:pt x="3621" y="4443"/>
                  </a:cubicBezTo>
                  <a:cubicBezTo>
                    <a:pt x="3621" y="4443"/>
                    <a:pt x="3628" y="4443"/>
                    <a:pt x="3636" y="4443"/>
                  </a:cubicBezTo>
                  <a:cubicBezTo>
                    <a:pt x="3636" y="4443"/>
                    <a:pt x="3644" y="4435"/>
                    <a:pt x="3652" y="4435"/>
                  </a:cubicBezTo>
                  <a:cubicBezTo>
                    <a:pt x="3684" y="4435"/>
                    <a:pt x="3692" y="4443"/>
                    <a:pt x="3699" y="4459"/>
                  </a:cubicBezTo>
                  <a:cubicBezTo>
                    <a:pt x="3707" y="4475"/>
                    <a:pt x="3715" y="4475"/>
                    <a:pt x="3715" y="4490"/>
                  </a:cubicBezTo>
                  <a:cubicBezTo>
                    <a:pt x="3715" y="4490"/>
                    <a:pt x="3715" y="4498"/>
                    <a:pt x="3715" y="4506"/>
                  </a:cubicBezTo>
                  <a:cubicBezTo>
                    <a:pt x="3715" y="4514"/>
                    <a:pt x="3723" y="4514"/>
                    <a:pt x="3723" y="4522"/>
                  </a:cubicBezTo>
                  <a:cubicBezTo>
                    <a:pt x="3723" y="4538"/>
                    <a:pt x="3731" y="4554"/>
                    <a:pt x="3731" y="4585"/>
                  </a:cubicBezTo>
                  <a:cubicBezTo>
                    <a:pt x="3731" y="4617"/>
                    <a:pt x="3739" y="4633"/>
                    <a:pt x="3747" y="4672"/>
                  </a:cubicBezTo>
                  <a:cubicBezTo>
                    <a:pt x="3755" y="4680"/>
                    <a:pt x="3755" y="4696"/>
                    <a:pt x="3763" y="4720"/>
                  </a:cubicBezTo>
                  <a:cubicBezTo>
                    <a:pt x="3778" y="4759"/>
                    <a:pt x="3786" y="4807"/>
                    <a:pt x="3794" y="4838"/>
                  </a:cubicBezTo>
                  <a:cubicBezTo>
                    <a:pt x="3794" y="4862"/>
                    <a:pt x="3802" y="4878"/>
                    <a:pt x="3802" y="4894"/>
                  </a:cubicBezTo>
                  <a:cubicBezTo>
                    <a:pt x="3810" y="4925"/>
                    <a:pt x="3810" y="4933"/>
                    <a:pt x="3802" y="4949"/>
                  </a:cubicBezTo>
                  <a:lnTo>
                    <a:pt x="3802" y="4949"/>
                  </a:lnTo>
                  <a:cubicBezTo>
                    <a:pt x="3802" y="4957"/>
                    <a:pt x="3794" y="4957"/>
                    <a:pt x="3794" y="4957"/>
                  </a:cubicBezTo>
                  <a:lnTo>
                    <a:pt x="3794" y="4957"/>
                  </a:lnTo>
                  <a:cubicBezTo>
                    <a:pt x="3786" y="4949"/>
                    <a:pt x="3778" y="4909"/>
                    <a:pt x="3778" y="4886"/>
                  </a:cubicBezTo>
                  <a:cubicBezTo>
                    <a:pt x="3778" y="4870"/>
                    <a:pt x="3747" y="4775"/>
                    <a:pt x="3731" y="4759"/>
                  </a:cubicBezTo>
                  <a:cubicBezTo>
                    <a:pt x="3715" y="4735"/>
                    <a:pt x="3699" y="4601"/>
                    <a:pt x="3699" y="4561"/>
                  </a:cubicBezTo>
                  <a:cubicBezTo>
                    <a:pt x="3699" y="4538"/>
                    <a:pt x="3699" y="4522"/>
                    <a:pt x="3692" y="4514"/>
                  </a:cubicBezTo>
                  <a:cubicBezTo>
                    <a:pt x="3692" y="4530"/>
                    <a:pt x="3684" y="4554"/>
                    <a:pt x="3660" y="4561"/>
                  </a:cubicBezTo>
                  <a:cubicBezTo>
                    <a:pt x="3636" y="4570"/>
                    <a:pt x="3636" y="4577"/>
                    <a:pt x="3644" y="4601"/>
                  </a:cubicBezTo>
                  <a:cubicBezTo>
                    <a:pt x="3644" y="4609"/>
                    <a:pt x="3652" y="4609"/>
                    <a:pt x="3652" y="4617"/>
                  </a:cubicBezTo>
                  <a:cubicBezTo>
                    <a:pt x="3660" y="4625"/>
                    <a:pt x="3668" y="4625"/>
                    <a:pt x="3660" y="4641"/>
                  </a:cubicBezTo>
                  <a:cubicBezTo>
                    <a:pt x="3660" y="4656"/>
                    <a:pt x="3668" y="4664"/>
                    <a:pt x="3684" y="4680"/>
                  </a:cubicBezTo>
                  <a:cubicBezTo>
                    <a:pt x="3684" y="4688"/>
                    <a:pt x="3692" y="4696"/>
                    <a:pt x="3692" y="4704"/>
                  </a:cubicBezTo>
                  <a:cubicBezTo>
                    <a:pt x="3707" y="4720"/>
                    <a:pt x="3707" y="4743"/>
                    <a:pt x="3699" y="4767"/>
                  </a:cubicBezTo>
                  <a:cubicBezTo>
                    <a:pt x="3699" y="4783"/>
                    <a:pt x="3699" y="4799"/>
                    <a:pt x="3699" y="4822"/>
                  </a:cubicBezTo>
                  <a:cubicBezTo>
                    <a:pt x="3699" y="4846"/>
                    <a:pt x="3707" y="4854"/>
                    <a:pt x="3715" y="4862"/>
                  </a:cubicBezTo>
                  <a:cubicBezTo>
                    <a:pt x="3723" y="4878"/>
                    <a:pt x="3731" y="4886"/>
                    <a:pt x="3739" y="4909"/>
                  </a:cubicBezTo>
                  <a:cubicBezTo>
                    <a:pt x="3739" y="4941"/>
                    <a:pt x="3747" y="4949"/>
                    <a:pt x="3755" y="4957"/>
                  </a:cubicBezTo>
                  <a:cubicBezTo>
                    <a:pt x="3755" y="4965"/>
                    <a:pt x="3763" y="4972"/>
                    <a:pt x="3771" y="4981"/>
                  </a:cubicBezTo>
                  <a:cubicBezTo>
                    <a:pt x="3778" y="5004"/>
                    <a:pt x="3778" y="5012"/>
                    <a:pt x="3771" y="5020"/>
                  </a:cubicBezTo>
                  <a:cubicBezTo>
                    <a:pt x="3771" y="5028"/>
                    <a:pt x="3763" y="5028"/>
                    <a:pt x="3771" y="5036"/>
                  </a:cubicBezTo>
                  <a:lnTo>
                    <a:pt x="3771" y="5036"/>
                  </a:lnTo>
                  <a:cubicBezTo>
                    <a:pt x="3771" y="5036"/>
                    <a:pt x="3771" y="5036"/>
                    <a:pt x="3778" y="5028"/>
                  </a:cubicBezTo>
                  <a:cubicBezTo>
                    <a:pt x="3778" y="5028"/>
                    <a:pt x="3778" y="5020"/>
                    <a:pt x="3786" y="5012"/>
                  </a:cubicBezTo>
                  <a:lnTo>
                    <a:pt x="3786" y="5012"/>
                  </a:lnTo>
                  <a:cubicBezTo>
                    <a:pt x="3786" y="5004"/>
                    <a:pt x="3794" y="5004"/>
                    <a:pt x="3794" y="5004"/>
                  </a:cubicBezTo>
                  <a:cubicBezTo>
                    <a:pt x="3802" y="5004"/>
                    <a:pt x="3810" y="5012"/>
                    <a:pt x="3818" y="5044"/>
                  </a:cubicBezTo>
                  <a:cubicBezTo>
                    <a:pt x="3818" y="5044"/>
                    <a:pt x="3818" y="5044"/>
                    <a:pt x="3818" y="5052"/>
                  </a:cubicBezTo>
                  <a:cubicBezTo>
                    <a:pt x="3818" y="5060"/>
                    <a:pt x="3818" y="5060"/>
                    <a:pt x="3818" y="5060"/>
                  </a:cubicBezTo>
                  <a:cubicBezTo>
                    <a:pt x="3810" y="5052"/>
                    <a:pt x="3810" y="5052"/>
                    <a:pt x="3810" y="5052"/>
                  </a:cubicBezTo>
                  <a:cubicBezTo>
                    <a:pt x="3810" y="5052"/>
                    <a:pt x="3802" y="5052"/>
                    <a:pt x="3794" y="5052"/>
                  </a:cubicBezTo>
                  <a:lnTo>
                    <a:pt x="3794" y="5052"/>
                  </a:lnTo>
                  <a:cubicBezTo>
                    <a:pt x="3786" y="5060"/>
                    <a:pt x="3763" y="5075"/>
                    <a:pt x="3755" y="5083"/>
                  </a:cubicBezTo>
                  <a:cubicBezTo>
                    <a:pt x="3755" y="5083"/>
                    <a:pt x="3755" y="5091"/>
                    <a:pt x="3755" y="5099"/>
                  </a:cubicBezTo>
                  <a:cubicBezTo>
                    <a:pt x="3747" y="5107"/>
                    <a:pt x="3739" y="5115"/>
                    <a:pt x="3731" y="5123"/>
                  </a:cubicBezTo>
                  <a:cubicBezTo>
                    <a:pt x="3723" y="5123"/>
                    <a:pt x="3715" y="5123"/>
                    <a:pt x="3715" y="5123"/>
                  </a:cubicBezTo>
                  <a:close/>
                  <a:moveTo>
                    <a:pt x="3518" y="4972"/>
                  </a:moveTo>
                  <a:lnTo>
                    <a:pt x="3518" y="4972"/>
                  </a:lnTo>
                  <a:cubicBezTo>
                    <a:pt x="3541" y="4972"/>
                    <a:pt x="3565" y="4988"/>
                    <a:pt x="3589" y="5004"/>
                  </a:cubicBezTo>
                  <a:cubicBezTo>
                    <a:pt x="3597" y="5012"/>
                    <a:pt x="3612" y="5020"/>
                    <a:pt x="3621" y="5020"/>
                  </a:cubicBezTo>
                  <a:cubicBezTo>
                    <a:pt x="3644" y="5036"/>
                    <a:pt x="3660" y="5060"/>
                    <a:pt x="3676" y="5075"/>
                  </a:cubicBezTo>
                  <a:cubicBezTo>
                    <a:pt x="3684" y="5083"/>
                    <a:pt x="3684" y="5083"/>
                    <a:pt x="3692" y="5091"/>
                  </a:cubicBezTo>
                  <a:cubicBezTo>
                    <a:pt x="3699" y="5099"/>
                    <a:pt x="3699" y="5107"/>
                    <a:pt x="3707" y="5107"/>
                  </a:cubicBezTo>
                  <a:cubicBezTo>
                    <a:pt x="3707" y="5115"/>
                    <a:pt x="3707" y="5115"/>
                    <a:pt x="3715" y="5115"/>
                  </a:cubicBezTo>
                  <a:lnTo>
                    <a:pt x="3723" y="5115"/>
                  </a:lnTo>
                  <a:cubicBezTo>
                    <a:pt x="3739" y="5107"/>
                    <a:pt x="3739" y="5107"/>
                    <a:pt x="3747" y="5099"/>
                  </a:cubicBezTo>
                  <a:cubicBezTo>
                    <a:pt x="3747" y="5091"/>
                    <a:pt x="3747" y="5083"/>
                    <a:pt x="3747" y="5083"/>
                  </a:cubicBezTo>
                  <a:cubicBezTo>
                    <a:pt x="3747" y="5075"/>
                    <a:pt x="3747" y="5075"/>
                    <a:pt x="3747" y="5075"/>
                  </a:cubicBezTo>
                  <a:lnTo>
                    <a:pt x="3747" y="5075"/>
                  </a:lnTo>
                  <a:cubicBezTo>
                    <a:pt x="3755" y="5075"/>
                    <a:pt x="3778" y="5060"/>
                    <a:pt x="3786" y="5052"/>
                  </a:cubicBezTo>
                  <a:cubicBezTo>
                    <a:pt x="3786" y="5044"/>
                    <a:pt x="3794" y="5044"/>
                    <a:pt x="3794" y="5044"/>
                  </a:cubicBezTo>
                  <a:cubicBezTo>
                    <a:pt x="3802" y="5044"/>
                    <a:pt x="3802" y="5044"/>
                    <a:pt x="3810" y="5044"/>
                  </a:cubicBezTo>
                  <a:cubicBezTo>
                    <a:pt x="3802" y="5012"/>
                    <a:pt x="3794" y="5012"/>
                    <a:pt x="3794" y="5012"/>
                  </a:cubicBezTo>
                  <a:lnTo>
                    <a:pt x="3794" y="5012"/>
                  </a:lnTo>
                  <a:cubicBezTo>
                    <a:pt x="3786" y="5020"/>
                    <a:pt x="3786" y="5020"/>
                    <a:pt x="3786" y="5020"/>
                  </a:cubicBezTo>
                  <a:cubicBezTo>
                    <a:pt x="3786" y="5020"/>
                    <a:pt x="3786" y="5028"/>
                    <a:pt x="3778" y="5036"/>
                  </a:cubicBezTo>
                  <a:cubicBezTo>
                    <a:pt x="3778" y="5044"/>
                    <a:pt x="3778" y="5044"/>
                    <a:pt x="3771" y="5044"/>
                  </a:cubicBezTo>
                  <a:cubicBezTo>
                    <a:pt x="3771" y="5044"/>
                    <a:pt x="3763" y="5044"/>
                    <a:pt x="3763" y="5036"/>
                  </a:cubicBezTo>
                  <a:cubicBezTo>
                    <a:pt x="3755" y="5028"/>
                    <a:pt x="3763" y="5028"/>
                    <a:pt x="3763" y="5020"/>
                  </a:cubicBezTo>
                  <a:cubicBezTo>
                    <a:pt x="3771" y="5012"/>
                    <a:pt x="3771" y="5004"/>
                    <a:pt x="3763" y="4981"/>
                  </a:cubicBezTo>
                  <a:cubicBezTo>
                    <a:pt x="3755" y="4972"/>
                    <a:pt x="3755" y="4972"/>
                    <a:pt x="3747" y="4965"/>
                  </a:cubicBezTo>
                  <a:cubicBezTo>
                    <a:pt x="3739" y="4949"/>
                    <a:pt x="3731" y="4949"/>
                    <a:pt x="3731" y="4909"/>
                  </a:cubicBezTo>
                  <a:cubicBezTo>
                    <a:pt x="3723" y="4886"/>
                    <a:pt x="3715" y="4878"/>
                    <a:pt x="3707" y="4870"/>
                  </a:cubicBezTo>
                  <a:cubicBezTo>
                    <a:pt x="3699" y="4862"/>
                    <a:pt x="3692" y="4854"/>
                    <a:pt x="3692" y="4822"/>
                  </a:cubicBezTo>
                  <a:cubicBezTo>
                    <a:pt x="3692" y="4799"/>
                    <a:pt x="3692" y="4783"/>
                    <a:pt x="3692" y="4767"/>
                  </a:cubicBezTo>
                  <a:cubicBezTo>
                    <a:pt x="3699" y="4743"/>
                    <a:pt x="3699" y="4728"/>
                    <a:pt x="3692" y="4704"/>
                  </a:cubicBezTo>
                  <a:cubicBezTo>
                    <a:pt x="3684" y="4704"/>
                    <a:pt x="3676" y="4696"/>
                    <a:pt x="3676" y="4688"/>
                  </a:cubicBezTo>
                  <a:cubicBezTo>
                    <a:pt x="3660" y="4672"/>
                    <a:pt x="3652" y="4656"/>
                    <a:pt x="3652" y="4641"/>
                  </a:cubicBezTo>
                  <a:cubicBezTo>
                    <a:pt x="3660" y="4625"/>
                    <a:pt x="3652" y="4625"/>
                    <a:pt x="3652" y="4617"/>
                  </a:cubicBezTo>
                  <a:cubicBezTo>
                    <a:pt x="3644" y="4617"/>
                    <a:pt x="3644" y="4609"/>
                    <a:pt x="3636" y="4601"/>
                  </a:cubicBezTo>
                  <a:cubicBezTo>
                    <a:pt x="3628" y="4577"/>
                    <a:pt x="3628" y="4570"/>
                    <a:pt x="3660" y="4554"/>
                  </a:cubicBezTo>
                  <a:cubicBezTo>
                    <a:pt x="3684" y="4546"/>
                    <a:pt x="3684" y="4530"/>
                    <a:pt x="3684" y="4514"/>
                  </a:cubicBezTo>
                  <a:lnTo>
                    <a:pt x="3684" y="4506"/>
                  </a:lnTo>
                  <a:cubicBezTo>
                    <a:pt x="3684" y="4506"/>
                    <a:pt x="3684" y="4506"/>
                    <a:pt x="3692" y="4506"/>
                  </a:cubicBezTo>
                  <a:cubicBezTo>
                    <a:pt x="3699" y="4506"/>
                    <a:pt x="3707" y="4530"/>
                    <a:pt x="3707" y="4561"/>
                  </a:cubicBezTo>
                  <a:cubicBezTo>
                    <a:pt x="3707" y="4601"/>
                    <a:pt x="3723" y="4735"/>
                    <a:pt x="3739" y="4751"/>
                  </a:cubicBezTo>
                  <a:cubicBezTo>
                    <a:pt x="3755" y="4775"/>
                    <a:pt x="3786" y="4862"/>
                    <a:pt x="3786" y="4886"/>
                  </a:cubicBezTo>
                  <a:cubicBezTo>
                    <a:pt x="3786" y="4909"/>
                    <a:pt x="3794" y="4941"/>
                    <a:pt x="3794" y="4949"/>
                  </a:cubicBezTo>
                  <a:lnTo>
                    <a:pt x="3794" y="4949"/>
                  </a:lnTo>
                  <a:cubicBezTo>
                    <a:pt x="3794" y="4949"/>
                    <a:pt x="3794" y="4941"/>
                    <a:pt x="3802" y="4941"/>
                  </a:cubicBezTo>
                  <a:cubicBezTo>
                    <a:pt x="3802" y="4933"/>
                    <a:pt x="3802" y="4933"/>
                    <a:pt x="3794" y="4894"/>
                  </a:cubicBezTo>
                  <a:cubicBezTo>
                    <a:pt x="3794" y="4878"/>
                    <a:pt x="3786" y="4862"/>
                    <a:pt x="3786" y="4846"/>
                  </a:cubicBezTo>
                  <a:cubicBezTo>
                    <a:pt x="3778" y="4807"/>
                    <a:pt x="3771" y="4759"/>
                    <a:pt x="3755" y="4720"/>
                  </a:cubicBezTo>
                  <a:cubicBezTo>
                    <a:pt x="3755" y="4704"/>
                    <a:pt x="3747" y="4688"/>
                    <a:pt x="3739" y="4672"/>
                  </a:cubicBezTo>
                  <a:cubicBezTo>
                    <a:pt x="3731" y="4641"/>
                    <a:pt x="3723" y="4617"/>
                    <a:pt x="3723" y="4585"/>
                  </a:cubicBezTo>
                  <a:cubicBezTo>
                    <a:pt x="3723" y="4561"/>
                    <a:pt x="3715" y="4538"/>
                    <a:pt x="3715" y="4522"/>
                  </a:cubicBezTo>
                  <a:cubicBezTo>
                    <a:pt x="3715" y="4514"/>
                    <a:pt x="3707" y="4514"/>
                    <a:pt x="3707" y="4506"/>
                  </a:cubicBezTo>
                  <a:cubicBezTo>
                    <a:pt x="3707" y="4498"/>
                    <a:pt x="3707" y="4498"/>
                    <a:pt x="3707" y="4490"/>
                  </a:cubicBezTo>
                  <a:cubicBezTo>
                    <a:pt x="3707" y="4482"/>
                    <a:pt x="3699" y="4475"/>
                    <a:pt x="3699" y="4467"/>
                  </a:cubicBezTo>
                  <a:cubicBezTo>
                    <a:pt x="3684" y="4451"/>
                    <a:pt x="3676" y="4443"/>
                    <a:pt x="3652" y="4443"/>
                  </a:cubicBezTo>
                  <a:cubicBezTo>
                    <a:pt x="3644" y="4443"/>
                    <a:pt x="3644" y="4443"/>
                    <a:pt x="3636" y="4451"/>
                  </a:cubicBezTo>
                  <a:cubicBezTo>
                    <a:pt x="3628" y="4451"/>
                    <a:pt x="3628" y="4451"/>
                    <a:pt x="3621" y="4451"/>
                  </a:cubicBezTo>
                  <a:cubicBezTo>
                    <a:pt x="3612" y="4451"/>
                    <a:pt x="3605" y="4451"/>
                    <a:pt x="3597" y="4443"/>
                  </a:cubicBezTo>
                  <a:cubicBezTo>
                    <a:pt x="3597" y="4435"/>
                    <a:pt x="3589" y="4435"/>
                    <a:pt x="3581" y="4427"/>
                  </a:cubicBezTo>
                  <a:cubicBezTo>
                    <a:pt x="3581" y="4427"/>
                    <a:pt x="3573" y="4419"/>
                    <a:pt x="3573" y="4411"/>
                  </a:cubicBezTo>
                  <a:cubicBezTo>
                    <a:pt x="3573" y="4411"/>
                    <a:pt x="3573" y="4403"/>
                    <a:pt x="3581" y="4403"/>
                  </a:cubicBezTo>
                  <a:cubicBezTo>
                    <a:pt x="3589" y="4395"/>
                    <a:pt x="3597" y="4395"/>
                    <a:pt x="3605" y="4395"/>
                  </a:cubicBezTo>
                  <a:cubicBezTo>
                    <a:pt x="3621" y="4395"/>
                    <a:pt x="3644" y="4403"/>
                    <a:pt x="3660" y="4403"/>
                  </a:cubicBezTo>
                  <a:cubicBezTo>
                    <a:pt x="3660" y="4411"/>
                    <a:pt x="3668" y="4411"/>
                    <a:pt x="3668" y="4411"/>
                  </a:cubicBezTo>
                  <a:cubicBezTo>
                    <a:pt x="3684" y="4419"/>
                    <a:pt x="3684" y="4419"/>
                    <a:pt x="3699" y="4411"/>
                  </a:cubicBezTo>
                  <a:cubicBezTo>
                    <a:pt x="3699" y="4403"/>
                    <a:pt x="3707" y="4395"/>
                    <a:pt x="3707" y="4395"/>
                  </a:cubicBezTo>
                  <a:cubicBezTo>
                    <a:pt x="3715" y="4388"/>
                    <a:pt x="3715" y="4380"/>
                    <a:pt x="3715" y="4380"/>
                  </a:cubicBezTo>
                  <a:cubicBezTo>
                    <a:pt x="3723" y="4380"/>
                    <a:pt x="3723" y="4388"/>
                    <a:pt x="3723" y="4388"/>
                  </a:cubicBezTo>
                  <a:cubicBezTo>
                    <a:pt x="3731" y="4395"/>
                    <a:pt x="3723" y="4411"/>
                    <a:pt x="3723" y="4419"/>
                  </a:cubicBezTo>
                  <a:cubicBezTo>
                    <a:pt x="3723" y="4419"/>
                    <a:pt x="3723" y="4427"/>
                    <a:pt x="3723" y="4435"/>
                  </a:cubicBezTo>
                  <a:lnTo>
                    <a:pt x="3723" y="4435"/>
                  </a:lnTo>
                  <a:cubicBezTo>
                    <a:pt x="3739" y="4427"/>
                    <a:pt x="3739" y="4427"/>
                    <a:pt x="3739" y="4411"/>
                  </a:cubicBezTo>
                  <a:cubicBezTo>
                    <a:pt x="3739" y="4411"/>
                    <a:pt x="3739" y="4403"/>
                    <a:pt x="3739" y="4395"/>
                  </a:cubicBezTo>
                  <a:cubicBezTo>
                    <a:pt x="3747" y="4372"/>
                    <a:pt x="3802" y="4253"/>
                    <a:pt x="3818" y="4222"/>
                  </a:cubicBezTo>
                  <a:cubicBezTo>
                    <a:pt x="3826" y="4206"/>
                    <a:pt x="3826" y="4190"/>
                    <a:pt x="3826" y="4190"/>
                  </a:cubicBezTo>
                  <a:lnTo>
                    <a:pt x="3826" y="4190"/>
                  </a:lnTo>
                  <a:cubicBezTo>
                    <a:pt x="3826" y="4190"/>
                    <a:pt x="3826" y="4190"/>
                    <a:pt x="3818" y="4190"/>
                  </a:cubicBezTo>
                  <a:cubicBezTo>
                    <a:pt x="3818" y="4198"/>
                    <a:pt x="3810" y="4198"/>
                    <a:pt x="3810" y="4206"/>
                  </a:cubicBezTo>
                  <a:cubicBezTo>
                    <a:pt x="3794" y="4214"/>
                    <a:pt x="3786" y="4222"/>
                    <a:pt x="3786" y="4237"/>
                  </a:cubicBezTo>
                  <a:cubicBezTo>
                    <a:pt x="3786" y="4261"/>
                    <a:pt x="3778" y="4285"/>
                    <a:pt x="3771" y="4293"/>
                  </a:cubicBezTo>
                  <a:cubicBezTo>
                    <a:pt x="3763" y="4293"/>
                    <a:pt x="3763" y="4301"/>
                    <a:pt x="3763" y="4301"/>
                  </a:cubicBezTo>
                  <a:cubicBezTo>
                    <a:pt x="3755" y="4301"/>
                    <a:pt x="3755" y="4293"/>
                    <a:pt x="3747" y="4285"/>
                  </a:cubicBezTo>
                  <a:cubicBezTo>
                    <a:pt x="3747" y="4285"/>
                    <a:pt x="3747" y="4277"/>
                    <a:pt x="3747" y="4261"/>
                  </a:cubicBezTo>
                  <a:cubicBezTo>
                    <a:pt x="3747" y="4261"/>
                    <a:pt x="3747" y="4253"/>
                    <a:pt x="3747" y="4245"/>
                  </a:cubicBezTo>
                  <a:cubicBezTo>
                    <a:pt x="3747" y="4237"/>
                    <a:pt x="3747" y="4237"/>
                    <a:pt x="3731" y="4222"/>
                  </a:cubicBezTo>
                  <a:lnTo>
                    <a:pt x="3731" y="4222"/>
                  </a:lnTo>
                  <a:cubicBezTo>
                    <a:pt x="3723" y="4206"/>
                    <a:pt x="3707" y="4206"/>
                    <a:pt x="3699" y="4206"/>
                  </a:cubicBezTo>
                  <a:cubicBezTo>
                    <a:pt x="3692" y="4198"/>
                    <a:pt x="3684" y="4198"/>
                    <a:pt x="3684" y="4182"/>
                  </a:cubicBezTo>
                  <a:cubicBezTo>
                    <a:pt x="3684" y="4174"/>
                    <a:pt x="3676" y="4166"/>
                    <a:pt x="3676" y="4166"/>
                  </a:cubicBezTo>
                  <a:cubicBezTo>
                    <a:pt x="3676" y="4158"/>
                    <a:pt x="3676" y="4158"/>
                    <a:pt x="3676" y="4150"/>
                  </a:cubicBezTo>
                  <a:cubicBezTo>
                    <a:pt x="3676" y="4150"/>
                    <a:pt x="3684" y="4142"/>
                    <a:pt x="3692" y="4142"/>
                  </a:cubicBezTo>
                  <a:cubicBezTo>
                    <a:pt x="3699" y="4142"/>
                    <a:pt x="3707" y="4142"/>
                    <a:pt x="3715" y="4142"/>
                  </a:cubicBezTo>
                  <a:cubicBezTo>
                    <a:pt x="3723" y="4142"/>
                    <a:pt x="3731" y="4142"/>
                    <a:pt x="3739" y="4142"/>
                  </a:cubicBezTo>
                  <a:cubicBezTo>
                    <a:pt x="3747" y="4142"/>
                    <a:pt x="3747" y="4142"/>
                    <a:pt x="3755" y="4150"/>
                  </a:cubicBezTo>
                  <a:cubicBezTo>
                    <a:pt x="3763" y="4150"/>
                    <a:pt x="3763" y="4158"/>
                    <a:pt x="3763" y="4166"/>
                  </a:cubicBezTo>
                  <a:cubicBezTo>
                    <a:pt x="3771" y="4174"/>
                    <a:pt x="3771" y="4174"/>
                    <a:pt x="3778" y="4174"/>
                  </a:cubicBezTo>
                  <a:lnTo>
                    <a:pt x="3778" y="4174"/>
                  </a:lnTo>
                  <a:cubicBezTo>
                    <a:pt x="3778" y="4182"/>
                    <a:pt x="3786" y="4182"/>
                    <a:pt x="3786" y="4182"/>
                  </a:cubicBezTo>
                  <a:cubicBezTo>
                    <a:pt x="3786" y="4182"/>
                    <a:pt x="3786" y="4174"/>
                    <a:pt x="3794" y="4166"/>
                  </a:cubicBezTo>
                  <a:cubicBezTo>
                    <a:pt x="3794" y="4166"/>
                    <a:pt x="3802" y="4158"/>
                    <a:pt x="3802" y="4150"/>
                  </a:cubicBezTo>
                  <a:cubicBezTo>
                    <a:pt x="3810" y="4142"/>
                    <a:pt x="3818" y="4135"/>
                    <a:pt x="3818" y="4127"/>
                  </a:cubicBezTo>
                  <a:cubicBezTo>
                    <a:pt x="3834" y="4103"/>
                    <a:pt x="3865" y="4064"/>
                    <a:pt x="3858" y="4055"/>
                  </a:cubicBezTo>
                  <a:lnTo>
                    <a:pt x="3858" y="4055"/>
                  </a:lnTo>
                  <a:cubicBezTo>
                    <a:pt x="3850" y="4055"/>
                    <a:pt x="3842" y="4064"/>
                    <a:pt x="3826" y="4071"/>
                  </a:cubicBezTo>
                  <a:cubicBezTo>
                    <a:pt x="3826" y="4071"/>
                    <a:pt x="3818" y="4079"/>
                    <a:pt x="3810" y="4079"/>
                  </a:cubicBezTo>
                  <a:cubicBezTo>
                    <a:pt x="3810" y="4079"/>
                    <a:pt x="3802" y="4079"/>
                    <a:pt x="3802" y="4071"/>
                  </a:cubicBezTo>
                  <a:cubicBezTo>
                    <a:pt x="3802" y="4055"/>
                    <a:pt x="3802" y="4040"/>
                    <a:pt x="3810" y="4024"/>
                  </a:cubicBezTo>
                  <a:cubicBezTo>
                    <a:pt x="3810" y="4024"/>
                    <a:pt x="3818" y="4016"/>
                    <a:pt x="3826" y="4016"/>
                  </a:cubicBezTo>
                  <a:cubicBezTo>
                    <a:pt x="3834" y="4016"/>
                    <a:pt x="3834" y="4016"/>
                    <a:pt x="3842" y="4016"/>
                  </a:cubicBezTo>
                  <a:cubicBezTo>
                    <a:pt x="3850" y="4008"/>
                    <a:pt x="3858" y="4008"/>
                    <a:pt x="3874" y="4008"/>
                  </a:cubicBezTo>
                  <a:cubicBezTo>
                    <a:pt x="3881" y="4008"/>
                    <a:pt x="3881" y="4008"/>
                    <a:pt x="3889" y="4016"/>
                  </a:cubicBezTo>
                  <a:cubicBezTo>
                    <a:pt x="3897" y="4016"/>
                    <a:pt x="3897" y="4016"/>
                    <a:pt x="3897" y="4024"/>
                  </a:cubicBezTo>
                  <a:cubicBezTo>
                    <a:pt x="3905" y="4024"/>
                    <a:pt x="3913" y="4032"/>
                    <a:pt x="3913" y="4032"/>
                  </a:cubicBezTo>
                  <a:cubicBezTo>
                    <a:pt x="3913" y="4032"/>
                    <a:pt x="3913" y="4032"/>
                    <a:pt x="3921" y="4024"/>
                  </a:cubicBezTo>
                  <a:cubicBezTo>
                    <a:pt x="3937" y="4008"/>
                    <a:pt x="3976" y="3969"/>
                    <a:pt x="3976" y="3953"/>
                  </a:cubicBezTo>
                  <a:lnTo>
                    <a:pt x="3976" y="3953"/>
                  </a:lnTo>
                  <a:cubicBezTo>
                    <a:pt x="3945" y="3945"/>
                    <a:pt x="3937" y="3945"/>
                    <a:pt x="3945" y="3921"/>
                  </a:cubicBezTo>
                  <a:cubicBezTo>
                    <a:pt x="3945" y="3913"/>
                    <a:pt x="3945" y="3913"/>
                    <a:pt x="3945" y="3913"/>
                  </a:cubicBezTo>
                  <a:cubicBezTo>
                    <a:pt x="3945" y="3905"/>
                    <a:pt x="3945" y="3890"/>
                    <a:pt x="3960" y="3890"/>
                  </a:cubicBezTo>
                  <a:cubicBezTo>
                    <a:pt x="3960" y="3890"/>
                    <a:pt x="3968" y="3890"/>
                    <a:pt x="3984" y="3905"/>
                  </a:cubicBezTo>
                  <a:cubicBezTo>
                    <a:pt x="3999" y="3921"/>
                    <a:pt x="4000" y="3929"/>
                    <a:pt x="4000" y="3937"/>
                  </a:cubicBezTo>
                  <a:cubicBezTo>
                    <a:pt x="4007" y="3945"/>
                    <a:pt x="4007" y="3945"/>
                    <a:pt x="4015" y="3945"/>
                  </a:cubicBezTo>
                  <a:lnTo>
                    <a:pt x="4015" y="3945"/>
                  </a:lnTo>
                  <a:cubicBezTo>
                    <a:pt x="4031" y="3945"/>
                    <a:pt x="4046" y="3929"/>
                    <a:pt x="4062" y="3921"/>
                  </a:cubicBezTo>
                  <a:cubicBezTo>
                    <a:pt x="4070" y="3921"/>
                    <a:pt x="4070" y="3921"/>
                    <a:pt x="4078" y="3921"/>
                  </a:cubicBezTo>
                  <a:lnTo>
                    <a:pt x="4078" y="3921"/>
                  </a:lnTo>
                  <a:cubicBezTo>
                    <a:pt x="4078" y="3921"/>
                    <a:pt x="4078" y="3921"/>
                    <a:pt x="4078" y="3929"/>
                  </a:cubicBezTo>
                  <a:cubicBezTo>
                    <a:pt x="4078" y="3937"/>
                    <a:pt x="4062" y="3953"/>
                    <a:pt x="4031" y="3977"/>
                  </a:cubicBezTo>
                  <a:cubicBezTo>
                    <a:pt x="4007" y="3992"/>
                    <a:pt x="3976" y="4016"/>
                    <a:pt x="3976" y="4024"/>
                  </a:cubicBezTo>
                  <a:cubicBezTo>
                    <a:pt x="3984" y="4024"/>
                    <a:pt x="3984" y="4024"/>
                    <a:pt x="3984" y="4024"/>
                  </a:cubicBezTo>
                  <a:cubicBezTo>
                    <a:pt x="3992" y="4024"/>
                    <a:pt x="4000" y="4016"/>
                    <a:pt x="4015" y="4008"/>
                  </a:cubicBezTo>
                  <a:lnTo>
                    <a:pt x="4015" y="4008"/>
                  </a:lnTo>
                  <a:cubicBezTo>
                    <a:pt x="4023" y="4000"/>
                    <a:pt x="4031" y="3992"/>
                    <a:pt x="4046" y="3984"/>
                  </a:cubicBezTo>
                  <a:cubicBezTo>
                    <a:pt x="4070" y="3969"/>
                    <a:pt x="4125" y="3929"/>
                    <a:pt x="4125" y="3921"/>
                  </a:cubicBezTo>
                  <a:lnTo>
                    <a:pt x="4125" y="3921"/>
                  </a:lnTo>
                  <a:cubicBezTo>
                    <a:pt x="4110" y="3913"/>
                    <a:pt x="4110" y="3905"/>
                    <a:pt x="4110" y="3897"/>
                  </a:cubicBezTo>
                  <a:cubicBezTo>
                    <a:pt x="4110" y="3890"/>
                    <a:pt x="4110" y="3882"/>
                    <a:pt x="4094" y="3874"/>
                  </a:cubicBezTo>
                  <a:cubicBezTo>
                    <a:pt x="4070" y="3866"/>
                    <a:pt x="4070" y="3858"/>
                    <a:pt x="4062" y="3842"/>
                  </a:cubicBezTo>
                  <a:cubicBezTo>
                    <a:pt x="4062" y="3842"/>
                    <a:pt x="4062" y="3834"/>
                    <a:pt x="4054" y="3826"/>
                  </a:cubicBezTo>
                  <a:cubicBezTo>
                    <a:pt x="4046" y="3818"/>
                    <a:pt x="4023" y="3795"/>
                    <a:pt x="4031" y="3779"/>
                  </a:cubicBezTo>
                  <a:cubicBezTo>
                    <a:pt x="4031" y="3779"/>
                    <a:pt x="4031" y="3771"/>
                    <a:pt x="4038" y="3771"/>
                  </a:cubicBezTo>
                  <a:cubicBezTo>
                    <a:pt x="4054" y="3763"/>
                    <a:pt x="4054" y="3771"/>
                    <a:pt x="4062" y="3779"/>
                  </a:cubicBezTo>
                  <a:cubicBezTo>
                    <a:pt x="4062" y="3787"/>
                    <a:pt x="4062" y="3795"/>
                    <a:pt x="4078" y="3803"/>
                  </a:cubicBezTo>
                  <a:cubicBezTo>
                    <a:pt x="4086" y="3803"/>
                    <a:pt x="4086" y="3803"/>
                    <a:pt x="4094" y="3811"/>
                  </a:cubicBezTo>
                  <a:cubicBezTo>
                    <a:pt x="4102" y="3811"/>
                    <a:pt x="4110" y="3818"/>
                    <a:pt x="4117" y="3818"/>
                  </a:cubicBezTo>
                  <a:cubicBezTo>
                    <a:pt x="4125" y="3818"/>
                    <a:pt x="4133" y="3811"/>
                    <a:pt x="4133" y="3811"/>
                  </a:cubicBezTo>
                  <a:cubicBezTo>
                    <a:pt x="4149" y="3795"/>
                    <a:pt x="4157" y="3787"/>
                    <a:pt x="4165" y="3787"/>
                  </a:cubicBezTo>
                  <a:cubicBezTo>
                    <a:pt x="4173" y="3787"/>
                    <a:pt x="4181" y="3787"/>
                    <a:pt x="4188" y="3787"/>
                  </a:cubicBezTo>
                  <a:cubicBezTo>
                    <a:pt x="4197" y="3795"/>
                    <a:pt x="4204" y="3795"/>
                    <a:pt x="4212" y="3803"/>
                  </a:cubicBezTo>
                  <a:cubicBezTo>
                    <a:pt x="4220" y="3811"/>
                    <a:pt x="4236" y="3818"/>
                    <a:pt x="4252" y="3818"/>
                  </a:cubicBezTo>
                  <a:lnTo>
                    <a:pt x="4252" y="3818"/>
                  </a:lnTo>
                  <a:cubicBezTo>
                    <a:pt x="4260" y="3818"/>
                    <a:pt x="4268" y="3818"/>
                    <a:pt x="4268" y="3818"/>
                  </a:cubicBezTo>
                  <a:cubicBezTo>
                    <a:pt x="4268" y="3826"/>
                    <a:pt x="4252" y="3842"/>
                    <a:pt x="4236" y="3842"/>
                  </a:cubicBezTo>
                  <a:cubicBezTo>
                    <a:pt x="4228" y="3850"/>
                    <a:pt x="4220" y="3858"/>
                    <a:pt x="4212" y="3866"/>
                  </a:cubicBezTo>
                  <a:cubicBezTo>
                    <a:pt x="4212" y="3874"/>
                    <a:pt x="4212" y="3874"/>
                    <a:pt x="4212" y="3882"/>
                  </a:cubicBezTo>
                  <a:cubicBezTo>
                    <a:pt x="4212" y="3874"/>
                    <a:pt x="4228" y="3866"/>
                    <a:pt x="4252" y="3858"/>
                  </a:cubicBezTo>
                  <a:cubicBezTo>
                    <a:pt x="4268" y="3850"/>
                    <a:pt x="4284" y="3834"/>
                    <a:pt x="4307" y="3826"/>
                  </a:cubicBezTo>
                  <a:cubicBezTo>
                    <a:pt x="4339" y="3811"/>
                    <a:pt x="4370" y="3795"/>
                    <a:pt x="4370" y="3787"/>
                  </a:cubicBezTo>
                  <a:lnTo>
                    <a:pt x="4370" y="3779"/>
                  </a:lnTo>
                  <a:cubicBezTo>
                    <a:pt x="4363" y="3771"/>
                    <a:pt x="4363" y="3771"/>
                    <a:pt x="4363" y="3763"/>
                  </a:cubicBezTo>
                  <a:cubicBezTo>
                    <a:pt x="4363" y="3763"/>
                    <a:pt x="4370" y="3755"/>
                    <a:pt x="4386" y="3755"/>
                  </a:cubicBezTo>
                  <a:lnTo>
                    <a:pt x="4386" y="3755"/>
                  </a:lnTo>
                  <a:cubicBezTo>
                    <a:pt x="4410" y="3747"/>
                    <a:pt x="4434" y="3747"/>
                    <a:pt x="4450" y="3731"/>
                  </a:cubicBezTo>
                  <a:cubicBezTo>
                    <a:pt x="4457" y="3724"/>
                    <a:pt x="4473" y="3716"/>
                    <a:pt x="4489" y="3708"/>
                  </a:cubicBezTo>
                  <a:cubicBezTo>
                    <a:pt x="4528" y="3684"/>
                    <a:pt x="4608" y="3637"/>
                    <a:pt x="4623" y="3605"/>
                  </a:cubicBezTo>
                  <a:cubicBezTo>
                    <a:pt x="4631" y="3581"/>
                    <a:pt x="4631" y="3565"/>
                    <a:pt x="4639" y="3557"/>
                  </a:cubicBezTo>
                  <a:cubicBezTo>
                    <a:pt x="4639" y="3542"/>
                    <a:pt x="4639" y="3534"/>
                    <a:pt x="4655" y="3526"/>
                  </a:cubicBezTo>
                  <a:cubicBezTo>
                    <a:pt x="4687" y="3510"/>
                    <a:pt x="4718" y="3486"/>
                    <a:pt x="4726" y="3478"/>
                  </a:cubicBezTo>
                  <a:cubicBezTo>
                    <a:pt x="4734" y="3463"/>
                    <a:pt x="4750" y="3431"/>
                    <a:pt x="4734" y="3415"/>
                  </a:cubicBezTo>
                  <a:cubicBezTo>
                    <a:pt x="4718" y="3407"/>
                    <a:pt x="4718" y="3400"/>
                    <a:pt x="4710" y="3391"/>
                  </a:cubicBezTo>
                  <a:cubicBezTo>
                    <a:pt x="4710" y="3384"/>
                    <a:pt x="4710" y="3376"/>
                    <a:pt x="4703" y="3368"/>
                  </a:cubicBezTo>
                  <a:cubicBezTo>
                    <a:pt x="4703" y="3360"/>
                    <a:pt x="4695" y="3352"/>
                    <a:pt x="4695" y="3352"/>
                  </a:cubicBezTo>
                  <a:cubicBezTo>
                    <a:pt x="4687" y="3344"/>
                    <a:pt x="4679" y="3344"/>
                    <a:pt x="4687" y="3328"/>
                  </a:cubicBezTo>
                  <a:cubicBezTo>
                    <a:pt x="4687" y="3320"/>
                    <a:pt x="4687" y="3313"/>
                    <a:pt x="4679" y="3304"/>
                  </a:cubicBezTo>
                  <a:cubicBezTo>
                    <a:pt x="4679" y="3297"/>
                    <a:pt x="4679" y="3297"/>
                    <a:pt x="4687" y="3289"/>
                  </a:cubicBezTo>
                  <a:cubicBezTo>
                    <a:pt x="4687" y="3289"/>
                    <a:pt x="4687" y="3289"/>
                    <a:pt x="4695" y="3289"/>
                  </a:cubicBezTo>
                  <a:cubicBezTo>
                    <a:pt x="4703" y="3297"/>
                    <a:pt x="4710" y="3297"/>
                    <a:pt x="4710" y="3304"/>
                  </a:cubicBezTo>
                  <a:cubicBezTo>
                    <a:pt x="4718" y="3304"/>
                    <a:pt x="4726" y="3313"/>
                    <a:pt x="4734" y="3313"/>
                  </a:cubicBezTo>
                  <a:cubicBezTo>
                    <a:pt x="4742" y="3313"/>
                    <a:pt x="4742" y="3313"/>
                    <a:pt x="4742" y="3304"/>
                  </a:cubicBezTo>
                  <a:cubicBezTo>
                    <a:pt x="4750" y="3297"/>
                    <a:pt x="4750" y="3297"/>
                    <a:pt x="4758" y="3289"/>
                  </a:cubicBezTo>
                  <a:cubicBezTo>
                    <a:pt x="4758" y="3281"/>
                    <a:pt x="4766" y="3281"/>
                    <a:pt x="4766" y="3273"/>
                  </a:cubicBezTo>
                  <a:cubicBezTo>
                    <a:pt x="4781" y="3257"/>
                    <a:pt x="4790" y="3257"/>
                    <a:pt x="4797" y="3257"/>
                  </a:cubicBezTo>
                  <a:lnTo>
                    <a:pt x="4805" y="3257"/>
                  </a:lnTo>
                  <a:cubicBezTo>
                    <a:pt x="4805" y="3265"/>
                    <a:pt x="4805" y="3265"/>
                    <a:pt x="4813" y="3265"/>
                  </a:cubicBezTo>
                  <a:cubicBezTo>
                    <a:pt x="4821" y="3273"/>
                    <a:pt x="4829" y="3289"/>
                    <a:pt x="4829" y="3297"/>
                  </a:cubicBezTo>
                  <a:lnTo>
                    <a:pt x="4821" y="3304"/>
                  </a:lnTo>
                  <a:cubicBezTo>
                    <a:pt x="4805" y="3304"/>
                    <a:pt x="4805" y="3313"/>
                    <a:pt x="4805" y="3320"/>
                  </a:cubicBezTo>
                  <a:cubicBezTo>
                    <a:pt x="4797" y="3328"/>
                    <a:pt x="4797" y="3336"/>
                    <a:pt x="4805" y="3336"/>
                  </a:cubicBezTo>
                  <a:cubicBezTo>
                    <a:pt x="4805" y="3344"/>
                    <a:pt x="4797" y="3344"/>
                    <a:pt x="4797" y="3344"/>
                  </a:cubicBezTo>
                  <a:cubicBezTo>
                    <a:pt x="4790" y="3352"/>
                    <a:pt x="4790" y="3352"/>
                    <a:pt x="4790" y="3360"/>
                  </a:cubicBezTo>
                  <a:cubicBezTo>
                    <a:pt x="4790" y="3368"/>
                    <a:pt x="4790" y="3368"/>
                    <a:pt x="4797" y="3368"/>
                  </a:cubicBezTo>
                  <a:cubicBezTo>
                    <a:pt x="4797" y="3376"/>
                    <a:pt x="4797" y="3376"/>
                    <a:pt x="4797" y="3376"/>
                  </a:cubicBezTo>
                  <a:cubicBezTo>
                    <a:pt x="4805" y="3376"/>
                    <a:pt x="4805" y="3376"/>
                    <a:pt x="4813" y="3376"/>
                  </a:cubicBezTo>
                  <a:cubicBezTo>
                    <a:pt x="4821" y="3376"/>
                    <a:pt x="4821" y="3376"/>
                    <a:pt x="4829" y="3376"/>
                  </a:cubicBezTo>
                  <a:cubicBezTo>
                    <a:pt x="4837" y="3376"/>
                    <a:pt x="4845" y="3376"/>
                    <a:pt x="4845" y="3384"/>
                  </a:cubicBezTo>
                  <a:cubicBezTo>
                    <a:pt x="4845" y="3384"/>
                    <a:pt x="4845" y="3391"/>
                    <a:pt x="4837" y="3391"/>
                  </a:cubicBezTo>
                  <a:cubicBezTo>
                    <a:pt x="4821" y="3400"/>
                    <a:pt x="4790" y="3439"/>
                    <a:pt x="4781" y="3455"/>
                  </a:cubicBezTo>
                  <a:cubicBezTo>
                    <a:pt x="4774" y="3471"/>
                    <a:pt x="4758" y="3486"/>
                    <a:pt x="4742" y="3502"/>
                  </a:cubicBezTo>
                  <a:cubicBezTo>
                    <a:pt x="4734" y="3502"/>
                    <a:pt x="4726" y="3510"/>
                    <a:pt x="4718" y="3510"/>
                  </a:cubicBezTo>
                  <a:cubicBezTo>
                    <a:pt x="4703" y="3518"/>
                    <a:pt x="4687" y="3526"/>
                    <a:pt x="4687" y="3534"/>
                  </a:cubicBezTo>
                  <a:cubicBezTo>
                    <a:pt x="4687" y="3542"/>
                    <a:pt x="4687" y="3542"/>
                    <a:pt x="4687" y="3542"/>
                  </a:cubicBezTo>
                  <a:cubicBezTo>
                    <a:pt x="4687" y="3550"/>
                    <a:pt x="4679" y="3550"/>
                    <a:pt x="4679" y="3550"/>
                  </a:cubicBezTo>
                  <a:cubicBezTo>
                    <a:pt x="4687" y="3550"/>
                    <a:pt x="4687" y="3550"/>
                    <a:pt x="4703" y="3542"/>
                  </a:cubicBezTo>
                  <a:cubicBezTo>
                    <a:pt x="4742" y="3526"/>
                    <a:pt x="4774" y="3502"/>
                    <a:pt x="4781" y="3486"/>
                  </a:cubicBezTo>
                  <a:cubicBezTo>
                    <a:pt x="4781" y="3478"/>
                    <a:pt x="4781" y="3478"/>
                    <a:pt x="4781" y="3478"/>
                  </a:cubicBezTo>
                  <a:cubicBezTo>
                    <a:pt x="4790" y="3463"/>
                    <a:pt x="4805" y="3423"/>
                    <a:pt x="4861" y="3400"/>
                  </a:cubicBezTo>
                  <a:cubicBezTo>
                    <a:pt x="4884" y="3391"/>
                    <a:pt x="4908" y="3376"/>
                    <a:pt x="4924" y="3368"/>
                  </a:cubicBezTo>
                  <a:cubicBezTo>
                    <a:pt x="4940" y="3352"/>
                    <a:pt x="4963" y="3344"/>
                    <a:pt x="4979" y="3336"/>
                  </a:cubicBezTo>
                  <a:cubicBezTo>
                    <a:pt x="4995" y="3336"/>
                    <a:pt x="5034" y="3320"/>
                    <a:pt x="5074" y="3304"/>
                  </a:cubicBezTo>
                  <a:cubicBezTo>
                    <a:pt x="5114" y="3289"/>
                    <a:pt x="5145" y="3273"/>
                    <a:pt x="5161" y="3273"/>
                  </a:cubicBezTo>
                  <a:cubicBezTo>
                    <a:pt x="5161" y="3273"/>
                    <a:pt x="5161" y="3273"/>
                    <a:pt x="5169" y="3273"/>
                  </a:cubicBezTo>
                  <a:cubicBezTo>
                    <a:pt x="5169" y="3273"/>
                    <a:pt x="5161" y="3265"/>
                    <a:pt x="5153" y="3257"/>
                  </a:cubicBezTo>
                  <a:lnTo>
                    <a:pt x="5153" y="3257"/>
                  </a:lnTo>
                  <a:cubicBezTo>
                    <a:pt x="5137" y="3249"/>
                    <a:pt x="5129" y="3241"/>
                    <a:pt x="5137" y="3225"/>
                  </a:cubicBezTo>
                  <a:cubicBezTo>
                    <a:pt x="5145" y="3210"/>
                    <a:pt x="5153" y="3194"/>
                    <a:pt x="5177" y="3178"/>
                  </a:cubicBezTo>
                  <a:cubicBezTo>
                    <a:pt x="5185" y="3162"/>
                    <a:pt x="5193" y="3154"/>
                    <a:pt x="5193" y="3138"/>
                  </a:cubicBezTo>
                  <a:cubicBezTo>
                    <a:pt x="5193" y="3131"/>
                    <a:pt x="5193" y="3123"/>
                    <a:pt x="5201" y="3115"/>
                  </a:cubicBezTo>
                  <a:cubicBezTo>
                    <a:pt x="5208" y="3107"/>
                    <a:pt x="5208" y="3107"/>
                    <a:pt x="5216" y="3099"/>
                  </a:cubicBezTo>
                  <a:cubicBezTo>
                    <a:pt x="5224" y="3099"/>
                    <a:pt x="5224" y="3099"/>
                    <a:pt x="5224" y="3091"/>
                  </a:cubicBezTo>
                  <a:cubicBezTo>
                    <a:pt x="5224" y="3083"/>
                    <a:pt x="5224" y="3083"/>
                    <a:pt x="5224" y="3075"/>
                  </a:cubicBezTo>
                  <a:cubicBezTo>
                    <a:pt x="5224" y="3060"/>
                    <a:pt x="5224" y="3044"/>
                    <a:pt x="5216" y="3028"/>
                  </a:cubicBezTo>
                  <a:lnTo>
                    <a:pt x="5208" y="3020"/>
                  </a:lnTo>
                  <a:cubicBezTo>
                    <a:pt x="5201" y="3004"/>
                    <a:pt x="5193" y="2988"/>
                    <a:pt x="5193" y="2973"/>
                  </a:cubicBezTo>
                  <a:cubicBezTo>
                    <a:pt x="5193" y="2973"/>
                    <a:pt x="5193" y="2973"/>
                    <a:pt x="5193" y="2965"/>
                  </a:cubicBezTo>
                  <a:cubicBezTo>
                    <a:pt x="5201" y="2949"/>
                    <a:pt x="5208" y="2925"/>
                    <a:pt x="5216" y="2925"/>
                  </a:cubicBezTo>
                  <a:cubicBezTo>
                    <a:pt x="5224" y="2925"/>
                    <a:pt x="5224" y="2925"/>
                    <a:pt x="5224" y="2925"/>
                  </a:cubicBezTo>
                  <a:cubicBezTo>
                    <a:pt x="5224" y="2925"/>
                    <a:pt x="5224" y="2909"/>
                    <a:pt x="5216" y="2894"/>
                  </a:cubicBezTo>
                  <a:cubicBezTo>
                    <a:pt x="5216" y="2894"/>
                    <a:pt x="5208" y="2886"/>
                    <a:pt x="5201" y="2886"/>
                  </a:cubicBezTo>
                  <a:cubicBezTo>
                    <a:pt x="5201" y="2886"/>
                    <a:pt x="5193" y="2886"/>
                    <a:pt x="5193" y="2878"/>
                  </a:cubicBezTo>
                  <a:cubicBezTo>
                    <a:pt x="5193" y="2870"/>
                    <a:pt x="5193" y="2862"/>
                    <a:pt x="5201" y="2854"/>
                  </a:cubicBezTo>
                  <a:cubicBezTo>
                    <a:pt x="5208" y="2846"/>
                    <a:pt x="5216" y="2838"/>
                    <a:pt x="5224" y="2838"/>
                  </a:cubicBezTo>
                  <a:cubicBezTo>
                    <a:pt x="5232" y="2830"/>
                    <a:pt x="5240" y="2830"/>
                    <a:pt x="5248" y="2807"/>
                  </a:cubicBezTo>
                  <a:cubicBezTo>
                    <a:pt x="5272" y="2759"/>
                    <a:pt x="5272" y="2727"/>
                    <a:pt x="5272" y="2720"/>
                  </a:cubicBezTo>
                  <a:cubicBezTo>
                    <a:pt x="5272" y="2712"/>
                    <a:pt x="5272" y="2712"/>
                    <a:pt x="5264" y="2712"/>
                  </a:cubicBezTo>
                  <a:cubicBezTo>
                    <a:pt x="5264" y="2696"/>
                    <a:pt x="5264" y="2672"/>
                    <a:pt x="5272" y="2656"/>
                  </a:cubicBezTo>
                  <a:cubicBezTo>
                    <a:pt x="5272" y="2625"/>
                    <a:pt x="5272" y="2593"/>
                    <a:pt x="5256" y="2561"/>
                  </a:cubicBezTo>
                  <a:cubicBezTo>
                    <a:pt x="5248" y="2554"/>
                    <a:pt x="5240" y="2546"/>
                    <a:pt x="5232" y="2546"/>
                  </a:cubicBezTo>
                  <a:cubicBezTo>
                    <a:pt x="5224" y="2538"/>
                    <a:pt x="5208" y="2538"/>
                    <a:pt x="5208" y="2506"/>
                  </a:cubicBezTo>
                  <a:cubicBezTo>
                    <a:pt x="5216" y="2459"/>
                    <a:pt x="5193" y="2443"/>
                    <a:pt x="5177" y="2427"/>
                  </a:cubicBezTo>
                  <a:lnTo>
                    <a:pt x="5169" y="2419"/>
                  </a:lnTo>
                  <a:cubicBezTo>
                    <a:pt x="5153" y="2411"/>
                    <a:pt x="5145" y="2403"/>
                    <a:pt x="5153" y="2388"/>
                  </a:cubicBezTo>
                  <a:cubicBezTo>
                    <a:pt x="5153" y="2380"/>
                    <a:pt x="5153" y="2372"/>
                    <a:pt x="5153" y="2364"/>
                  </a:cubicBezTo>
                  <a:cubicBezTo>
                    <a:pt x="5161" y="2356"/>
                    <a:pt x="5161" y="2348"/>
                    <a:pt x="5153" y="2324"/>
                  </a:cubicBezTo>
                  <a:cubicBezTo>
                    <a:pt x="5145" y="2301"/>
                    <a:pt x="5129" y="2285"/>
                    <a:pt x="5121" y="2269"/>
                  </a:cubicBezTo>
                  <a:cubicBezTo>
                    <a:pt x="5114" y="2261"/>
                    <a:pt x="5106" y="2253"/>
                    <a:pt x="5098" y="2245"/>
                  </a:cubicBezTo>
                  <a:cubicBezTo>
                    <a:pt x="5082" y="2221"/>
                    <a:pt x="5050" y="2214"/>
                    <a:pt x="5050" y="2214"/>
                  </a:cubicBezTo>
                  <a:cubicBezTo>
                    <a:pt x="5050" y="2206"/>
                    <a:pt x="5050" y="2206"/>
                    <a:pt x="5050" y="2206"/>
                  </a:cubicBezTo>
                  <a:lnTo>
                    <a:pt x="5050" y="2206"/>
                  </a:lnTo>
                  <a:cubicBezTo>
                    <a:pt x="5034" y="1463"/>
                    <a:pt x="5034" y="1463"/>
                    <a:pt x="5034" y="1463"/>
                  </a:cubicBezTo>
                  <a:cubicBezTo>
                    <a:pt x="5034" y="1463"/>
                    <a:pt x="5027" y="1447"/>
                    <a:pt x="5003" y="1447"/>
                  </a:cubicBezTo>
                  <a:cubicBezTo>
                    <a:pt x="4987" y="1447"/>
                    <a:pt x="4971" y="1447"/>
                    <a:pt x="4963" y="1439"/>
                  </a:cubicBezTo>
                  <a:cubicBezTo>
                    <a:pt x="4948" y="1439"/>
                    <a:pt x="4940" y="1439"/>
                    <a:pt x="4940" y="1439"/>
                  </a:cubicBezTo>
                  <a:cubicBezTo>
                    <a:pt x="4940" y="1439"/>
                    <a:pt x="4932" y="1447"/>
                    <a:pt x="4932" y="1455"/>
                  </a:cubicBezTo>
                  <a:cubicBezTo>
                    <a:pt x="4932" y="1463"/>
                    <a:pt x="4924" y="1478"/>
                    <a:pt x="4916" y="1478"/>
                  </a:cubicBezTo>
                  <a:cubicBezTo>
                    <a:pt x="4916" y="1478"/>
                    <a:pt x="4908" y="1471"/>
                    <a:pt x="4900" y="1471"/>
                  </a:cubicBezTo>
                  <a:cubicBezTo>
                    <a:pt x="4892" y="1463"/>
                    <a:pt x="4892" y="1447"/>
                    <a:pt x="4884" y="1431"/>
                  </a:cubicBezTo>
                  <a:cubicBezTo>
                    <a:pt x="4884" y="1415"/>
                    <a:pt x="4884" y="1407"/>
                    <a:pt x="4868" y="1407"/>
                  </a:cubicBezTo>
                  <a:cubicBezTo>
                    <a:pt x="4853" y="1407"/>
                    <a:pt x="4853" y="1407"/>
                    <a:pt x="4845" y="1415"/>
                  </a:cubicBezTo>
                  <a:cubicBezTo>
                    <a:pt x="4837" y="1415"/>
                    <a:pt x="4837" y="1423"/>
                    <a:pt x="4813" y="1423"/>
                  </a:cubicBezTo>
                  <a:cubicBezTo>
                    <a:pt x="4781" y="1423"/>
                    <a:pt x="4758" y="1399"/>
                    <a:pt x="4750" y="1391"/>
                  </a:cubicBezTo>
                  <a:cubicBezTo>
                    <a:pt x="4742" y="1384"/>
                    <a:pt x="4742" y="1384"/>
                    <a:pt x="4734" y="1384"/>
                  </a:cubicBezTo>
                  <a:cubicBezTo>
                    <a:pt x="4718" y="1376"/>
                    <a:pt x="4695" y="1368"/>
                    <a:pt x="4671" y="1336"/>
                  </a:cubicBezTo>
                  <a:cubicBezTo>
                    <a:pt x="4631" y="1289"/>
                    <a:pt x="4608" y="1273"/>
                    <a:pt x="4584" y="1273"/>
                  </a:cubicBezTo>
                  <a:cubicBezTo>
                    <a:pt x="4568" y="1281"/>
                    <a:pt x="4560" y="1289"/>
                    <a:pt x="4552" y="1304"/>
                  </a:cubicBezTo>
                  <a:cubicBezTo>
                    <a:pt x="4544" y="1304"/>
                    <a:pt x="4544" y="1313"/>
                    <a:pt x="4544" y="1313"/>
                  </a:cubicBezTo>
                  <a:cubicBezTo>
                    <a:pt x="4544" y="1313"/>
                    <a:pt x="4544" y="1320"/>
                    <a:pt x="4537" y="1320"/>
                  </a:cubicBezTo>
                  <a:cubicBezTo>
                    <a:pt x="4528" y="1328"/>
                    <a:pt x="4521" y="1344"/>
                    <a:pt x="4505" y="1344"/>
                  </a:cubicBezTo>
                  <a:cubicBezTo>
                    <a:pt x="4497" y="1344"/>
                    <a:pt x="4489" y="1336"/>
                    <a:pt x="4481" y="1328"/>
                  </a:cubicBezTo>
                  <a:cubicBezTo>
                    <a:pt x="4465" y="1320"/>
                    <a:pt x="4457" y="1313"/>
                    <a:pt x="4450" y="1304"/>
                  </a:cubicBezTo>
                  <a:cubicBezTo>
                    <a:pt x="4450" y="1297"/>
                    <a:pt x="4442" y="1289"/>
                    <a:pt x="4434" y="1289"/>
                  </a:cubicBezTo>
                  <a:cubicBezTo>
                    <a:pt x="4418" y="1289"/>
                    <a:pt x="4378" y="1289"/>
                    <a:pt x="4370" y="1313"/>
                  </a:cubicBezTo>
                  <a:cubicBezTo>
                    <a:pt x="4363" y="1336"/>
                    <a:pt x="4355" y="1360"/>
                    <a:pt x="4339" y="1360"/>
                  </a:cubicBezTo>
                  <a:cubicBezTo>
                    <a:pt x="4331" y="1360"/>
                    <a:pt x="4323" y="1360"/>
                    <a:pt x="4315" y="1352"/>
                  </a:cubicBezTo>
                  <a:cubicBezTo>
                    <a:pt x="4307" y="1344"/>
                    <a:pt x="4299" y="1336"/>
                    <a:pt x="4299" y="1328"/>
                  </a:cubicBezTo>
                  <a:cubicBezTo>
                    <a:pt x="4299" y="1320"/>
                    <a:pt x="4291" y="1320"/>
                    <a:pt x="4291" y="1320"/>
                  </a:cubicBezTo>
                  <a:cubicBezTo>
                    <a:pt x="4284" y="1320"/>
                    <a:pt x="4284" y="1320"/>
                    <a:pt x="4276" y="1320"/>
                  </a:cubicBezTo>
                  <a:cubicBezTo>
                    <a:pt x="4236" y="1336"/>
                    <a:pt x="4212" y="1352"/>
                    <a:pt x="4188" y="1376"/>
                  </a:cubicBezTo>
                  <a:cubicBezTo>
                    <a:pt x="4188" y="1384"/>
                    <a:pt x="4188" y="1384"/>
                    <a:pt x="4188" y="1384"/>
                  </a:cubicBezTo>
                  <a:cubicBezTo>
                    <a:pt x="4173" y="1407"/>
                    <a:pt x="4157" y="1423"/>
                    <a:pt x="4141" y="1423"/>
                  </a:cubicBezTo>
                  <a:cubicBezTo>
                    <a:pt x="4133" y="1423"/>
                    <a:pt x="4125" y="1415"/>
                    <a:pt x="4117" y="1415"/>
                  </a:cubicBezTo>
                  <a:cubicBezTo>
                    <a:pt x="4094" y="1391"/>
                    <a:pt x="4078" y="1376"/>
                    <a:pt x="4046" y="1352"/>
                  </a:cubicBezTo>
                  <a:cubicBezTo>
                    <a:pt x="4046" y="1344"/>
                    <a:pt x="4038" y="1344"/>
                    <a:pt x="4038" y="1336"/>
                  </a:cubicBezTo>
                  <a:cubicBezTo>
                    <a:pt x="4023" y="1320"/>
                    <a:pt x="4007" y="1304"/>
                    <a:pt x="4000" y="1304"/>
                  </a:cubicBezTo>
                  <a:cubicBezTo>
                    <a:pt x="4000" y="1304"/>
                    <a:pt x="4000" y="1304"/>
                    <a:pt x="3992" y="1313"/>
                  </a:cubicBezTo>
                  <a:cubicBezTo>
                    <a:pt x="3992" y="1320"/>
                    <a:pt x="3992" y="1320"/>
                    <a:pt x="3992" y="1320"/>
                  </a:cubicBezTo>
                  <a:cubicBezTo>
                    <a:pt x="3984" y="1336"/>
                    <a:pt x="3976" y="1352"/>
                    <a:pt x="3968" y="1352"/>
                  </a:cubicBezTo>
                  <a:cubicBezTo>
                    <a:pt x="3960" y="1352"/>
                    <a:pt x="3960" y="1352"/>
                    <a:pt x="3952" y="1344"/>
                  </a:cubicBezTo>
                  <a:cubicBezTo>
                    <a:pt x="3937" y="1320"/>
                    <a:pt x="3929" y="1313"/>
                    <a:pt x="3913" y="1297"/>
                  </a:cubicBezTo>
                  <a:cubicBezTo>
                    <a:pt x="3905" y="1289"/>
                    <a:pt x="3905" y="1289"/>
                    <a:pt x="3897" y="1281"/>
                  </a:cubicBezTo>
                  <a:cubicBezTo>
                    <a:pt x="3897" y="1273"/>
                    <a:pt x="3897" y="1273"/>
                    <a:pt x="3897" y="1273"/>
                  </a:cubicBezTo>
                  <a:cubicBezTo>
                    <a:pt x="3897" y="1273"/>
                    <a:pt x="3889" y="1273"/>
                    <a:pt x="3889" y="1289"/>
                  </a:cubicBezTo>
                  <a:cubicBezTo>
                    <a:pt x="3881" y="1297"/>
                    <a:pt x="3881" y="1304"/>
                    <a:pt x="3874" y="1313"/>
                  </a:cubicBezTo>
                  <a:cubicBezTo>
                    <a:pt x="3865" y="1320"/>
                    <a:pt x="3865" y="1328"/>
                    <a:pt x="3865" y="1344"/>
                  </a:cubicBezTo>
                  <a:cubicBezTo>
                    <a:pt x="3865" y="1368"/>
                    <a:pt x="3858" y="1407"/>
                    <a:pt x="3842" y="1407"/>
                  </a:cubicBezTo>
                  <a:cubicBezTo>
                    <a:pt x="3842" y="1407"/>
                    <a:pt x="3842" y="1407"/>
                    <a:pt x="3842" y="1399"/>
                  </a:cubicBezTo>
                  <a:cubicBezTo>
                    <a:pt x="3834" y="1399"/>
                    <a:pt x="3834" y="1399"/>
                    <a:pt x="3834" y="1399"/>
                  </a:cubicBezTo>
                  <a:cubicBezTo>
                    <a:pt x="3818" y="1399"/>
                    <a:pt x="3802" y="1391"/>
                    <a:pt x="3802" y="1360"/>
                  </a:cubicBezTo>
                  <a:cubicBezTo>
                    <a:pt x="3810" y="1352"/>
                    <a:pt x="3810" y="1344"/>
                    <a:pt x="3810" y="1336"/>
                  </a:cubicBezTo>
                  <a:cubicBezTo>
                    <a:pt x="3810" y="1328"/>
                    <a:pt x="3818" y="1313"/>
                    <a:pt x="3818" y="1313"/>
                  </a:cubicBezTo>
                  <a:cubicBezTo>
                    <a:pt x="3810" y="1313"/>
                    <a:pt x="3810" y="1313"/>
                    <a:pt x="3810" y="1313"/>
                  </a:cubicBezTo>
                  <a:cubicBezTo>
                    <a:pt x="3810" y="1313"/>
                    <a:pt x="3810" y="1313"/>
                    <a:pt x="3802" y="1313"/>
                  </a:cubicBezTo>
                  <a:cubicBezTo>
                    <a:pt x="3794" y="1313"/>
                    <a:pt x="3786" y="1313"/>
                    <a:pt x="3778" y="1313"/>
                  </a:cubicBezTo>
                  <a:cubicBezTo>
                    <a:pt x="3731" y="1313"/>
                    <a:pt x="3723" y="1320"/>
                    <a:pt x="3723" y="1320"/>
                  </a:cubicBezTo>
                  <a:cubicBezTo>
                    <a:pt x="3723" y="1336"/>
                    <a:pt x="3715" y="1344"/>
                    <a:pt x="3699" y="1344"/>
                  </a:cubicBezTo>
                  <a:cubicBezTo>
                    <a:pt x="3692" y="1344"/>
                    <a:pt x="3684" y="1336"/>
                    <a:pt x="3676" y="1328"/>
                  </a:cubicBezTo>
                  <a:lnTo>
                    <a:pt x="3676" y="1328"/>
                  </a:lnTo>
                  <a:cubicBezTo>
                    <a:pt x="3660" y="1313"/>
                    <a:pt x="3652" y="1297"/>
                    <a:pt x="3628" y="1289"/>
                  </a:cubicBezTo>
                  <a:cubicBezTo>
                    <a:pt x="3597" y="1281"/>
                    <a:pt x="3573" y="1289"/>
                    <a:pt x="3565" y="1304"/>
                  </a:cubicBezTo>
                  <a:cubicBezTo>
                    <a:pt x="3557" y="1320"/>
                    <a:pt x="3534" y="1344"/>
                    <a:pt x="3518" y="1344"/>
                  </a:cubicBezTo>
                  <a:cubicBezTo>
                    <a:pt x="3510" y="1344"/>
                    <a:pt x="3502" y="1344"/>
                    <a:pt x="3502" y="1336"/>
                  </a:cubicBezTo>
                  <a:cubicBezTo>
                    <a:pt x="3502" y="1320"/>
                    <a:pt x="3502" y="1304"/>
                    <a:pt x="3502" y="1297"/>
                  </a:cubicBezTo>
                  <a:cubicBezTo>
                    <a:pt x="3502" y="1281"/>
                    <a:pt x="3502" y="1265"/>
                    <a:pt x="3486" y="1265"/>
                  </a:cubicBezTo>
                  <a:lnTo>
                    <a:pt x="3478" y="1257"/>
                  </a:lnTo>
                  <a:cubicBezTo>
                    <a:pt x="3462" y="1257"/>
                    <a:pt x="3462" y="1257"/>
                    <a:pt x="3462" y="1233"/>
                  </a:cubicBezTo>
                  <a:lnTo>
                    <a:pt x="3462" y="1226"/>
                  </a:lnTo>
                  <a:cubicBezTo>
                    <a:pt x="3462" y="1210"/>
                    <a:pt x="3462" y="1202"/>
                    <a:pt x="3454" y="1202"/>
                  </a:cubicBezTo>
                  <a:lnTo>
                    <a:pt x="3446" y="1194"/>
                  </a:lnTo>
                  <a:cubicBezTo>
                    <a:pt x="3431" y="1194"/>
                    <a:pt x="3423" y="1194"/>
                    <a:pt x="3415" y="1194"/>
                  </a:cubicBezTo>
                  <a:cubicBezTo>
                    <a:pt x="3415" y="1194"/>
                    <a:pt x="3407" y="1194"/>
                    <a:pt x="3399" y="1194"/>
                  </a:cubicBezTo>
                  <a:cubicBezTo>
                    <a:pt x="3391" y="1194"/>
                    <a:pt x="3391" y="1194"/>
                    <a:pt x="3391" y="1202"/>
                  </a:cubicBezTo>
                  <a:lnTo>
                    <a:pt x="3383" y="1210"/>
                  </a:lnTo>
                  <a:cubicBezTo>
                    <a:pt x="3383" y="1210"/>
                    <a:pt x="3375" y="1210"/>
                    <a:pt x="3375" y="1202"/>
                  </a:cubicBezTo>
                  <a:lnTo>
                    <a:pt x="3367" y="1202"/>
                  </a:lnTo>
                  <a:cubicBezTo>
                    <a:pt x="3367" y="1202"/>
                    <a:pt x="3359" y="1202"/>
                    <a:pt x="3359" y="1218"/>
                  </a:cubicBezTo>
                  <a:cubicBezTo>
                    <a:pt x="3352" y="1241"/>
                    <a:pt x="3336" y="1249"/>
                    <a:pt x="3320" y="1249"/>
                  </a:cubicBezTo>
                  <a:cubicBezTo>
                    <a:pt x="3312" y="1249"/>
                    <a:pt x="3304" y="1249"/>
                    <a:pt x="3304" y="1233"/>
                  </a:cubicBezTo>
                  <a:cubicBezTo>
                    <a:pt x="3304" y="1233"/>
                    <a:pt x="3304" y="1233"/>
                    <a:pt x="3304" y="1226"/>
                  </a:cubicBezTo>
                  <a:cubicBezTo>
                    <a:pt x="3304" y="1210"/>
                    <a:pt x="3296" y="1202"/>
                    <a:pt x="3273" y="1202"/>
                  </a:cubicBezTo>
                  <a:lnTo>
                    <a:pt x="3265" y="1202"/>
                  </a:lnTo>
                  <a:cubicBezTo>
                    <a:pt x="3257" y="1202"/>
                    <a:pt x="3241" y="1202"/>
                    <a:pt x="3233" y="1202"/>
                  </a:cubicBezTo>
                  <a:cubicBezTo>
                    <a:pt x="3225" y="1210"/>
                    <a:pt x="3217" y="1210"/>
                    <a:pt x="3209" y="1210"/>
                  </a:cubicBezTo>
                  <a:cubicBezTo>
                    <a:pt x="3194" y="1210"/>
                    <a:pt x="3186" y="1210"/>
                    <a:pt x="3178" y="1202"/>
                  </a:cubicBezTo>
                  <a:lnTo>
                    <a:pt x="3178" y="1202"/>
                  </a:lnTo>
                  <a:lnTo>
                    <a:pt x="3178" y="1202"/>
                  </a:lnTo>
                  <a:cubicBezTo>
                    <a:pt x="3178" y="1202"/>
                    <a:pt x="3170" y="1170"/>
                    <a:pt x="3130" y="1178"/>
                  </a:cubicBezTo>
                  <a:cubicBezTo>
                    <a:pt x="3122" y="1178"/>
                    <a:pt x="3115" y="1178"/>
                    <a:pt x="3115" y="1178"/>
                  </a:cubicBezTo>
                  <a:cubicBezTo>
                    <a:pt x="3091" y="1178"/>
                    <a:pt x="3083" y="1170"/>
                    <a:pt x="3067" y="1162"/>
                  </a:cubicBezTo>
                  <a:cubicBezTo>
                    <a:pt x="3059" y="1162"/>
                    <a:pt x="3051" y="1162"/>
                    <a:pt x="3043" y="1154"/>
                  </a:cubicBezTo>
                  <a:cubicBezTo>
                    <a:pt x="3020" y="1154"/>
                    <a:pt x="3012" y="1131"/>
                    <a:pt x="3012" y="1115"/>
                  </a:cubicBezTo>
                  <a:cubicBezTo>
                    <a:pt x="3012" y="1099"/>
                    <a:pt x="3012" y="1091"/>
                    <a:pt x="3004" y="1083"/>
                  </a:cubicBezTo>
                  <a:cubicBezTo>
                    <a:pt x="3004" y="1075"/>
                    <a:pt x="3004" y="1075"/>
                    <a:pt x="3004" y="1075"/>
                  </a:cubicBezTo>
                  <a:cubicBezTo>
                    <a:pt x="2988" y="1051"/>
                    <a:pt x="2980" y="1028"/>
                    <a:pt x="2964" y="1036"/>
                  </a:cubicBezTo>
                  <a:cubicBezTo>
                    <a:pt x="2956" y="1044"/>
                    <a:pt x="2956" y="1044"/>
                    <a:pt x="2956" y="1051"/>
                  </a:cubicBezTo>
                  <a:cubicBezTo>
                    <a:pt x="2948" y="1067"/>
                    <a:pt x="2948" y="1075"/>
                    <a:pt x="2933" y="1075"/>
                  </a:cubicBezTo>
                  <a:cubicBezTo>
                    <a:pt x="2925" y="1075"/>
                    <a:pt x="2917" y="1075"/>
                    <a:pt x="2917" y="1075"/>
                  </a:cubicBezTo>
                  <a:cubicBezTo>
                    <a:pt x="2909" y="1067"/>
                    <a:pt x="2901" y="1067"/>
                    <a:pt x="2893" y="1067"/>
                  </a:cubicBezTo>
                  <a:cubicBezTo>
                    <a:pt x="2885" y="1067"/>
                    <a:pt x="2885" y="1075"/>
                    <a:pt x="2877" y="1075"/>
                  </a:cubicBezTo>
                  <a:cubicBezTo>
                    <a:pt x="2869" y="1075"/>
                    <a:pt x="2869" y="1075"/>
                    <a:pt x="2862" y="1075"/>
                  </a:cubicBezTo>
                  <a:cubicBezTo>
                    <a:pt x="2854" y="1075"/>
                    <a:pt x="2846" y="1075"/>
                    <a:pt x="2830" y="1060"/>
                  </a:cubicBezTo>
                  <a:cubicBezTo>
                    <a:pt x="2814" y="1051"/>
                    <a:pt x="2798" y="1028"/>
                    <a:pt x="2790" y="1012"/>
                  </a:cubicBezTo>
                  <a:cubicBezTo>
                    <a:pt x="2782" y="996"/>
                    <a:pt x="2775" y="988"/>
                    <a:pt x="2759" y="973"/>
                  </a:cubicBezTo>
                  <a:cubicBezTo>
                    <a:pt x="2719" y="957"/>
                    <a:pt x="2735" y="174"/>
                    <a:pt x="2735" y="71"/>
                  </a:cubicBezTo>
                  <a:cubicBezTo>
                    <a:pt x="1605" y="8"/>
                    <a:pt x="1605" y="8"/>
                    <a:pt x="1605" y="8"/>
                  </a:cubicBezTo>
                  <a:cubicBezTo>
                    <a:pt x="1462" y="2103"/>
                    <a:pt x="1462" y="2103"/>
                    <a:pt x="1462" y="2103"/>
                  </a:cubicBezTo>
                  <a:cubicBezTo>
                    <a:pt x="1462" y="2103"/>
                    <a:pt x="1454" y="2150"/>
                    <a:pt x="1423" y="2150"/>
                  </a:cubicBezTo>
                  <a:cubicBezTo>
                    <a:pt x="1399" y="2150"/>
                    <a:pt x="79" y="2040"/>
                    <a:pt x="23" y="2032"/>
                  </a:cubicBezTo>
                  <a:lnTo>
                    <a:pt x="23" y="2032"/>
                  </a:lnTo>
                  <a:lnTo>
                    <a:pt x="23" y="2032"/>
                  </a:lnTo>
                  <a:lnTo>
                    <a:pt x="16" y="2032"/>
                  </a:lnTo>
                  <a:cubicBezTo>
                    <a:pt x="16" y="2032"/>
                    <a:pt x="8" y="2040"/>
                    <a:pt x="55" y="2135"/>
                  </a:cubicBezTo>
                  <a:cubicBezTo>
                    <a:pt x="79" y="2135"/>
                    <a:pt x="87" y="2135"/>
                    <a:pt x="87" y="2135"/>
                  </a:cubicBezTo>
                  <a:cubicBezTo>
                    <a:pt x="95" y="2135"/>
                    <a:pt x="166" y="2190"/>
                    <a:pt x="166" y="2261"/>
                  </a:cubicBezTo>
                  <a:cubicBezTo>
                    <a:pt x="166" y="2293"/>
                    <a:pt x="174" y="2301"/>
                    <a:pt x="189" y="2301"/>
                  </a:cubicBezTo>
                  <a:cubicBezTo>
                    <a:pt x="197" y="2301"/>
                    <a:pt x="213" y="2301"/>
                    <a:pt x="237" y="2316"/>
                  </a:cubicBezTo>
                  <a:cubicBezTo>
                    <a:pt x="292" y="2356"/>
                    <a:pt x="316" y="2380"/>
                    <a:pt x="355" y="2419"/>
                  </a:cubicBezTo>
                  <a:cubicBezTo>
                    <a:pt x="363" y="2435"/>
                    <a:pt x="371" y="2435"/>
                    <a:pt x="379" y="2443"/>
                  </a:cubicBezTo>
                  <a:cubicBezTo>
                    <a:pt x="403" y="2474"/>
                    <a:pt x="419" y="2482"/>
                    <a:pt x="427" y="2538"/>
                  </a:cubicBezTo>
                  <a:cubicBezTo>
                    <a:pt x="442" y="2569"/>
                    <a:pt x="458" y="2577"/>
                    <a:pt x="482" y="2585"/>
                  </a:cubicBezTo>
                  <a:cubicBezTo>
                    <a:pt x="498" y="2593"/>
                    <a:pt x="513" y="2593"/>
                    <a:pt x="537" y="2609"/>
                  </a:cubicBezTo>
                  <a:cubicBezTo>
                    <a:pt x="545" y="2625"/>
                    <a:pt x="561" y="2633"/>
                    <a:pt x="569" y="2648"/>
                  </a:cubicBezTo>
                  <a:cubicBezTo>
                    <a:pt x="593" y="2672"/>
                    <a:pt x="616" y="2696"/>
                    <a:pt x="656" y="2727"/>
                  </a:cubicBezTo>
                  <a:cubicBezTo>
                    <a:pt x="711" y="2759"/>
                    <a:pt x="711" y="2775"/>
                    <a:pt x="703" y="2791"/>
                  </a:cubicBezTo>
                  <a:cubicBezTo>
                    <a:pt x="703" y="2799"/>
                    <a:pt x="703" y="2807"/>
                    <a:pt x="703" y="2814"/>
                  </a:cubicBezTo>
                  <a:cubicBezTo>
                    <a:pt x="703" y="2822"/>
                    <a:pt x="703" y="2830"/>
                    <a:pt x="703" y="2830"/>
                  </a:cubicBezTo>
                  <a:cubicBezTo>
                    <a:pt x="703" y="2846"/>
                    <a:pt x="695" y="2854"/>
                    <a:pt x="751" y="2917"/>
                  </a:cubicBezTo>
                  <a:cubicBezTo>
                    <a:pt x="775" y="2941"/>
                    <a:pt x="782" y="2957"/>
                    <a:pt x="782" y="2965"/>
                  </a:cubicBezTo>
                  <a:cubicBezTo>
                    <a:pt x="775" y="2980"/>
                    <a:pt x="766" y="2980"/>
                    <a:pt x="759" y="2988"/>
                  </a:cubicBezTo>
                  <a:cubicBezTo>
                    <a:pt x="751" y="2996"/>
                    <a:pt x="735" y="3004"/>
                    <a:pt x="727" y="3020"/>
                  </a:cubicBezTo>
                  <a:cubicBezTo>
                    <a:pt x="719" y="3051"/>
                    <a:pt x="735" y="3091"/>
                    <a:pt x="759" y="3123"/>
                  </a:cubicBezTo>
                  <a:cubicBezTo>
                    <a:pt x="775" y="3147"/>
                    <a:pt x="782" y="3162"/>
                    <a:pt x="790" y="3178"/>
                  </a:cubicBezTo>
                  <a:cubicBezTo>
                    <a:pt x="798" y="3225"/>
                    <a:pt x="822" y="3233"/>
                    <a:pt x="861" y="3241"/>
                  </a:cubicBezTo>
                  <a:cubicBezTo>
                    <a:pt x="869" y="3249"/>
                    <a:pt x="869" y="3249"/>
                    <a:pt x="869" y="3249"/>
                  </a:cubicBezTo>
                  <a:cubicBezTo>
                    <a:pt x="893" y="3257"/>
                    <a:pt x="901" y="3265"/>
                    <a:pt x="901" y="3281"/>
                  </a:cubicBezTo>
                  <a:cubicBezTo>
                    <a:pt x="901" y="3281"/>
                    <a:pt x="909" y="3289"/>
                    <a:pt x="917" y="3304"/>
                  </a:cubicBezTo>
                  <a:cubicBezTo>
                    <a:pt x="941" y="3336"/>
                    <a:pt x="996" y="3368"/>
                    <a:pt x="1028" y="3368"/>
                  </a:cubicBezTo>
                  <a:cubicBezTo>
                    <a:pt x="1051" y="3368"/>
                    <a:pt x="1075" y="3384"/>
                    <a:pt x="1099" y="3407"/>
                  </a:cubicBezTo>
                  <a:cubicBezTo>
                    <a:pt x="1114" y="3423"/>
                    <a:pt x="1130" y="3439"/>
                    <a:pt x="1138" y="3439"/>
                  </a:cubicBezTo>
                  <a:lnTo>
                    <a:pt x="1138" y="3439"/>
                  </a:lnTo>
                  <a:cubicBezTo>
                    <a:pt x="1138" y="3439"/>
                    <a:pt x="1138" y="3431"/>
                    <a:pt x="1146" y="3431"/>
                  </a:cubicBezTo>
                  <a:cubicBezTo>
                    <a:pt x="1162" y="3431"/>
                    <a:pt x="1233" y="3478"/>
                    <a:pt x="1288" y="3518"/>
                  </a:cubicBezTo>
                  <a:cubicBezTo>
                    <a:pt x="1304" y="3534"/>
                    <a:pt x="1320" y="3542"/>
                    <a:pt x="1328" y="3550"/>
                  </a:cubicBezTo>
                  <a:cubicBezTo>
                    <a:pt x="1344" y="3557"/>
                    <a:pt x="1352" y="3557"/>
                    <a:pt x="1359" y="3557"/>
                  </a:cubicBezTo>
                  <a:cubicBezTo>
                    <a:pt x="1367" y="3557"/>
                    <a:pt x="1367" y="3550"/>
                    <a:pt x="1375" y="3534"/>
                  </a:cubicBezTo>
                  <a:cubicBezTo>
                    <a:pt x="1383" y="3518"/>
                    <a:pt x="1391" y="3502"/>
                    <a:pt x="1415" y="3486"/>
                  </a:cubicBezTo>
                  <a:cubicBezTo>
                    <a:pt x="1446" y="3471"/>
                    <a:pt x="1454" y="3439"/>
                    <a:pt x="1462" y="3400"/>
                  </a:cubicBezTo>
                  <a:cubicBezTo>
                    <a:pt x="1462" y="3391"/>
                    <a:pt x="1462" y="3384"/>
                    <a:pt x="1470" y="3368"/>
                  </a:cubicBezTo>
                  <a:cubicBezTo>
                    <a:pt x="1478" y="3344"/>
                    <a:pt x="1494" y="3313"/>
                    <a:pt x="1502" y="3297"/>
                  </a:cubicBezTo>
                  <a:cubicBezTo>
                    <a:pt x="1510" y="3289"/>
                    <a:pt x="1518" y="3281"/>
                    <a:pt x="1518" y="3273"/>
                  </a:cubicBezTo>
                  <a:cubicBezTo>
                    <a:pt x="1518" y="3265"/>
                    <a:pt x="1525" y="3257"/>
                    <a:pt x="1525" y="3249"/>
                  </a:cubicBezTo>
                  <a:cubicBezTo>
                    <a:pt x="1525" y="3225"/>
                    <a:pt x="1533" y="3194"/>
                    <a:pt x="1597" y="3186"/>
                  </a:cubicBezTo>
                  <a:cubicBezTo>
                    <a:pt x="1636" y="3186"/>
                    <a:pt x="1660" y="3170"/>
                    <a:pt x="1676" y="3162"/>
                  </a:cubicBezTo>
                  <a:cubicBezTo>
                    <a:pt x="1692" y="3154"/>
                    <a:pt x="1699" y="3147"/>
                    <a:pt x="1715" y="3147"/>
                  </a:cubicBezTo>
                  <a:cubicBezTo>
                    <a:pt x="1723" y="3147"/>
                    <a:pt x="1723" y="3147"/>
                    <a:pt x="1723" y="3147"/>
                  </a:cubicBezTo>
                  <a:cubicBezTo>
                    <a:pt x="1755" y="3147"/>
                    <a:pt x="1771" y="3162"/>
                    <a:pt x="1778" y="3178"/>
                  </a:cubicBezTo>
                  <a:cubicBezTo>
                    <a:pt x="1794" y="3186"/>
                    <a:pt x="1794" y="3194"/>
                    <a:pt x="1810" y="3194"/>
                  </a:cubicBezTo>
                  <a:cubicBezTo>
                    <a:pt x="1826" y="3194"/>
                    <a:pt x="1834" y="3194"/>
                    <a:pt x="1850" y="3186"/>
                  </a:cubicBezTo>
                  <a:cubicBezTo>
                    <a:pt x="1858" y="3186"/>
                    <a:pt x="1865" y="3186"/>
                    <a:pt x="1873" y="3178"/>
                  </a:cubicBezTo>
                  <a:cubicBezTo>
                    <a:pt x="1881" y="3178"/>
                    <a:pt x="1889" y="3178"/>
                    <a:pt x="1897" y="3178"/>
                  </a:cubicBezTo>
                  <a:cubicBezTo>
                    <a:pt x="1913" y="3178"/>
                    <a:pt x="1921" y="3186"/>
                    <a:pt x="1929" y="3194"/>
                  </a:cubicBezTo>
                  <a:cubicBezTo>
                    <a:pt x="1936" y="3202"/>
                    <a:pt x="1936" y="3202"/>
                    <a:pt x="1936" y="3202"/>
                  </a:cubicBezTo>
                  <a:cubicBezTo>
                    <a:pt x="1945" y="3210"/>
                    <a:pt x="1952" y="3218"/>
                    <a:pt x="1960" y="3218"/>
                  </a:cubicBezTo>
                  <a:cubicBezTo>
                    <a:pt x="1976" y="3218"/>
                    <a:pt x="1992" y="3210"/>
                    <a:pt x="2008" y="3194"/>
                  </a:cubicBezTo>
                  <a:lnTo>
                    <a:pt x="2016" y="3194"/>
                  </a:lnTo>
                  <a:cubicBezTo>
                    <a:pt x="2031" y="3194"/>
                    <a:pt x="2063" y="3233"/>
                    <a:pt x="2111" y="3281"/>
                  </a:cubicBezTo>
                  <a:cubicBezTo>
                    <a:pt x="2126" y="3304"/>
                    <a:pt x="2142" y="3320"/>
                    <a:pt x="2150" y="3336"/>
                  </a:cubicBezTo>
                  <a:cubicBezTo>
                    <a:pt x="2189" y="3376"/>
                    <a:pt x="2269" y="3439"/>
                    <a:pt x="2316" y="3471"/>
                  </a:cubicBezTo>
                  <a:cubicBezTo>
                    <a:pt x="2332" y="3478"/>
                    <a:pt x="2332" y="3494"/>
                    <a:pt x="2340" y="3510"/>
                  </a:cubicBezTo>
                  <a:cubicBezTo>
                    <a:pt x="2340" y="3534"/>
                    <a:pt x="2348" y="3581"/>
                    <a:pt x="2403" y="3668"/>
                  </a:cubicBezTo>
                  <a:cubicBezTo>
                    <a:pt x="2474" y="3763"/>
                    <a:pt x="2482" y="3811"/>
                    <a:pt x="2490" y="3834"/>
                  </a:cubicBezTo>
                  <a:cubicBezTo>
                    <a:pt x="2490" y="3858"/>
                    <a:pt x="2490" y="3866"/>
                    <a:pt x="2506" y="3874"/>
                  </a:cubicBezTo>
                  <a:cubicBezTo>
                    <a:pt x="2522" y="3897"/>
                    <a:pt x="2514" y="3913"/>
                    <a:pt x="2514" y="3921"/>
                  </a:cubicBezTo>
                  <a:cubicBezTo>
                    <a:pt x="2506" y="3929"/>
                    <a:pt x="2506" y="3937"/>
                    <a:pt x="2522" y="3945"/>
                  </a:cubicBezTo>
                  <a:cubicBezTo>
                    <a:pt x="2569" y="3969"/>
                    <a:pt x="2672" y="4103"/>
                    <a:pt x="2695" y="4142"/>
                  </a:cubicBezTo>
                  <a:cubicBezTo>
                    <a:pt x="2703" y="4150"/>
                    <a:pt x="2703" y="4166"/>
                    <a:pt x="2711" y="4174"/>
                  </a:cubicBezTo>
                  <a:cubicBezTo>
                    <a:pt x="2719" y="4198"/>
                    <a:pt x="2727" y="4214"/>
                    <a:pt x="2751" y="4222"/>
                  </a:cubicBezTo>
                  <a:cubicBezTo>
                    <a:pt x="2775" y="4222"/>
                    <a:pt x="2790" y="4237"/>
                    <a:pt x="2806" y="4253"/>
                  </a:cubicBezTo>
                  <a:cubicBezTo>
                    <a:pt x="2814" y="4261"/>
                    <a:pt x="2814" y="4269"/>
                    <a:pt x="2822" y="4277"/>
                  </a:cubicBezTo>
                  <a:cubicBezTo>
                    <a:pt x="2838" y="4293"/>
                    <a:pt x="2838" y="4293"/>
                    <a:pt x="2830" y="4308"/>
                  </a:cubicBezTo>
                  <a:cubicBezTo>
                    <a:pt x="2830" y="4317"/>
                    <a:pt x="2822" y="4324"/>
                    <a:pt x="2822" y="4332"/>
                  </a:cubicBezTo>
                  <a:cubicBezTo>
                    <a:pt x="2822" y="4340"/>
                    <a:pt x="2822" y="4340"/>
                    <a:pt x="2822" y="4348"/>
                  </a:cubicBezTo>
                  <a:cubicBezTo>
                    <a:pt x="2814" y="4372"/>
                    <a:pt x="2806" y="4395"/>
                    <a:pt x="2854" y="4419"/>
                  </a:cubicBezTo>
                  <a:cubicBezTo>
                    <a:pt x="2862" y="4419"/>
                    <a:pt x="2869" y="4427"/>
                    <a:pt x="2869" y="4435"/>
                  </a:cubicBezTo>
                  <a:cubicBezTo>
                    <a:pt x="2869" y="4451"/>
                    <a:pt x="2862" y="4459"/>
                    <a:pt x="2854" y="4475"/>
                  </a:cubicBezTo>
                  <a:cubicBezTo>
                    <a:pt x="2846" y="4490"/>
                    <a:pt x="2838" y="4506"/>
                    <a:pt x="2854" y="4522"/>
                  </a:cubicBezTo>
                  <a:cubicBezTo>
                    <a:pt x="2869" y="4546"/>
                    <a:pt x="2885" y="4577"/>
                    <a:pt x="2909" y="4609"/>
                  </a:cubicBezTo>
                  <a:cubicBezTo>
                    <a:pt x="2925" y="4641"/>
                    <a:pt x="2941" y="4672"/>
                    <a:pt x="2948" y="4680"/>
                  </a:cubicBezTo>
                  <a:cubicBezTo>
                    <a:pt x="2964" y="4696"/>
                    <a:pt x="2956" y="4712"/>
                    <a:pt x="2956" y="4728"/>
                  </a:cubicBezTo>
                  <a:cubicBezTo>
                    <a:pt x="2956" y="4743"/>
                    <a:pt x="2948" y="4759"/>
                    <a:pt x="2964" y="4767"/>
                  </a:cubicBezTo>
                  <a:cubicBezTo>
                    <a:pt x="2972" y="4775"/>
                    <a:pt x="2980" y="4783"/>
                    <a:pt x="2980" y="4799"/>
                  </a:cubicBezTo>
                  <a:cubicBezTo>
                    <a:pt x="2988" y="4807"/>
                    <a:pt x="2988" y="4814"/>
                    <a:pt x="2996" y="4814"/>
                  </a:cubicBezTo>
                  <a:cubicBezTo>
                    <a:pt x="3004" y="4814"/>
                    <a:pt x="3043" y="4822"/>
                    <a:pt x="3106" y="4854"/>
                  </a:cubicBezTo>
                  <a:cubicBezTo>
                    <a:pt x="3122" y="4870"/>
                    <a:pt x="3138" y="4878"/>
                    <a:pt x="3146" y="4886"/>
                  </a:cubicBezTo>
                  <a:cubicBezTo>
                    <a:pt x="3154" y="4894"/>
                    <a:pt x="3154" y="4894"/>
                    <a:pt x="3186" y="4894"/>
                  </a:cubicBezTo>
                  <a:lnTo>
                    <a:pt x="3194" y="4894"/>
                  </a:lnTo>
                  <a:cubicBezTo>
                    <a:pt x="3225" y="4894"/>
                    <a:pt x="3241" y="4901"/>
                    <a:pt x="3265" y="4917"/>
                  </a:cubicBezTo>
                  <a:cubicBezTo>
                    <a:pt x="3273" y="4925"/>
                    <a:pt x="3281" y="4933"/>
                    <a:pt x="3296" y="4941"/>
                  </a:cubicBezTo>
                  <a:cubicBezTo>
                    <a:pt x="3304" y="4949"/>
                    <a:pt x="3312" y="4949"/>
                    <a:pt x="3312" y="4957"/>
                  </a:cubicBezTo>
                  <a:cubicBezTo>
                    <a:pt x="3352" y="4981"/>
                    <a:pt x="3367" y="4988"/>
                    <a:pt x="3407" y="4996"/>
                  </a:cubicBezTo>
                  <a:cubicBezTo>
                    <a:pt x="3423" y="4996"/>
                    <a:pt x="3431" y="4996"/>
                    <a:pt x="3446" y="4996"/>
                  </a:cubicBezTo>
                  <a:cubicBezTo>
                    <a:pt x="3462" y="4996"/>
                    <a:pt x="3470" y="4996"/>
                    <a:pt x="3494" y="4981"/>
                  </a:cubicBezTo>
                  <a:cubicBezTo>
                    <a:pt x="3502" y="4972"/>
                    <a:pt x="3510" y="4972"/>
                    <a:pt x="3518" y="4972"/>
                  </a:cubicBezTo>
                  <a:close/>
                </a:path>
              </a:pathLst>
            </a:custGeom>
            <a:solidFill>
              <a:schemeClr val="accent6"/>
            </a:solidFill>
            <a:ln>
              <a:solidFill>
                <a:schemeClr val="bg2"/>
              </a:solidFill>
            </a:ln>
            <a:effectLst/>
          </p:spPr>
          <p:txBody>
            <a:bodyPr wrap="none" anchor="ctr"/>
            <a:lstStyle/>
            <a:p>
              <a:endParaRPr lang="en-US"/>
            </a:p>
          </p:txBody>
        </p:sp>
        <p:sp>
          <p:nvSpPr>
            <p:cNvPr id="17" name="Freeform 24"/>
            <p:cNvSpPr>
              <a:spLocks noChangeArrowheads="1"/>
            </p:cNvSpPr>
            <p:nvPr/>
          </p:nvSpPr>
          <p:spPr bwMode="auto">
            <a:xfrm>
              <a:off x="3293490" y="3824902"/>
              <a:ext cx="1168827" cy="520550"/>
            </a:xfrm>
            <a:custGeom>
              <a:avLst/>
              <a:gdLst>
                <a:gd name="T0" fmla="*/ 3233 w 3242"/>
                <a:gd name="T1" fmla="*/ 751 h 1669"/>
                <a:gd name="T2" fmla="*/ 3233 w 3242"/>
                <a:gd name="T3" fmla="*/ 751 h 1669"/>
                <a:gd name="T4" fmla="*/ 3130 w 3242"/>
                <a:gd name="T5" fmla="*/ 71 h 1669"/>
                <a:gd name="T6" fmla="*/ 0 w 3242"/>
                <a:gd name="T7" fmla="*/ 0 h 1669"/>
                <a:gd name="T8" fmla="*/ 0 w 3242"/>
                <a:gd name="T9" fmla="*/ 245 h 1669"/>
                <a:gd name="T10" fmla="*/ 1123 w 3242"/>
                <a:gd name="T11" fmla="*/ 300 h 1669"/>
                <a:gd name="T12" fmla="*/ 1139 w 3242"/>
                <a:gd name="T13" fmla="*/ 1210 h 1669"/>
                <a:gd name="T14" fmla="*/ 1218 w 3242"/>
                <a:gd name="T15" fmla="*/ 1297 h 1669"/>
                <a:gd name="T16" fmla="*/ 1297 w 3242"/>
                <a:gd name="T17" fmla="*/ 1304 h 1669"/>
                <a:gd name="T18" fmla="*/ 1344 w 3242"/>
                <a:gd name="T19" fmla="*/ 1273 h 1669"/>
                <a:gd name="T20" fmla="*/ 1392 w 3242"/>
                <a:gd name="T21" fmla="*/ 1320 h 1669"/>
                <a:gd name="T22" fmla="*/ 1423 w 3242"/>
                <a:gd name="T23" fmla="*/ 1391 h 1669"/>
                <a:gd name="T24" fmla="*/ 1510 w 3242"/>
                <a:gd name="T25" fmla="*/ 1407 h 1669"/>
                <a:gd name="T26" fmla="*/ 1566 w 3242"/>
                <a:gd name="T27" fmla="*/ 1439 h 1669"/>
                <a:gd name="T28" fmla="*/ 1653 w 3242"/>
                <a:gd name="T29" fmla="*/ 1431 h 1669"/>
                <a:gd name="T30" fmla="*/ 1684 w 3242"/>
                <a:gd name="T31" fmla="*/ 1470 h 1669"/>
                <a:gd name="T32" fmla="*/ 1732 w 3242"/>
                <a:gd name="T33" fmla="*/ 1455 h 1669"/>
                <a:gd name="T34" fmla="*/ 1763 w 3242"/>
                <a:gd name="T35" fmla="*/ 1439 h 1669"/>
                <a:gd name="T36" fmla="*/ 1826 w 3242"/>
                <a:gd name="T37" fmla="*/ 1431 h 1669"/>
                <a:gd name="T38" fmla="*/ 1842 w 3242"/>
                <a:gd name="T39" fmla="*/ 1470 h 1669"/>
                <a:gd name="T40" fmla="*/ 1874 w 3242"/>
                <a:gd name="T41" fmla="*/ 1494 h 1669"/>
                <a:gd name="T42" fmla="*/ 1882 w 3242"/>
                <a:gd name="T43" fmla="*/ 1565 h 1669"/>
                <a:gd name="T44" fmla="*/ 1945 w 3242"/>
                <a:gd name="T45" fmla="*/ 1541 h 1669"/>
                <a:gd name="T46" fmla="*/ 2008 w 3242"/>
                <a:gd name="T47" fmla="*/ 1526 h 1669"/>
                <a:gd name="T48" fmla="*/ 2056 w 3242"/>
                <a:gd name="T49" fmla="*/ 1565 h 1669"/>
                <a:gd name="T50" fmla="*/ 2103 w 3242"/>
                <a:gd name="T51" fmla="*/ 1557 h 1669"/>
                <a:gd name="T52" fmla="*/ 2190 w 3242"/>
                <a:gd name="T53" fmla="*/ 1550 h 1669"/>
                <a:gd name="T54" fmla="*/ 2190 w 3242"/>
                <a:gd name="T55" fmla="*/ 1597 h 1669"/>
                <a:gd name="T56" fmla="*/ 2222 w 3242"/>
                <a:gd name="T57" fmla="*/ 1636 h 1669"/>
                <a:gd name="T58" fmla="*/ 2245 w 3242"/>
                <a:gd name="T59" fmla="*/ 1581 h 1669"/>
                <a:gd name="T60" fmla="*/ 2261 w 3242"/>
                <a:gd name="T61" fmla="*/ 1518 h 1669"/>
                <a:gd name="T62" fmla="*/ 2293 w 3242"/>
                <a:gd name="T63" fmla="*/ 1526 h 1669"/>
                <a:gd name="T64" fmla="*/ 2340 w 3242"/>
                <a:gd name="T65" fmla="*/ 1581 h 1669"/>
                <a:gd name="T66" fmla="*/ 2372 w 3242"/>
                <a:gd name="T67" fmla="*/ 1550 h 1669"/>
                <a:gd name="T68" fmla="*/ 2426 w 3242"/>
                <a:gd name="T69" fmla="*/ 1581 h 1669"/>
                <a:gd name="T70" fmla="*/ 2505 w 3242"/>
                <a:gd name="T71" fmla="*/ 1644 h 1669"/>
                <a:gd name="T72" fmla="*/ 2568 w 3242"/>
                <a:gd name="T73" fmla="*/ 1613 h 1669"/>
                <a:gd name="T74" fmla="*/ 2656 w 3242"/>
                <a:gd name="T75" fmla="*/ 1557 h 1669"/>
                <a:gd name="T76" fmla="*/ 2695 w 3242"/>
                <a:gd name="T77" fmla="*/ 1589 h 1669"/>
                <a:gd name="T78" fmla="*/ 2750 w 3242"/>
                <a:gd name="T79" fmla="*/ 1550 h 1669"/>
                <a:gd name="T80" fmla="*/ 2814 w 3242"/>
                <a:gd name="T81" fmla="*/ 1526 h 1669"/>
                <a:gd name="T82" fmla="*/ 2861 w 3242"/>
                <a:gd name="T83" fmla="*/ 1565 h 1669"/>
                <a:gd name="T84" fmla="*/ 2917 w 3242"/>
                <a:gd name="T85" fmla="*/ 1550 h 1669"/>
                <a:gd name="T86" fmla="*/ 2964 w 3242"/>
                <a:gd name="T87" fmla="*/ 1510 h 1669"/>
                <a:gd name="T88" fmla="*/ 3051 w 3242"/>
                <a:gd name="T89" fmla="*/ 1573 h 1669"/>
                <a:gd name="T90" fmla="*/ 3130 w 3242"/>
                <a:gd name="T91" fmla="*/ 1621 h 1669"/>
                <a:gd name="T92" fmla="*/ 3193 w 3242"/>
                <a:gd name="T93" fmla="*/ 1652 h 1669"/>
                <a:gd name="T94" fmla="*/ 3241 w 3242"/>
                <a:gd name="T95" fmla="*/ 1644 h 1669"/>
                <a:gd name="T96" fmla="*/ 3233 w 3242"/>
                <a:gd name="T97" fmla="*/ 751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42" h="1669">
                  <a:moveTo>
                    <a:pt x="3233" y="751"/>
                  </a:moveTo>
                  <a:lnTo>
                    <a:pt x="3233" y="751"/>
                  </a:lnTo>
                  <a:cubicBezTo>
                    <a:pt x="3138" y="380"/>
                    <a:pt x="3130" y="71"/>
                    <a:pt x="3130" y="71"/>
                  </a:cubicBezTo>
                  <a:cubicBezTo>
                    <a:pt x="1953" y="87"/>
                    <a:pt x="909" y="55"/>
                    <a:pt x="0" y="0"/>
                  </a:cubicBezTo>
                  <a:cubicBezTo>
                    <a:pt x="0" y="245"/>
                    <a:pt x="0" y="245"/>
                    <a:pt x="0" y="245"/>
                  </a:cubicBezTo>
                  <a:cubicBezTo>
                    <a:pt x="1123" y="300"/>
                    <a:pt x="1123" y="300"/>
                    <a:pt x="1123" y="300"/>
                  </a:cubicBezTo>
                  <a:cubicBezTo>
                    <a:pt x="1123" y="300"/>
                    <a:pt x="1107" y="1186"/>
                    <a:pt x="1139" y="1210"/>
                  </a:cubicBezTo>
                  <a:cubicBezTo>
                    <a:pt x="1170" y="1233"/>
                    <a:pt x="1178" y="1265"/>
                    <a:pt x="1218" y="1297"/>
                  </a:cubicBezTo>
                  <a:cubicBezTo>
                    <a:pt x="1249" y="1328"/>
                    <a:pt x="1249" y="1297"/>
                    <a:pt x="1297" y="1304"/>
                  </a:cubicBezTo>
                  <a:cubicBezTo>
                    <a:pt x="1336" y="1320"/>
                    <a:pt x="1321" y="1281"/>
                    <a:pt x="1344" y="1273"/>
                  </a:cubicBezTo>
                  <a:cubicBezTo>
                    <a:pt x="1360" y="1265"/>
                    <a:pt x="1376" y="1297"/>
                    <a:pt x="1392" y="1320"/>
                  </a:cubicBezTo>
                  <a:cubicBezTo>
                    <a:pt x="1400" y="1344"/>
                    <a:pt x="1392" y="1383"/>
                    <a:pt x="1423" y="1391"/>
                  </a:cubicBezTo>
                  <a:cubicBezTo>
                    <a:pt x="1455" y="1399"/>
                    <a:pt x="1463" y="1415"/>
                    <a:pt x="1510" y="1407"/>
                  </a:cubicBezTo>
                  <a:cubicBezTo>
                    <a:pt x="1550" y="1407"/>
                    <a:pt x="1566" y="1439"/>
                    <a:pt x="1566" y="1439"/>
                  </a:cubicBezTo>
                  <a:cubicBezTo>
                    <a:pt x="1589" y="1455"/>
                    <a:pt x="1621" y="1431"/>
                    <a:pt x="1653" y="1431"/>
                  </a:cubicBezTo>
                  <a:cubicBezTo>
                    <a:pt x="1684" y="1439"/>
                    <a:pt x="1684" y="1447"/>
                    <a:pt x="1684" y="1470"/>
                  </a:cubicBezTo>
                  <a:cubicBezTo>
                    <a:pt x="1692" y="1494"/>
                    <a:pt x="1724" y="1486"/>
                    <a:pt x="1732" y="1455"/>
                  </a:cubicBezTo>
                  <a:cubicBezTo>
                    <a:pt x="1739" y="1423"/>
                    <a:pt x="1763" y="1447"/>
                    <a:pt x="1763" y="1439"/>
                  </a:cubicBezTo>
                  <a:cubicBezTo>
                    <a:pt x="1771" y="1423"/>
                    <a:pt x="1795" y="1431"/>
                    <a:pt x="1826" y="1431"/>
                  </a:cubicBezTo>
                  <a:cubicBezTo>
                    <a:pt x="1850" y="1431"/>
                    <a:pt x="1842" y="1447"/>
                    <a:pt x="1842" y="1470"/>
                  </a:cubicBezTo>
                  <a:cubicBezTo>
                    <a:pt x="1842" y="1494"/>
                    <a:pt x="1850" y="1486"/>
                    <a:pt x="1874" y="1494"/>
                  </a:cubicBezTo>
                  <a:cubicBezTo>
                    <a:pt x="1890" y="1510"/>
                    <a:pt x="1874" y="1541"/>
                    <a:pt x="1882" y="1565"/>
                  </a:cubicBezTo>
                  <a:cubicBezTo>
                    <a:pt x="1898" y="1597"/>
                    <a:pt x="1929" y="1557"/>
                    <a:pt x="1945" y="1541"/>
                  </a:cubicBezTo>
                  <a:cubicBezTo>
                    <a:pt x="1953" y="1518"/>
                    <a:pt x="1977" y="1518"/>
                    <a:pt x="2008" y="1526"/>
                  </a:cubicBezTo>
                  <a:cubicBezTo>
                    <a:pt x="2040" y="1534"/>
                    <a:pt x="2048" y="1550"/>
                    <a:pt x="2056" y="1565"/>
                  </a:cubicBezTo>
                  <a:cubicBezTo>
                    <a:pt x="2072" y="1581"/>
                    <a:pt x="2103" y="1581"/>
                    <a:pt x="2103" y="1557"/>
                  </a:cubicBezTo>
                  <a:cubicBezTo>
                    <a:pt x="2103" y="1541"/>
                    <a:pt x="2174" y="1550"/>
                    <a:pt x="2190" y="1550"/>
                  </a:cubicBezTo>
                  <a:cubicBezTo>
                    <a:pt x="2206" y="1550"/>
                    <a:pt x="2198" y="1565"/>
                    <a:pt x="2190" y="1597"/>
                  </a:cubicBezTo>
                  <a:cubicBezTo>
                    <a:pt x="2182" y="1628"/>
                    <a:pt x="2206" y="1628"/>
                    <a:pt x="2222" y="1636"/>
                  </a:cubicBezTo>
                  <a:cubicBezTo>
                    <a:pt x="2238" y="1644"/>
                    <a:pt x="2245" y="1605"/>
                    <a:pt x="2245" y="1581"/>
                  </a:cubicBezTo>
                  <a:cubicBezTo>
                    <a:pt x="2245" y="1550"/>
                    <a:pt x="2245" y="1557"/>
                    <a:pt x="2261" y="1518"/>
                  </a:cubicBezTo>
                  <a:cubicBezTo>
                    <a:pt x="2277" y="1486"/>
                    <a:pt x="2277" y="1518"/>
                    <a:pt x="2293" y="1526"/>
                  </a:cubicBezTo>
                  <a:cubicBezTo>
                    <a:pt x="2309" y="1541"/>
                    <a:pt x="2317" y="1557"/>
                    <a:pt x="2340" y="1581"/>
                  </a:cubicBezTo>
                  <a:cubicBezTo>
                    <a:pt x="2356" y="1597"/>
                    <a:pt x="2364" y="1573"/>
                    <a:pt x="2372" y="1550"/>
                  </a:cubicBezTo>
                  <a:cubicBezTo>
                    <a:pt x="2380" y="1526"/>
                    <a:pt x="2403" y="1557"/>
                    <a:pt x="2426" y="1581"/>
                  </a:cubicBezTo>
                  <a:cubicBezTo>
                    <a:pt x="2458" y="1613"/>
                    <a:pt x="2474" y="1628"/>
                    <a:pt x="2505" y="1644"/>
                  </a:cubicBezTo>
                  <a:cubicBezTo>
                    <a:pt x="2529" y="1668"/>
                    <a:pt x="2545" y="1636"/>
                    <a:pt x="2568" y="1613"/>
                  </a:cubicBezTo>
                  <a:cubicBezTo>
                    <a:pt x="2584" y="1589"/>
                    <a:pt x="2616" y="1565"/>
                    <a:pt x="2656" y="1557"/>
                  </a:cubicBezTo>
                  <a:cubicBezTo>
                    <a:pt x="2687" y="1550"/>
                    <a:pt x="2671" y="1565"/>
                    <a:pt x="2695" y="1589"/>
                  </a:cubicBezTo>
                  <a:cubicBezTo>
                    <a:pt x="2727" y="1605"/>
                    <a:pt x="2743" y="1581"/>
                    <a:pt x="2750" y="1550"/>
                  </a:cubicBezTo>
                  <a:cubicBezTo>
                    <a:pt x="2750" y="1526"/>
                    <a:pt x="2798" y="1526"/>
                    <a:pt x="2814" y="1526"/>
                  </a:cubicBezTo>
                  <a:cubicBezTo>
                    <a:pt x="2837" y="1526"/>
                    <a:pt x="2830" y="1541"/>
                    <a:pt x="2861" y="1565"/>
                  </a:cubicBezTo>
                  <a:cubicBezTo>
                    <a:pt x="2893" y="1589"/>
                    <a:pt x="2908" y="1565"/>
                    <a:pt x="2917" y="1550"/>
                  </a:cubicBezTo>
                  <a:cubicBezTo>
                    <a:pt x="2932" y="1534"/>
                    <a:pt x="2940" y="1510"/>
                    <a:pt x="2964" y="1510"/>
                  </a:cubicBezTo>
                  <a:cubicBezTo>
                    <a:pt x="2988" y="1510"/>
                    <a:pt x="3011" y="1526"/>
                    <a:pt x="3051" y="1573"/>
                  </a:cubicBezTo>
                  <a:cubicBezTo>
                    <a:pt x="3090" y="1621"/>
                    <a:pt x="3122" y="1613"/>
                    <a:pt x="3130" y="1621"/>
                  </a:cubicBezTo>
                  <a:cubicBezTo>
                    <a:pt x="3138" y="1636"/>
                    <a:pt x="3161" y="1652"/>
                    <a:pt x="3193" y="1652"/>
                  </a:cubicBezTo>
                  <a:cubicBezTo>
                    <a:pt x="3225" y="1652"/>
                    <a:pt x="3225" y="1644"/>
                    <a:pt x="3241" y="1644"/>
                  </a:cubicBezTo>
                  <a:lnTo>
                    <a:pt x="3233" y="751"/>
                  </a:lnTo>
                </a:path>
              </a:pathLst>
            </a:custGeom>
            <a:solidFill>
              <a:schemeClr val="accent6"/>
            </a:solidFill>
            <a:ln>
              <a:solidFill>
                <a:schemeClr val="bg2"/>
              </a:solidFill>
            </a:ln>
            <a:effectLst/>
          </p:spPr>
          <p:txBody>
            <a:bodyPr wrap="none" anchor="ctr"/>
            <a:lstStyle/>
            <a:p>
              <a:endParaRPr lang="en-US"/>
            </a:p>
          </p:txBody>
        </p:sp>
        <p:sp>
          <p:nvSpPr>
            <p:cNvPr id="18" name="Freeform 25"/>
            <p:cNvSpPr>
              <a:spLocks noChangeArrowheads="1"/>
            </p:cNvSpPr>
            <p:nvPr/>
          </p:nvSpPr>
          <p:spPr bwMode="auto">
            <a:xfrm>
              <a:off x="3290309" y="3824902"/>
              <a:ext cx="1172008" cy="519172"/>
            </a:xfrm>
            <a:custGeom>
              <a:avLst/>
              <a:gdLst>
                <a:gd name="T0" fmla="*/ 2434 w 3250"/>
                <a:gd name="T1" fmla="*/ 1589 h 1661"/>
                <a:gd name="T2" fmla="*/ 2380 w 3250"/>
                <a:gd name="T3" fmla="*/ 1557 h 1661"/>
                <a:gd name="T4" fmla="*/ 2285 w 3250"/>
                <a:gd name="T5" fmla="*/ 1518 h 1661"/>
                <a:gd name="T6" fmla="*/ 2253 w 3250"/>
                <a:gd name="T7" fmla="*/ 1581 h 1661"/>
                <a:gd name="T8" fmla="*/ 2190 w 3250"/>
                <a:gd name="T9" fmla="*/ 1597 h 1661"/>
                <a:gd name="T10" fmla="*/ 2190 w 3250"/>
                <a:gd name="T11" fmla="*/ 1550 h 1661"/>
                <a:gd name="T12" fmla="*/ 2064 w 3250"/>
                <a:gd name="T13" fmla="*/ 1565 h 1661"/>
                <a:gd name="T14" fmla="*/ 1906 w 3250"/>
                <a:gd name="T15" fmla="*/ 1581 h 1661"/>
                <a:gd name="T16" fmla="*/ 1866 w 3250"/>
                <a:gd name="T17" fmla="*/ 1494 h 1661"/>
                <a:gd name="T18" fmla="*/ 1834 w 3250"/>
                <a:gd name="T19" fmla="*/ 1431 h 1661"/>
                <a:gd name="T20" fmla="*/ 1771 w 3250"/>
                <a:gd name="T21" fmla="*/ 1447 h 1661"/>
                <a:gd name="T22" fmla="*/ 1708 w 3250"/>
                <a:gd name="T23" fmla="*/ 1486 h 1661"/>
                <a:gd name="T24" fmla="*/ 1621 w 3250"/>
                <a:gd name="T25" fmla="*/ 1439 h 1661"/>
                <a:gd name="T26" fmla="*/ 1566 w 3250"/>
                <a:gd name="T27" fmla="*/ 1439 h 1661"/>
                <a:gd name="T28" fmla="*/ 1431 w 3250"/>
                <a:gd name="T29" fmla="*/ 1391 h 1661"/>
                <a:gd name="T30" fmla="*/ 1360 w 3250"/>
                <a:gd name="T31" fmla="*/ 1273 h 1661"/>
                <a:gd name="T32" fmla="*/ 1305 w 3250"/>
                <a:gd name="T33" fmla="*/ 1312 h 1661"/>
                <a:gd name="T34" fmla="*/ 1218 w 3250"/>
                <a:gd name="T35" fmla="*/ 1297 h 1661"/>
                <a:gd name="T36" fmla="*/ 0 w 3250"/>
                <a:gd name="T37" fmla="*/ 245 h 1661"/>
                <a:gd name="T38" fmla="*/ 3138 w 3250"/>
                <a:gd name="T39" fmla="*/ 71 h 1661"/>
                <a:gd name="T40" fmla="*/ 3249 w 3250"/>
                <a:gd name="T41" fmla="*/ 751 h 1661"/>
                <a:gd name="T42" fmla="*/ 3201 w 3250"/>
                <a:gd name="T43" fmla="*/ 1660 h 1661"/>
                <a:gd name="T44" fmla="*/ 2972 w 3250"/>
                <a:gd name="T45" fmla="*/ 1510 h 1661"/>
                <a:gd name="T46" fmla="*/ 2893 w 3250"/>
                <a:gd name="T47" fmla="*/ 1581 h 1661"/>
                <a:gd name="T48" fmla="*/ 2758 w 3250"/>
                <a:gd name="T49" fmla="*/ 1550 h 1661"/>
                <a:gd name="T50" fmla="*/ 2679 w 3250"/>
                <a:gd name="T51" fmla="*/ 1557 h 1661"/>
                <a:gd name="T52" fmla="*/ 2529 w 3250"/>
                <a:gd name="T53" fmla="*/ 1660 h 1661"/>
                <a:gd name="T54" fmla="*/ 2442 w 3250"/>
                <a:gd name="T55" fmla="*/ 1581 h 1661"/>
                <a:gd name="T56" fmla="*/ 2576 w 3250"/>
                <a:gd name="T57" fmla="*/ 1613 h 1661"/>
                <a:gd name="T58" fmla="*/ 2711 w 3250"/>
                <a:gd name="T59" fmla="*/ 1581 h 1661"/>
                <a:gd name="T60" fmla="*/ 2845 w 3250"/>
                <a:gd name="T61" fmla="*/ 1534 h 1661"/>
                <a:gd name="T62" fmla="*/ 2925 w 3250"/>
                <a:gd name="T63" fmla="*/ 1550 h 1661"/>
                <a:gd name="T64" fmla="*/ 3122 w 3250"/>
                <a:gd name="T65" fmla="*/ 1613 h 1661"/>
                <a:gd name="T66" fmla="*/ 3241 w 3250"/>
                <a:gd name="T67" fmla="*/ 1636 h 1661"/>
                <a:gd name="T68" fmla="*/ 16 w 3250"/>
                <a:gd name="T69" fmla="*/ 8 h 1661"/>
                <a:gd name="T70" fmla="*/ 1147 w 3250"/>
                <a:gd name="T71" fmla="*/ 1202 h 1661"/>
                <a:gd name="T72" fmla="*/ 1265 w 3250"/>
                <a:gd name="T73" fmla="*/ 1304 h 1661"/>
                <a:gd name="T74" fmla="*/ 1336 w 3250"/>
                <a:gd name="T75" fmla="*/ 1288 h 1661"/>
                <a:gd name="T76" fmla="*/ 1400 w 3250"/>
                <a:gd name="T77" fmla="*/ 1320 h 1661"/>
                <a:gd name="T78" fmla="*/ 1503 w 3250"/>
                <a:gd name="T79" fmla="*/ 1407 h 1661"/>
                <a:gd name="T80" fmla="*/ 1621 w 3250"/>
                <a:gd name="T81" fmla="*/ 1439 h 1661"/>
                <a:gd name="T82" fmla="*/ 1700 w 3250"/>
                <a:gd name="T83" fmla="*/ 1470 h 1661"/>
                <a:gd name="T84" fmla="*/ 1763 w 3250"/>
                <a:gd name="T85" fmla="*/ 1439 h 1661"/>
                <a:gd name="T86" fmla="*/ 1811 w 3250"/>
                <a:gd name="T87" fmla="*/ 1423 h 1661"/>
                <a:gd name="T88" fmla="*/ 1858 w 3250"/>
                <a:gd name="T89" fmla="*/ 1470 h 1661"/>
                <a:gd name="T90" fmla="*/ 1898 w 3250"/>
                <a:gd name="T91" fmla="*/ 1565 h 1661"/>
                <a:gd name="T92" fmla="*/ 2064 w 3250"/>
                <a:gd name="T93" fmla="*/ 1557 h 1661"/>
                <a:gd name="T94" fmla="*/ 2166 w 3250"/>
                <a:gd name="T95" fmla="*/ 1541 h 1661"/>
                <a:gd name="T96" fmla="*/ 2206 w 3250"/>
                <a:gd name="T97" fmla="*/ 1573 h 1661"/>
                <a:gd name="T98" fmla="*/ 2230 w 3250"/>
                <a:gd name="T99" fmla="*/ 1636 h 1661"/>
                <a:gd name="T100" fmla="*/ 2285 w 3250"/>
                <a:gd name="T101" fmla="*/ 1502 h 1661"/>
                <a:gd name="T102" fmla="*/ 2356 w 3250"/>
                <a:gd name="T103" fmla="*/ 1581 h 1661"/>
                <a:gd name="T104" fmla="*/ 2529 w 3250"/>
                <a:gd name="T105" fmla="*/ 1660 h 1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50" h="1661">
                  <a:moveTo>
                    <a:pt x="2529" y="1660"/>
                  </a:moveTo>
                  <a:lnTo>
                    <a:pt x="2529" y="1660"/>
                  </a:lnTo>
                  <a:cubicBezTo>
                    <a:pt x="2521" y="1660"/>
                    <a:pt x="2513" y="1652"/>
                    <a:pt x="2505" y="1652"/>
                  </a:cubicBezTo>
                  <a:cubicBezTo>
                    <a:pt x="2482" y="1628"/>
                    <a:pt x="2466" y="1613"/>
                    <a:pt x="2434" y="1589"/>
                  </a:cubicBezTo>
                  <a:cubicBezTo>
                    <a:pt x="2434" y="1581"/>
                    <a:pt x="2426" y="1581"/>
                    <a:pt x="2426" y="1573"/>
                  </a:cubicBezTo>
                  <a:cubicBezTo>
                    <a:pt x="2411" y="1557"/>
                    <a:pt x="2395" y="1541"/>
                    <a:pt x="2388" y="1541"/>
                  </a:cubicBezTo>
                  <a:cubicBezTo>
                    <a:pt x="2388" y="1541"/>
                    <a:pt x="2388" y="1541"/>
                    <a:pt x="2380" y="1550"/>
                  </a:cubicBezTo>
                  <a:cubicBezTo>
                    <a:pt x="2380" y="1557"/>
                    <a:pt x="2380" y="1557"/>
                    <a:pt x="2380" y="1557"/>
                  </a:cubicBezTo>
                  <a:cubicBezTo>
                    <a:pt x="2372" y="1573"/>
                    <a:pt x="2364" y="1589"/>
                    <a:pt x="2356" y="1589"/>
                  </a:cubicBezTo>
                  <a:cubicBezTo>
                    <a:pt x="2348" y="1589"/>
                    <a:pt x="2348" y="1589"/>
                    <a:pt x="2340" y="1581"/>
                  </a:cubicBezTo>
                  <a:cubicBezTo>
                    <a:pt x="2325" y="1557"/>
                    <a:pt x="2317" y="1550"/>
                    <a:pt x="2301" y="1534"/>
                  </a:cubicBezTo>
                  <a:cubicBezTo>
                    <a:pt x="2293" y="1526"/>
                    <a:pt x="2293" y="1526"/>
                    <a:pt x="2285" y="1518"/>
                  </a:cubicBezTo>
                  <a:cubicBezTo>
                    <a:pt x="2285" y="1510"/>
                    <a:pt x="2285" y="1510"/>
                    <a:pt x="2285" y="1510"/>
                  </a:cubicBezTo>
                  <a:cubicBezTo>
                    <a:pt x="2285" y="1510"/>
                    <a:pt x="2277" y="1510"/>
                    <a:pt x="2277" y="1526"/>
                  </a:cubicBezTo>
                  <a:cubicBezTo>
                    <a:pt x="2269" y="1534"/>
                    <a:pt x="2269" y="1541"/>
                    <a:pt x="2262" y="1550"/>
                  </a:cubicBezTo>
                  <a:cubicBezTo>
                    <a:pt x="2253" y="1557"/>
                    <a:pt x="2253" y="1565"/>
                    <a:pt x="2253" y="1581"/>
                  </a:cubicBezTo>
                  <a:cubicBezTo>
                    <a:pt x="2253" y="1605"/>
                    <a:pt x="2246" y="1644"/>
                    <a:pt x="2230" y="1644"/>
                  </a:cubicBezTo>
                  <a:cubicBezTo>
                    <a:pt x="2230" y="1644"/>
                    <a:pt x="2230" y="1644"/>
                    <a:pt x="2230" y="1636"/>
                  </a:cubicBezTo>
                  <a:cubicBezTo>
                    <a:pt x="2222" y="1636"/>
                    <a:pt x="2222" y="1636"/>
                    <a:pt x="2222" y="1636"/>
                  </a:cubicBezTo>
                  <a:cubicBezTo>
                    <a:pt x="2206" y="1636"/>
                    <a:pt x="2190" y="1628"/>
                    <a:pt x="2190" y="1597"/>
                  </a:cubicBezTo>
                  <a:cubicBezTo>
                    <a:pt x="2198" y="1589"/>
                    <a:pt x="2198" y="1581"/>
                    <a:pt x="2198" y="1573"/>
                  </a:cubicBezTo>
                  <a:cubicBezTo>
                    <a:pt x="2198" y="1565"/>
                    <a:pt x="2206" y="1550"/>
                    <a:pt x="2206" y="1550"/>
                  </a:cubicBezTo>
                  <a:cubicBezTo>
                    <a:pt x="2198" y="1550"/>
                    <a:pt x="2198" y="1550"/>
                    <a:pt x="2198" y="1550"/>
                  </a:cubicBezTo>
                  <a:cubicBezTo>
                    <a:pt x="2198" y="1550"/>
                    <a:pt x="2198" y="1550"/>
                    <a:pt x="2190" y="1550"/>
                  </a:cubicBezTo>
                  <a:cubicBezTo>
                    <a:pt x="2182" y="1550"/>
                    <a:pt x="2174" y="1550"/>
                    <a:pt x="2166" y="1550"/>
                  </a:cubicBezTo>
                  <a:cubicBezTo>
                    <a:pt x="2119" y="1550"/>
                    <a:pt x="2111" y="1557"/>
                    <a:pt x="2111" y="1557"/>
                  </a:cubicBezTo>
                  <a:cubicBezTo>
                    <a:pt x="2111" y="1573"/>
                    <a:pt x="2103" y="1581"/>
                    <a:pt x="2087" y="1581"/>
                  </a:cubicBezTo>
                  <a:cubicBezTo>
                    <a:pt x="2080" y="1581"/>
                    <a:pt x="2072" y="1573"/>
                    <a:pt x="2064" y="1565"/>
                  </a:cubicBezTo>
                  <a:lnTo>
                    <a:pt x="2064" y="1565"/>
                  </a:lnTo>
                  <a:cubicBezTo>
                    <a:pt x="2048" y="1550"/>
                    <a:pt x="2040" y="1534"/>
                    <a:pt x="2016" y="1526"/>
                  </a:cubicBezTo>
                  <a:cubicBezTo>
                    <a:pt x="1985" y="1518"/>
                    <a:pt x="1961" y="1526"/>
                    <a:pt x="1953" y="1541"/>
                  </a:cubicBezTo>
                  <a:cubicBezTo>
                    <a:pt x="1945" y="1557"/>
                    <a:pt x="1922" y="1581"/>
                    <a:pt x="1906" y="1581"/>
                  </a:cubicBezTo>
                  <a:cubicBezTo>
                    <a:pt x="1898" y="1581"/>
                    <a:pt x="1890" y="1581"/>
                    <a:pt x="1890" y="1573"/>
                  </a:cubicBezTo>
                  <a:cubicBezTo>
                    <a:pt x="1890" y="1557"/>
                    <a:pt x="1890" y="1541"/>
                    <a:pt x="1890" y="1534"/>
                  </a:cubicBezTo>
                  <a:cubicBezTo>
                    <a:pt x="1890" y="1518"/>
                    <a:pt x="1890" y="1502"/>
                    <a:pt x="1874" y="1502"/>
                  </a:cubicBezTo>
                  <a:lnTo>
                    <a:pt x="1866" y="1494"/>
                  </a:lnTo>
                  <a:cubicBezTo>
                    <a:pt x="1850" y="1494"/>
                    <a:pt x="1850" y="1494"/>
                    <a:pt x="1850" y="1470"/>
                  </a:cubicBezTo>
                  <a:lnTo>
                    <a:pt x="1850" y="1463"/>
                  </a:lnTo>
                  <a:cubicBezTo>
                    <a:pt x="1850" y="1447"/>
                    <a:pt x="1850" y="1439"/>
                    <a:pt x="1842" y="1439"/>
                  </a:cubicBezTo>
                  <a:lnTo>
                    <a:pt x="1834" y="1431"/>
                  </a:lnTo>
                  <a:cubicBezTo>
                    <a:pt x="1819" y="1431"/>
                    <a:pt x="1811" y="1431"/>
                    <a:pt x="1803" y="1431"/>
                  </a:cubicBezTo>
                  <a:cubicBezTo>
                    <a:pt x="1803" y="1431"/>
                    <a:pt x="1795" y="1431"/>
                    <a:pt x="1787" y="1431"/>
                  </a:cubicBezTo>
                  <a:cubicBezTo>
                    <a:pt x="1779" y="1431"/>
                    <a:pt x="1779" y="1431"/>
                    <a:pt x="1779" y="1439"/>
                  </a:cubicBezTo>
                  <a:lnTo>
                    <a:pt x="1771" y="1447"/>
                  </a:lnTo>
                  <a:cubicBezTo>
                    <a:pt x="1771" y="1447"/>
                    <a:pt x="1763" y="1447"/>
                    <a:pt x="1763" y="1439"/>
                  </a:cubicBezTo>
                  <a:lnTo>
                    <a:pt x="1755" y="1439"/>
                  </a:lnTo>
                  <a:cubicBezTo>
                    <a:pt x="1755" y="1439"/>
                    <a:pt x="1747" y="1439"/>
                    <a:pt x="1747" y="1455"/>
                  </a:cubicBezTo>
                  <a:cubicBezTo>
                    <a:pt x="1740" y="1478"/>
                    <a:pt x="1724" y="1486"/>
                    <a:pt x="1708" y="1486"/>
                  </a:cubicBezTo>
                  <a:cubicBezTo>
                    <a:pt x="1700" y="1486"/>
                    <a:pt x="1692" y="1486"/>
                    <a:pt x="1692" y="1470"/>
                  </a:cubicBezTo>
                  <a:cubicBezTo>
                    <a:pt x="1692" y="1470"/>
                    <a:pt x="1692" y="1470"/>
                    <a:pt x="1692" y="1463"/>
                  </a:cubicBezTo>
                  <a:cubicBezTo>
                    <a:pt x="1692" y="1447"/>
                    <a:pt x="1684" y="1439"/>
                    <a:pt x="1661" y="1439"/>
                  </a:cubicBezTo>
                  <a:cubicBezTo>
                    <a:pt x="1645" y="1431"/>
                    <a:pt x="1637" y="1439"/>
                    <a:pt x="1621" y="1439"/>
                  </a:cubicBezTo>
                  <a:cubicBezTo>
                    <a:pt x="1613" y="1447"/>
                    <a:pt x="1605" y="1447"/>
                    <a:pt x="1597" y="1447"/>
                  </a:cubicBezTo>
                  <a:cubicBezTo>
                    <a:pt x="1582" y="1447"/>
                    <a:pt x="1574" y="1447"/>
                    <a:pt x="1566" y="1439"/>
                  </a:cubicBezTo>
                  <a:lnTo>
                    <a:pt x="1566" y="1439"/>
                  </a:lnTo>
                  <a:lnTo>
                    <a:pt x="1566" y="1439"/>
                  </a:lnTo>
                  <a:cubicBezTo>
                    <a:pt x="1566" y="1439"/>
                    <a:pt x="1558" y="1407"/>
                    <a:pt x="1518" y="1415"/>
                  </a:cubicBezTo>
                  <a:cubicBezTo>
                    <a:pt x="1510" y="1415"/>
                    <a:pt x="1503" y="1415"/>
                    <a:pt x="1503" y="1415"/>
                  </a:cubicBezTo>
                  <a:cubicBezTo>
                    <a:pt x="1479" y="1415"/>
                    <a:pt x="1471" y="1407"/>
                    <a:pt x="1455" y="1399"/>
                  </a:cubicBezTo>
                  <a:cubicBezTo>
                    <a:pt x="1447" y="1399"/>
                    <a:pt x="1439" y="1399"/>
                    <a:pt x="1431" y="1391"/>
                  </a:cubicBezTo>
                  <a:cubicBezTo>
                    <a:pt x="1408" y="1391"/>
                    <a:pt x="1400" y="1368"/>
                    <a:pt x="1400" y="1352"/>
                  </a:cubicBezTo>
                  <a:cubicBezTo>
                    <a:pt x="1400" y="1336"/>
                    <a:pt x="1400" y="1328"/>
                    <a:pt x="1392" y="1320"/>
                  </a:cubicBezTo>
                  <a:cubicBezTo>
                    <a:pt x="1392" y="1312"/>
                    <a:pt x="1392" y="1312"/>
                    <a:pt x="1392" y="1312"/>
                  </a:cubicBezTo>
                  <a:cubicBezTo>
                    <a:pt x="1384" y="1297"/>
                    <a:pt x="1368" y="1273"/>
                    <a:pt x="1360" y="1273"/>
                  </a:cubicBezTo>
                  <a:cubicBezTo>
                    <a:pt x="1352" y="1273"/>
                    <a:pt x="1352" y="1273"/>
                    <a:pt x="1352" y="1273"/>
                  </a:cubicBezTo>
                  <a:cubicBezTo>
                    <a:pt x="1344" y="1281"/>
                    <a:pt x="1344" y="1281"/>
                    <a:pt x="1344" y="1288"/>
                  </a:cubicBezTo>
                  <a:cubicBezTo>
                    <a:pt x="1336" y="1304"/>
                    <a:pt x="1336" y="1312"/>
                    <a:pt x="1321" y="1312"/>
                  </a:cubicBezTo>
                  <a:cubicBezTo>
                    <a:pt x="1313" y="1312"/>
                    <a:pt x="1305" y="1312"/>
                    <a:pt x="1305" y="1312"/>
                  </a:cubicBezTo>
                  <a:cubicBezTo>
                    <a:pt x="1297" y="1304"/>
                    <a:pt x="1289" y="1304"/>
                    <a:pt x="1281" y="1304"/>
                  </a:cubicBezTo>
                  <a:cubicBezTo>
                    <a:pt x="1273" y="1304"/>
                    <a:pt x="1273" y="1312"/>
                    <a:pt x="1265" y="1312"/>
                  </a:cubicBezTo>
                  <a:cubicBezTo>
                    <a:pt x="1257" y="1312"/>
                    <a:pt x="1257" y="1312"/>
                    <a:pt x="1250" y="1312"/>
                  </a:cubicBezTo>
                  <a:cubicBezTo>
                    <a:pt x="1242" y="1312"/>
                    <a:pt x="1234" y="1312"/>
                    <a:pt x="1218" y="1297"/>
                  </a:cubicBezTo>
                  <a:cubicBezTo>
                    <a:pt x="1202" y="1288"/>
                    <a:pt x="1186" y="1265"/>
                    <a:pt x="1178" y="1249"/>
                  </a:cubicBezTo>
                  <a:cubicBezTo>
                    <a:pt x="1170" y="1233"/>
                    <a:pt x="1163" y="1225"/>
                    <a:pt x="1147" y="1210"/>
                  </a:cubicBezTo>
                  <a:cubicBezTo>
                    <a:pt x="1107" y="1194"/>
                    <a:pt x="1123" y="411"/>
                    <a:pt x="1123" y="308"/>
                  </a:cubicBezTo>
                  <a:cubicBezTo>
                    <a:pt x="0" y="245"/>
                    <a:pt x="0" y="245"/>
                    <a:pt x="0" y="245"/>
                  </a:cubicBezTo>
                  <a:cubicBezTo>
                    <a:pt x="8" y="0"/>
                    <a:pt x="8" y="0"/>
                    <a:pt x="8" y="0"/>
                  </a:cubicBezTo>
                  <a:lnTo>
                    <a:pt x="8" y="0"/>
                  </a:lnTo>
                  <a:cubicBezTo>
                    <a:pt x="839" y="47"/>
                    <a:pt x="1692" y="71"/>
                    <a:pt x="2569" y="71"/>
                  </a:cubicBezTo>
                  <a:cubicBezTo>
                    <a:pt x="2758" y="71"/>
                    <a:pt x="2948" y="71"/>
                    <a:pt x="3138" y="71"/>
                  </a:cubicBezTo>
                  <a:cubicBezTo>
                    <a:pt x="3146" y="71"/>
                    <a:pt x="3146" y="71"/>
                    <a:pt x="3146" y="71"/>
                  </a:cubicBezTo>
                  <a:lnTo>
                    <a:pt x="3146" y="71"/>
                  </a:lnTo>
                  <a:cubicBezTo>
                    <a:pt x="3146" y="71"/>
                    <a:pt x="3154" y="380"/>
                    <a:pt x="3249" y="751"/>
                  </a:cubicBezTo>
                  <a:lnTo>
                    <a:pt x="3249" y="751"/>
                  </a:lnTo>
                  <a:cubicBezTo>
                    <a:pt x="3249" y="1644"/>
                    <a:pt x="3249" y="1644"/>
                    <a:pt x="3249" y="1644"/>
                  </a:cubicBezTo>
                  <a:lnTo>
                    <a:pt x="3249" y="1644"/>
                  </a:lnTo>
                  <a:cubicBezTo>
                    <a:pt x="3241" y="1644"/>
                    <a:pt x="3241" y="1644"/>
                    <a:pt x="3233" y="1652"/>
                  </a:cubicBezTo>
                  <a:cubicBezTo>
                    <a:pt x="3225" y="1652"/>
                    <a:pt x="3225" y="1660"/>
                    <a:pt x="3201" y="1660"/>
                  </a:cubicBezTo>
                  <a:cubicBezTo>
                    <a:pt x="3169" y="1660"/>
                    <a:pt x="3146" y="1636"/>
                    <a:pt x="3138" y="1628"/>
                  </a:cubicBezTo>
                  <a:cubicBezTo>
                    <a:pt x="3130" y="1621"/>
                    <a:pt x="3130" y="1621"/>
                    <a:pt x="3122" y="1621"/>
                  </a:cubicBezTo>
                  <a:cubicBezTo>
                    <a:pt x="3106" y="1613"/>
                    <a:pt x="3083" y="1605"/>
                    <a:pt x="3059" y="1573"/>
                  </a:cubicBezTo>
                  <a:cubicBezTo>
                    <a:pt x="3019" y="1526"/>
                    <a:pt x="2996" y="1510"/>
                    <a:pt x="2972" y="1510"/>
                  </a:cubicBezTo>
                  <a:cubicBezTo>
                    <a:pt x="2956" y="1518"/>
                    <a:pt x="2948" y="1526"/>
                    <a:pt x="2940" y="1541"/>
                  </a:cubicBezTo>
                  <a:cubicBezTo>
                    <a:pt x="2932" y="1541"/>
                    <a:pt x="2932" y="1550"/>
                    <a:pt x="2932" y="1550"/>
                  </a:cubicBezTo>
                  <a:cubicBezTo>
                    <a:pt x="2932" y="1550"/>
                    <a:pt x="2932" y="1557"/>
                    <a:pt x="2925" y="1557"/>
                  </a:cubicBezTo>
                  <a:cubicBezTo>
                    <a:pt x="2916" y="1565"/>
                    <a:pt x="2909" y="1581"/>
                    <a:pt x="2893" y="1581"/>
                  </a:cubicBezTo>
                  <a:cubicBezTo>
                    <a:pt x="2885" y="1581"/>
                    <a:pt x="2877" y="1573"/>
                    <a:pt x="2869" y="1565"/>
                  </a:cubicBezTo>
                  <a:cubicBezTo>
                    <a:pt x="2853" y="1557"/>
                    <a:pt x="2845" y="1550"/>
                    <a:pt x="2838" y="1541"/>
                  </a:cubicBezTo>
                  <a:cubicBezTo>
                    <a:pt x="2838" y="1534"/>
                    <a:pt x="2830" y="1526"/>
                    <a:pt x="2822" y="1526"/>
                  </a:cubicBezTo>
                  <a:cubicBezTo>
                    <a:pt x="2806" y="1526"/>
                    <a:pt x="2766" y="1526"/>
                    <a:pt x="2758" y="1550"/>
                  </a:cubicBezTo>
                  <a:cubicBezTo>
                    <a:pt x="2751" y="1573"/>
                    <a:pt x="2743" y="1597"/>
                    <a:pt x="2727" y="1597"/>
                  </a:cubicBezTo>
                  <a:cubicBezTo>
                    <a:pt x="2719" y="1597"/>
                    <a:pt x="2711" y="1597"/>
                    <a:pt x="2703" y="1589"/>
                  </a:cubicBezTo>
                  <a:cubicBezTo>
                    <a:pt x="2695" y="1581"/>
                    <a:pt x="2687" y="1573"/>
                    <a:pt x="2687" y="1565"/>
                  </a:cubicBezTo>
                  <a:cubicBezTo>
                    <a:pt x="2687" y="1557"/>
                    <a:pt x="2679" y="1557"/>
                    <a:pt x="2679" y="1557"/>
                  </a:cubicBezTo>
                  <a:cubicBezTo>
                    <a:pt x="2672" y="1557"/>
                    <a:pt x="2672" y="1557"/>
                    <a:pt x="2664" y="1557"/>
                  </a:cubicBezTo>
                  <a:cubicBezTo>
                    <a:pt x="2624" y="1573"/>
                    <a:pt x="2600" y="1589"/>
                    <a:pt x="2576" y="1613"/>
                  </a:cubicBezTo>
                  <a:cubicBezTo>
                    <a:pt x="2576" y="1621"/>
                    <a:pt x="2576" y="1621"/>
                    <a:pt x="2576" y="1621"/>
                  </a:cubicBezTo>
                  <a:cubicBezTo>
                    <a:pt x="2561" y="1644"/>
                    <a:pt x="2545" y="1660"/>
                    <a:pt x="2529" y="1660"/>
                  </a:cubicBezTo>
                  <a:lnTo>
                    <a:pt x="2388" y="1534"/>
                  </a:lnTo>
                  <a:lnTo>
                    <a:pt x="2388" y="1534"/>
                  </a:lnTo>
                  <a:cubicBezTo>
                    <a:pt x="2395" y="1534"/>
                    <a:pt x="2411" y="1550"/>
                    <a:pt x="2426" y="1565"/>
                  </a:cubicBezTo>
                  <a:cubicBezTo>
                    <a:pt x="2434" y="1573"/>
                    <a:pt x="2434" y="1573"/>
                    <a:pt x="2442" y="1581"/>
                  </a:cubicBezTo>
                  <a:cubicBezTo>
                    <a:pt x="2466" y="1605"/>
                    <a:pt x="2482" y="1628"/>
                    <a:pt x="2513" y="1644"/>
                  </a:cubicBezTo>
                  <a:cubicBezTo>
                    <a:pt x="2521" y="1652"/>
                    <a:pt x="2521" y="1652"/>
                    <a:pt x="2529" y="1652"/>
                  </a:cubicBezTo>
                  <a:cubicBezTo>
                    <a:pt x="2545" y="1652"/>
                    <a:pt x="2553" y="1636"/>
                    <a:pt x="2569" y="1621"/>
                  </a:cubicBezTo>
                  <a:cubicBezTo>
                    <a:pt x="2569" y="1613"/>
                    <a:pt x="2569" y="1613"/>
                    <a:pt x="2576" y="1613"/>
                  </a:cubicBezTo>
                  <a:cubicBezTo>
                    <a:pt x="2592" y="1589"/>
                    <a:pt x="2624" y="1565"/>
                    <a:pt x="2664" y="1557"/>
                  </a:cubicBezTo>
                  <a:cubicBezTo>
                    <a:pt x="2664" y="1550"/>
                    <a:pt x="2672" y="1550"/>
                    <a:pt x="2679" y="1550"/>
                  </a:cubicBezTo>
                  <a:cubicBezTo>
                    <a:pt x="2687" y="1550"/>
                    <a:pt x="2687" y="1557"/>
                    <a:pt x="2695" y="1565"/>
                  </a:cubicBezTo>
                  <a:cubicBezTo>
                    <a:pt x="2695" y="1565"/>
                    <a:pt x="2703" y="1573"/>
                    <a:pt x="2711" y="1581"/>
                  </a:cubicBezTo>
                  <a:cubicBezTo>
                    <a:pt x="2711" y="1589"/>
                    <a:pt x="2719" y="1589"/>
                    <a:pt x="2727" y="1589"/>
                  </a:cubicBezTo>
                  <a:cubicBezTo>
                    <a:pt x="2735" y="1589"/>
                    <a:pt x="2751" y="1565"/>
                    <a:pt x="2751" y="1550"/>
                  </a:cubicBezTo>
                  <a:cubicBezTo>
                    <a:pt x="2758" y="1518"/>
                    <a:pt x="2798" y="1518"/>
                    <a:pt x="2822" y="1518"/>
                  </a:cubicBezTo>
                  <a:cubicBezTo>
                    <a:pt x="2838" y="1518"/>
                    <a:pt x="2838" y="1526"/>
                    <a:pt x="2845" y="1534"/>
                  </a:cubicBezTo>
                  <a:cubicBezTo>
                    <a:pt x="2853" y="1541"/>
                    <a:pt x="2853" y="1550"/>
                    <a:pt x="2869" y="1565"/>
                  </a:cubicBezTo>
                  <a:cubicBezTo>
                    <a:pt x="2877" y="1573"/>
                    <a:pt x="2885" y="1573"/>
                    <a:pt x="2893" y="1573"/>
                  </a:cubicBezTo>
                  <a:cubicBezTo>
                    <a:pt x="2909" y="1573"/>
                    <a:pt x="2916" y="1557"/>
                    <a:pt x="2925" y="1550"/>
                  </a:cubicBezTo>
                  <a:lnTo>
                    <a:pt x="2925" y="1550"/>
                  </a:lnTo>
                  <a:cubicBezTo>
                    <a:pt x="2925" y="1541"/>
                    <a:pt x="2932" y="1541"/>
                    <a:pt x="2932" y="1541"/>
                  </a:cubicBezTo>
                  <a:cubicBezTo>
                    <a:pt x="2940" y="1526"/>
                    <a:pt x="2956" y="1510"/>
                    <a:pt x="2972" y="1502"/>
                  </a:cubicBezTo>
                  <a:cubicBezTo>
                    <a:pt x="2996" y="1502"/>
                    <a:pt x="3019" y="1518"/>
                    <a:pt x="3059" y="1565"/>
                  </a:cubicBezTo>
                  <a:cubicBezTo>
                    <a:pt x="3091" y="1605"/>
                    <a:pt x="3106" y="1605"/>
                    <a:pt x="3122" y="1613"/>
                  </a:cubicBezTo>
                  <a:cubicBezTo>
                    <a:pt x="3130" y="1613"/>
                    <a:pt x="3138" y="1613"/>
                    <a:pt x="3138" y="1621"/>
                  </a:cubicBezTo>
                  <a:cubicBezTo>
                    <a:pt x="3154" y="1628"/>
                    <a:pt x="3169" y="1652"/>
                    <a:pt x="3201" y="1652"/>
                  </a:cubicBezTo>
                  <a:cubicBezTo>
                    <a:pt x="3217" y="1652"/>
                    <a:pt x="3225" y="1644"/>
                    <a:pt x="3233" y="1644"/>
                  </a:cubicBezTo>
                  <a:lnTo>
                    <a:pt x="3241" y="1636"/>
                  </a:lnTo>
                  <a:cubicBezTo>
                    <a:pt x="3241" y="751"/>
                    <a:pt x="3241" y="751"/>
                    <a:pt x="3241" y="751"/>
                  </a:cubicBezTo>
                  <a:cubicBezTo>
                    <a:pt x="3154" y="403"/>
                    <a:pt x="3138" y="111"/>
                    <a:pt x="3138" y="71"/>
                  </a:cubicBezTo>
                  <a:cubicBezTo>
                    <a:pt x="2948" y="79"/>
                    <a:pt x="2751" y="79"/>
                    <a:pt x="2569" y="79"/>
                  </a:cubicBezTo>
                  <a:cubicBezTo>
                    <a:pt x="1700" y="79"/>
                    <a:pt x="839" y="55"/>
                    <a:pt x="16" y="8"/>
                  </a:cubicBezTo>
                  <a:cubicBezTo>
                    <a:pt x="8" y="245"/>
                    <a:pt x="8" y="245"/>
                    <a:pt x="8" y="245"/>
                  </a:cubicBezTo>
                  <a:cubicBezTo>
                    <a:pt x="1131" y="300"/>
                    <a:pt x="1131" y="300"/>
                    <a:pt x="1131" y="300"/>
                  </a:cubicBezTo>
                  <a:lnTo>
                    <a:pt x="1131" y="300"/>
                  </a:lnTo>
                  <a:cubicBezTo>
                    <a:pt x="1123" y="656"/>
                    <a:pt x="1123" y="1186"/>
                    <a:pt x="1147" y="1202"/>
                  </a:cubicBezTo>
                  <a:cubicBezTo>
                    <a:pt x="1163" y="1217"/>
                    <a:pt x="1178" y="1233"/>
                    <a:pt x="1186" y="1249"/>
                  </a:cubicBezTo>
                  <a:cubicBezTo>
                    <a:pt x="1194" y="1265"/>
                    <a:pt x="1210" y="1281"/>
                    <a:pt x="1226" y="1297"/>
                  </a:cubicBezTo>
                  <a:cubicBezTo>
                    <a:pt x="1234" y="1304"/>
                    <a:pt x="1242" y="1304"/>
                    <a:pt x="1250" y="1304"/>
                  </a:cubicBezTo>
                  <a:cubicBezTo>
                    <a:pt x="1257" y="1304"/>
                    <a:pt x="1257" y="1304"/>
                    <a:pt x="1265" y="1304"/>
                  </a:cubicBezTo>
                  <a:cubicBezTo>
                    <a:pt x="1273" y="1304"/>
                    <a:pt x="1273" y="1297"/>
                    <a:pt x="1281" y="1297"/>
                  </a:cubicBezTo>
                  <a:cubicBezTo>
                    <a:pt x="1289" y="1297"/>
                    <a:pt x="1297" y="1297"/>
                    <a:pt x="1305" y="1304"/>
                  </a:cubicBezTo>
                  <a:cubicBezTo>
                    <a:pt x="1313" y="1304"/>
                    <a:pt x="1313" y="1304"/>
                    <a:pt x="1321" y="1304"/>
                  </a:cubicBezTo>
                  <a:cubicBezTo>
                    <a:pt x="1329" y="1304"/>
                    <a:pt x="1329" y="1297"/>
                    <a:pt x="1336" y="1288"/>
                  </a:cubicBezTo>
                  <a:cubicBezTo>
                    <a:pt x="1336" y="1281"/>
                    <a:pt x="1336" y="1273"/>
                    <a:pt x="1352" y="1265"/>
                  </a:cubicBezTo>
                  <a:cubicBezTo>
                    <a:pt x="1352" y="1265"/>
                    <a:pt x="1352" y="1265"/>
                    <a:pt x="1360" y="1265"/>
                  </a:cubicBezTo>
                  <a:cubicBezTo>
                    <a:pt x="1376" y="1265"/>
                    <a:pt x="1384" y="1288"/>
                    <a:pt x="1400" y="1312"/>
                  </a:cubicBezTo>
                  <a:cubicBezTo>
                    <a:pt x="1400" y="1320"/>
                    <a:pt x="1400" y="1320"/>
                    <a:pt x="1400" y="1320"/>
                  </a:cubicBezTo>
                  <a:cubicBezTo>
                    <a:pt x="1408" y="1328"/>
                    <a:pt x="1408" y="1336"/>
                    <a:pt x="1408" y="1344"/>
                  </a:cubicBezTo>
                  <a:cubicBezTo>
                    <a:pt x="1408" y="1368"/>
                    <a:pt x="1416" y="1383"/>
                    <a:pt x="1431" y="1383"/>
                  </a:cubicBezTo>
                  <a:cubicBezTo>
                    <a:pt x="1439" y="1391"/>
                    <a:pt x="1455" y="1391"/>
                    <a:pt x="1455" y="1399"/>
                  </a:cubicBezTo>
                  <a:cubicBezTo>
                    <a:pt x="1471" y="1399"/>
                    <a:pt x="1479" y="1407"/>
                    <a:pt x="1503" y="1407"/>
                  </a:cubicBezTo>
                  <a:cubicBezTo>
                    <a:pt x="1503" y="1407"/>
                    <a:pt x="1510" y="1407"/>
                    <a:pt x="1518" y="1407"/>
                  </a:cubicBezTo>
                  <a:cubicBezTo>
                    <a:pt x="1558" y="1399"/>
                    <a:pt x="1574" y="1431"/>
                    <a:pt x="1574" y="1431"/>
                  </a:cubicBezTo>
                  <a:cubicBezTo>
                    <a:pt x="1582" y="1439"/>
                    <a:pt x="1589" y="1439"/>
                    <a:pt x="1597" y="1439"/>
                  </a:cubicBezTo>
                  <a:cubicBezTo>
                    <a:pt x="1605" y="1439"/>
                    <a:pt x="1613" y="1439"/>
                    <a:pt x="1621" y="1439"/>
                  </a:cubicBezTo>
                  <a:cubicBezTo>
                    <a:pt x="1629" y="1431"/>
                    <a:pt x="1637" y="1431"/>
                    <a:pt x="1653" y="1431"/>
                  </a:cubicBezTo>
                  <a:lnTo>
                    <a:pt x="1661" y="1431"/>
                  </a:lnTo>
                  <a:cubicBezTo>
                    <a:pt x="1692" y="1431"/>
                    <a:pt x="1692" y="1447"/>
                    <a:pt x="1700" y="1463"/>
                  </a:cubicBezTo>
                  <a:cubicBezTo>
                    <a:pt x="1700" y="1470"/>
                    <a:pt x="1700" y="1470"/>
                    <a:pt x="1700" y="1470"/>
                  </a:cubicBezTo>
                  <a:cubicBezTo>
                    <a:pt x="1700" y="1478"/>
                    <a:pt x="1700" y="1478"/>
                    <a:pt x="1708" y="1478"/>
                  </a:cubicBezTo>
                  <a:cubicBezTo>
                    <a:pt x="1716" y="1478"/>
                    <a:pt x="1732" y="1470"/>
                    <a:pt x="1740" y="1455"/>
                  </a:cubicBezTo>
                  <a:cubicBezTo>
                    <a:pt x="1740" y="1439"/>
                    <a:pt x="1747" y="1431"/>
                    <a:pt x="1755" y="1431"/>
                  </a:cubicBezTo>
                  <a:cubicBezTo>
                    <a:pt x="1755" y="1431"/>
                    <a:pt x="1763" y="1431"/>
                    <a:pt x="1763" y="1439"/>
                  </a:cubicBezTo>
                  <a:lnTo>
                    <a:pt x="1771" y="1439"/>
                  </a:lnTo>
                  <a:lnTo>
                    <a:pt x="1771" y="1439"/>
                  </a:lnTo>
                  <a:cubicBezTo>
                    <a:pt x="1771" y="1423"/>
                    <a:pt x="1787" y="1423"/>
                    <a:pt x="1787" y="1423"/>
                  </a:cubicBezTo>
                  <a:cubicBezTo>
                    <a:pt x="1795" y="1423"/>
                    <a:pt x="1803" y="1423"/>
                    <a:pt x="1811" y="1423"/>
                  </a:cubicBezTo>
                  <a:cubicBezTo>
                    <a:pt x="1811" y="1423"/>
                    <a:pt x="1827" y="1423"/>
                    <a:pt x="1834" y="1423"/>
                  </a:cubicBezTo>
                  <a:cubicBezTo>
                    <a:pt x="1842" y="1423"/>
                    <a:pt x="1850" y="1431"/>
                    <a:pt x="1850" y="1431"/>
                  </a:cubicBezTo>
                  <a:cubicBezTo>
                    <a:pt x="1858" y="1439"/>
                    <a:pt x="1858" y="1447"/>
                    <a:pt x="1858" y="1463"/>
                  </a:cubicBezTo>
                  <a:lnTo>
                    <a:pt x="1858" y="1470"/>
                  </a:lnTo>
                  <a:cubicBezTo>
                    <a:pt x="1858" y="1486"/>
                    <a:pt x="1858" y="1486"/>
                    <a:pt x="1866" y="1486"/>
                  </a:cubicBezTo>
                  <a:cubicBezTo>
                    <a:pt x="1874" y="1494"/>
                    <a:pt x="1874" y="1494"/>
                    <a:pt x="1882" y="1494"/>
                  </a:cubicBezTo>
                  <a:cubicBezTo>
                    <a:pt x="1898" y="1502"/>
                    <a:pt x="1898" y="1518"/>
                    <a:pt x="1898" y="1534"/>
                  </a:cubicBezTo>
                  <a:cubicBezTo>
                    <a:pt x="1898" y="1541"/>
                    <a:pt x="1890" y="1557"/>
                    <a:pt x="1898" y="1565"/>
                  </a:cubicBezTo>
                  <a:cubicBezTo>
                    <a:pt x="1898" y="1573"/>
                    <a:pt x="1906" y="1573"/>
                    <a:pt x="1906" y="1573"/>
                  </a:cubicBezTo>
                  <a:cubicBezTo>
                    <a:pt x="1914" y="1573"/>
                    <a:pt x="1937" y="1557"/>
                    <a:pt x="1945" y="1541"/>
                  </a:cubicBezTo>
                  <a:cubicBezTo>
                    <a:pt x="1961" y="1518"/>
                    <a:pt x="1985" y="1510"/>
                    <a:pt x="2016" y="1518"/>
                  </a:cubicBezTo>
                  <a:cubicBezTo>
                    <a:pt x="2048" y="1526"/>
                    <a:pt x="2056" y="1541"/>
                    <a:pt x="2064" y="1557"/>
                  </a:cubicBezTo>
                  <a:cubicBezTo>
                    <a:pt x="2072" y="1565"/>
                    <a:pt x="2072" y="1565"/>
                    <a:pt x="2072" y="1565"/>
                  </a:cubicBezTo>
                  <a:cubicBezTo>
                    <a:pt x="2072" y="1573"/>
                    <a:pt x="2080" y="1573"/>
                    <a:pt x="2087" y="1573"/>
                  </a:cubicBezTo>
                  <a:cubicBezTo>
                    <a:pt x="2095" y="1573"/>
                    <a:pt x="2103" y="1573"/>
                    <a:pt x="2103" y="1557"/>
                  </a:cubicBezTo>
                  <a:cubicBezTo>
                    <a:pt x="2103" y="1550"/>
                    <a:pt x="2127" y="1541"/>
                    <a:pt x="2166" y="1541"/>
                  </a:cubicBezTo>
                  <a:cubicBezTo>
                    <a:pt x="2174" y="1541"/>
                    <a:pt x="2182" y="1541"/>
                    <a:pt x="2190" y="1541"/>
                  </a:cubicBezTo>
                  <a:cubicBezTo>
                    <a:pt x="2198" y="1541"/>
                    <a:pt x="2198" y="1541"/>
                    <a:pt x="2198" y="1541"/>
                  </a:cubicBezTo>
                  <a:cubicBezTo>
                    <a:pt x="2206" y="1541"/>
                    <a:pt x="2206" y="1541"/>
                    <a:pt x="2206" y="1550"/>
                  </a:cubicBezTo>
                  <a:cubicBezTo>
                    <a:pt x="2214" y="1550"/>
                    <a:pt x="2206" y="1557"/>
                    <a:pt x="2206" y="1573"/>
                  </a:cubicBezTo>
                  <a:cubicBezTo>
                    <a:pt x="2206" y="1581"/>
                    <a:pt x="2206" y="1589"/>
                    <a:pt x="2198" y="1597"/>
                  </a:cubicBezTo>
                  <a:cubicBezTo>
                    <a:pt x="2198" y="1621"/>
                    <a:pt x="2206" y="1628"/>
                    <a:pt x="2222" y="1628"/>
                  </a:cubicBezTo>
                  <a:cubicBezTo>
                    <a:pt x="2222" y="1628"/>
                    <a:pt x="2230" y="1628"/>
                    <a:pt x="2230" y="1636"/>
                  </a:cubicBezTo>
                  <a:lnTo>
                    <a:pt x="2230" y="1636"/>
                  </a:lnTo>
                  <a:cubicBezTo>
                    <a:pt x="2238" y="1636"/>
                    <a:pt x="2246" y="1605"/>
                    <a:pt x="2246" y="1581"/>
                  </a:cubicBezTo>
                  <a:cubicBezTo>
                    <a:pt x="2246" y="1557"/>
                    <a:pt x="2253" y="1557"/>
                    <a:pt x="2253" y="1541"/>
                  </a:cubicBezTo>
                  <a:cubicBezTo>
                    <a:pt x="2262" y="1534"/>
                    <a:pt x="2262" y="1534"/>
                    <a:pt x="2269" y="1518"/>
                  </a:cubicBezTo>
                  <a:cubicBezTo>
                    <a:pt x="2269" y="1510"/>
                    <a:pt x="2277" y="1502"/>
                    <a:pt x="2285" y="1502"/>
                  </a:cubicBezTo>
                  <a:lnTo>
                    <a:pt x="2293" y="1510"/>
                  </a:lnTo>
                  <a:cubicBezTo>
                    <a:pt x="2301" y="1518"/>
                    <a:pt x="2301" y="1526"/>
                    <a:pt x="2301" y="1526"/>
                  </a:cubicBezTo>
                  <a:cubicBezTo>
                    <a:pt x="2317" y="1541"/>
                    <a:pt x="2333" y="1550"/>
                    <a:pt x="2348" y="1573"/>
                  </a:cubicBezTo>
                  <a:cubicBezTo>
                    <a:pt x="2348" y="1581"/>
                    <a:pt x="2356" y="1581"/>
                    <a:pt x="2356" y="1581"/>
                  </a:cubicBezTo>
                  <a:cubicBezTo>
                    <a:pt x="2364" y="1581"/>
                    <a:pt x="2372" y="1565"/>
                    <a:pt x="2372" y="1550"/>
                  </a:cubicBezTo>
                  <a:lnTo>
                    <a:pt x="2372" y="1550"/>
                  </a:lnTo>
                  <a:cubicBezTo>
                    <a:pt x="2380" y="1541"/>
                    <a:pt x="2380" y="1534"/>
                    <a:pt x="2388" y="1534"/>
                  </a:cubicBezTo>
                  <a:lnTo>
                    <a:pt x="2529" y="1660"/>
                  </a:lnTo>
                </a:path>
              </a:pathLst>
            </a:custGeom>
            <a:solidFill>
              <a:schemeClr val="accent6"/>
            </a:solidFill>
            <a:ln>
              <a:solidFill>
                <a:schemeClr val="bg2"/>
              </a:solidFill>
            </a:ln>
            <a:effectLst/>
          </p:spPr>
          <p:txBody>
            <a:bodyPr wrap="none" anchor="ctr"/>
            <a:lstStyle/>
            <a:p>
              <a:endParaRPr lang="en-US"/>
            </a:p>
          </p:txBody>
        </p:sp>
        <p:sp>
          <p:nvSpPr>
            <p:cNvPr id="19" name="Freeform 47"/>
            <p:cNvSpPr>
              <a:spLocks noChangeArrowheads="1"/>
            </p:cNvSpPr>
            <p:nvPr/>
          </p:nvSpPr>
          <p:spPr bwMode="auto">
            <a:xfrm>
              <a:off x="2358427" y="3760178"/>
              <a:ext cx="935062" cy="852434"/>
            </a:xfrm>
            <a:custGeom>
              <a:avLst/>
              <a:gdLst>
                <a:gd name="T0" fmla="*/ 2230 w 2594"/>
                <a:gd name="T1" fmla="*/ 182 h 2729"/>
                <a:gd name="T2" fmla="*/ 2230 w 2594"/>
                <a:gd name="T3" fmla="*/ 182 h 2729"/>
                <a:gd name="T4" fmla="*/ 340 w 2594"/>
                <a:gd name="T5" fmla="*/ 0 h 2729"/>
                <a:gd name="T6" fmla="*/ 0 w 2594"/>
                <a:gd name="T7" fmla="*/ 2664 h 2729"/>
                <a:gd name="T8" fmla="*/ 293 w 2594"/>
                <a:gd name="T9" fmla="*/ 2704 h 2729"/>
                <a:gd name="T10" fmla="*/ 356 w 2594"/>
                <a:gd name="T11" fmla="*/ 2672 h 2729"/>
                <a:gd name="T12" fmla="*/ 372 w 2594"/>
                <a:gd name="T13" fmla="*/ 2546 h 2729"/>
                <a:gd name="T14" fmla="*/ 443 w 2594"/>
                <a:gd name="T15" fmla="*/ 2506 h 2729"/>
                <a:gd name="T16" fmla="*/ 1028 w 2594"/>
                <a:gd name="T17" fmla="*/ 2578 h 2729"/>
                <a:gd name="T18" fmla="*/ 996 w 2594"/>
                <a:gd name="T19" fmla="*/ 2475 h 2729"/>
                <a:gd name="T20" fmla="*/ 2396 w 2594"/>
                <a:gd name="T21" fmla="*/ 2593 h 2729"/>
                <a:gd name="T22" fmla="*/ 2427 w 2594"/>
                <a:gd name="T23" fmla="*/ 2546 h 2729"/>
                <a:gd name="T24" fmla="*/ 2570 w 2594"/>
                <a:gd name="T25" fmla="*/ 451 h 2729"/>
                <a:gd name="T26" fmla="*/ 2593 w 2594"/>
                <a:gd name="T27" fmla="*/ 451 h 2729"/>
                <a:gd name="T28" fmla="*/ 2593 w 2594"/>
                <a:gd name="T29" fmla="*/ 206 h 2729"/>
                <a:gd name="T30" fmla="*/ 2238 w 2594"/>
                <a:gd name="T31" fmla="*/ 182 h 2729"/>
                <a:gd name="T32" fmla="*/ 2230 w 2594"/>
                <a:gd name="T33" fmla="*/ 182 h 2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4" h="2729">
                  <a:moveTo>
                    <a:pt x="2230" y="182"/>
                  </a:moveTo>
                  <a:lnTo>
                    <a:pt x="2230" y="182"/>
                  </a:lnTo>
                  <a:cubicBezTo>
                    <a:pt x="1495" y="135"/>
                    <a:pt x="862" y="72"/>
                    <a:pt x="340" y="0"/>
                  </a:cubicBezTo>
                  <a:cubicBezTo>
                    <a:pt x="0" y="2664"/>
                    <a:pt x="0" y="2664"/>
                    <a:pt x="0" y="2664"/>
                  </a:cubicBezTo>
                  <a:cubicBezTo>
                    <a:pt x="143" y="2672"/>
                    <a:pt x="277" y="2688"/>
                    <a:pt x="293" y="2704"/>
                  </a:cubicBezTo>
                  <a:cubicBezTo>
                    <a:pt x="348" y="2728"/>
                    <a:pt x="356" y="2672"/>
                    <a:pt x="356" y="2672"/>
                  </a:cubicBezTo>
                  <a:cubicBezTo>
                    <a:pt x="356" y="2672"/>
                    <a:pt x="364" y="2601"/>
                    <a:pt x="372" y="2546"/>
                  </a:cubicBezTo>
                  <a:cubicBezTo>
                    <a:pt x="388" y="2483"/>
                    <a:pt x="443" y="2506"/>
                    <a:pt x="443" y="2506"/>
                  </a:cubicBezTo>
                  <a:cubicBezTo>
                    <a:pt x="443" y="2506"/>
                    <a:pt x="894" y="2562"/>
                    <a:pt x="1028" y="2578"/>
                  </a:cubicBezTo>
                  <a:cubicBezTo>
                    <a:pt x="957" y="2435"/>
                    <a:pt x="996" y="2475"/>
                    <a:pt x="996" y="2475"/>
                  </a:cubicBezTo>
                  <a:cubicBezTo>
                    <a:pt x="996" y="2475"/>
                    <a:pt x="2372" y="2593"/>
                    <a:pt x="2396" y="2593"/>
                  </a:cubicBezTo>
                  <a:cubicBezTo>
                    <a:pt x="2427" y="2593"/>
                    <a:pt x="2427" y="2546"/>
                    <a:pt x="2427" y="2546"/>
                  </a:cubicBezTo>
                  <a:cubicBezTo>
                    <a:pt x="2570" y="451"/>
                    <a:pt x="2570" y="451"/>
                    <a:pt x="2570" y="451"/>
                  </a:cubicBezTo>
                  <a:cubicBezTo>
                    <a:pt x="2593" y="451"/>
                    <a:pt x="2593" y="451"/>
                    <a:pt x="2593" y="451"/>
                  </a:cubicBezTo>
                  <a:cubicBezTo>
                    <a:pt x="2593" y="206"/>
                    <a:pt x="2593" y="206"/>
                    <a:pt x="2593" y="206"/>
                  </a:cubicBezTo>
                  <a:cubicBezTo>
                    <a:pt x="2475" y="198"/>
                    <a:pt x="2356" y="190"/>
                    <a:pt x="2238" y="182"/>
                  </a:cubicBezTo>
                  <a:lnTo>
                    <a:pt x="2230" y="182"/>
                  </a:lnTo>
                </a:path>
              </a:pathLst>
            </a:custGeom>
            <a:solidFill>
              <a:schemeClr val="accent6"/>
            </a:solidFill>
            <a:ln>
              <a:solidFill>
                <a:schemeClr val="bg2"/>
              </a:solidFill>
            </a:ln>
            <a:effectLst/>
          </p:spPr>
          <p:txBody>
            <a:bodyPr wrap="none" anchor="ctr"/>
            <a:lstStyle/>
            <a:p>
              <a:endParaRPr lang="en-US"/>
            </a:p>
          </p:txBody>
        </p:sp>
        <p:sp>
          <p:nvSpPr>
            <p:cNvPr id="20" name="Freeform 48"/>
            <p:cNvSpPr>
              <a:spLocks noChangeArrowheads="1"/>
            </p:cNvSpPr>
            <p:nvPr/>
          </p:nvSpPr>
          <p:spPr bwMode="auto">
            <a:xfrm>
              <a:off x="615522" y="2694291"/>
              <a:ext cx="1109989" cy="1591945"/>
            </a:xfrm>
            <a:custGeom>
              <a:avLst/>
              <a:gdLst>
                <a:gd name="T0" fmla="*/ 1692 w 3076"/>
                <a:gd name="T1" fmla="*/ 364 h 5099"/>
                <a:gd name="T2" fmla="*/ 277 w 3076"/>
                <a:gd name="T3" fmla="*/ 40 h 5099"/>
                <a:gd name="T4" fmla="*/ 293 w 3076"/>
                <a:gd name="T5" fmla="*/ 182 h 5099"/>
                <a:gd name="T6" fmla="*/ 253 w 3076"/>
                <a:gd name="T7" fmla="*/ 301 h 5099"/>
                <a:gd name="T8" fmla="*/ 198 w 3076"/>
                <a:gd name="T9" fmla="*/ 435 h 5099"/>
                <a:gd name="T10" fmla="*/ 142 w 3076"/>
                <a:gd name="T11" fmla="*/ 546 h 5099"/>
                <a:gd name="T12" fmla="*/ 24 w 3076"/>
                <a:gd name="T13" fmla="*/ 696 h 5099"/>
                <a:gd name="T14" fmla="*/ 79 w 3076"/>
                <a:gd name="T15" fmla="*/ 878 h 5099"/>
                <a:gd name="T16" fmla="*/ 127 w 3076"/>
                <a:gd name="T17" fmla="*/ 1083 h 5099"/>
                <a:gd name="T18" fmla="*/ 87 w 3076"/>
                <a:gd name="T19" fmla="*/ 1234 h 5099"/>
                <a:gd name="T20" fmla="*/ 63 w 3076"/>
                <a:gd name="T21" fmla="*/ 1408 h 5099"/>
                <a:gd name="T22" fmla="*/ 119 w 3076"/>
                <a:gd name="T23" fmla="*/ 1581 h 5099"/>
                <a:gd name="T24" fmla="*/ 198 w 3076"/>
                <a:gd name="T25" fmla="*/ 1708 h 5099"/>
                <a:gd name="T26" fmla="*/ 245 w 3076"/>
                <a:gd name="T27" fmla="*/ 1819 h 5099"/>
                <a:gd name="T28" fmla="*/ 213 w 3076"/>
                <a:gd name="T29" fmla="*/ 1945 h 5099"/>
                <a:gd name="T30" fmla="*/ 340 w 3076"/>
                <a:gd name="T31" fmla="*/ 2064 h 5099"/>
                <a:gd name="T32" fmla="*/ 380 w 3076"/>
                <a:gd name="T33" fmla="*/ 1985 h 5099"/>
                <a:gd name="T34" fmla="*/ 459 w 3076"/>
                <a:gd name="T35" fmla="*/ 1961 h 5099"/>
                <a:gd name="T36" fmla="*/ 403 w 3076"/>
                <a:gd name="T37" fmla="*/ 2048 h 5099"/>
                <a:gd name="T38" fmla="*/ 459 w 3076"/>
                <a:gd name="T39" fmla="*/ 2198 h 5099"/>
                <a:gd name="T40" fmla="*/ 411 w 3076"/>
                <a:gd name="T41" fmla="*/ 2230 h 5099"/>
                <a:gd name="T42" fmla="*/ 332 w 3076"/>
                <a:gd name="T43" fmla="*/ 2167 h 5099"/>
                <a:gd name="T44" fmla="*/ 308 w 3076"/>
                <a:gd name="T45" fmla="*/ 2325 h 5099"/>
                <a:gd name="T46" fmla="*/ 380 w 3076"/>
                <a:gd name="T47" fmla="*/ 2498 h 5099"/>
                <a:gd name="T48" fmla="*/ 482 w 3076"/>
                <a:gd name="T49" fmla="*/ 2578 h 5099"/>
                <a:gd name="T50" fmla="*/ 403 w 3076"/>
                <a:gd name="T51" fmla="*/ 2712 h 5099"/>
                <a:gd name="T52" fmla="*/ 451 w 3076"/>
                <a:gd name="T53" fmla="*/ 2933 h 5099"/>
                <a:gd name="T54" fmla="*/ 514 w 3076"/>
                <a:gd name="T55" fmla="*/ 3067 h 5099"/>
                <a:gd name="T56" fmla="*/ 553 w 3076"/>
                <a:gd name="T57" fmla="*/ 3169 h 5099"/>
                <a:gd name="T58" fmla="*/ 617 w 3076"/>
                <a:gd name="T59" fmla="*/ 3296 h 5099"/>
                <a:gd name="T60" fmla="*/ 640 w 3076"/>
                <a:gd name="T61" fmla="*/ 3438 h 5099"/>
                <a:gd name="T62" fmla="*/ 672 w 3076"/>
                <a:gd name="T63" fmla="*/ 3580 h 5099"/>
                <a:gd name="T64" fmla="*/ 640 w 3076"/>
                <a:gd name="T65" fmla="*/ 3731 h 5099"/>
                <a:gd name="T66" fmla="*/ 743 w 3076"/>
                <a:gd name="T67" fmla="*/ 3818 h 5099"/>
                <a:gd name="T68" fmla="*/ 972 w 3076"/>
                <a:gd name="T69" fmla="*/ 3913 h 5099"/>
                <a:gd name="T70" fmla="*/ 1139 w 3076"/>
                <a:gd name="T71" fmla="*/ 4063 h 5099"/>
                <a:gd name="T72" fmla="*/ 1352 w 3076"/>
                <a:gd name="T73" fmla="*/ 4173 h 5099"/>
                <a:gd name="T74" fmla="*/ 1439 w 3076"/>
                <a:gd name="T75" fmla="*/ 4355 h 5099"/>
                <a:gd name="T76" fmla="*/ 1676 w 3076"/>
                <a:gd name="T77" fmla="*/ 4561 h 5099"/>
                <a:gd name="T78" fmla="*/ 1731 w 3076"/>
                <a:gd name="T79" fmla="*/ 4980 h 5099"/>
                <a:gd name="T80" fmla="*/ 2696 w 3076"/>
                <a:gd name="T81" fmla="*/ 5098 h 5099"/>
                <a:gd name="T82" fmla="*/ 2799 w 3076"/>
                <a:gd name="T83" fmla="*/ 5067 h 5099"/>
                <a:gd name="T84" fmla="*/ 2799 w 3076"/>
                <a:gd name="T85" fmla="*/ 4956 h 5099"/>
                <a:gd name="T86" fmla="*/ 2767 w 3076"/>
                <a:gd name="T87" fmla="*/ 4885 h 5099"/>
                <a:gd name="T88" fmla="*/ 2822 w 3076"/>
                <a:gd name="T89" fmla="*/ 4766 h 5099"/>
                <a:gd name="T90" fmla="*/ 2909 w 3076"/>
                <a:gd name="T91" fmla="*/ 4529 h 5099"/>
                <a:gd name="T92" fmla="*/ 3067 w 3076"/>
                <a:gd name="T93" fmla="*/ 4411 h 5099"/>
                <a:gd name="T94" fmla="*/ 2996 w 3076"/>
                <a:gd name="T95" fmla="*/ 4237 h 5099"/>
                <a:gd name="T96" fmla="*/ 2933 w 3076"/>
                <a:gd name="T97" fmla="*/ 4086 h 5099"/>
                <a:gd name="T98" fmla="*/ 1344 w 3076"/>
                <a:gd name="T99" fmla="*/ 1763 h 5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76" h="5099">
                  <a:moveTo>
                    <a:pt x="1692" y="364"/>
                  </a:moveTo>
                  <a:lnTo>
                    <a:pt x="1692" y="364"/>
                  </a:lnTo>
                  <a:cubicBezTo>
                    <a:pt x="1036" y="206"/>
                    <a:pt x="530" y="64"/>
                    <a:pt x="308" y="0"/>
                  </a:cubicBezTo>
                  <a:cubicBezTo>
                    <a:pt x="316" y="32"/>
                    <a:pt x="277" y="40"/>
                    <a:pt x="277" y="40"/>
                  </a:cubicBezTo>
                  <a:cubicBezTo>
                    <a:pt x="277" y="40"/>
                    <a:pt x="229" y="64"/>
                    <a:pt x="253" y="103"/>
                  </a:cubicBezTo>
                  <a:cubicBezTo>
                    <a:pt x="277" y="151"/>
                    <a:pt x="308" y="151"/>
                    <a:pt x="293" y="182"/>
                  </a:cubicBezTo>
                  <a:cubicBezTo>
                    <a:pt x="285" y="214"/>
                    <a:pt x="269" y="214"/>
                    <a:pt x="261" y="246"/>
                  </a:cubicBezTo>
                  <a:cubicBezTo>
                    <a:pt x="261" y="285"/>
                    <a:pt x="277" y="285"/>
                    <a:pt x="253" y="301"/>
                  </a:cubicBezTo>
                  <a:cubicBezTo>
                    <a:pt x="237" y="317"/>
                    <a:pt x="213" y="333"/>
                    <a:pt x="206" y="364"/>
                  </a:cubicBezTo>
                  <a:cubicBezTo>
                    <a:pt x="198" y="396"/>
                    <a:pt x="213" y="404"/>
                    <a:pt x="198" y="435"/>
                  </a:cubicBezTo>
                  <a:cubicBezTo>
                    <a:pt x="182" y="475"/>
                    <a:pt x="182" y="459"/>
                    <a:pt x="166" y="491"/>
                  </a:cubicBezTo>
                  <a:cubicBezTo>
                    <a:pt x="158" y="522"/>
                    <a:pt x="158" y="530"/>
                    <a:pt x="142" y="546"/>
                  </a:cubicBezTo>
                  <a:cubicBezTo>
                    <a:pt x="127" y="562"/>
                    <a:pt x="79" y="601"/>
                    <a:pt x="71" y="625"/>
                  </a:cubicBezTo>
                  <a:cubicBezTo>
                    <a:pt x="55" y="649"/>
                    <a:pt x="24" y="641"/>
                    <a:pt x="24" y="696"/>
                  </a:cubicBezTo>
                  <a:cubicBezTo>
                    <a:pt x="24" y="751"/>
                    <a:pt x="0" y="751"/>
                    <a:pt x="32" y="799"/>
                  </a:cubicBezTo>
                  <a:cubicBezTo>
                    <a:pt x="63" y="846"/>
                    <a:pt x="71" y="823"/>
                    <a:pt x="79" y="878"/>
                  </a:cubicBezTo>
                  <a:cubicBezTo>
                    <a:pt x="95" y="925"/>
                    <a:pt x="111" y="917"/>
                    <a:pt x="119" y="981"/>
                  </a:cubicBezTo>
                  <a:cubicBezTo>
                    <a:pt x="134" y="1036"/>
                    <a:pt x="127" y="1036"/>
                    <a:pt x="127" y="1083"/>
                  </a:cubicBezTo>
                  <a:cubicBezTo>
                    <a:pt x="127" y="1131"/>
                    <a:pt x="150" y="1147"/>
                    <a:pt x="119" y="1178"/>
                  </a:cubicBezTo>
                  <a:cubicBezTo>
                    <a:pt x="87" y="1202"/>
                    <a:pt x="71" y="1194"/>
                    <a:pt x="87" y="1234"/>
                  </a:cubicBezTo>
                  <a:cubicBezTo>
                    <a:pt x="103" y="1273"/>
                    <a:pt x="103" y="1273"/>
                    <a:pt x="87" y="1313"/>
                  </a:cubicBezTo>
                  <a:cubicBezTo>
                    <a:pt x="71" y="1360"/>
                    <a:pt x="55" y="1384"/>
                    <a:pt x="63" y="1408"/>
                  </a:cubicBezTo>
                  <a:cubicBezTo>
                    <a:pt x="71" y="1431"/>
                    <a:pt x="16" y="1392"/>
                    <a:pt x="71" y="1471"/>
                  </a:cubicBezTo>
                  <a:cubicBezTo>
                    <a:pt x="127" y="1542"/>
                    <a:pt x="95" y="1550"/>
                    <a:pt x="119" y="1581"/>
                  </a:cubicBezTo>
                  <a:cubicBezTo>
                    <a:pt x="142" y="1613"/>
                    <a:pt x="158" y="1613"/>
                    <a:pt x="166" y="1653"/>
                  </a:cubicBezTo>
                  <a:cubicBezTo>
                    <a:pt x="174" y="1692"/>
                    <a:pt x="182" y="1684"/>
                    <a:pt x="198" y="1708"/>
                  </a:cubicBezTo>
                  <a:cubicBezTo>
                    <a:pt x="222" y="1724"/>
                    <a:pt x="213" y="1724"/>
                    <a:pt x="222" y="1763"/>
                  </a:cubicBezTo>
                  <a:cubicBezTo>
                    <a:pt x="229" y="1803"/>
                    <a:pt x="237" y="1779"/>
                    <a:pt x="245" y="1819"/>
                  </a:cubicBezTo>
                  <a:cubicBezTo>
                    <a:pt x="253" y="1850"/>
                    <a:pt x="245" y="1890"/>
                    <a:pt x="229" y="1898"/>
                  </a:cubicBezTo>
                  <a:cubicBezTo>
                    <a:pt x="213" y="1914"/>
                    <a:pt x="174" y="1937"/>
                    <a:pt x="213" y="1945"/>
                  </a:cubicBezTo>
                  <a:cubicBezTo>
                    <a:pt x="245" y="1945"/>
                    <a:pt x="261" y="1921"/>
                    <a:pt x="285" y="1977"/>
                  </a:cubicBezTo>
                  <a:cubicBezTo>
                    <a:pt x="308" y="2032"/>
                    <a:pt x="324" y="2056"/>
                    <a:pt x="340" y="2064"/>
                  </a:cubicBezTo>
                  <a:cubicBezTo>
                    <a:pt x="348" y="2072"/>
                    <a:pt x="380" y="2072"/>
                    <a:pt x="380" y="2040"/>
                  </a:cubicBezTo>
                  <a:cubicBezTo>
                    <a:pt x="380" y="2008"/>
                    <a:pt x="364" y="2016"/>
                    <a:pt x="380" y="1985"/>
                  </a:cubicBezTo>
                  <a:cubicBezTo>
                    <a:pt x="403" y="1953"/>
                    <a:pt x="387" y="1921"/>
                    <a:pt x="403" y="1929"/>
                  </a:cubicBezTo>
                  <a:cubicBezTo>
                    <a:pt x="427" y="1937"/>
                    <a:pt x="435" y="1945"/>
                    <a:pt x="459" y="1961"/>
                  </a:cubicBezTo>
                  <a:cubicBezTo>
                    <a:pt x="474" y="1977"/>
                    <a:pt x="451" y="2008"/>
                    <a:pt x="435" y="2008"/>
                  </a:cubicBezTo>
                  <a:cubicBezTo>
                    <a:pt x="411" y="2008"/>
                    <a:pt x="403" y="2024"/>
                    <a:pt x="403" y="2048"/>
                  </a:cubicBezTo>
                  <a:cubicBezTo>
                    <a:pt x="411" y="2064"/>
                    <a:pt x="427" y="2056"/>
                    <a:pt x="435" y="2087"/>
                  </a:cubicBezTo>
                  <a:cubicBezTo>
                    <a:pt x="443" y="2119"/>
                    <a:pt x="451" y="2158"/>
                    <a:pt x="459" y="2198"/>
                  </a:cubicBezTo>
                  <a:cubicBezTo>
                    <a:pt x="459" y="2238"/>
                    <a:pt x="482" y="2269"/>
                    <a:pt x="459" y="2269"/>
                  </a:cubicBezTo>
                  <a:cubicBezTo>
                    <a:pt x="435" y="2269"/>
                    <a:pt x="443" y="2293"/>
                    <a:pt x="411" y="2230"/>
                  </a:cubicBezTo>
                  <a:cubicBezTo>
                    <a:pt x="380" y="2158"/>
                    <a:pt x="380" y="2158"/>
                    <a:pt x="364" y="2143"/>
                  </a:cubicBezTo>
                  <a:cubicBezTo>
                    <a:pt x="340" y="2127"/>
                    <a:pt x="332" y="2135"/>
                    <a:pt x="332" y="2167"/>
                  </a:cubicBezTo>
                  <a:cubicBezTo>
                    <a:pt x="332" y="2206"/>
                    <a:pt x="348" y="2214"/>
                    <a:pt x="332" y="2253"/>
                  </a:cubicBezTo>
                  <a:cubicBezTo>
                    <a:pt x="324" y="2293"/>
                    <a:pt x="308" y="2285"/>
                    <a:pt x="308" y="2325"/>
                  </a:cubicBezTo>
                  <a:cubicBezTo>
                    <a:pt x="308" y="2364"/>
                    <a:pt x="300" y="2411"/>
                    <a:pt x="332" y="2443"/>
                  </a:cubicBezTo>
                  <a:cubicBezTo>
                    <a:pt x="356" y="2475"/>
                    <a:pt x="348" y="2451"/>
                    <a:pt x="380" y="2498"/>
                  </a:cubicBezTo>
                  <a:cubicBezTo>
                    <a:pt x="419" y="2538"/>
                    <a:pt x="403" y="2514"/>
                    <a:pt x="443" y="2522"/>
                  </a:cubicBezTo>
                  <a:cubicBezTo>
                    <a:pt x="490" y="2530"/>
                    <a:pt x="498" y="2522"/>
                    <a:pt x="482" y="2578"/>
                  </a:cubicBezTo>
                  <a:cubicBezTo>
                    <a:pt x="474" y="2633"/>
                    <a:pt x="474" y="2664"/>
                    <a:pt x="427" y="2672"/>
                  </a:cubicBezTo>
                  <a:cubicBezTo>
                    <a:pt x="372" y="2680"/>
                    <a:pt x="403" y="2672"/>
                    <a:pt x="403" y="2712"/>
                  </a:cubicBezTo>
                  <a:cubicBezTo>
                    <a:pt x="395" y="2759"/>
                    <a:pt x="387" y="2846"/>
                    <a:pt x="411" y="2870"/>
                  </a:cubicBezTo>
                  <a:cubicBezTo>
                    <a:pt x="435" y="2894"/>
                    <a:pt x="443" y="2902"/>
                    <a:pt x="451" y="2933"/>
                  </a:cubicBezTo>
                  <a:cubicBezTo>
                    <a:pt x="466" y="2972"/>
                    <a:pt x="482" y="2996"/>
                    <a:pt x="498" y="3003"/>
                  </a:cubicBezTo>
                  <a:cubicBezTo>
                    <a:pt x="522" y="3011"/>
                    <a:pt x="506" y="3035"/>
                    <a:pt x="514" y="3067"/>
                  </a:cubicBezTo>
                  <a:cubicBezTo>
                    <a:pt x="514" y="3098"/>
                    <a:pt x="522" y="3106"/>
                    <a:pt x="530" y="3114"/>
                  </a:cubicBezTo>
                  <a:cubicBezTo>
                    <a:pt x="546" y="3130"/>
                    <a:pt x="538" y="3130"/>
                    <a:pt x="553" y="3169"/>
                  </a:cubicBezTo>
                  <a:cubicBezTo>
                    <a:pt x="561" y="3209"/>
                    <a:pt x="561" y="3177"/>
                    <a:pt x="569" y="3217"/>
                  </a:cubicBezTo>
                  <a:cubicBezTo>
                    <a:pt x="585" y="3249"/>
                    <a:pt x="585" y="3280"/>
                    <a:pt x="617" y="3296"/>
                  </a:cubicBezTo>
                  <a:cubicBezTo>
                    <a:pt x="640" y="3312"/>
                    <a:pt x="672" y="3336"/>
                    <a:pt x="656" y="3359"/>
                  </a:cubicBezTo>
                  <a:cubicBezTo>
                    <a:pt x="633" y="3391"/>
                    <a:pt x="617" y="3422"/>
                    <a:pt x="640" y="3438"/>
                  </a:cubicBezTo>
                  <a:cubicBezTo>
                    <a:pt x="664" y="3454"/>
                    <a:pt x="696" y="3454"/>
                    <a:pt x="696" y="3509"/>
                  </a:cubicBezTo>
                  <a:cubicBezTo>
                    <a:pt x="696" y="3557"/>
                    <a:pt x="664" y="3541"/>
                    <a:pt x="672" y="3580"/>
                  </a:cubicBezTo>
                  <a:cubicBezTo>
                    <a:pt x="672" y="3620"/>
                    <a:pt x="656" y="3620"/>
                    <a:pt x="648" y="3660"/>
                  </a:cubicBezTo>
                  <a:cubicBezTo>
                    <a:pt x="648" y="3691"/>
                    <a:pt x="625" y="3707"/>
                    <a:pt x="640" y="3731"/>
                  </a:cubicBezTo>
                  <a:cubicBezTo>
                    <a:pt x="664" y="3754"/>
                    <a:pt x="680" y="3747"/>
                    <a:pt x="680" y="3778"/>
                  </a:cubicBezTo>
                  <a:cubicBezTo>
                    <a:pt x="680" y="3818"/>
                    <a:pt x="704" y="3818"/>
                    <a:pt x="743" y="3818"/>
                  </a:cubicBezTo>
                  <a:cubicBezTo>
                    <a:pt x="791" y="3818"/>
                    <a:pt x="830" y="3818"/>
                    <a:pt x="846" y="3849"/>
                  </a:cubicBezTo>
                  <a:cubicBezTo>
                    <a:pt x="862" y="3881"/>
                    <a:pt x="925" y="3920"/>
                    <a:pt x="972" y="3913"/>
                  </a:cubicBezTo>
                  <a:cubicBezTo>
                    <a:pt x="1028" y="3897"/>
                    <a:pt x="1043" y="3936"/>
                    <a:pt x="1059" y="3952"/>
                  </a:cubicBezTo>
                  <a:cubicBezTo>
                    <a:pt x="1075" y="3960"/>
                    <a:pt x="1115" y="4007"/>
                    <a:pt x="1139" y="4063"/>
                  </a:cubicBezTo>
                  <a:cubicBezTo>
                    <a:pt x="1154" y="4118"/>
                    <a:pt x="1194" y="4118"/>
                    <a:pt x="1217" y="4126"/>
                  </a:cubicBezTo>
                  <a:cubicBezTo>
                    <a:pt x="1233" y="4142"/>
                    <a:pt x="1273" y="4189"/>
                    <a:pt x="1352" y="4173"/>
                  </a:cubicBezTo>
                  <a:cubicBezTo>
                    <a:pt x="1423" y="4158"/>
                    <a:pt x="1392" y="4205"/>
                    <a:pt x="1392" y="4229"/>
                  </a:cubicBezTo>
                  <a:cubicBezTo>
                    <a:pt x="1399" y="4244"/>
                    <a:pt x="1376" y="4355"/>
                    <a:pt x="1439" y="4355"/>
                  </a:cubicBezTo>
                  <a:cubicBezTo>
                    <a:pt x="1494" y="4347"/>
                    <a:pt x="1510" y="4324"/>
                    <a:pt x="1526" y="4379"/>
                  </a:cubicBezTo>
                  <a:cubicBezTo>
                    <a:pt x="1550" y="4434"/>
                    <a:pt x="1621" y="4529"/>
                    <a:pt x="1676" y="4561"/>
                  </a:cubicBezTo>
                  <a:cubicBezTo>
                    <a:pt x="1739" y="4600"/>
                    <a:pt x="1747" y="4814"/>
                    <a:pt x="1747" y="4877"/>
                  </a:cubicBezTo>
                  <a:cubicBezTo>
                    <a:pt x="1739" y="4940"/>
                    <a:pt x="1708" y="4956"/>
                    <a:pt x="1731" y="4980"/>
                  </a:cubicBezTo>
                  <a:cubicBezTo>
                    <a:pt x="1929" y="5003"/>
                    <a:pt x="2640" y="5083"/>
                    <a:pt x="2672" y="5090"/>
                  </a:cubicBezTo>
                  <a:cubicBezTo>
                    <a:pt x="2688" y="5090"/>
                    <a:pt x="2696" y="5098"/>
                    <a:pt x="2696" y="5098"/>
                  </a:cubicBezTo>
                  <a:cubicBezTo>
                    <a:pt x="2712" y="5098"/>
                    <a:pt x="2727" y="5098"/>
                    <a:pt x="2735" y="5098"/>
                  </a:cubicBezTo>
                  <a:cubicBezTo>
                    <a:pt x="2759" y="5098"/>
                    <a:pt x="2799" y="5090"/>
                    <a:pt x="2799" y="5067"/>
                  </a:cubicBezTo>
                  <a:cubicBezTo>
                    <a:pt x="2799" y="5035"/>
                    <a:pt x="2838" y="5051"/>
                    <a:pt x="2830" y="5011"/>
                  </a:cubicBezTo>
                  <a:cubicBezTo>
                    <a:pt x="2830" y="4972"/>
                    <a:pt x="2830" y="4972"/>
                    <a:pt x="2799" y="4956"/>
                  </a:cubicBezTo>
                  <a:cubicBezTo>
                    <a:pt x="2775" y="4940"/>
                    <a:pt x="2751" y="4956"/>
                    <a:pt x="2751" y="4932"/>
                  </a:cubicBezTo>
                  <a:cubicBezTo>
                    <a:pt x="2759" y="4901"/>
                    <a:pt x="2767" y="4924"/>
                    <a:pt x="2767" y="4885"/>
                  </a:cubicBezTo>
                  <a:cubicBezTo>
                    <a:pt x="2775" y="4845"/>
                    <a:pt x="2735" y="4837"/>
                    <a:pt x="2759" y="4806"/>
                  </a:cubicBezTo>
                  <a:cubicBezTo>
                    <a:pt x="2775" y="4774"/>
                    <a:pt x="2806" y="4782"/>
                    <a:pt x="2822" y="4766"/>
                  </a:cubicBezTo>
                  <a:cubicBezTo>
                    <a:pt x="2838" y="4743"/>
                    <a:pt x="2886" y="4679"/>
                    <a:pt x="2893" y="4632"/>
                  </a:cubicBezTo>
                  <a:cubicBezTo>
                    <a:pt x="2901" y="4584"/>
                    <a:pt x="2870" y="4553"/>
                    <a:pt x="2909" y="4529"/>
                  </a:cubicBezTo>
                  <a:cubicBezTo>
                    <a:pt x="2949" y="4506"/>
                    <a:pt x="2965" y="4466"/>
                    <a:pt x="3004" y="4442"/>
                  </a:cubicBezTo>
                  <a:cubicBezTo>
                    <a:pt x="3044" y="4426"/>
                    <a:pt x="3052" y="4434"/>
                    <a:pt x="3067" y="4411"/>
                  </a:cubicBezTo>
                  <a:cubicBezTo>
                    <a:pt x="3075" y="4387"/>
                    <a:pt x="3067" y="4355"/>
                    <a:pt x="3044" y="4339"/>
                  </a:cubicBezTo>
                  <a:cubicBezTo>
                    <a:pt x="3020" y="4324"/>
                    <a:pt x="3004" y="4260"/>
                    <a:pt x="2996" y="4237"/>
                  </a:cubicBezTo>
                  <a:cubicBezTo>
                    <a:pt x="2996" y="4213"/>
                    <a:pt x="2980" y="4197"/>
                    <a:pt x="2965" y="4158"/>
                  </a:cubicBezTo>
                  <a:cubicBezTo>
                    <a:pt x="2949" y="4126"/>
                    <a:pt x="2925" y="4126"/>
                    <a:pt x="2933" y="4086"/>
                  </a:cubicBezTo>
                  <a:cubicBezTo>
                    <a:pt x="2933" y="4063"/>
                    <a:pt x="2933" y="4055"/>
                    <a:pt x="2933" y="4039"/>
                  </a:cubicBezTo>
                  <a:cubicBezTo>
                    <a:pt x="1344" y="1763"/>
                    <a:pt x="1344" y="1763"/>
                    <a:pt x="1344" y="1763"/>
                  </a:cubicBezTo>
                  <a:lnTo>
                    <a:pt x="1692" y="364"/>
                  </a:lnTo>
                </a:path>
              </a:pathLst>
            </a:custGeom>
            <a:solidFill>
              <a:srgbClr val="0A3E56"/>
            </a:solidFill>
            <a:ln>
              <a:solidFill>
                <a:schemeClr val="bg2"/>
              </a:solidFill>
            </a:ln>
            <a:effectLst/>
          </p:spPr>
          <p:txBody>
            <a:bodyPr wrap="none" anchor="ctr"/>
            <a:lstStyle/>
            <a:p>
              <a:endParaRPr lang="en-US"/>
            </a:p>
          </p:txBody>
        </p:sp>
        <p:sp>
          <p:nvSpPr>
            <p:cNvPr id="21" name="Freeform 49"/>
            <p:cNvSpPr>
              <a:spLocks noChangeArrowheads="1"/>
            </p:cNvSpPr>
            <p:nvPr/>
          </p:nvSpPr>
          <p:spPr bwMode="auto">
            <a:xfrm>
              <a:off x="618703" y="2694291"/>
              <a:ext cx="1106809" cy="1594699"/>
            </a:xfrm>
            <a:custGeom>
              <a:avLst/>
              <a:gdLst>
                <a:gd name="T0" fmla="*/ 1723 w 3068"/>
                <a:gd name="T1" fmla="*/ 4988 h 5107"/>
                <a:gd name="T2" fmla="*/ 1431 w 3068"/>
                <a:gd name="T3" fmla="*/ 4355 h 5107"/>
                <a:gd name="T4" fmla="*/ 1312 w 3068"/>
                <a:gd name="T5" fmla="*/ 4181 h 5107"/>
                <a:gd name="T6" fmla="*/ 988 w 3068"/>
                <a:gd name="T7" fmla="*/ 3913 h 5107"/>
                <a:gd name="T8" fmla="*/ 632 w 3068"/>
                <a:gd name="T9" fmla="*/ 3731 h 5107"/>
                <a:gd name="T10" fmla="*/ 648 w 3068"/>
                <a:gd name="T11" fmla="*/ 3454 h 5107"/>
                <a:gd name="T12" fmla="*/ 553 w 3068"/>
                <a:gd name="T13" fmla="*/ 3193 h 5107"/>
                <a:gd name="T14" fmla="*/ 443 w 3068"/>
                <a:gd name="T15" fmla="*/ 2933 h 5107"/>
                <a:gd name="T16" fmla="*/ 466 w 3068"/>
                <a:gd name="T17" fmla="*/ 2601 h 5107"/>
                <a:gd name="T18" fmla="*/ 403 w 3068"/>
                <a:gd name="T19" fmla="*/ 2530 h 5107"/>
                <a:gd name="T20" fmla="*/ 324 w 3068"/>
                <a:gd name="T21" fmla="*/ 2253 h 5107"/>
                <a:gd name="T22" fmla="*/ 427 w 3068"/>
                <a:gd name="T23" fmla="*/ 2269 h 5107"/>
                <a:gd name="T24" fmla="*/ 419 w 3068"/>
                <a:gd name="T25" fmla="*/ 2087 h 5107"/>
                <a:gd name="T26" fmla="*/ 395 w 3068"/>
                <a:gd name="T27" fmla="*/ 1929 h 5107"/>
                <a:gd name="T28" fmla="*/ 269 w 3068"/>
                <a:gd name="T29" fmla="*/ 1977 h 5107"/>
                <a:gd name="T30" fmla="*/ 229 w 3068"/>
                <a:gd name="T31" fmla="*/ 1819 h 5107"/>
                <a:gd name="T32" fmla="*/ 126 w 3068"/>
                <a:gd name="T33" fmla="*/ 1597 h 5107"/>
                <a:gd name="T34" fmla="*/ 55 w 3068"/>
                <a:gd name="T35" fmla="*/ 1408 h 5107"/>
                <a:gd name="T36" fmla="*/ 119 w 3068"/>
                <a:gd name="T37" fmla="*/ 1123 h 5107"/>
                <a:gd name="T38" fmla="*/ 24 w 3068"/>
                <a:gd name="T39" fmla="*/ 799 h 5107"/>
                <a:gd name="T40" fmla="*/ 150 w 3068"/>
                <a:gd name="T41" fmla="*/ 514 h 5107"/>
                <a:gd name="T42" fmla="*/ 245 w 3068"/>
                <a:gd name="T43" fmla="*/ 301 h 5107"/>
                <a:gd name="T44" fmla="*/ 237 w 3068"/>
                <a:gd name="T45" fmla="*/ 71 h 5107"/>
                <a:gd name="T46" fmla="*/ 1684 w 3068"/>
                <a:gd name="T47" fmla="*/ 364 h 5107"/>
                <a:gd name="T48" fmla="*/ 2965 w 3068"/>
                <a:gd name="T49" fmla="*/ 4158 h 5107"/>
                <a:gd name="T50" fmla="*/ 2996 w 3068"/>
                <a:gd name="T51" fmla="*/ 4450 h 5107"/>
                <a:gd name="T52" fmla="*/ 2783 w 3068"/>
                <a:gd name="T53" fmla="*/ 4782 h 5107"/>
                <a:gd name="T54" fmla="*/ 2798 w 3068"/>
                <a:gd name="T55" fmla="*/ 4956 h 5107"/>
                <a:gd name="T56" fmla="*/ 1723 w 3068"/>
                <a:gd name="T57" fmla="*/ 4980 h 5107"/>
                <a:gd name="T58" fmla="*/ 2822 w 3068"/>
                <a:gd name="T59" fmla="*/ 5011 h 5107"/>
                <a:gd name="T60" fmla="*/ 2751 w 3068"/>
                <a:gd name="T61" fmla="*/ 4845 h 5107"/>
                <a:gd name="T62" fmla="*/ 2901 w 3068"/>
                <a:gd name="T63" fmla="*/ 4521 h 5107"/>
                <a:gd name="T64" fmla="*/ 2988 w 3068"/>
                <a:gd name="T65" fmla="*/ 4237 h 5107"/>
                <a:gd name="T66" fmla="*/ 1684 w 3068"/>
                <a:gd name="T67" fmla="*/ 372 h 5107"/>
                <a:gd name="T68" fmla="*/ 292 w 3068"/>
                <a:gd name="T69" fmla="*/ 182 h 5107"/>
                <a:gd name="T70" fmla="*/ 198 w 3068"/>
                <a:gd name="T71" fmla="*/ 396 h 5107"/>
                <a:gd name="T72" fmla="*/ 63 w 3068"/>
                <a:gd name="T73" fmla="*/ 633 h 5107"/>
                <a:gd name="T74" fmla="*/ 95 w 3068"/>
                <a:gd name="T75" fmla="*/ 917 h 5107"/>
                <a:gd name="T76" fmla="*/ 79 w 3068"/>
                <a:gd name="T77" fmla="*/ 1234 h 5107"/>
                <a:gd name="T78" fmla="*/ 47 w 3068"/>
                <a:gd name="T79" fmla="*/ 1423 h 5107"/>
                <a:gd name="T80" fmla="*/ 198 w 3068"/>
                <a:gd name="T81" fmla="*/ 1700 h 5107"/>
                <a:gd name="T82" fmla="*/ 190 w 3068"/>
                <a:gd name="T83" fmla="*/ 1937 h 5107"/>
                <a:gd name="T84" fmla="*/ 364 w 3068"/>
                <a:gd name="T85" fmla="*/ 2040 h 5107"/>
                <a:gd name="T86" fmla="*/ 458 w 3068"/>
                <a:gd name="T87" fmla="*/ 1985 h 5107"/>
                <a:gd name="T88" fmla="*/ 451 w 3068"/>
                <a:gd name="T89" fmla="*/ 2198 h 5107"/>
                <a:gd name="T90" fmla="*/ 379 w 3068"/>
                <a:gd name="T91" fmla="*/ 2182 h 5107"/>
                <a:gd name="T92" fmla="*/ 308 w 3068"/>
                <a:gd name="T93" fmla="*/ 2325 h 5107"/>
                <a:gd name="T94" fmla="*/ 419 w 3068"/>
                <a:gd name="T95" fmla="*/ 2522 h 5107"/>
                <a:gd name="T96" fmla="*/ 403 w 3068"/>
                <a:gd name="T97" fmla="*/ 2680 h 5107"/>
                <a:gd name="T98" fmla="*/ 506 w 3068"/>
                <a:gd name="T99" fmla="*/ 3043 h 5107"/>
                <a:gd name="T100" fmla="*/ 577 w 3068"/>
                <a:gd name="T101" fmla="*/ 3241 h 5107"/>
                <a:gd name="T102" fmla="*/ 672 w 3068"/>
                <a:gd name="T103" fmla="*/ 3549 h 5107"/>
                <a:gd name="T104" fmla="*/ 680 w 3068"/>
                <a:gd name="T105" fmla="*/ 3778 h 5107"/>
                <a:gd name="T106" fmla="*/ 1051 w 3068"/>
                <a:gd name="T107" fmla="*/ 3944 h 5107"/>
                <a:gd name="T108" fmla="*/ 1391 w 3068"/>
                <a:gd name="T109" fmla="*/ 4173 h 5107"/>
                <a:gd name="T110" fmla="*/ 1486 w 3068"/>
                <a:gd name="T111" fmla="*/ 4339 h 5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68" h="5107">
                  <a:moveTo>
                    <a:pt x="2688" y="5106"/>
                  </a:moveTo>
                  <a:lnTo>
                    <a:pt x="2688" y="5106"/>
                  </a:lnTo>
                  <a:lnTo>
                    <a:pt x="2688" y="5106"/>
                  </a:lnTo>
                  <a:cubicBezTo>
                    <a:pt x="2688" y="5098"/>
                    <a:pt x="2680" y="5098"/>
                    <a:pt x="2664" y="5090"/>
                  </a:cubicBezTo>
                  <a:cubicBezTo>
                    <a:pt x="2632" y="5083"/>
                    <a:pt x="1874" y="5003"/>
                    <a:pt x="1723" y="4988"/>
                  </a:cubicBezTo>
                  <a:lnTo>
                    <a:pt x="1723" y="4988"/>
                  </a:lnTo>
                  <a:lnTo>
                    <a:pt x="1723" y="4988"/>
                  </a:lnTo>
                  <a:cubicBezTo>
                    <a:pt x="1708" y="4964"/>
                    <a:pt x="1715" y="4956"/>
                    <a:pt x="1723" y="4940"/>
                  </a:cubicBezTo>
                  <a:cubicBezTo>
                    <a:pt x="1723" y="4924"/>
                    <a:pt x="1731" y="4908"/>
                    <a:pt x="1731" y="4877"/>
                  </a:cubicBezTo>
                  <a:cubicBezTo>
                    <a:pt x="1739" y="4814"/>
                    <a:pt x="1723" y="4600"/>
                    <a:pt x="1668" y="4569"/>
                  </a:cubicBezTo>
                  <a:cubicBezTo>
                    <a:pt x="1613" y="4529"/>
                    <a:pt x="1534" y="4434"/>
                    <a:pt x="1518" y="4379"/>
                  </a:cubicBezTo>
                  <a:cubicBezTo>
                    <a:pt x="1510" y="4355"/>
                    <a:pt x="1502" y="4347"/>
                    <a:pt x="1486" y="4347"/>
                  </a:cubicBezTo>
                  <a:cubicBezTo>
                    <a:pt x="1478" y="4347"/>
                    <a:pt x="1470" y="4347"/>
                    <a:pt x="1462" y="4347"/>
                  </a:cubicBezTo>
                  <a:cubicBezTo>
                    <a:pt x="1455" y="4355"/>
                    <a:pt x="1439" y="4355"/>
                    <a:pt x="1431" y="4355"/>
                  </a:cubicBezTo>
                  <a:cubicBezTo>
                    <a:pt x="1415" y="4355"/>
                    <a:pt x="1407" y="4355"/>
                    <a:pt x="1399" y="4347"/>
                  </a:cubicBezTo>
                  <a:cubicBezTo>
                    <a:pt x="1375" y="4324"/>
                    <a:pt x="1384" y="4276"/>
                    <a:pt x="1384" y="4253"/>
                  </a:cubicBezTo>
                  <a:cubicBezTo>
                    <a:pt x="1384" y="4237"/>
                    <a:pt x="1384" y="4229"/>
                    <a:pt x="1384" y="4229"/>
                  </a:cubicBezTo>
                  <a:cubicBezTo>
                    <a:pt x="1384" y="4221"/>
                    <a:pt x="1384" y="4213"/>
                    <a:pt x="1384" y="4205"/>
                  </a:cubicBezTo>
                  <a:cubicBezTo>
                    <a:pt x="1384" y="4197"/>
                    <a:pt x="1391" y="4181"/>
                    <a:pt x="1384" y="4181"/>
                  </a:cubicBezTo>
                  <a:cubicBezTo>
                    <a:pt x="1375" y="4173"/>
                    <a:pt x="1368" y="4173"/>
                    <a:pt x="1344" y="4173"/>
                  </a:cubicBezTo>
                  <a:cubicBezTo>
                    <a:pt x="1336" y="4181"/>
                    <a:pt x="1320" y="4181"/>
                    <a:pt x="1312" y="4181"/>
                  </a:cubicBezTo>
                  <a:cubicBezTo>
                    <a:pt x="1265" y="4181"/>
                    <a:pt x="1233" y="4158"/>
                    <a:pt x="1217" y="4142"/>
                  </a:cubicBezTo>
                  <a:cubicBezTo>
                    <a:pt x="1209" y="4142"/>
                    <a:pt x="1209" y="4134"/>
                    <a:pt x="1202" y="4134"/>
                  </a:cubicBezTo>
                  <a:cubicBezTo>
                    <a:pt x="1202" y="4126"/>
                    <a:pt x="1194" y="4126"/>
                    <a:pt x="1186" y="4126"/>
                  </a:cubicBezTo>
                  <a:cubicBezTo>
                    <a:pt x="1162" y="4118"/>
                    <a:pt x="1138" y="4110"/>
                    <a:pt x="1122" y="4063"/>
                  </a:cubicBezTo>
                  <a:cubicBezTo>
                    <a:pt x="1099" y="4015"/>
                    <a:pt x="1059" y="3960"/>
                    <a:pt x="1051" y="3952"/>
                  </a:cubicBezTo>
                  <a:cubicBezTo>
                    <a:pt x="1044" y="3952"/>
                    <a:pt x="1044" y="3944"/>
                    <a:pt x="1035" y="3944"/>
                  </a:cubicBezTo>
                  <a:cubicBezTo>
                    <a:pt x="1028" y="3928"/>
                    <a:pt x="1012" y="3913"/>
                    <a:pt x="988" y="3913"/>
                  </a:cubicBezTo>
                  <a:cubicBezTo>
                    <a:pt x="980" y="3913"/>
                    <a:pt x="972" y="3913"/>
                    <a:pt x="972" y="3913"/>
                  </a:cubicBezTo>
                  <a:cubicBezTo>
                    <a:pt x="964" y="3920"/>
                    <a:pt x="957" y="3920"/>
                    <a:pt x="949" y="3920"/>
                  </a:cubicBezTo>
                  <a:cubicBezTo>
                    <a:pt x="901" y="3920"/>
                    <a:pt x="854" y="3881"/>
                    <a:pt x="838" y="3849"/>
                  </a:cubicBezTo>
                  <a:cubicBezTo>
                    <a:pt x="822" y="3826"/>
                    <a:pt x="783" y="3826"/>
                    <a:pt x="735" y="3826"/>
                  </a:cubicBezTo>
                  <a:cubicBezTo>
                    <a:pt x="696" y="3826"/>
                    <a:pt x="672" y="3818"/>
                    <a:pt x="672" y="3778"/>
                  </a:cubicBezTo>
                  <a:cubicBezTo>
                    <a:pt x="664" y="3762"/>
                    <a:pt x="664" y="3754"/>
                    <a:pt x="648" y="3747"/>
                  </a:cubicBezTo>
                  <a:cubicBezTo>
                    <a:pt x="648" y="3739"/>
                    <a:pt x="640" y="3739"/>
                    <a:pt x="632" y="3731"/>
                  </a:cubicBezTo>
                  <a:cubicBezTo>
                    <a:pt x="617" y="3715"/>
                    <a:pt x="625" y="3707"/>
                    <a:pt x="632" y="3691"/>
                  </a:cubicBezTo>
                  <a:cubicBezTo>
                    <a:pt x="632" y="3683"/>
                    <a:pt x="640" y="3667"/>
                    <a:pt x="640" y="3660"/>
                  </a:cubicBezTo>
                  <a:cubicBezTo>
                    <a:pt x="640" y="3644"/>
                    <a:pt x="648" y="3628"/>
                    <a:pt x="648" y="3620"/>
                  </a:cubicBezTo>
                  <a:cubicBezTo>
                    <a:pt x="656" y="3612"/>
                    <a:pt x="664" y="3596"/>
                    <a:pt x="656" y="3580"/>
                  </a:cubicBezTo>
                  <a:cubicBezTo>
                    <a:pt x="656" y="3557"/>
                    <a:pt x="664" y="3549"/>
                    <a:pt x="672" y="3549"/>
                  </a:cubicBezTo>
                  <a:cubicBezTo>
                    <a:pt x="672" y="3541"/>
                    <a:pt x="680" y="3533"/>
                    <a:pt x="680" y="3509"/>
                  </a:cubicBezTo>
                  <a:cubicBezTo>
                    <a:pt x="688" y="3470"/>
                    <a:pt x="664" y="3462"/>
                    <a:pt x="648" y="3454"/>
                  </a:cubicBezTo>
                  <a:cubicBezTo>
                    <a:pt x="640" y="3454"/>
                    <a:pt x="632" y="3446"/>
                    <a:pt x="625" y="3446"/>
                  </a:cubicBezTo>
                  <a:cubicBezTo>
                    <a:pt x="601" y="3422"/>
                    <a:pt x="625" y="3391"/>
                    <a:pt x="648" y="3359"/>
                  </a:cubicBezTo>
                  <a:cubicBezTo>
                    <a:pt x="648" y="3351"/>
                    <a:pt x="648" y="3343"/>
                    <a:pt x="648" y="3343"/>
                  </a:cubicBezTo>
                  <a:cubicBezTo>
                    <a:pt x="648" y="3320"/>
                    <a:pt x="617" y="3304"/>
                    <a:pt x="601" y="3296"/>
                  </a:cubicBezTo>
                  <a:cubicBezTo>
                    <a:pt x="585" y="3288"/>
                    <a:pt x="577" y="3272"/>
                    <a:pt x="569" y="3249"/>
                  </a:cubicBezTo>
                  <a:cubicBezTo>
                    <a:pt x="569" y="3233"/>
                    <a:pt x="569" y="3225"/>
                    <a:pt x="561" y="3217"/>
                  </a:cubicBezTo>
                  <a:cubicBezTo>
                    <a:pt x="553" y="3201"/>
                    <a:pt x="553" y="3193"/>
                    <a:pt x="553" y="3193"/>
                  </a:cubicBezTo>
                  <a:cubicBezTo>
                    <a:pt x="545" y="3193"/>
                    <a:pt x="545" y="3185"/>
                    <a:pt x="538" y="3169"/>
                  </a:cubicBezTo>
                  <a:cubicBezTo>
                    <a:pt x="538" y="3154"/>
                    <a:pt x="530" y="3146"/>
                    <a:pt x="530" y="3138"/>
                  </a:cubicBezTo>
                  <a:cubicBezTo>
                    <a:pt x="530" y="3130"/>
                    <a:pt x="530" y="3130"/>
                    <a:pt x="522" y="3122"/>
                  </a:cubicBezTo>
                  <a:cubicBezTo>
                    <a:pt x="506" y="3106"/>
                    <a:pt x="506" y="3106"/>
                    <a:pt x="498" y="3067"/>
                  </a:cubicBezTo>
                  <a:cubicBezTo>
                    <a:pt x="498" y="3059"/>
                    <a:pt x="498" y="3051"/>
                    <a:pt x="498" y="3043"/>
                  </a:cubicBezTo>
                  <a:cubicBezTo>
                    <a:pt x="498" y="3019"/>
                    <a:pt x="498" y="3011"/>
                    <a:pt x="490" y="3003"/>
                  </a:cubicBezTo>
                  <a:cubicBezTo>
                    <a:pt x="474" y="3003"/>
                    <a:pt x="458" y="2980"/>
                    <a:pt x="443" y="2933"/>
                  </a:cubicBezTo>
                  <a:cubicBezTo>
                    <a:pt x="435" y="2902"/>
                    <a:pt x="427" y="2894"/>
                    <a:pt x="403" y="2870"/>
                  </a:cubicBezTo>
                  <a:cubicBezTo>
                    <a:pt x="372" y="2846"/>
                    <a:pt x="387" y="2744"/>
                    <a:pt x="387" y="2712"/>
                  </a:cubicBezTo>
                  <a:cubicBezTo>
                    <a:pt x="387" y="2696"/>
                    <a:pt x="387" y="2688"/>
                    <a:pt x="387" y="2680"/>
                  </a:cubicBezTo>
                  <a:cubicBezTo>
                    <a:pt x="387" y="2680"/>
                    <a:pt x="379" y="2680"/>
                    <a:pt x="387" y="2672"/>
                  </a:cubicBezTo>
                  <a:cubicBezTo>
                    <a:pt x="387" y="2672"/>
                    <a:pt x="387" y="2672"/>
                    <a:pt x="403" y="2672"/>
                  </a:cubicBezTo>
                  <a:cubicBezTo>
                    <a:pt x="403" y="2672"/>
                    <a:pt x="411" y="2672"/>
                    <a:pt x="419" y="2672"/>
                  </a:cubicBezTo>
                  <a:cubicBezTo>
                    <a:pt x="458" y="2664"/>
                    <a:pt x="458" y="2641"/>
                    <a:pt x="466" y="2601"/>
                  </a:cubicBezTo>
                  <a:cubicBezTo>
                    <a:pt x="466" y="2593"/>
                    <a:pt x="474" y="2585"/>
                    <a:pt x="474" y="2578"/>
                  </a:cubicBezTo>
                  <a:cubicBezTo>
                    <a:pt x="482" y="2554"/>
                    <a:pt x="482" y="2546"/>
                    <a:pt x="474" y="2538"/>
                  </a:cubicBezTo>
                  <a:cubicBezTo>
                    <a:pt x="474" y="2538"/>
                    <a:pt x="466" y="2530"/>
                    <a:pt x="451" y="2530"/>
                  </a:cubicBezTo>
                  <a:cubicBezTo>
                    <a:pt x="451" y="2530"/>
                    <a:pt x="443" y="2530"/>
                    <a:pt x="435" y="2530"/>
                  </a:cubicBezTo>
                  <a:cubicBezTo>
                    <a:pt x="427" y="2530"/>
                    <a:pt x="419" y="2530"/>
                    <a:pt x="419" y="2530"/>
                  </a:cubicBezTo>
                  <a:cubicBezTo>
                    <a:pt x="411" y="2530"/>
                    <a:pt x="411" y="2530"/>
                    <a:pt x="411" y="2530"/>
                  </a:cubicBezTo>
                  <a:cubicBezTo>
                    <a:pt x="403" y="2530"/>
                    <a:pt x="403" y="2530"/>
                    <a:pt x="403" y="2530"/>
                  </a:cubicBezTo>
                  <a:cubicBezTo>
                    <a:pt x="395" y="2530"/>
                    <a:pt x="387" y="2522"/>
                    <a:pt x="372" y="2498"/>
                  </a:cubicBezTo>
                  <a:cubicBezTo>
                    <a:pt x="356" y="2475"/>
                    <a:pt x="348" y="2475"/>
                    <a:pt x="340" y="2467"/>
                  </a:cubicBezTo>
                  <a:cubicBezTo>
                    <a:pt x="332" y="2459"/>
                    <a:pt x="332" y="2459"/>
                    <a:pt x="316" y="2443"/>
                  </a:cubicBezTo>
                  <a:cubicBezTo>
                    <a:pt x="292" y="2420"/>
                    <a:pt x="300" y="2388"/>
                    <a:pt x="300" y="2356"/>
                  </a:cubicBezTo>
                  <a:cubicBezTo>
                    <a:pt x="300" y="2348"/>
                    <a:pt x="300" y="2340"/>
                    <a:pt x="300" y="2325"/>
                  </a:cubicBezTo>
                  <a:cubicBezTo>
                    <a:pt x="300" y="2301"/>
                    <a:pt x="300" y="2293"/>
                    <a:pt x="308" y="2285"/>
                  </a:cubicBezTo>
                  <a:cubicBezTo>
                    <a:pt x="316" y="2277"/>
                    <a:pt x="316" y="2269"/>
                    <a:pt x="324" y="2253"/>
                  </a:cubicBezTo>
                  <a:cubicBezTo>
                    <a:pt x="332" y="2230"/>
                    <a:pt x="332" y="2214"/>
                    <a:pt x="324" y="2198"/>
                  </a:cubicBezTo>
                  <a:cubicBezTo>
                    <a:pt x="324" y="2190"/>
                    <a:pt x="324" y="2182"/>
                    <a:pt x="324" y="2167"/>
                  </a:cubicBezTo>
                  <a:cubicBezTo>
                    <a:pt x="324" y="2151"/>
                    <a:pt x="324" y="2135"/>
                    <a:pt x="332" y="2135"/>
                  </a:cubicBezTo>
                  <a:cubicBezTo>
                    <a:pt x="340" y="2135"/>
                    <a:pt x="348" y="2135"/>
                    <a:pt x="356" y="2143"/>
                  </a:cubicBezTo>
                  <a:cubicBezTo>
                    <a:pt x="372" y="2151"/>
                    <a:pt x="372" y="2158"/>
                    <a:pt x="387" y="2182"/>
                  </a:cubicBezTo>
                  <a:cubicBezTo>
                    <a:pt x="387" y="2190"/>
                    <a:pt x="395" y="2206"/>
                    <a:pt x="403" y="2222"/>
                  </a:cubicBezTo>
                  <a:cubicBezTo>
                    <a:pt x="419" y="2245"/>
                    <a:pt x="427" y="2269"/>
                    <a:pt x="427" y="2269"/>
                  </a:cubicBezTo>
                  <a:cubicBezTo>
                    <a:pt x="427" y="2269"/>
                    <a:pt x="427" y="2269"/>
                    <a:pt x="435" y="2269"/>
                  </a:cubicBezTo>
                  <a:cubicBezTo>
                    <a:pt x="435" y="2261"/>
                    <a:pt x="443" y="2261"/>
                    <a:pt x="451" y="2261"/>
                  </a:cubicBezTo>
                  <a:cubicBezTo>
                    <a:pt x="458" y="2261"/>
                    <a:pt x="458" y="2261"/>
                    <a:pt x="458" y="2261"/>
                  </a:cubicBezTo>
                  <a:cubicBezTo>
                    <a:pt x="458" y="2253"/>
                    <a:pt x="458" y="2245"/>
                    <a:pt x="451" y="2230"/>
                  </a:cubicBezTo>
                  <a:cubicBezTo>
                    <a:pt x="451" y="2222"/>
                    <a:pt x="451" y="2206"/>
                    <a:pt x="443" y="2198"/>
                  </a:cubicBezTo>
                  <a:cubicBezTo>
                    <a:pt x="443" y="2174"/>
                    <a:pt x="435" y="2151"/>
                    <a:pt x="435" y="2127"/>
                  </a:cubicBezTo>
                  <a:cubicBezTo>
                    <a:pt x="427" y="2111"/>
                    <a:pt x="427" y="2095"/>
                    <a:pt x="419" y="2087"/>
                  </a:cubicBezTo>
                  <a:cubicBezTo>
                    <a:pt x="419" y="2072"/>
                    <a:pt x="411" y="2064"/>
                    <a:pt x="411" y="2064"/>
                  </a:cubicBezTo>
                  <a:cubicBezTo>
                    <a:pt x="403" y="2056"/>
                    <a:pt x="395" y="2056"/>
                    <a:pt x="395" y="2048"/>
                  </a:cubicBezTo>
                  <a:cubicBezTo>
                    <a:pt x="387" y="2032"/>
                    <a:pt x="395" y="2024"/>
                    <a:pt x="403" y="2016"/>
                  </a:cubicBezTo>
                  <a:cubicBezTo>
                    <a:pt x="403" y="2008"/>
                    <a:pt x="419" y="2000"/>
                    <a:pt x="427" y="2000"/>
                  </a:cubicBezTo>
                  <a:cubicBezTo>
                    <a:pt x="435" y="2000"/>
                    <a:pt x="451" y="1993"/>
                    <a:pt x="451" y="1985"/>
                  </a:cubicBezTo>
                  <a:cubicBezTo>
                    <a:pt x="451" y="1977"/>
                    <a:pt x="451" y="1969"/>
                    <a:pt x="443" y="1961"/>
                  </a:cubicBezTo>
                  <a:cubicBezTo>
                    <a:pt x="427" y="1945"/>
                    <a:pt x="419" y="1937"/>
                    <a:pt x="395" y="1929"/>
                  </a:cubicBezTo>
                  <a:cubicBezTo>
                    <a:pt x="387" y="1929"/>
                    <a:pt x="387" y="1929"/>
                    <a:pt x="387" y="1945"/>
                  </a:cubicBezTo>
                  <a:cubicBezTo>
                    <a:pt x="387" y="1953"/>
                    <a:pt x="387" y="1969"/>
                    <a:pt x="379" y="1985"/>
                  </a:cubicBezTo>
                  <a:cubicBezTo>
                    <a:pt x="364" y="2000"/>
                    <a:pt x="372" y="2008"/>
                    <a:pt x="372" y="2016"/>
                  </a:cubicBezTo>
                  <a:cubicBezTo>
                    <a:pt x="372" y="2024"/>
                    <a:pt x="372" y="2032"/>
                    <a:pt x="372" y="2040"/>
                  </a:cubicBezTo>
                  <a:cubicBezTo>
                    <a:pt x="372" y="2064"/>
                    <a:pt x="356" y="2072"/>
                    <a:pt x="348" y="2072"/>
                  </a:cubicBezTo>
                  <a:cubicBezTo>
                    <a:pt x="340" y="2072"/>
                    <a:pt x="332" y="2072"/>
                    <a:pt x="332" y="2064"/>
                  </a:cubicBezTo>
                  <a:cubicBezTo>
                    <a:pt x="308" y="2056"/>
                    <a:pt x="292" y="2032"/>
                    <a:pt x="269" y="1977"/>
                  </a:cubicBezTo>
                  <a:cubicBezTo>
                    <a:pt x="261" y="1945"/>
                    <a:pt x="253" y="1945"/>
                    <a:pt x="245" y="1945"/>
                  </a:cubicBezTo>
                  <a:cubicBezTo>
                    <a:pt x="237" y="1945"/>
                    <a:pt x="237" y="1945"/>
                    <a:pt x="229" y="1945"/>
                  </a:cubicBezTo>
                  <a:cubicBezTo>
                    <a:pt x="221" y="1945"/>
                    <a:pt x="214" y="1945"/>
                    <a:pt x="198" y="1945"/>
                  </a:cubicBezTo>
                  <a:cubicBezTo>
                    <a:pt x="198" y="1945"/>
                    <a:pt x="182" y="1945"/>
                    <a:pt x="182" y="1937"/>
                  </a:cubicBezTo>
                  <a:cubicBezTo>
                    <a:pt x="182" y="1929"/>
                    <a:pt x="190" y="1921"/>
                    <a:pt x="214" y="1905"/>
                  </a:cubicBezTo>
                  <a:lnTo>
                    <a:pt x="214" y="1898"/>
                  </a:lnTo>
                  <a:cubicBezTo>
                    <a:pt x="229" y="1890"/>
                    <a:pt x="237" y="1850"/>
                    <a:pt x="229" y="1819"/>
                  </a:cubicBezTo>
                  <a:cubicBezTo>
                    <a:pt x="229" y="1803"/>
                    <a:pt x="229" y="1803"/>
                    <a:pt x="221" y="1795"/>
                  </a:cubicBezTo>
                  <a:cubicBezTo>
                    <a:pt x="221" y="1795"/>
                    <a:pt x="214" y="1787"/>
                    <a:pt x="214" y="1763"/>
                  </a:cubicBezTo>
                  <a:cubicBezTo>
                    <a:pt x="205" y="1755"/>
                    <a:pt x="205" y="1740"/>
                    <a:pt x="205" y="1740"/>
                  </a:cubicBezTo>
                  <a:cubicBezTo>
                    <a:pt x="205" y="1724"/>
                    <a:pt x="205" y="1724"/>
                    <a:pt x="190" y="1708"/>
                  </a:cubicBezTo>
                  <a:cubicBezTo>
                    <a:pt x="182" y="1708"/>
                    <a:pt x="182" y="1700"/>
                    <a:pt x="174" y="1700"/>
                  </a:cubicBezTo>
                  <a:cubicBezTo>
                    <a:pt x="166" y="1692"/>
                    <a:pt x="158" y="1684"/>
                    <a:pt x="150" y="1653"/>
                  </a:cubicBezTo>
                  <a:cubicBezTo>
                    <a:pt x="150" y="1621"/>
                    <a:pt x="142" y="1613"/>
                    <a:pt x="126" y="1597"/>
                  </a:cubicBezTo>
                  <a:cubicBezTo>
                    <a:pt x="119" y="1597"/>
                    <a:pt x="111" y="1589"/>
                    <a:pt x="111" y="1581"/>
                  </a:cubicBezTo>
                  <a:cubicBezTo>
                    <a:pt x="95" y="1574"/>
                    <a:pt x="95" y="1566"/>
                    <a:pt x="95" y="1550"/>
                  </a:cubicBezTo>
                  <a:cubicBezTo>
                    <a:pt x="95" y="1534"/>
                    <a:pt x="95" y="1510"/>
                    <a:pt x="63" y="1471"/>
                  </a:cubicBezTo>
                  <a:cubicBezTo>
                    <a:pt x="39" y="1439"/>
                    <a:pt x="39" y="1423"/>
                    <a:pt x="39" y="1423"/>
                  </a:cubicBezTo>
                  <a:cubicBezTo>
                    <a:pt x="39" y="1415"/>
                    <a:pt x="47" y="1415"/>
                    <a:pt x="47" y="1415"/>
                  </a:cubicBezTo>
                  <a:lnTo>
                    <a:pt x="55" y="1415"/>
                  </a:lnTo>
                  <a:lnTo>
                    <a:pt x="55" y="1408"/>
                  </a:lnTo>
                  <a:cubicBezTo>
                    <a:pt x="47" y="1384"/>
                    <a:pt x="55" y="1360"/>
                    <a:pt x="71" y="1328"/>
                  </a:cubicBezTo>
                  <a:cubicBezTo>
                    <a:pt x="71" y="1313"/>
                    <a:pt x="71" y="1313"/>
                    <a:pt x="71" y="1313"/>
                  </a:cubicBezTo>
                  <a:cubicBezTo>
                    <a:pt x="87" y="1281"/>
                    <a:pt x="87" y="1273"/>
                    <a:pt x="79" y="1241"/>
                  </a:cubicBezTo>
                  <a:cubicBezTo>
                    <a:pt x="71" y="1234"/>
                    <a:pt x="71" y="1234"/>
                    <a:pt x="71" y="1234"/>
                  </a:cubicBezTo>
                  <a:cubicBezTo>
                    <a:pt x="63" y="1202"/>
                    <a:pt x="71" y="1202"/>
                    <a:pt x="87" y="1186"/>
                  </a:cubicBezTo>
                  <a:cubicBezTo>
                    <a:pt x="95" y="1186"/>
                    <a:pt x="103" y="1178"/>
                    <a:pt x="111" y="1170"/>
                  </a:cubicBezTo>
                  <a:cubicBezTo>
                    <a:pt x="126" y="1155"/>
                    <a:pt x="126" y="1147"/>
                    <a:pt x="119" y="1123"/>
                  </a:cubicBezTo>
                  <a:cubicBezTo>
                    <a:pt x="119" y="1115"/>
                    <a:pt x="119" y="1099"/>
                    <a:pt x="119" y="1083"/>
                  </a:cubicBezTo>
                  <a:cubicBezTo>
                    <a:pt x="119" y="1076"/>
                    <a:pt x="119" y="1068"/>
                    <a:pt x="119" y="1060"/>
                  </a:cubicBezTo>
                  <a:cubicBezTo>
                    <a:pt x="119" y="1036"/>
                    <a:pt x="119" y="1028"/>
                    <a:pt x="111" y="981"/>
                  </a:cubicBezTo>
                  <a:cubicBezTo>
                    <a:pt x="103" y="949"/>
                    <a:pt x="95" y="933"/>
                    <a:pt x="87" y="925"/>
                  </a:cubicBezTo>
                  <a:cubicBezTo>
                    <a:pt x="87" y="910"/>
                    <a:pt x="79" y="902"/>
                    <a:pt x="71" y="878"/>
                  </a:cubicBezTo>
                  <a:cubicBezTo>
                    <a:pt x="63" y="846"/>
                    <a:pt x="55" y="846"/>
                    <a:pt x="47" y="838"/>
                  </a:cubicBezTo>
                  <a:cubicBezTo>
                    <a:pt x="39" y="830"/>
                    <a:pt x="32" y="823"/>
                    <a:pt x="24" y="799"/>
                  </a:cubicBezTo>
                  <a:cubicBezTo>
                    <a:pt x="0" y="767"/>
                    <a:pt x="0" y="759"/>
                    <a:pt x="8" y="736"/>
                  </a:cubicBezTo>
                  <a:cubicBezTo>
                    <a:pt x="8" y="728"/>
                    <a:pt x="16" y="712"/>
                    <a:pt x="16" y="696"/>
                  </a:cubicBezTo>
                  <a:cubicBezTo>
                    <a:pt x="16" y="657"/>
                    <a:pt x="24" y="649"/>
                    <a:pt x="39" y="641"/>
                  </a:cubicBezTo>
                  <a:cubicBezTo>
                    <a:pt x="47" y="633"/>
                    <a:pt x="55" y="633"/>
                    <a:pt x="55" y="625"/>
                  </a:cubicBezTo>
                  <a:cubicBezTo>
                    <a:pt x="71" y="609"/>
                    <a:pt x="95" y="577"/>
                    <a:pt x="119" y="562"/>
                  </a:cubicBezTo>
                  <a:cubicBezTo>
                    <a:pt x="126" y="554"/>
                    <a:pt x="126" y="546"/>
                    <a:pt x="134" y="546"/>
                  </a:cubicBezTo>
                  <a:cubicBezTo>
                    <a:pt x="142" y="538"/>
                    <a:pt x="142" y="530"/>
                    <a:pt x="150" y="514"/>
                  </a:cubicBezTo>
                  <a:cubicBezTo>
                    <a:pt x="150" y="506"/>
                    <a:pt x="150" y="498"/>
                    <a:pt x="158" y="491"/>
                  </a:cubicBezTo>
                  <a:cubicBezTo>
                    <a:pt x="158" y="467"/>
                    <a:pt x="166" y="467"/>
                    <a:pt x="174" y="459"/>
                  </a:cubicBezTo>
                  <a:cubicBezTo>
                    <a:pt x="174" y="459"/>
                    <a:pt x="182" y="451"/>
                    <a:pt x="190" y="435"/>
                  </a:cubicBezTo>
                  <a:cubicBezTo>
                    <a:pt x="198" y="419"/>
                    <a:pt x="198" y="404"/>
                    <a:pt x="190" y="396"/>
                  </a:cubicBezTo>
                  <a:cubicBezTo>
                    <a:pt x="190" y="388"/>
                    <a:pt x="190" y="372"/>
                    <a:pt x="190" y="364"/>
                  </a:cubicBezTo>
                  <a:cubicBezTo>
                    <a:pt x="198" y="340"/>
                    <a:pt x="221" y="324"/>
                    <a:pt x="237" y="309"/>
                  </a:cubicBezTo>
                  <a:cubicBezTo>
                    <a:pt x="237" y="301"/>
                    <a:pt x="245" y="301"/>
                    <a:pt x="245" y="301"/>
                  </a:cubicBezTo>
                  <a:cubicBezTo>
                    <a:pt x="253" y="293"/>
                    <a:pt x="253" y="285"/>
                    <a:pt x="253" y="277"/>
                  </a:cubicBezTo>
                  <a:cubicBezTo>
                    <a:pt x="253" y="277"/>
                    <a:pt x="253" y="261"/>
                    <a:pt x="253" y="246"/>
                  </a:cubicBezTo>
                  <a:cubicBezTo>
                    <a:pt x="253" y="222"/>
                    <a:pt x="261" y="214"/>
                    <a:pt x="269" y="206"/>
                  </a:cubicBezTo>
                  <a:cubicBezTo>
                    <a:pt x="277" y="198"/>
                    <a:pt x="277" y="190"/>
                    <a:pt x="285" y="182"/>
                  </a:cubicBezTo>
                  <a:cubicBezTo>
                    <a:pt x="292" y="158"/>
                    <a:pt x="285" y="151"/>
                    <a:pt x="269" y="143"/>
                  </a:cubicBezTo>
                  <a:cubicBezTo>
                    <a:pt x="261" y="135"/>
                    <a:pt x="253" y="119"/>
                    <a:pt x="245" y="103"/>
                  </a:cubicBezTo>
                  <a:cubicBezTo>
                    <a:pt x="237" y="95"/>
                    <a:pt x="229" y="80"/>
                    <a:pt x="237" y="71"/>
                  </a:cubicBezTo>
                  <a:cubicBezTo>
                    <a:pt x="245" y="48"/>
                    <a:pt x="269" y="32"/>
                    <a:pt x="269" y="32"/>
                  </a:cubicBezTo>
                  <a:lnTo>
                    <a:pt x="269" y="32"/>
                  </a:lnTo>
                  <a:cubicBezTo>
                    <a:pt x="269" y="32"/>
                    <a:pt x="285" y="32"/>
                    <a:pt x="292" y="24"/>
                  </a:cubicBezTo>
                  <a:cubicBezTo>
                    <a:pt x="300" y="16"/>
                    <a:pt x="300" y="8"/>
                    <a:pt x="300" y="8"/>
                  </a:cubicBezTo>
                  <a:cubicBezTo>
                    <a:pt x="292" y="0"/>
                    <a:pt x="292" y="0"/>
                    <a:pt x="292" y="0"/>
                  </a:cubicBezTo>
                  <a:cubicBezTo>
                    <a:pt x="300" y="0"/>
                    <a:pt x="300" y="0"/>
                    <a:pt x="300" y="0"/>
                  </a:cubicBezTo>
                  <a:cubicBezTo>
                    <a:pt x="538" y="71"/>
                    <a:pt x="1035" y="206"/>
                    <a:pt x="1684" y="364"/>
                  </a:cubicBezTo>
                  <a:cubicBezTo>
                    <a:pt x="1692" y="364"/>
                    <a:pt x="1692" y="364"/>
                    <a:pt x="1692" y="364"/>
                  </a:cubicBezTo>
                  <a:cubicBezTo>
                    <a:pt x="1336" y="1755"/>
                    <a:pt x="1336" y="1755"/>
                    <a:pt x="1336" y="1755"/>
                  </a:cubicBezTo>
                  <a:cubicBezTo>
                    <a:pt x="2933" y="4039"/>
                    <a:pt x="2933" y="4039"/>
                    <a:pt x="2933" y="4039"/>
                  </a:cubicBezTo>
                  <a:lnTo>
                    <a:pt x="2933" y="4039"/>
                  </a:lnTo>
                  <a:cubicBezTo>
                    <a:pt x="2933" y="4055"/>
                    <a:pt x="2933" y="4063"/>
                    <a:pt x="2925" y="4086"/>
                  </a:cubicBezTo>
                  <a:cubicBezTo>
                    <a:pt x="2925" y="4110"/>
                    <a:pt x="2933" y="4118"/>
                    <a:pt x="2941" y="4134"/>
                  </a:cubicBezTo>
                  <a:cubicBezTo>
                    <a:pt x="2949" y="4142"/>
                    <a:pt x="2957" y="4150"/>
                    <a:pt x="2965" y="4158"/>
                  </a:cubicBezTo>
                  <a:cubicBezTo>
                    <a:pt x="2965" y="4166"/>
                    <a:pt x="2972" y="4173"/>
                    <a:pt x="2972" y="4181"/>
                  </a:cubicBezTo>
                  <a:cubicBezTo>
                    <a:pt x="2980" y="4197"/>
                    <a:pt x="2988" y="4213"/>
                    <a:pt x="2996" y="4237"/>
                  </a:cubicBezTo>
                  <a:cubicBezTo>
                    <a:pt x="2996" y="4260"/>
                    <a:pt x="3020" y="4324"/>
                    <a:pt x="3044" y="4339"/>
                  </a:cubicBezTo>
                  <a:cubicBezTo>
                    <a:pt x="3051" y="4339"/>
                    <a:pt x="3059" y="4355"/>
                    <a:pt x="3067" y="4371"/>
                  </a:cubicBezTo>
                  <a:cubicBezTo>
                    <a:pt x="3067" y="4387"/>
                    <a:pt x="3067" y="4403"/>
                    <a:pt x="3059" y="4411"/>
                  </a:cubicBezTo>
                  <a:cubicBezTo>
                    <a:pt x="3051" y="4426"/>
                    <a:pt x="3044" y="4426"/>
                    <a:pt x="3036" y="4434"/>
                  </a:cubicBezTo>
                  <a:cubicBezTo>
                    <a:pt x="3028" y="4434"/>
                    <a:pt x="3012" y="4442"/>
                    <a:pt x="2996" y="4450"/>
                  </a:cubicBezTo>
                  <a:cubicBezTo>
                    <a:pt x="2980" y="4458"/>
                    <a:pt x="2965" y="4474"/>
                    <a:pt x="2957" y="4490"/>
                  </a:cubicBezTo>
                  <a:cubicBezTo>
                    <a:pt x="2941" y="4506"/>
                    <a:pt x="2925" y="4521"/>
                    <a:pt x="2901" y="4529"/>
                  </a:cubicBezTo>
                  <a:cubicBezTo>
                    <a:pt x="2878" y="4545"/>
                    <a:pt x="2885" y="4561"/>
                    <a:pt x="2885" y="4584"/>
                  </a:cubicBezTo>
                  <a:cubicBezTo>
                    <a:pt x="2885" y="4592"/>
                    <a:pt x="2893" y="4608"/>
                    <a:pt x="2885" y="4632"/>
                  </a:cubicBezTo>
                  <a:cubicBezTo>
                    <a:pt x="2878" y="4671"/>
                    <a:pt x="2846" y="4719"/>
                    <a:pt x="2830" y="4750"/>
                  </a:cubicBezTo>
                  <a:cubicBezTo>
                    <a:pt x="2822" y="4758"/>
                    <a:pt x="2822" y="4758"/>
                    <a:pt x="2814" y="4766"/>
                  </a:cubicBezTo>
                  <a:cubicBezTo>
                    <a:pt x="2807" y="4774"/>
                    <a:pt x="2798" y="4782"/>
                    <a:pt x="2783" y="4782"/>
                  </a:cubicBezTo>
                  <a:cubicBezTo>
                    <a:pt x="2775" y="4790"/>
                    <a:pt x="2759" y="4790"/>
                    <a:pt x="2751" y="4806"/>
                  </a:cubicBezTo>
                  <a:cubicBezTo>
                    <a:pt x="2743" y="4822"/>
                    <a:pt x="2751" y="4830"/>
                    <a:pt x="2751" y="4845"/>
                  </a:cubicBezTo>
                  <a:cubicBezTo>
                    <a:pt x="2759" y="4853"/>
                    <a:pt x="2767" y="4869"/>
                    <a:pt x="2767" y="4885"/>
                  </a:cubicBezTo>
                  <a:cubicBezTo>
                    <a:pt x="2767" y="4908"/>
                    <a:pt x="2759" y="4908"/>
                    <a:pt x="2751" y="4917"/>
                  </a:cubicBezTo>
                  <a:cubicBezTo>
                    <a:pt x="2751" y="4917"/>
                    <a:pt x="2751" y="4917"/>
                    <a:pt x="2751" y="4932"/>
                  </a:cubicBezTo>
                  <a:cubicBezTo>
                    <a:pt x="2751" y="4940"/>
                    <a:pt x="2751" y="4948"/>
                    <a:pt x="2767" y="4948"/>
                  </a:cubicBezTo>
                  <a:cubicBezTo>
                    <a:pt x="2775" y="4948"/>
                    <a:pt x="2783" y="4948"/>
                    <a:pt x="2798" y="4956"/>
                  </a:cubicBezTo>
                  <a:cubicBezTo>
                    <a:pt x="2822" y="4964"/>
                    <a:pt x="2822" y="4972"/>
                    <a:pt x="2830" y="5011"/>
                  </a:cubicBezTo>
                  <a:lnTo>
                    <a:pt x="2830" y="5011"/>
                  </a:lnTo>
                  <a:cubicBezTo>
                    <a:pt x="2830" y="5035"/>
                    <a:pt x="2822" y="5043"/>
                    <a:pt x="2807" y="5043"/>
                  </a:cubicBezTo>
                  <a:cubicBezTo>
                    <a:pt x="2798" y="5051"/>
                    <a:pt x="2798" y="5051"/>
                    <a:pt x="2791" y="5067"/>
                  </a:cubicBezTo>
                  <a:cubicBezTo>
                    <a:pt x="2791" y="5098"/>
                    <a:pt x="2743" y="5098"/>
                    <a:pt x="2727" y="5098"/>
                  </a:cubicBezTo>
                  <a:cubicBezTo>
                    <a:pt x="2719" y="5098"/>
                    <a:pt x="2704" y="5106"/>
                    <a:pt x="2688" y="5106"/>
                  </a:cubicBezTo>
                  <a:close/>
                  <a:moveTo>
                    <a:pt x="1723" y="4980"/>
                  </a:moveTo>
                  <a:lnTo>
                    <a:pt x="1723" y="4980"/>
                  </a:lnTo>
                  <a:cubicBezTo>
                    <a:pt x="1881" y="4996"/>
                    <a:pt x="2632" y="5083"/>
                    <a:pt x="2672" y="5083"/>
                  </a:cubicBezTo>
                  <a:cubicBezTo>
                    <a:pt x="2680" y="5090"/>
                    <a:pt x="2688" y="5090"/>
                    <a:pt x="2696" y="5098"/>
                  </a:cubicBezTo>
                  <a:cubicBezTo>
                    <a:pt x="2704" y="5098"/>
                    <a:pt x="2719" y="5090"/>
                    <a:pt x="2727" y="5090"/>
                  </a:cubicBezTo>
                  <a:cubicBezTo>
                    <a:pt x="2743" y="5090"/>
                    <a:pt x="2783" y="5090"/>
                    <a:pt x="2783" y="5067"/>
                  </a:cubicBezTo>
                  <a:cubicBezTo>
                    <a:pt x="2791" y="5051"/>
                    <a:pt x="2798" y="5043"/>
                    <a:pt x="2807" y="5043"/>
                  </a:cubicBezTo>
                  <a:cubicBezTo>
                    <a:pt x="2814" y="5035"/>
                    <a:pt x="2822" y="5035"/>
                    <a:pt x="2822" y="5011"/>
                  </a:cubicBezTo>
                  <a:lnTo>
                    <a:pt x="2822" y="5011"/>
                  </a:lnTo>
                  <a:cubicBezTo>
                    <a:pt x="2814" y="4972"/>
                    <a:pt x="2814" y="4972"/>
                    <a:pt x="2791" y="4956"/>
                  </a:cubicBezTo>
                  <a:cubicBezTo>
                    <a:pt x="2783" y="4956"/>
                    <a:pt x="2775" y="4956"/>
                    <a:pt x="2767" y="4956"/>
                  </a:cubicBezTo>
                  <a:cubicBezTo>
                    <a:pt x="2751" y="4948"/>
                    <a:pt x="2743" y="4948"/>
                    <a:pt x="2743" y="4932"/>
                  </a:cubicBezTo>
                  <a:cubicBezTo>
                    <a:pt x="2743" y="4917"/>
                    <a:pt x="2743" y="4917"/>
                    <a:pt x="2751" y="4908"/>
                  </a:cubicBezTo>
                  <a:cubicBezTo>
                    <a:pt x="2751" y="4908"/>
                    <a:pt x="2759" y="4901"/>
                    <a:pt x="2759" y="4885"/>
                  </a:cubicBezTo>
                  <a:cubicBezTo>
                    <a:pt x="2759" y="4869"/>
                    <a:pt x="2751" y="4861"/>
                    <a:pt x="2751" y="4845"/>
                  </a:cubicBezTo>
                  <a:cubicBezTo>
                    <a:pt x="2743" y="4830"/>
                    <a:pt x="2735" y="4822"/>
                    <a:pt x="2743" y="4806"/>
                  </a:cubicBezTo>
                  <a:cubicBezTo>
                    <a:pt x="2751" y="4782"/>
                    <a:pt x="2767" y="4782"/>
                    <a:pt x="2783" y="4774"/>
                  </a:cubicBezTo>
                  <a:cubicBezTo>
                    <a:pt x="2798" y="4774"/>
                    <a:pt x="2807" y="4766"/>
                    <a:pt x="2814" y="4758"/>
                  </a:cubicBezTo>
                  <a:cubicBezTo>
                    <a:pt x="2814" y="4758"/>
                    <a:pt x="2814" y="4750"/>
                    <a:pt x="2822" y="4743"/>
                  </a:cubicBezTo>
                  <a:cubicBezTo>
                    <a:pt x="2838" y="4711"/>
                    <a:pt x="2870" y="4664"/>
                    <a:pt x="2878" y="4632"/>
                  </a:cubicBezTo>
                  <a:cubicBezTo>
                    <a:pt x="2885" y="4608"/>
                    <a:pt x="2878" y="4600"/>
                    <a:pt x="2878" y="4584"/>
                  </a:cubicBezTo>
                  <a:cubicBezTo>
                    <a:pt x="2878" y="4561"/>
                    <a:pt x="2870" y="4537"/>
                    <a:pt x="2901" y="4521"/>
                  </a:cubicBezTo>
                  <a:cubicBezTo>
                    <a:pt x="2917" y="4513"/>
                    <a:pt x="2933" y="4497"/>
                    <a:pt x="2949" y="4482"/>
                  </a:cubicBezTo>
                  <a:cubicBezTo>
                    <a:pt x="2965" y="4466"/>
                    <a:pt x="2980" y="4450"/>
                    <a:pt x="2996" y="4442"/>
                  </a:cubicBezTo>
                  <a:cubicBezTo>
                    <a:pt x="3012" y="4434"/>
                    <a:pt x="3020" y="4426"/>
                    <a:pt x="3028" y="4426"/>
                  </a:cubicBezTo>
                  <a:cubicBezTo>
                    <a:pt x="3044" y="4418"/>
                    <a:pt x="3051" y="4418"/>
                    <a:pt x="3051" y="4411"/>
                  </a:cubicBezTo>
                  <a:cubicBezTo>
                    <a:pt x="3059" y="4403"/>
                    <a:pt x="3059" y="4387"/>
                    <a:pt x="3059" y="4371"/>
                  </a:cubicBezTo>
                  <a:cubicBezTo>
                    <a:pt x="3051" y="4355"/>
                    <a:pt x="3044" y="4347"/>
                    <a:pt x="3036" y="4339"/>
                  </a:cubicBezTo>
                  <a:cubicBezTo>
                    <a:pt x="3012" y="4331"/>
                    <a:pt x="2988" y="4260"/>
                    <a:pt x="2988" y="4237"/>
                  </a:cubicBezTo>
                  <a:cubicBezTo>
                    <a:pt x="2980" y="4213"/>
                    <a:pt x="2980" y="4205"/>
                    <a:pt x="2965" y="4181"/>
                  </a:cubicBezTo>
                  <a:cubicBezTo>
                    <a:pt x="2965" y="4181"/>
                    <a:pt x="2957" y="4173"/>
                    <a:pt x="2957" y="4166"/>
                  </a:cubicBezTo>
                  <a:cubicBezTo>
                    <a:pt x="2949" y="4150"/>
                    <a:pt x="2941" y="4142"/>
                    <a:pt x="2933" y="4134"/>
                  </a:cubicBezTo>
                  <a:cubicBezTo>
                    <a:pt x="2925" y="4126"/>
                    <a:pt x="2917" y="4110"/>
                    <a:pt x="2917" y="4078"/>
                  </a:cubicBezTo>
                  <a:cubicBezTo>
                    <a:pt x="2925" y="4063"/>
                    <a:pt x="2925" y="4055"/>
                    <a:pt x="2925" y="4039"/>
                  </a:cubicBezTo>
                  <a:cubicBezTo>
                    <a:pt x="1328" y="1763"/>
                    <a:pt x="1328" y="1763"/>
                    <a:pt x="1328" y="1763"/>
                  </a:cubicBezTo>
                  <a:cubicBezTo>
                    <a:pt x="1684" y="372"/>
                    <a:pt x="1684" y="372"/>
                    <a:pt x="1684" y="372"/>
                  </a:cubicBezTo>
                  <a:cubicBezTo>
                    <a:pt x="1035" y="214"/>
                    <a:pt x="545" y="80"/>
                    <a:pt x="308" y="8"/>
                  </a:cubicBezTo>
                  <a:cubicBezTo>
                    <a:pt x="308" y="16"/>
                    <a:pt x="300" y="24"/>
                    <a:pt x="300" y="24"/>
                  </a:cubicBezTo>
                  <a:cubicBezTo>
                    <a:pt x="292" y="40"/>
                    <a:pt x="277" y="40"/>
                    <a:pt x="269" y="40"/>
                  </a:cubicBezTo>
                  <a:cubicBezTo>
                    <a:pt x="269" y="40"/>
                    <a:pt x="245" y="56"/>
                    <a:pt x="245" y="71"/>
                  </a:cubicBezTo>
                  <a:cubicBezTo>
                    <a:pt x="237" y="80"/>
                    <a:pt x="245" y="95"/>
                    <a:pt x="245" y="103"/>
                  </a:cubicBezTo>
                  <a:cubicBezTo>
                    <a:pt x="261" y="119"/>
                    <a:pt x="269" y="127"/>
                    <a:pt x="277" y="135"/>
                  </a:cubicBezTo>
                  <a:cubicBezTo>
                    <a:pt x="292" y="151"/>
                    <a:pt x="300" y="158"/>
                    <a:pt x="292" y="182"/>
                  </a:cubicBezTo>
                  <a:cubicBezTo>
                    <a:pt x="285" y="198"/>
                    <a:pt x="277" y="206"/>
                    <a:pt x="277" y="214"/>
                  </a:cubicBezTo>
                  <a:cubicBezTo>
                    <a:pt x="269" y="222"/>
                    <a:pt x="261" y="230"/>
                    <a:pt x="261" y="246"/>
                  </a:cubicBezTo>
                  <a:cubicBezTo>
                    <a:pt x="261" y="261"/>
                    <a:pt x="261" y="269"/>
                    <a:pt x="261" y="277"/>
                  </a:cubicBezTo>
                  <a:cubicBezTo>
                    <a:pt x="261" y="285"/>
                    <a:pt x="261" y="293"/>
                    <a:pt x="253" y="309"/>
                  </a:cubicBezTo>
                  <a:cubicBezTo>
                    <a:pt x="245" y="309"/>
                    <a:pt x="245" y="309"/>
                    <a:pt x="237" y="309"/>
                  </a:cubicBezTo>
                  <a:cubicBezTo>
                    <a:pt x="221" y="324"/>
                    <a:pt x="205" y="340"/>
                    <a:pt x="198" y="364"/>
                  </a:cubicBezTo>
                  <a:cubicBezTo>
                    <a:pt x="198" y="372"/>
                    <a:pt x="198" y="380"/>
                    <a:pt x="198" y="396"/>
                  </a:cubicBezTo>
                  <a:cubicBezTo>
                    <a:pt x="205" y="404"/>
                    <a:pt x="205" y="419"/>
                    <a:pt x="198" y="443"/>
                  </a:cubicBezTo>
                  <a:cubicBezTo>
                    <a:pt x="182" y="459"/>
                    <a:pt x="182" y="459"/>
                    <a:pt x="174" y="467"/>
                  </a:cubicBezTo>
                  <a:cubicBezTo>
                    <a:pt x="174" y="467"/>
                    <a:pt x="166" y="475"/>
                    <a:pt x="166" y="491"/>
                  </a:cubicBezTo>
                  <a:cubicBezTo>
                    <a:pt x="158" y="498"/>
                    <a:pt x="158" y="506"/>
                    <a:pt x="158" y="514"/>
                  </a:cubicBezTo>
                  <a:cubicBezTo>
                    <a:pt x="150" y="530"/>
                    <a:pt x="150" y="538"/>
                    <a:pt x="142" y="554"/>
                  </a:cubicBezTo>
                  <a:cubicBezTo>
                    <a:pt x="134" y="554"/>
                    <a:pt x="126" y="562"/>
                    <a:pt x="119" y="570"/>
                  </a:cubicBezTo>
                  <a:cubicBezTo>
                    <a:pt x="103" y="586"/>
                    <a:pt x="71" y="609"/>
                    <a:pt x="63" y="633"/>
                  </a:cubicBezTo>
                  <a:cubicBezTo>
                    <a:pt x="55" y="641"/>
                    <a:pt x="47" y="641"/>
                    <a:pt x="47" y="649"/>
                  </a:cubicBezTo>
                  <a:cubicBezTo>
                    <a:pt x="32" y="657"/>
                    <a:pt x="24" y="664"/>
                    <a:pt x="24" y="696"/>
                  </a:cubicBezTo>
                  <a:cubicBezTo>
                    <a:pt x="24" y="712"/>
                    <a:pt x="16" y="728"/>
                    <a:pt x="16" y="736"/>
                  </a:cubicBezTo>
                  <a:cubicBezTo>
                    <a:pt x="8" y="759"/>
                    <a:pt x="8" y="767"/>
                    <a:pt x="24" y="799"/>
                  </a:cubicBezTo>
                  <a:cubicBezTo>
                    <a:pt x="39" y="815"/>
                    <a:pt x="47" y="823"/>
                    <a:pt x="55" y="830"/>
                  </a:cubicBezTo>
                  <a:cubicBezTo>
                    <a:pt x="63" y="838"/>
                    <a:pt x="71" y="846"/>
                    <a:pt x="79" y="878"/>
                  </a:cubicBezTo>
                  <a:cubicBezTo>
                    <a:pt x="87" y="894"/>
                    <a:pt x="87" y="910"/>
                    <a:pt x="95" y="917"/>
                  </a:cubicBezTo>
                  <a:cubicBezTo>
                    <a:pt x="103" y="933"/>
                    <a:pt x="111" y="941"/>
                    <a:pt x="119" y="973"/>
                  </a:cubicBezTo>
                  <a:cubicBezTo>
                    <a:pt x="126" y="1028"/>
                    <a:pt x="126" y="1036"/>
                    <a:pt x="126" y="1060"/>
                  </a:cubicBezTo>
                  <a:cubicBezTo>
                    <a:pt x="126" y="1068"/>
                    <a:pt x="126" y="1076"/>
                    <a:pt x="126" y="1083"/>
                  </a:cubicBezTo>
                  <a:cubicBezTo>
                    <a:pt x="119" y="1099"/>
                    <a:pt x="126" y="1115"/>
                    <a:pt x="126" y="1123"/>
                  </a:cubicBezTo>
                  <a:cubicBezTo>
                    <a:pt x="134" y="1147"/>
                    <a:pt x="134" y="1163"/>
                    <a:pt x="111" y="1178"/>
                  </a:cubicBezTo>
                  <a:cubicBezTo>
                    <a:pt x="103" y="1186"/>
                    <a:pt x="95" y="1186"/>
                    <a:pt x="95" y="1194"/>
                  </a:cubicBezTo>
                  <a:cubicBezTo>
                    <a:pt x="79" y="1202"/>
                    <a:pt x="71" y="1210"/>
                    <a:pt x="79" y="1234"/>
                  </a:cubicBezTo>
                  <a:cubicBezTo>
                    <a:pt x="87" y="1241"/>
                    <a:pt x="87" y="1241"/>
                    <a:pt x="87" y="1241"/>
                  </a:cubicBezTo>
                  <a:cubicBezTo>
                    <a:pt x="95" y="1273"/>
                    <a:pt x="95" y="1281"/>
                    <a:pt x="79" y="1321"/>
                  </a:cubicBezTo>
                  <a:cubicBezTo>
                    <a:pt x="79" y="1328"/>
                    <a:pt x="79" y="1328"/>
                    <a:pt x="79" y="1328"/>
                  </a:cubicBezTo>
                  <a:cubicBezTo>
                    <a:pt x="63" y="1360"/>
                    <a:pt x="55" y="1384"/>
                    <a:pt x="63" y="1408"/>
                  </a:cubicBezTo>
                  <a:lnTo>
                    <a:pt x="63" y="1415"/>
                  </a:lnTo>
                  <a:cubicBezTo>
                    <a:pt x="55" y="1423"/>
                    <a:pt x="55" y="1423"/>
                    <a:pt x="47" y="1423"/>
                  </a:cubicBezTo>
                  <a:lnTo>
                    <a:pt x="47" y="1423"/>
                  </a:lnTo>
                  <a:cubicBezTo>
                    <a:pt x="47" y="1423"/>
                    <a:pt x="47" y="1439"/>
                    <a:pt x="71" y="1463"/>
                  </a:cubicBezTo>
                  <a:cubicBezTo>
                    <a:pt x="103" y="1510"/>
                    <a:pt x="103" y="1534"/>
                    <a:pt x="103" y="1550"/>
                  </a:cubicBezTo>
                  <a:cubicBezTo>
                    <a:pt x="103" y="1558"/>
                    <a:pt x="103" y="1566"/>
                    <a:pt x="111" y="1581"/>
                  </a:cubicBezTo>
                  <a:cubicBezTo>
                    <a:pt x="119" y="1589"/>
                    <a:pt x="126" y="1589"/>
                    <a:pt x="126" y="1597"/>
                  </a:cubicBezTo>
                  <a:cubicBezTo>
                    <a:pt x="142" y="1613"/>
                    <a:pt x="150" y="1621"/>
                    <a:pt x="158" y="1653"/>
                  </a:cubicBezTo>
                  <a:cubicBezTo>
                    <a:pt x="166" y="1684"/>
                    <a:pt x="174" y="1684"/>
                    <a:pt x="182" y="1692"/>
                  </a:cubicBezTo>
                  <a:cubicBezTo>
                    <a:pt x="182" y="1692"/>
                    <a:pt x="190" y="1700"/>
                    <a:pt x="198" y="1700"/>
                  </a:cubicBezTo>
                  <a:cubicBezTo>
                    <a:pt x="214" y="1716"/>
                    <a:pt x="214" y="1724"/>
                    <a:pt x="214" y="1740"/>
                  </a:cubicBezTo>
                  <a:cubicBezTo>
                    <a:pt x="214" y="1740"/>
                    <a:pt x="214" y="1747"/>
                    <a:pt x="214" y="1763"/>
                  </a:cubicBezTo>
                  <a:cubicBezTo>
                    <a:pt x="221" y="1787"/>
                    <a:pt x="221" y="1787"/>
                    <a:pt x="229" y="1787"/>
                  </a:cubicBezTo>
                  <a:cubicBezTo>
                    <a:pt x="237" y="1795"/>
                    <a:pt x="237" y="1803"/>
                    <a:pt x="237" y="1819"/>
                  </a:cubicBezTo>
                  <a:cubicBezTo>
                    <a:pt x="245" y="1850"/>
                    <a:pt x="237" y="1890"/>
                    <a:pt x="221" y="1905"/>
                  </a:cubicBezTo>
                  <a:lnTo>
                    <a:pt x="214" y="1905"/>
                  </a:lnTo>
                  <a:cubicBezTo>
                    <a:pt x="205" y="1914"/>
                    <a:pt x="190" y="1929"/>
                    <a:pt x="190" y="1937"/>
                  </a:cubicBezTo>
                  <a:cubicBezTo>
                    <a:pt x="190" y="1937"/>
                    <a:pt x="190" y="1937"/>
                    <a:pt x="205" y="1937"/>
                  </a:cubicBezTo>
                  <a:cubicBezTo>
                    <a:pt x="214" y="1937"/>
                    <a:pt x="221" y="1937"/>
                    <a:pt x="229" y="1937"/>
                  </a:cubicBezTo>
                  <a:cubicBezTo>
                    <a:pt x="237" y="1937"/>
                    <a:pt x="237" y="1937"/>
                    <a:pt x="245" y="1937"/>
                  </a:cubicBezTo>
                  <a:cubicBezTo>
                    <a:pt x="261" y="1937"/>
                    <a:pt x="269" y="1945"/>
                    <a:pt x="277" y="1977"/>
                  </a:cubicBezTo>
                  <a:cubicBezTo>
                    <a:pt x="300" y="2024"/>
                    <a:pt x="316" y="2056"/>
                    <a:pt x="332" y="2056"/>
                  </a:cubicBezTo>
                  <a:cubicBezTo>
                    <a:pt x="332" y="2064"/>
                    <a:pt x="340" y="2064"/>
                    <a:pt x="348" y="2064"/>
                  </a:cubicBezTo>
                  <a:cubicBezTo>
                    <a:pt x="356" y="2064"/>
                    <a:pt x="364" y="2064"/>
                    <a:pt x="364" y="2040"/>
                  </a:cubicBezTo>
                  <a:cubicBezTo>
                    <a:pt x="364" y="2032"/>
                    <a:pt x="364" y="2024"/>
                    <a:pt x="364" y="2024"/>
                  </a:cubicBezTo>
                  <a:cubicBezTo>
                    <a:pt x="364" y="2008"/>
                    <a:pt x="364" y="2000"/>
                    <a:pt x="372" y="1985"/>
                  </a:cubicBezTo>
                  <a:cubicBezTo>
                    <a:pt x="379" y="1969"/>
                    <a:pt x="379" y="1953"/>
                    <a:pt x="379" y="1945"/>
                  </a:cubicBezTo>
                  <a:cubicBezTo>
                    <a:pt x="379" y="1937"/>
                    <a:pt x="379" y="1921"/>
                    <a:pt x="395" y="1921"/>
                  </a:cubicBezTo>
                  <a:cubicBezTo>
                    <a:pt x="395" y="1921"/>
                    <a:pt x="395" y="1921"/>
                    <a:pt x="395" y="1929"/>
                  </a:cubicBezTo>
                  <a:cubicBezTo>
                    <a:pt x="419" y="1929"/>
                    <a:pt x="427" y="1937"/>
                    <a:pt x="451" y="1961"/>
                  </a:cubicBezTo>
                  <a:cubicBezTo>
                    <a:pt x="458" y="1969"/>
                    <a:pt x="458" y="1977"/>
                    <a:pt x="458" y="1985"/>
                  </a:cubicBezTo>
                  <a:cubicBezTo>
                    <a:pt x="451" y="2000"/>
                    <a:pt x="443" y="2008"/>
                    <a:pt x="427" y="2008"/>
                  </a:cubicBezTo>
                  <a:cubicBezTo>
                    <a:pt x="419" y="2008"/>
                    <a:pt x="411" y="2016"/>
                    <a:pt x="403" y="2016"/>
                  </a:cubicBezTo>
                  <a:cubicBezTo>
                    <a:pt x="403" y="2024"/>
                    <a:pt x="395" y="2032"/>
                    <a:pt x="403" y="2048"/>
                  </a:cubicBezTo>
                  <a:cubicBezTo>
                    <a:pt x="403" y="2048"/>
                    <a:pt x="403" y="2056"/>
                    <a:pt x="411" y="2056"/>
                  </a:cubicBezTo>
                  <a:cubicBezTo>
                    <a:pt x="419" y="2064"/>
                    <a:pt x="427" y="2064"/>
                    <a:pt x="427" y="2087"/>
                  </a:cubicBezTo>
                  <a:cubicBezTo>
                    <a:pt x="435" y="2095"/>
                    <a:pt x="435" y="2111"/>
                    <a:pt x="435" y="2127"/>
                  </a:cubicBezTo>
                  <a:cubicBezTo>
                    <a:pt x="443" y="2151"/>
                    <a:pt x="451" y="2174"/>
                    <a:pt x="451" y="2198"/>
                  </a:cubicBezTo>
                  <a:cubicBezTo>
                    <a:pt x="451" y="2206"/>
                    <a:pt x="458" y="2222"/>
                    <a:pt x="458" y="2230"/>
                  </a:cubicBezTo>
                  <a:cubicBezTo>
                    <a:pt x="466" y="2245"/>
                    <a:pt x="466" y="2253"/>
                    <a:pt x="458" y="2261"/>
                  </a:cubicBezTo>
                  <a:cubicBezTo>
                    <a:pt x="458" y="2269"/>
                    <a:pt x="458" y="2269"/>
                    <a:pt x="451" y="2269"/>
                  </a:cubicBezTo>
                  <a:cubicBezTo>
                    <a:pt x="443" y="2269"/>
                    <a:pt x="435" y="2269"/>
                    <a:pt x="435" y="2269"/>
                  </a:cubicBezTo>
                  <a:cubicBezTo>
                    <a:pt x="435" y="2277"/>
                    <a:pt x="435" y="2277"/>
                    <a:pt x="427" y="2277"/>
                  </a:cubicBezTo>
                  <a:cubicBezTo>
                    <a:pt x="419" y="2277"/>
                    <a:pt x="419" y="2269"/>
                    <a:pt x="395" y="2230"/>
                  </a:cubicBezTo>
                  <a:cubicBezTo>
                    <a:pt x="387" y="2206"/>
                    <a:pt x="379" y="2198"/>
                    <a:pt x="379" y="2182"/>
                  </a:cubicBezTo>
                  <a:cubicBezTo>
                    <a:pt x="364" y="2158"/>
                    <a:pt x="364" y="2158"/>
                    <a:pt x="348" y="2151"/>
                  </a:cubicBezTo>
                  <a:cubicBezTo>
                    <a:pt x="340" y="2143"/>
                    <a:pt x="340" y="2143"/>
                    <a:pt x="332" y="2143"/>
                  </a:cubicBezTo>
                  <a:cubicBezTo>
                    <a:pt x="332" y="2143"/>
                    <a:pt x="324" y="2143"/>
                    <a:pt x="324" y="2167"/>
                  </a:cubicBezTo>
                  <a:cubicBezTo>
                    <a:pt x="324" y="2182"/>
                    <a:pt x="332" y="2190"/>
                    <a:pt x="332" y="2198"/>
                  </a:cubicBezTo>
                  <a:cubicBezTo>
                    <a:pt x="332" y="2214"/>
                    <a:pt x="340" y="2230"/>
                    <a:pt x="332" y="2253"/>
                  </a:cubicBezTo>
                  <a:cubicBezTo>
                    <a:pt x="324" y="2269"/>
                    <a:pt x="316" y="2277"/>
                    <a:pt x="316" y="2285"/>
                  </a:cubicBezTo>
                  <a:cubicBezTo>
                    <a:pt x="308" y="2301"/>
                    <a:pt x="308" y="2301"/>
                    <a:pt x="308" y="2325"/>
                  </a:cubicBezTo>
                  <a:cubicBezTo>
                    <a:pt x="308" y="2340"/>
                    <a:pt x="308" y="2348"/>
                    <a:pt x="308" y="2356"/>
                  </a:cubicBezTo>
                  <a:cubicBezTo>
                    <a:pt x="308" y="2388"/>
                    <a:pt x="300" y="2411"/>
                    <a:pt x="324" y="2435"/>
                  </a:cubicBezTo>
                  <a:cubicBezTo>
                    <a:pt x="332" y="2451"/>
                    <a:pt x="340" y="2459"/>
                    <a:pt x="348" y="2459"/>
                  </a:cubicBezTo>
                  <a:cubicBezTo>
                    <a:pt x="356" y="2467"/>
                    <a:pt x="356" y="2467"/>
                    <a:pt x="379" y="2498"/>
                  </a:cubicBezTo>
                  <a:cubicBezTo>
                    <a:pt x="395" y="2514"/>
                    <a:pt x="395" y="2522"/>
                    <a:pt x="403" y="2522"/>
                  </a:cubicBezTo>
                  <a:cubicBezTo>
                    <a:pt x="403" y="2522"/>
                    <a:pt x="403" y="2522"/>
                    <a:pt x="411" y="2522"/>
                  </a:cubicBezTo>
                  <a:cubicBezTo>
                    <a:pt x="411" y="2522"/>
                    <a:pt x="411" y="2522"/>
                    <a:pt x="419" y="2522"/>
                  </a:cubicBezTo>
                  <a:cubicBezTo>
                    <a:pt x="427" y="2522"/>
                    <a:pt x="427" y="2522"/>
                    <a:pt x="435" y="2522"/>
                  </a:cubicBezTo>
                  <a:cubicBezTo>
                    <a:pt x="443" y="2522"/>
                    <a:pt x="451" y="2522"/>
                    <a:pt x="458" y="2522"/>
                  </a:cubicBezTo>
                  <a:cubicBezTo>
                    <a:pt x="466" y="2530"/>
                    <a:pt x="474" y="2530"/>
                    <a:pt x="482" y="2538"/>
                  </a:cubicBezTo>
                  <a:cubicBezTo>
                    <a:pt x="490" y="2546"/>
                    <a:pt x="482" y="2554"/>
                    <a:pt x="482" y="2578"/>
                  </a:cubicBezTo>
                  <a:cubicBezTo>
                    <a:pt x="482" y="2585"/>
                    <a:pt x="474" y="2593"/>
                    <a:pt x="474" y="2601"/>
                  </a:cubicBezTo>
                  <a:cubicBezTo>
                    <a:pt x="466" y="2641"/>
                    <a:pt x="466" y="2672"/>
                    <a:pt x="419" y="2672"/>
                  </a:cubicBezTo>
                  <a:cubicBezTo>
                    <a:pt x="411" y="2680"/>
                    <a:pt x="411" y="2680"/>
                    <a:pt x="403" y="2680"/>
                  </a:cubicBezTo>
                  <a:cubicBezTo>
                    <a:pt x="395" y="2680"/>
                    <a:pt x="395" y="2680"/>
                    <a:pt x="395" y="2680"/>
                  </a:cubicBezTo>
                  <a:lnTo>
                    <a:pt x="395" y="2680"/>
                  </a:lnTo>
                  <a:cubicBezTo>
                    <a:pt x="395" y="2688"/>
                    <a:pt x="395" y="2696"/>
                    <a:pt x="395" y="2712"/>
                  </a:cubicBezTo>
                  <a:cubicBezTo>
                    <a:pt x="387" y="2775"/>
                    <a:pt x="387" y="2846"/>
                    <a:pt x="403" y="2862"/>
                  </a:cubicBezTo>
                  <a:cubicBezTo>
                    <a:pt x="427" y="2886"/>
                    <a:pt x="435" y="2902"/>
                    <a:pt x="451" y="2933"/>
                  </a:cubicBezTo>
                  <a:cubicBezTo>
                    <a:pt x="466" y="2972"/>
                    <a:pt x="474" y="2996"/>
                    <a:pt x="490" y="2996"/>
                  </a:cubicBezTo>
                  <a:cubicBezTo>
                    <a:pt x="506" y="3003"/>
                    <a:pt x="506" y="3019"/>
                    <a:pt x="506" y="3043"/>
                  </a:cubicBezTo>
                  <a:cubicBezTo>
                    <a:pt x="506" y="3051"/>
                    <a:pt x="506" y="3059"/>
                    <a:pt x="506" y="3067"/>
                  </a:cubicBezTo>
                  <a:cubicBezTo>
                    <a:pt x="506" y="3098"/>
                    <a:pt x="514" y="3106"/>
                    <a:pt x="530" y="3114"/>
                  </a:cubicBezTo>
                  <a:cubicBezTo>
                    <a:pt x="538" y="3122"/>
                    <a:pt x="538" y="3130"/>
                    <a:pt x="538" y="3138"/>
                  </a:cubicBezTo>
                  <a:cubicBezTo>
                    <a:pt x="538" y="3146"/>
                    <a:pt x="538" y="3154"/>
                    <a:pt x="545" y="3169"/>
                  </a:cubicBezTo>
                  <a:cubicBezTo>
                    <a:pt x="553" y="3185"/>
                    <a:pt x="553" y="3185"/>
                    <a:pt x="553" y="3185"/>
                  </a:cubicBezTo>
                  <a:cubicBezTo>
                    <a:pt x="561" y="3193"/>
                    <a:pt x="561" y="3193"/>
                    <a:pt x="569" y="3209"/>
                  </a:cubicBezTo>
                  <a:cubicBezTo>
                    <a:pt x="569" y="3225"/>
                    <a:pt x="577" y="3233"/>
                    <a:pt x="577" y="3241"/>
                  </a:cubicBezTo>
                  <a:cubicBezTo>
                    <a:pt x="585" y="3264"/>
                    <a:pt x="593" y="3280"/>
                    <a:pt x="609" y="3296"/>
                  </a:cubicBezTo>
                  <a:cubicBezTo>
                    <a:pt x="632" y="3304"/>
                    <a:pt x="648" y="3320"/>
                    <a:pt x="656" y="3336"/>
                  </a:cubicBezTo>
                  <a:cubicBezTo>
                    <a:pt x="656" y="3343"/>
                    <a:pt x="656" y="3351"/>
                    <a:pt x="648" y="3359"/>
                  </a:cubicBezTo>
                  <a:cubicBezTo>
                    <a:pt x="632" y="3391"/>
                    <a:pt x="609" y="3422"/>
                    <a:pt x="632" y="3438"/>
                  </a:cubicBezTo>
                  <a:cubicBezTo>
                    <a:pt x="640" y="3438"/>
                    <a:pt x="648" y="3446"/>
                    <a:pt x="648" y="3446"/>
                  </a:cubicBezTo>
                  <a:cubicBezTo>
                    <a:pt x="672" y="3454"/>
                    <a:pt x="696" y="3470"/>
                    <a:pt x="688" y="3509"/>
                  </a:cubicBezTo>
                  <a:cubicBezTo>
                    <a:pt x="688" y="3533"/>
                    <a:pt x="680" y="3541"/>
                    <a:pt x="672" y="3549"/>
                  </a:cubicBezTo>
                  <a:cubicBezTo>
                    <a:pt x="664" y="3557"/>
                    <a:pt x="664" y="3557"/>
                    <a:pt x="664" y="3580"/>
                  </a:cubicBezTo>
                  <a:cubicBezTo>
                    <a:pt x="672" y="3604"/>
                    <a:pt x="664" y="3612"/>
                    <a:pt x="656" y="3628"/>
                  </a:cubicBezTo>
                  <a:cubicBezTo>
                    <a:pt x="648" y="3636"/>
                    <a:pt x="648" y="3644"/>
                    <a:pt x="648" y="3660"/>
                  </a:cubicBezTo>
                  <a:cubicBezTo>
                    <a:pt x="640" y="3675"/>
                    <a:pt x="640" y="3683"/>
                    <a:pt x="632" y="3691"/>
                  </a:cubicBezTo>
                  <a:cubicBezTo>
                    <a:pt x="632" y="3707"/>
                    <a:pt x="625" y="3715"/>
                    <a:pt x="640" y="3723"/>
                  </a:cubicBezTo>
                  <a:cubicBezTo>
                    <a:pt x="648" y="3731"/>
                    <a:pt x="648" y="3739"/>
                    <a:pt x="656" y="3739"/>
                  </a:cubicBezTo>
                  <a:cubicBezTo>
                    <a:pt x="664" y="3747"/>
                    <a:pt x="672" y="3754"/>
                    <a:pt x="680" y="3778"/>
                  </a:cubicBezTo>
                  <a:cubicBezTo>
                    <a:pt x="680" y="3810"/>
                    <a:pt x="696" y="3818"/>
                    <a:pt x="735" y="3818"/>
                  </a:cubicBezTo>
                  <a:cubicBezTo>
                    <a:pt x="783" y="3818"/>
                    <a:pt x="822" y="3818"/>
                    <a:pt x="846" y="3849"/>
                  </a:cubicBezTo>
                  <a:cubicBezTo>
                    <a:pt x="854" y="3873"/>
                    <a:pt x="909" y="3913"/>
                    <a:pt x="949" y="3913"/>
                  </a:cubicBezTo>
                  <a:cubicBezTo>
                    <a:pt x="957" y="3913"/>
                    <a:pt x="964" y="3913"/>
                    <a:pt x="964" y="3905"/>
                  </a:cubicBezTo>
                  <a:cubicBezTo>
                    <a:pt x="972" y="3905"/>
                    <a:pt x="980" y="3905"/>
                    <a:pt x="988" y="3905"/>
                  </a:cubicBezTo>
                  <a:cubicBezTo>
                    <a:pt x="1020" y="3905"/>
                    <a:pt x="1035" y="3920"/>
                    <a:pt x="1044" y="3936"/>
                  </a:cubicBezTo>
                  <a:cubicBezTo>
                    <a:pt x="1044" y="3944"/>
                    <a:pt x="1051" y="3944"/>
                    <a:pt x="1051" y="3944"/>
                  </a:cubicBezTo>
                  <a:cubicBezTo>
                    <a:pt x="1067" y="3960"/>
                    <a:pt x="1107" y="4007"/>
                    <a:pt x="1131" y="4063"/>
                  </a:cubicBezTo>
                  <a:cubicBezTo>
                    <a:pt x="1146" y="4102"/>
                    <a:pt x="1170" y="4110"/>
                    <a:pt x="1186" y="4118"/>
                  </a:cubicBezTo>
                  <a:cubicBezTo>
                    <a:pt x="1194" y="4118"/>
                    <a:pt x="1202" y="4126"/>
                    <a:pt x="1209" y="4126"/>
                  </a:cubicBezTo>
                  <a:cubicBezTo>
                    <a:pt x="1209" y="4126"/>
                    <a:pt x="1217" y="4134"/>
                    <a:pt x="1225" y="4134"/>
                  </a:cubicBezTo>
                  <a:cubicBezTo>
                    <a:pt x="1241" y="4150"/>
                    <a:pt x="1273" y="4173"/>
                    <a:pt x="1312" y="4173"/>
                  </a:cubicBezTo>
                  <a:cubicBezTo>
                    <a:pt x="1320" y="4173"/>
                    <a:pt x="1328" y="4173"/>
                    <a:pt x="1344" y="4166"/>
                  </a:cubicBezTo>
                  <a:cubicBezTo>
                    <a:pt x="1368" y="4166"/>
                    <a:pt x="1384" y="4166"/>
                    <a:pt x="1391" y="4173"/>
                  </a:cubicBezTo>
                  <a:cubicBezTo>
                    <a:pt x="1399" y="4181"/>
                    <a:pt x="1391" y="4197"/>
                    <a:pt x="1391" y="4213"/>
                  </a:cubicBezTo>
                  <a:cubicBezTo>
                    <a:pt x="1391" y="4221"/>
                    <a:pt x="1391" y="4221"/>
                    <a:pt x="1391" y="4229"/>
                  </a:cubicBezTo>
                  <a:cubicBezTo>
                    <a:pt x="1391" y="4229"/>
                    <a:pt x="1391" y="4237"/>
                    <a:pt x="1391" y="4253"/>
                  </a:cubicBezTo>
                  <a:cubicBezTo>
                    <a:pt x="1391" y="4276"/>
                    <a:pt x="1384" y="4324"/>
                    <a:pt x="1407" y="4339"/>
                  </a:cubicBezTo>
                  <a:cubicBezTo>
                    <a:pt x="1407" y="4347"/>
                    <a:pt x="1415" y="4347"/>
                    <a:pt x="1431" y="4347"/>
                  </a:cubicBezTo>
                  <a:cubicBezTo>
                    <a:pt x="1439" y="4347"/>
                    <a:pt x="1447" y="4347"/>
                    <a:pt x="1462" y="4347"/>
                  </a:cubicBezTo>
                  <a:cubicBezTo>
                    <a:pt x="1470" y="4339"/>
                    <a:pt x="1478" y="4339"/>
                    <a:pt x="1486" y="4339"/>
                  </a:cubicBezTo>
                  <a:cubicBezTo>
                    <a:pt x="1502" y="4339"/>
                    <a:pt x="1518" y="4347"/>
                    <a:pt x="1526" y="4379"/>
                  </a:cubicBezTo>
                  <a:cubicBezTo>
                    <a:pt x="1542" y="4426"/>
                    <a:pt x="1613" y="4521"/>
                    <a:pt x="1676" y="4561"/>
                  </a:cubicBezTo>
                  <a:cubicBezTo>
                    <a:pt x="1731" y="4600"/>
                    <a:pt x="1747" y="4814"/>
                    <a:pt x="1739" y="4885"/>
                  </a:cubicBezTo>
                  <a:cubicBezTo>
                    <a:pt x="1739" y="4908"/>
                    <a:pt x="1731" y="4924"/>
                    <a:pt x="1723" y="4940"/>
                  </a:cubicBezTo>
                  <a:cubicBezTo>
                    <a:pt x="1723" y="4956"/>
                    <a:pt x="1715" y="4964"/>
                    <a:pt x="1723" y="4980"/>
                  </a:cubicBezTo>
                  <a:close/>
                </a:path>
              </a:pathLst>
            </a:custGeom>
            <a:solidFill>
              <a:schemeClr val="accent6"/>
            </a:solidFill>
            <a:ln>
              <a:solidFill>
                <a:schemeClr val="bg2"/>
              </a:solidFill>
            </a:ln>
            <a:effectLst/>
          </p:spPr>
          <p:txBody>
            <a:bodyPr wrap="none" anchor="ctr"/>
            <a:lstStyle/>
            <a:p>
              <a:endParaRPr lang="en-US"/>
            </a:p>
          </p:txBody>
        </p:sp>
        <p:sp>
          <p:nvSpPr>
            <p:cNvPr id="22" name="Freeform 50"/>
            <p:cNvSpPr>
              <a:spLocks noChangeArrowheads="1"/>
            </p:cNvSpPr>
            <p:nvPr/>
          </p:nvSpPr>
          <p:spPr bwMode="auto">
            <a:xfrm>
              <a:off x="1568076" y="3672042"/>
              <a:ext cx="912799" cy="921290"/>
            </a:xfrm>
            <a:custGeom>
              <a:avLst/>
              <a:gdLst>
                <a:gd name="T0" fmla="*/ 752 w 2531"/>
                <a:gd name="T1" fmla="*/ 8 h 2949"/>
                <a:gd name="T2" fmla="*/ 752 w 2531"/>
                <a:gd name="T3" fmla="*/ 8 h 2949"/>
                <a:gd name="T4" fmla="*/ 752 w 2531"/>
                <a:gd name="T5" fmla="*/ 0 h 2949"/>
                <a:gd name="T6" fmla="*/ 736 w 2531"/>
                <a:gd name="T7" fmla="*/ 0 h 2949"/>
                <a:gd name="T8" fmla="*/ 736 w 2531"/>
                <a:gd name="T9" fmla="*/ 0 h 2949"/>
                <a:gd name="T10" fmla="*/ 712 w 2531"/>
                <a:gd name="T11" fmla="*/ 0 h 2949"/>
                <a:gd name="T12" fmla="*/ 712 w 2531"/>
                <a:gd name="T13" fmla="*/ 0 h 2949"/>
                <a:gd name="T14" fmla="*/ 704 w 2531"/>
                <a:gd name="T15" fmla="*/ 0 h 2949"/>
                <a:gd name="T16" fmla="*/ 704 w 2531"/>
                <a:gd name="T17" fmla="*/ 0 h 2949"/>
                <a:gd name="T18" fmla="*/ 704 w 2531"/>
                <a:gd name="T19" fmla="*/ 0 h 2949"/>
                <a:gd name="T20" fmla="*/ 601 w 2531"/>
                <a:gd name="T21" fmla="*/ 403 h 2949"/>
                <a:gd name="T22" fmla="*/ 546 w 2531"/>
                <a:gd name="T23" fmla="*/ 458 h 2949"/>
                <a:gd name="T24" fmla="*/ 506 w 2531"/>
                <a:gd name="T25" fmla="*/ 411 h 2949"/>
                <a:gd name="T26" fmla="*/ 396 w 2531"/>
                <a:gd name="T27" fmla="*/ 379 h 2949"/>
                <a:gd name="T28" fmla="*/ 372 w 2531"/>
                <a:gd name="T29" fmla="*/ 443 h 2949"/>
                <a:gd name="T30" fmla="*/ 372 w 2531"/>
                <a:gd name="T31" fmla="*/ 506 h 2949"/>
                <a:gd name="T32" fmla="*/ 364 w 2531"/>
                <a:gd name="T33" fmla="*/ 593 h 2949"/>
                <a:gd name="T34" fmla="*/ 333 w 2531"/>
                <a:gd name="T35" fmla="*/ 680 h 2949"/>
                <a:gd name="T36" fmla="*/ 356 w 2531"/>
                <a:gd name="T37" fmla="*/ 798 h 2949"/>
                <a:gd name="T38" fmla="*/ 309 w 2531"/>
                <a:gd name="T39" fmla="*/ 861 h 2949"/>
                <a:gd name="T40" fmla="*/ 293 w 2531"/>
                <a:gd name="T41" fmla="*/ 956 h 2949"/>
                <a:gd name="T42" fmla="*/ 325 w 2531"/>
                <a:gd name="T43" fmla="*/ 1028 h 2949"/>
                <a:gd name="T44" fmla="*/ 364 w 2531"/>
                <a:gd name="T45" fmla="*/ 1107 h 2949"/>
                <a:gd name="T46" fmla="*/ 412 w 2531"/>
                <a:gd name="T47" fmla="*/ 1209 h 2949"/>
                <a:gd name="T48" fmla="*/ 427 w 2531"/>
                <a:gd name="T49" fmla="*/ 1281 h 2949"/>
                <a:gd name="T50" fmla="*/ 364 w 2531"/>
                <a:gd name="T51" fmla="*/ 1312 h 2949"/>
                <a:gd name="T52" fmla="*/ 269 w 2531"/>
                <a:gd name="T53" fmla="*/ 1399 h 2949"/>
                <a:gd name="T54" fmla="*/ 253 w 2531"/>
                <a:gd name="T55" fmla="*/ 1502 h 2949"/>
                <a:gd name="T56" fmla="*/ 182 w 2531"/>
                <a:gd name="T57" fmla="*/ 1636 h 2949"/>
                <a:gd name="T58" fmla="*/ 119 w 2531"/>
                <a:gd name="T59" fmla="*/ 1676 h 2949"/>
                <a:gd name="T60" fmla="*/ 135 w 2531"/>
                <a:gd name="T61" fmla="*/ 1755 h 2949"/>
                <a:gd name="T62" fmla="*/ 119 w 2531"/>
                <a:gd name="T63" fmla="*/ 1802 h 2949"/>
                <a:gd name="T64" fmla="*/ 166 w 2531"/>
                <a:gd name="T65" fmla="*/ 1826 h 2949"/>
                <a:gd name="T66" fmla="*/ 198 w 2531"/>
                <a:gd name="T67" fmla="*/ 1881 h 2949"/>
                <a:gd name="T68" fmla="*/ 159 w 2531"/>
                <a:gd name="T69" fmla="*/ 1937 h 2949"/>
                <a:gd name="T70" fmla="*/ 103 w 2531"/>
                <a:gd name="T71" fmla="*/ 1968 h 2949"/>
                <a:gd name="T72" fmla="*/ 64 w 2531"/>
                <a:gd name="T73" fmla="*/ 1968 h 2949"/>
                <a:gd name="T74" fmla="*/ 32 w 2531"/>
                <a:gd name="T75" fmla="*/ 2016 h 2949"/>
                <a:gd name="T76" fmla="*/ 48 w 2531"/>
                <a:gd name="T77" fmla="*/ 2071 h 2949"/>
                <a:gd name="T78" fmla="*/ 1423 w 2531"/>
                <a:gd name="T79" fmla="*/ 2854 h 2949"/>
                <a:gd name="T80" fmla="*/ 1684 w 2531"/>
                <a:gd name="T81" fmla="*/ 2885 h 2949"/>
                <a:gd name="T82" fmla="*/ 2190 w 2531"/>
                <a:gd name="T83" fmla="*/ 2948 h 2949"/>
                <a:gd name="T84" fmla="*/ 2530 w 2531"/>
                <a:gd name="T85" fmla="*/ 284 h 2949"/>
                <a:gd name="T86" fmla="*/ 752 w 2531"/>
                <a:gd name="T87" fmla="*/ 8 h 2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31" h="2949">
                  <a:moveTo>
                    <a:pt x="752" y="8"/>
                  </a:moveTo>
                  <a:lnTo>
                    <a:pt x="752" y="8"/>
                  </a:lnTo>
                  <a:cubicBezTo>
                    <a:pt x="752" y="0"/>
                    <a:pt x="752" y="0"/>
                    <a:pt x="752" y="0"/>
                  </a:cubicBezTo>
                  <a:cubicBezTo>
                    <a:pt x="744" y="0"/>
                    <a:pt x="736" y="0"/>
                    <a:pt x="736" y="0"/>
                  </a:cubicBezTo>
                  <a:lnTo>
                    <a:pt x="736" y="0"/>
                  </a:lnTo>
                  <a:cubicBezTo>
                    <a:pt x="720" y="0"/>
                    <a:pt x="720" y="0"/>
                    <a:pt x="712" y="0"/>
                  </a:cubicBezTo>
                  <a:lnTo>
                    <a:pt x="712" y="0"/>
                  </a:lnTo>
                  <a:cubicBezTo>
                    <a:pt x="704" y="0"/>
                    <a:pt x="704" y="0"/>
                    <a:pt x="704" y="0"/>
                  </a:cubicBezTo>
                  <a:lnTo>
                    <a:pt x="704" y="0"/>
                  </a:lnTo>
                  <a:lnTo>
                    <a:pt x="704" y="0"/>
                  </a:lnTo>
                  <a:cubicBezTo>
                    <a:pt x="704" y="16"/>
                    <a:pt x="617" y="371"/>
                    <a:pt x="601" y="403"/>
                  </a:cubicBezTo>
                  <a:cubicBezTo>
                    <a:pt x="593" y="435"/>
                    <a:pt x="586" y="435"/>
                    <a:pt x="546" y="458"/>
                  </a:cubicBezTo>
                  <a:cubicBezTo>
                    <a:pt x="506" y="482"/>
                    <a:pt x="522" y="443"/>
                    <a:pt x="506" y="411"/>
                  </a:cubicBezTo>
                  <a:cubicBezTo>
                    <a:pt x="483" y="371"/>
                    <a:pt x="459" y="371"/>
                    <a:pt x="396" y="379"/>
                  </a:cubicBezTo>
                  <a:cubicBezTo>
                    <a:pt x="340" y="379"/>
                    <a:pt x="364" y="411"/>
                    <a:pt x="372" y="443"/>
                  </a:cubicBezTo>
                  <a:cubicBezTo>
                    <a:pt x="380" y="474"/>
                    <a:pt x="380" y="490"/>
                    <a:pt x="372" y="506"/>
                  </a:cubicBezTo>
                  <a:cubicBezTo>
                    <a:pt x="356" y="522"/>
                    <a:pt x="356" y="545"/>
                    <a:pt x="364" y="593"/>
                  </a:cubicBezTo>
                  <a:cubicBezTo>
                    <a:pt x="372" y="640"/>
                    <a:pt x="333" y="632"/>
                    <a:pt x="333" y="680"/>
                  </a:cubicBezTo>
                  <a:cubicBezTo>
                    <a:pt x="333" y="735"/>
                    <a:pt x="348" y="743"/>
                    <a:pt x="356" y="798"/>
                  </a:cubicBezTo>
                  <a:cubicBezTo>
                    <a:pt x="356" y="854"/>
                    <a:pt x="333" y="838"/>
                    <a:pt x="309" y="861"/>
                  </a:cubicBezTo>
                  <a:cubicBezTo>
                    <a:pt x="285" y="885"/>
                    <a:pt x="309" y="909"/>
                    <a:pt x="293" y="956"/>
                  </a:cubicBezTo>
                  <a:cubicBezTo>
                    <a:pt x="285" y="996"/>
                    <a:pt x="309" y="996"/>
                    <a:pt x="325" y="1028"/>
                  </a:cubicBezTo>
                  <a:cubicBezTo>
                    <a:pt x="348" y="1067"/>
                    <a:pt x="356" y="1083"/>
                    <a:pt x="364" y="1107"/>
                  </a:cubicBezTo>
                  <a:cubicBezTo>
                    <a:pt x="364" y="1130"/>
                    <a:pt x="388" y="1194"/>
                    <a:pt x="412" y="1209"/>
                  </a:cubicBezTo>
                  <a:cubicBezTo>
                    <a:pt x="435" y="1225"/>
                    <a:pt x="443" y="1257"/>
                    <a:pt x="427" y="1281"/>
                  </a:cubicBezTo>
                  <a:cubicBezTo>
                    <a:pt x="419" y="1304"/>
                    <a:pt x="404" y="1296"/>
                    <a:pt x="364" y="1312"/>
                  </a:cubicBezTo>
                  <a:cubicBezTo>
                    <a:pt x="333" y="1336"/>
                    <a:pt x="309" y="1376"/>
                    <a:pt x="269" y="1399"/>
                  </a:cubicBezTo>
                  <a:cubicBezTo>
                    <a:pt x="230" y="1423"/>
                    <a:pt x="261" y="1454"/>
                    <a:pt x="253" y="1502"/>
                  </a:cubicBezTo>
                  <a:cubicBezTo>
                    <a:pt x="246" y="1549"/>
                    <a:pt x="198" y="1613"/>
                    <a:pt x="182" y="1636"/>
                  </a:cubicBezTo>
                  <a:cubicBezTo>
                    <a:pt x="175" y="1652"/>
                    <a:pt x="135" y="1644"/>
                    <a:pt x="119" y="1676"/>
                  </a:cubicBezTo>
                  <a:cubicBezTo>
                    <a:pt x="103" y="1707"/>
                    <a:pt x="135" y="1715"/>
                    <a:pt x="135" y="1755"/>
                  </a:cubicBezTo>
                  <a:cubicBezTo>
                    <a:pt x="127" y="1794"/>
                    <a:pt x="119" y="1771"/>
                    <a:pt x="119" y="1802"/>
                  </a:cubicBezTo>
                  <a:cubicBezTo>
                    <a:pt x="111" y="1826"/>
                    <a:pt x="143" y="1810"/>
                    <a:pt x="166" y="1826"/>
                  </a:cubicBezTo>
                  <a:cubicBezTo>
                    <a:pt x="190" y="1842"/>
                    <a:pt x="190" y="1842"/>
                    <a:pt x="198" y="1881"/>
                  </a:cubicBezTo>
                  <a:cubicBezTo>
                    <a:pt x="198" y="1921"/>
                    <a:pt x="159" y="1905"/>
                    <a:pt x="159" y="1937"/>
                  </a:cubicBezTo>
                  <a:cubicBezTo>
                    <a:pt x="159" y="1960"/>
                    <a:pt x="119" y="1968"/>
                    <a:pt x="103" y="1968"/>
                  </a:cubicBezTo>
                  <a:cubicBezTo>
                    <a:pt x="87" y="1968"/>
                    <a:pt x="72" y="1968"/>
                    <a:pt x="64" y="1968"/>
                  </a:cubicBezTo>
                  <a:cubicBezTo>
                    <a:pt x="64" y="1984"/>
                    <a:pt x="48" y="2000"/>
                    <a:pt x="32" y="2016"/>
                  </a:cubicBezTo>
                  <a:cubicBezTo>
                    <a:pt x="0" y="2031"/>
                    <a:pt x="48" y="2071"/>
                    <a:pt x="48" y="2071"/>
                  </a:cubicBezTo>
                  <a:cubicBezTo>
                    <a:pt x="1423" y="2854"/>
                    <a:pt x="1423" y="2854"/>
                    <a:pt x="1423" y="2854"/>
                  </a:cubicBezTo>
                  <a:cubicBezTo>
                    <a:pt x="1423" y="2854"/>
                    <a:pt x="1629" y="2870"/>
                    <a:pt x="1684" y="2885"/>
                  </a:cubicBezTo>
                  <a:cubicBezTo>
                    <a:pt x="1716" y="2901"/>
                    <a:pt x="1969" y="2925"/>
                    <a:pt x="2190" y="2948"/>
                  </a:cubicBezTo>
                  <a:cubicBezTo>
                    <a:pt x="2530" y="284"/>
                    <a:pt x="2530" y="284"/>
                    <a:pt x="2530" y="284"/>
                  </a:cubicBezTo>
                  <a:cubicBezTo>
                    <a:pt x="1526" y="166"/>
                    <a:pt x="918" y="39"/>
                    <a:pt x="752" y="8"/>
                  </a:cubicBezTo>
                </a:path>
              </a:pathLst>
            </a:custGeom>
            <a:solidFill>
              <a:schemeClr val="accent6"/>
            </a:solidFill>
            <a:ln>
              <a:solidFill>
                <a:schemeClr val="bg2"/>
              </a:solidFill>
            </a:ln>
            <a:effectLst/>
          </p:spPr>
          <p:txBody>
            <a:bodyPr wrap="none" anchor="ctr"/>
            <a:lstStyle/>
            <a:p>
              <a:endParaRPr lang="en-US"/>
            </a:p>
          </p:txBody>
        </p:sp>
        <p:sp>
          <p:nvSpPr>
            <p:cNvPr id="23" name="Freeform 51"/>
            <p:cNvSpPr>
              <a:spLocks noChangeArrowheads="1"/>
            </p:cNvSpPr>
            <p:nvPr/>
          </p:nvSpPr>
          <p:spPr bwMode="auto">
            <a:xfrm>
              <a:off x="1574438" y="3669288"/>
              <a:ext cx="909619" cy="924045"/>
            </a:xfrm>
            <a:custGeom>
              <a:avLst/>
              <a:gdLst>
                <a:gd name="T0" fmla="*/ 2174 w 2523"/>
                <a:gd name="T1" fmla="*/ 2956 h 2957"/>
                <a:gd name="T2" fmla="*/ 1407 w 2523"/>
                <a:gd name="T3" fmla="*/ 2862 h 2957"/>
                <a:gd name="T4" fmla="*/ 0 w 2523"/>
                <a:gd name="T5" fmla="*/ 2039 h 2957"/>
                <a:gd name="T6" fmla="*/ 40 w 2523"/>
                <a:gd name="T7" fmla="*/ 1976 h 2957"/>
                <a:gd name="T8" fmla="*/ 143 w 2523"/>
                <a:gd name="T9" fmla="*/ 1945 h 2957"/>
                <a:gd name="T10" fmla="*/ 174 w 2523"/>
                <a:gd name="T11" fmla="*/ 1889 h 2957"/>
                <a:gd name="T12" fmla="*/ 95 w 2523"/>
                <a:gd name="T13" fmla="*/ 1810 h 2957"/>
                <a:gd name="T14" fmla="*/ 103 w 2523"/>
                <a:gd name="T15" fmla="*/ 1723 h 2957"/>
                <a:gd name="T16" fmla="*/ 166 w 2523"/>
                <a:gd name="T17" fmla="*/ 1636 h 2957"/>
                <a:gd name="T18" fmla="*/ 230 w 2523"/>
                <a:gd name="T19" fmla="*/ 1462 h 2957"/>
                <a:gd name="T20" fmla="*/ 348 w 2523"/>
                <a:gd name="T21" fmla="*/ 1320 h 2957"/>
                <a:gd name="T22" fmla="*/ 411 w 2523"/>
                <a:gd name="T23" fmla="*/ 1249 h 2957"/>
                <a:gd name="T24" fmla="*/ 317 w 2523"/>
                <a:gd name="T25" fmla="*/ 1059 h 2957"/>
                <a:gd name="T26" fmla="*/ 277 w 2523"/>
                <a:gd name="T27" fmla="*/ 956 h 2957"/>
                <a:gd name="T28" fmla="*/ 317 w 2523"/>
                <a:gd name="T29" fmla="*/ 854 h 2957"/>
                <a:gd name="T30" fmla="*/ 309 w 2523"/>
                <a:gd name="T31" fmla="*/ 688 h 2957"/>
                <a:gd name="T32" fmla="*/ 356 w 2523"/>
                <a:gd name="T33" fmla="*/ 514 h 2957"/>
                <a:gd name="T34" fmla="*/ 348 w 2523"/>
                <a:gd name="T35" fmla="*/ 435 h 2957"/>
                <a:gd name="T36" fmla="*/ 419 w 2523"/>
                <a:gd name="T37" fmla="*/ 379 h 2957"/>
                <a:gd name="T38" fmla="*/ 514 w 2523"/>
                <a:gd name="T39" fmla="*/ 466 h 2957"/>
                <a:gd name="T40" fmla="*/ 585 w 2523"/>
                <a:gd name="T41" fmla="*/ 411 h 2957"/>
                <a:gd name="T42" fmla="*/ 688 w 2523"/>
                <a:gd name="T43" fmla="*/ 0 h 2957"/>
                <a:gd name="T44" fmla="*/ 720 w 2523"/>
                <a:gd name="T45" fmla="*/ 8 h 2957"/>
                <a:gd name="T46" fmla="*/ 736 w 2523"/>
                <a:gd name="T47" fmla="*/ 8 h 2957"/>
                <a:gd name="T48" fmla="*/ 2522 w 2523"/>
                <a:gd name="T49" fmla="*/ 292 h 2957"/>
                <a:gd name="T50" fmla="*/ 1407 w 2523"/>
                <a:gd name="T51" fmla="*/ 2854 h 2957"/>
                <a:gd name="T52" fmla="*/ 1993 w 2523"/>
                <a:gd name="T53" fmla="*/ 2933 h 2957"/>
                <a:gd name="T54" fmla="*/ 807 w 2523"/>
                <a:gd name="T55" fmla="*/ 32 h 2957"/>
                <a:gd name="T56" fmla="*/ 712 w 2523"/>
                <a:gd name="T57" fmla="*/ 16 h 2957"/>
                <a:gd name="T58" fmla="*/ 688 w 2523"/>
                <a:gd name="T59" fmla="*/ 8 h 2957"/>
                <a:gd name="T60" fmla="*/ 530 w 2523"/>
                <a:gd name="T61" fmla="*/ 466 h 2957"/>
                <a:gd name="T62" fmla="*/ 483 w 2523"/>
                <a:gd name="T63" fmla="*/ 419 h 2957"/>
                <a:gd name="T64" fmla="*/ 348 w 2523"/>
                <a:gd name="T65" fmla="*/ 403 h 2957"/>
                <a:gd name="T66" fmla="*/ 356 w 2523"/>
                <a:gd name="T67" fmla="*/ 458 h 2957"/>
                <a:gd name="T68" fmla="*/ 332 w 2523"/>
                <a:gd name="T69" fmla="*/ 648 h 2957"/>
                <a:gd name="T70" fmla="*/ 340 w 2523"/>
                <a:gd name="T71" fmla="*/ 806 h 2957"/>
                <a:gd name="T72" fmla="*/ 285 w 2523"/>
                <a:gd name="T73" fmla="*/ 917 h 2957"/>
                <a:gd name="T74" fmla="*/ 317 w 2523"/>
                <a:gd name="T75" fmla="*/ 1036 h 2957"/>
                <a:gd name="T76" fmla="*/ 396 w 2523"/>
                <a:gd name="T77" fmla="*/ 1217 h 2957"/>
                <a:gd name="T78" fmla="*/ 388 w 2523"/>
                <a:gd name="T79" fmla="*/ 1312 h 2957"/>
                <a:gd name="T80" fmla="*/ 253 w 2523"/>
                <a:gd name="T81" fmla="*/ 1407 h 2957"/>
                <a:gd name="T82" fmla="*/ 182 w 2523"/>
                <a:gd name="T83" fmla="*/ 1628 h 2957"/>
                <a:gd name="T84" fmla="*/ 103 w 2523"/>
                <a:gd name="T85" fmla="*/ 1684 h 2957"/>
                <a:gd name="T86" fmla="*/ 111 w 2523"/>
                <a:gd name="T87" fmla="*/ 1795 h 2957"/>
                <a:gd name="T88" fmla="*/ 150 w 2523"/>
                <a:gd name="T89" fmla="*/ 1834 h 2957"/>
                <a:gd name="T90" fmla="*/ 166 w 2523"/>
                <a:gd name="T91" fmla="*/ 1921 h 2957"/>
                <a:gd name="T92" fmla="*/ 48 w 2523"/>
                <a:gd name="T93" fmla="*/ 1984 h 2957"/>
                <a:gd name="T94" fmla="*/ 32 w 2523"/>
                <a:gd name="T95" fmla="*/ 2071 h 2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23" h="2957">
                  <a:moveTo>
                    <a:pt x="2174" y="2956"/>
                  </a:moveTo>
                  <a:lnTo>
                    <a:pt x="2174" y="2956"/>
                  </a:lnTo>
                  <a:lnTo>
                    <a:pt x="2174" y="2956"/>
                  </a:lnTo>
                  <a:cubicBezTo>
                    <a:pt x="2111" y="2949"/>
                    <a:pt x="2056" y="2941"/>
                    <a:pt x="1993" y="2941"/>
                  </a:cubicBezTo>
                  <a:cubicBezTo>
                    <a:pt x="1826" y="2925"/>
                    <a:pt x="1692" y="2909"/>
                    <a:pt x="1668" y="2901"/>
                  </a:cubicBezTo>
                  <a:cubicBezTo>
                    <a:pt x="1613" y="2885"/>
                    <a:pt x="1407" y="2862"/>
                    <a:pt x="1407" y="2862"/>
                  </a:cubicBezTo>
                  <a:lnTo>
                    <a:pt x="1407" y="2862"/>
                  </a:lnTo>
                  <a:cubicBezTo>
                    <a:pt x="32" y="2079"/>
                    <a:pt x="32" y="2079"/>
                    <a:pt x="32" y="2079"/>
                  </a:cubicBezTo>
                  <a:cubicBezTo>
                    <a:pt x="24" y="2079"/>
                    <a:pt x="0" y="2055"/>
                    <a:pt x="0" y="2039"/>
                  </a:cubicBezTo>
                  <a:cubicBezTo>
                    <a:pt x="0" y="2032"/>
                    <a:pt x="8" y="2024"/>
                    <a:pt x="16" y="2016"/>
                  </a:cubicBezTo>
                  <a:cubicBezTo>
                    <a:pt x="32" y="2000"/>
                    <a:pt x="48" y="1992"/>
                    <a:pt x="40" y="1984"/>
                  </a:cubicBezTo>
                  <a:cubicBezTo>
                    <a:pt x="40" y="1976"/>
                    <a:pt x="40" y="1976"/>
                    <a:pt x="40" y="1976"/>
                  </a:cubicBezTo>
                  <a:lnTo>
                    <a:pt x="40" y="1976"/>
                  </a:lnTo>
                  <a:cubicBezTo>
                    <a:pt x="56" y="1976"/>
                    <a:pt x="71" y="1968"/>
                    <a:pt x="87" y="1968"/>
                  </a:cubicBezTo>
                  <a:cubicBezTo>
                    <a:pt x="95" y="1968"/>
                    <a:pt x="135" y="1968"/>
                    <a:pt x="143" y="1945"/>
                  </a:cubicBezTo>
                  <a:cubicBezTo>
                    <a:pt x="143" y="1929"/>
                    <a:pt x="150" y="1921"/>
                    <a:pt x="159" y="1921"/>
                  </a:cubicBezTo>
                  <a:cubicBezTo>
                    <a:pt x="166" y="1913"/>
                    <a:pt x="174" y="1913"/>
                    <a:pt x="174" y="1889"/>
                  </a:cubicBezTo>
                  <a:lnTo>
                    <a:pt x="174" y="1889"/>
                  </a:lnTo>
                  <a:cubicBezTo>
                    <a:pt x="174" y="1850"/>
                    <a:pt x="166" y="1850"/>
                    <a:pt x="150" y="1834"/>
                  </a:cubicBezTo>
                  <a:cubicBezTo>
                    <a:pt x="135" y="1834"/>
                    <a:pt x="127" y="1834"/>
                    <a:pt x="119" y="1834"/>
                  </a:cubicBezTo>
                  <a:cubicBezTo>
                    <a:pt x="111" y="1826"/>
                    <a:pt x="95" y="1826"/>
                    <a:pt x="95" y="1810"/>
                  </a:cubicBezTo>
                  <a:cubicBezTo>
                    <a:pt x="95" y="1795"/>
                    <a:pt x="103" y="1795"/>
                    <a:pt x="103" y="1786"/>
                  </a:cubicBezTo>
                  <a:cubicBezTo>
                    <a:pt x="111" y="1786"/>
                    <a:pt x="111" y="1779"/>
                    <a:pt x="111" y="1763"/>
                  </a:cubicBezTo>
                  <a:cubicBezTo>
                    <a:pt x="111" y="1747"/>
                    <a:pt x="111" y="1739"/>
                    <a:pt x="103" y="1723"/>
                  </a:cubicBezTo>
                  <a:cubicBezTo>
                    <a:pt x="95" y="1708"/>
                    <a:pt x="87" y="1700"/>
                    <a:pt x="95" y="1684"/>
                  </a:cubicBezTo>
                  <a:cubicBezTo>
                    <a:pt x="111" y="1660"/>
                    <a:pt x="127" y="1660"/>
                    <a:pt x="135" y="1652"/>
                  </a:cubicBezTo>
                  <a:cubicBezTo>
                    <a:pt x="150" y="1652"/>
                    <a:pt x="159" y="1644"/>
                    <a:pt x="166" y="1636"/>
                  </a:cubicBezTo>
                  <a:cubicBezTo>
                    <a:pt x="166" y="1636"/>
                    <a:pt x="174" y="1628"/>
                    <a:pt x="174" y="1621"/>
                  </a:cubicBezTo>
                  <a:cubicBezTo>
                    <a:pt x="198" y="1589"/>
                    <a:pt x="230" y="1542"/>
                    <a:pt x="237" y="1510"/>
                  </a:cubicBezTo>
                  <a:cubicBezTo>
                    <a:pt x="237" y="1486"/>
                    <a:pt x="237" y="1478"/>
                    <a:pt x="230" y="1462"/>
                  </a:cubicBezTo>
                  <a:cubicBezTo>
                    <a:pt x="230" y="1439"/>
                    <a:pt x="230" y="1415"/>
                    <a:pt x="253" y="1399"/>
                  </a:cubicBezTo>
                  <a:cubicBezTo>
                    <a:pt x="277" y="1391"/>
                    <a:pt x="285" y="1375"/>
                    <a:pt x="301" y="1360"/>
                  </a:cubicBezTo>
                  <a:cubicBezTo>
                    <a:pt x="317" y="1344"/>
                    <a:pt x="332" y="1328"/>
                    <a:pt x="348" y="1320"/>
                  </a:cubicBezTo>
                  <a:cubicBezTo>
                    <a:pt x="364" y="1312"/>
                    <a:pt x="380" y="1304"/>
                    <a:pt x="388" y="1304"/>
                  </a:cubicBezTo>
                  <a:cubicBezTo>
                    <a:pt x="396" y="1296"/>
                    <a:pt x="403" y="1296"/>
                    <a:pt x="411" y="1289"/>
                  </a:cubicBezTo>
                  <a:cubicBezTo>
                    <a:pt x="411" y="1281"/>
                    <a:pt x="419" y="1265"/>
                    <a:pt x="411" y="1249"/>
                  </a:cubicBezTo>
                  <a:cubicBezTo>
                    <a:pt x="411" y="1233"/>
                    <a:pt x="403" y="1225"/>
                    <a:pt x="388" y="1217"/>
                  </a:cubicBezTo>
                  <a:cubicBezTo>
                    <a:pt x="364" y="1209"/>
                    <a:pt x="348" y="1138"/>
                    <a:pt x="340" y="1115"/>
                  </a:cubicBezTo>
                  <a:cubicBezTo>
                    <a:pt x="340" y="1091"/>
                    <a:pt x="332" y="1083"/>
                    <a:pt x="317" y="1059"/>
                  </a:cubicBezTo>
                  <a:cubicBezTo>
                    <a:pt x="317" y="1059"/>
                    <a:pt x="317" y="1051"/>
                    <a:pt x="309" y="1044"/>
                  </a:cubicBezTo>
                  <a:cubicBezTo>
                    <a:pt x="301" y="1028"/>
                    <a:pt x="293" y="1020"/>
                    <a:pt x="293" y="1012"/>
                  </a:cubicBezTo>
                  <a:cubicBezTo>
                    <a:pt x="277" y="1004"/>
                    <a:pt x="269" y="988"/>
                    <a:pt x="277" y="956"/>
                  </a:cubicBezTo>
                  <a:cubicBezTo>
                    <a:pt x="277" y="941"/>
                    <a:pt x="277" y="925"/>
                    <a:pt x="277" y="917"/>
                  </a:cubicBezTo>
                  <a:cubicBezTo>
                    <a:pt x="277" y="893"/>
                    <a:pt x="277" y="885"/>
                    <a:pt x="293" y="869"/>
                  </a:cubicBezTo>
                  <a:cubicBezTo>
                    <a:pt x="301" y="862"/>
                    <a:pt x="309" y="854"/>
                    <a:pt x="317" y="854"/>
                  </a:cubicBezTo>
                  <a:cubicBezTo>
                    <a:pt x="332" y="846"/>
                    <a:pt x="340" y="838"/>
                    <a:pt x="332" y="806"/>
                  </a:cubicBezTo>
                  <a:cubicBezTo>
                    <a:pt x="332" y="783"/>
                    <a:pt x="324" y="767"/>
                    <a:pt x="324" y="751"/>
                  </a:cubicBezTo>
                  <a:cubicBezTo>
                    <a:pt x="317" y="735"/>
                    <a:pt x="309" y="719"/>
                    <a:pt x="309" y="688"/>
                  </a:cubicBezTo>
                  <a:cubicBezTo>
                    <a:pt x="309" y="664"/>
                    <a:pt x="324" y="656"/>
                    <a:pt x="332" y="648"/>
                  </a:cubicBezTo>
                  <a:cubicBezTo>
                    <a:pt x="340" y="632"/>
                    <a:pt x="348" y="625"/>
                    <a:pt x="340" y="601"/>
                  </a:cubicBezTo>
                  <a:cubicBezTo>
                    <a:pt x="332" y="553"/>
                    <a:pt x="340" y="530"/>
                    <a:pt x="356" y="514"/>
                  </a:cubicBezTo>
                  <a:cubicBezTo>
                    <a:pt x="364" y="498"/>
                    <a:pt x="356" y="490"/>
                    <a:pt x="348" y="458"/>
                  </a:cubicBezTo>
                  <a:cubicBezTo>
                    <a:pt x="348" y="451"/>
                    <a:pt x="348" y="451"/>
                    <a:pt x="348" y="451"/>
                  </a:cubicBezTo>
                  <a:cubicBezTo>
                    <a:pt x="348" y="443"/>
                    <a:pt x="348" y="443"/>
                    <a:pt x="348" y="435"/>
                  </a:cubicBezTo>
                  <a:cubicBezTo>
                    <a:pt x="340" y="419"/>
                    <a:pt x="332" y="403"/>
                    <a:pt x="340" y="395"/>
                  </a:cubicBezTo>
                  <a:cubicBezTo>
                    <a:pt x="348" y="387"/>
                    <a:pt x="364" y="379"/>
                    <a:pt x="380" y="379"/>
                  </a:cubicBezTo>
                  <a:cubicBezTo>
                    <a:pt x="396" y="379"/>
                    <a:pt x="411" y="379"/>
                    <a:pt x="419" y="379"/>
                  </a:cubicBezTo>
                  <a:cubicBezTo>
                    <a:pt x="451" y="379"/>
                    <a:pt x="475" y="387"/>
                    <a:pt x="490" y="411"/>
                  </a:cubicBezTo>
                  <a:cubicBezTo>
                    <a:pt x="498" y="427"/>
                    <a:pt x="498" y="443"/>
                    <a:pt x="506" y="451"/>
                  </a:cubicBezTo>
                  <a:cubicBezTo>
                    <a:pt x="506" y="466"/>
                    <a:pt x="506" y="466"/>
                    <a:pt x="514" y="466"/>
                  </a:cubicBezTo>
                  <a:cubicBezTo>
                    <a:pt x="514" y="466"/>
                    <a:pt x="522" y="466"/>
                    <a:pt x="530" y="458"/>
                  </a:cubicBezTo>
                  <a:cubicBezTo>
                    <a:pt x="538" y="458"/>
                    <a:pt x="538" y="458"/>
                    <a:pt x="538" y="458"/>
                  </a:cubicBezTo>
                  <a:cubicBezTo>
                    <a:pt x="570" y="435"/>
                    <a:pt x="577" y="435"/>
                    <a:pt x="585" y="411"/>
                  </a:cubicBezTo>
                  <a:cubicBezTo>
                    <a:pt x="601" y="379"/>
                    <a:pt x="680" y="24"/>
                    <a:pt x="680" y="8"/>
                  </a:cubicBezTo>
                  <a:cubicBezTo>
                    <a:pt x="680" y="0"/>
                    <a:pt x="680" y="0"/>
                    <a:pt x="688" y="0"/>
                  </a:cubicBezTo>
                  <a:lnTo>
                    <a:pt x="688" y="0"/>
                  </a:lnTo>
                  <a:lnTo>
                    <a:pt x="696" y="0"/>
                  </a:lnTo>
                  <a:lnTo>
                    <a:pt x="696" y="0"/>
                  </a:lnTo>
                  <a:cubicBezTo>
                    <a:pt x="704" y="0"/>
                    <a:pt x="704" y="0"/>
                    <a:pt x="720" y="8"/>
                  </a:cubicBezTo>
                  <a:lnTo>
                    <a:pt x="720" y="8"/>
                  </a:lnTo>
                  <a:cubicBezTo>
                    <a:pt x="728" y="8"/>
                    <a:pt x="728" y="8"/>
                    <a:pt x="736" y="8"/>
                  </a:cubicBezTo>
                  <a:lnTo>
                    <a:pt x="736" y="8"/>
                  </a:lnTo>
                  <a:cubicBezTo>
                    <a:pt x="751" y="16"/>
                    <a:pt x="775" y="16"/>
                    <a:pt x="807" y="24"/>
                  </a:cubicBezTo>
                  <a:cubicBezTo>
                    <a:pt x="1052" y="71"/>
                    <a:pt x="1621" y="182"/>
                    <a:pt x="2514" y="292"/>
                  </a:cubicBezTo>
                  <a:cubicBezTo>
                    <a:pt x="2522" y="292"/>
                    <a:pt x="2522" y="292"/>
                    <a:pt x="2522" y="292"/>
                  </a:cubicBezTo>
                  <a:lnTo>
                    <a:pt x="2522" y="292"/>
                  </a:lnTo>
                  <a:cubicBezTo>
                    <a:pt x="2174" y="2956"/>
                    <a:pt x="2174" y="2956"/>
                    <a:pt x="2174" y="2956"/>
                  </a:cubicBezTo>
                  <a:lnTo>
                    <a:pt x="1407" y="2854"/>
                  </a:lnTo>
                  <a:lnTo>
                    <a:pt x="1407" y="2854"/>
                  </a:lnTo>
                  <a:cubicBezTo>
                    <a:pt x="1423" y="2862"/>
                    <a:pt x="1621" y="2878"/>
                    <a:pt x="1668" y="2893"/>
                  </a:cubicBezTo>
                  <a:cubicBezTo>
                    <a:pt x="1692" y="2901"/>
                    <a:pt x="1834" y="2917"/>
                    <a:pt x="1993" y="2933"/>
                  </a:cubicBezTo>
                  <a:cubicBezTo>
                    <a:pt x="2056" y="2941"/>
                    <a:pt x="2111" y="2941"/>
                    <a:pt x="2166" y="2949"/>
                  </a:cubicBezTo>
                  <a:cubicBezTo>
                    <a:pt x="2514" y="300"/>
                    <a:pt x="2514" y="300"/>
                    <a:pt x="2514" y="300"/>
                  </a:cubicBezTo>
                  <a:cubicBezTo>
                    <a:pt x="1613" y="190"/>
                    <a:pt x="1044" y="79"/>
                    <a:pt x="807" y="32"/>
                  </a:cubicBezTo>
                  <a:cubicBezTo>
                    <a:pt x="775" y="24"/>
                    <a:pt x="751" y="16"/>
                    <a:pt x="736" y="16"/>
                  </a:cubicBezTo>
                  <a:lnTo>
                    <a:pt x="736" y="16"/>
                  </a:lnTo>
                  <a:cubicBezTo>
                    <a:pt x="712" y="16"/>
                    <a:pt x="712" y="16"/>
                    <a:pt x="712" y="16"/>
                  </a:cubicBezTo>
                  <a:cubicBezTo>
                    <a:pt x="704" y="8"/>
                    <a:pt x="696" y="8"/>
                    <a:pt x="696" y="8"/>
                  </a:cubicBezTo>
                  <a:lnTo>
                    <a:pt x="696" y="8"/>
                  </a:lnTo>
                  <a:lnTo>
                    <a:pt x="688" y="8"/>
                  </a:lnTo>
                  <a:cubicBezTo>
                    <a:pt x="688" y="47"/>
                    <a:pt x="601" y="387"/>
                    <a:pt x="593" y="411"/>
                  </a:cubicBezTo>
                  <a:cubicBezTo>
                    <a:pt x="577" y="443"/>
                    <a:pt x="570" y="443"/>
                    <a:pt x="538" y="466"/>
                  </a:cubicBezTo>
                  <a:cubicBezTo>
                    <a:pt x="530" y="466"/>
                    <a:pt x="530" y="466"/>
                    <a:pt x="530" y="466"/>
                  </a:cubicBezTo>
                  <a:cubicBezTo>
                    <a:pt x="522" y="474"/>
                    <a:pt x="522" y="474"/>
                    <a:pt x="514" y="474"/>
                  </a:cubicBezTo>
                  <a:cubicBezTo>
                    <a:pt x="498" y="474"/>
                    <a:pt x="498" y="466"/>
                    <a:pt x="498" y="451"/>
                  </a:cubicBezTo>
                  <a:cubicBezTo>
                    <a:pt x="490" y="443"/>
                    <a:pt x="490" y="427"/>
                    <a:pt x="483" y="419"/>
                  </a:cubicBezTo>
                  <a:cubicBezTo>
                    <a:pt x="467" y="395"/>
                    <a:pt x="451" y="387"/>
                    <a:pt x="419" y="387"/>
                  </a:cubicBezTo>
                  <a:cubicBezTo>
                    <a:pt x="411" y="387"/>
                    <a:pt x="396" y="387"/>
                    <a:pt x="380" y="387"/>
                  </a:cubicBezTo>
                  <a:cubicBezTo>
                    <a:pt x="364" y="387"/>
                    <a:pt x="356" y="395"/>
                    <a:pt x="348" y="403"/>
                  </a:cubicBezTo>
                  <a:cubicBezTo>
                    <a:pt x="340" y="411"/>
                    <a:pt x="348" y="419"/>
                    <a:pt x="348" y="435"/>
                  </a:cubicBezTo>
                  <a:cubicBezTo>
                    <a:pt x="356" y="435"/>
                    <a:pt x="356" y="443"/>
                    <a:pt x="356" y="451"/>
                  </a:cubicBezTo>
                  <a:cubicBezTo>
                    <a:pt x="356" y="458"/>
                    <a:pt x="356" y="458"/>
                    <a:pt x="356" y="458"/>
                  </a:cubicBezTo>
                  <a:cubicBezTo>
                    <a:pt x="364" y="490"/>
                    <a:pt x="372" y="506"/>
                    <a:pt x="356" y="522"/>
                  </a:cubicBezTo>
                  <a:cubicBezTo>
                    <a:pt x="348" y="530"/>
                    <a:pt x="340" y="553"/>
                    <a:pt x="348" y="601"/>
                  </a:cubicBezTo>
                  <a:cubicBezTo>
                    <a:pt x="356" y="632"/>
                    <a:pt x="340" y="640"/>
                    <a:pt x="332" y="648"/>
                  </a:cubicBezTo>
                  <a:cubicBezTo>
                    <a:pt x="324" y="664"/>
                    <a:pt x="317" y="672"/>
                    <a:pt x="317" y="688"/>
                  </a:cubicBezTo>
                  <a:cubicBezTo>
                    <a:pt x="317" y="719"/>
                    <a:pt x="324" y="735"/>
                    <a:pt x="332" y="751"/>
                  </a:cubicBezTo>
                  <a:cubicBezTo>
                    <a:pt x="332" y="767"/>
                    <a:pt x="340" y="783"/>
                    <a:pt x="340" y="806"/>
                  </a:cubicBezTo>
                  <a:cubicBezTo>
                    <a:pt x="348" y="838"/>
                    <a:pt x="332" y="846"/>
                    <a:pt x="317" y="854"/>
                  </a:cubicBezTo>
                  <a:cubicBezTo>
                    <a:pt x="317" y="862"/>
                    <a:pt x="309" y="862"/>
                    <a:pt x="301" y="869"/>
                  </a:cubicBezTo>
                  <a:cubicBezTo>
                    <a:pt x="285" y="885"/>
                    <a:pt x="285" y="901"/>
                    <a:pt x="285" y="917"/>
                  </a:cubicBezTo>
                  <a:cubicBezTo>
                    <a:pt x="285" y="925"/>
                    <a:pt x="285" y="941"/>
                    <a:pt x="285" y="964"/>
                  </a:cubicBezTo>
                  <a:cubicBezTo>
                    <a:pt x="277" y="988"/>
                    <a:pt x="285" y="996"/>
                    <a:pt x="293" y="1012"/>
                  </a:cubicBezTo>
                  <a:cubicBezTo>
                    <a:pt x="301" y="1020"/>
                    <a:pt x="309" y="1028"/>
                    <a:pt x="317" y="1036"/>
                  </a:cubicBezTo>
                  <a:cubicBezTo>
                    <a:pt x="317" y="1044"/>
                    <a:pt x="324" y="1051"/>
                    <a:pt x="324" y="1059"/>
                  </a:cubicBezTo>
                  <a:cubicBezTo>
                    <a:pt x="340" y="1075"/>
                    <a:pt x="348" y="1091"/>
                    <a:pt x="348" y="1115"/>
                  </a:cubicBezTo>
                  <a:cubicBezTo>
                    <a:pt x="348" y="1138"/>
                    <a:pt x="372" y="1202"/>
                    <a:pt x="396" y="1217"/>
                  </a:cubicBezTo>
                  <a:cubicBezTo>
                    <a:pt x="403" y="1217"/>
                    <a:pt x="419" y="1233"/>
                    <a:pt x="419" y="1249"/>
                  </a:cubicBezTo>
                  <a:cubicBezTo>
                    <a:pt x="427" y="1265"/>
                    <a:pt x="419" y="1281"/>
                    <a:pt x="419" y="1289"/>
                  </a:cubicBezTo>
                  <a:cubicBezTo>
                    <a:pt x="411" y="1304"/>
                    <a:pt x="396" y="1304"/>
                    <a:pt x="388" y="1312"/>
                  </a:cubicBezTo>
                  <a:cubicBezTo>
                    <a:pt x="380" y="1312"/>
                    <a:pt x="364" y="1320"/>
                    <a:pt x="356" y="1328"/>
                  </a:cubicBezTo>
                  <a:cubicBezTo>
                    <a:pt x="332" y="1336"/>
                    <a:pt x="324" y="1352"/>
                    <a:pt x="309" y="1368"/>
                  </a:cubicBezTo>
                  <a:cubicBezTo>
                    <a:pt x="293" y="1384"/>
                    <a:pt x="277" y="1399"/>
                    <a:pt x="253" y="1407"/>
                  </a:cubicBezTo>
                  <a:cubicBezTo>
                    <a:pt x="237" y="1423"/>
                    <a:pt x="237" y="1439"/>
                    <a:pt x="237" y="1462"/>
                  </a:cubicBezTo>
                  <a:cubicBezTo>
                    <a:pt x="245" y="1470"/>
                    <a:pt x="245" y="1486"/>
                    <a:pt x="245" y="1510"/>
                  </a:cubicBezTo>
                  <a:cubicBezTo>
                    <a:pt x="237" y="1549"/>
                    <a:pt x="198" y="1597"/>
                    <a:pt x="182" y="1628"/>
                  </a:cubicBezTo>
                  <a:cubicBezTo>
                    <a:pt x="174" y="1636"/>
                    <a:pt x="174" y="1636"/>
                    <a:pt x="174" y="1644"/>
                  </a:cubicBezTo>
                  <a:cubicBezTo>
                    <a:pt x="166" y="1652"/>
                    <a:pt x="150" y="1660"/>
                    <a:pt x="143" y="1660"/>
                  </a:cubicBezTo>
                  <a:cubicBezTo>
                    <a:pt x="127" y="1668"/>
                    <a:pt x="111" y="1668"/>
                    <a:pt x="103" y="1684"/>
                  </a:cubicBezTo>
                  <a:cubicBezTo>
                    <a:pt x="95" y="1700"/>
                    <a:pt x="103" y="1708"/>
                    <a:pt x="111" y="1723"/>
                  </a:cubicBezTo>
                  <a:cubicBezTo>
                    <a:pt x="119" y="1731"/>
                    <a:pt x="119" y="1747"/>
                    <a:pt x="119" y="1763"/>
                  </a:cubicBezTo>
                  <a:cubicBezTo>
                    <a:pt x="119" y="1786"/>
                    <a:pt x="111" y="1786"/>
                    <a:pt x="111" y="1795"/>
                  </a:cubicBezTo>
                  <a:cubicBezTo>
                    <a:pt x="103" y="1795"/>
                    <a:pt x="103" y="1795"/>
                    <a:pt x="103" y="1810"/>
                  </a:cubicBezTo>
                  <a:cubicBezTo>
                    <a:pt x="103" y="1818"/>
                    <a:pt x="111" y="1826"/>
                    <a:pt x="119" y="1826"/>
                  </a:cubicBezTo>
                  <a:cubicBezTo>
                    <a:pt x="127" y="1826"/>
                    <a:pt x="143" y="1826"/>
                    <a:pt x="150" y="1834"/>
                  </a:cubicBezTo>
                  <a:cubicBezTo>
                    <a:pt x="174" y="1842"/>
                    <a:pt x="174" y="1850"/>
                    <a:pt x="182" y="1889"/>
                  </a:cubicBezTo>
                  <a:lnTo>
                    <a:pt x="182" y="1889"/>
                  </a:lnTo>
                  <a:cubicBezTo>
                    <a:pt x="182" y="1913"/>
                    <a:pt x="174" y="1921"/>
                    <a:pt x="166" y="1921"/>
                  </a:cubicBezTo>
                  <a:cubicBezTo>
                    <a:pt x="159" y="1929"/>
                    <a:pt x="150" y="1929"/>
                    <a:pt x="150" y="1945"/>
                  </a:cubicBezTo>
                  <a:cubicBezTo>
                    <a:pt x="143" y="1976"/>
                    <a:pt x="95" y="1976"/>
                    <a:pt x="87" y="1976"/>
                  </a:cubicBezTo>
                  <a:cubicBezTo>
                    <a:pt x="71" y="1976"/>
                    <a:pt x="64" y="1976"/>
                    <a:pt x="48" y="1984"/>
                  </a:cubicBezTo>
                  <a:cubicBezTo>
                    <a:pt x="56" y="1992"/>
                    <a:pt x="40" y="2008"/>
                    <a:pt x="16" y="2024"/>
                  </a:cubicBezTo>
                  <a:cubicBezTo>
                    <a:pt x="16" y="2032"/>
                    <a:pt x="8" y="2032"/>
                    <a:pt x="8" y="2039"/>
                  </a:cubicBezTo>
                  <a:cubicBezTo>
                    <a:pt x="8" y="2055"/>
                    <a:pt x="32" y="2071"/>
                    <a:pt x="32" y="2071"/>
                  </a:cubicBezTo>
                  <a:cubicBezTo>
                    <a:pt x="1407" y="2854"/>
                    <a:pt x="1407" y="2854"/>
                    <a:pt x="1407" y="2854"/>
                  </a:cubicBezTo>
                  <a:lnTo>
                    <a:pt x="2174" y="2956"/>
                  </a:lnTo>
                </a:path>
              </a:pathLst>
            </a:custGeom>
            <a:solidFill>
              <a:schemeClr val="accent6"/>
            </a:solidFill>
            <a:ln>
              <a:solidFill>
                <a:schemeClr val="bg2"/>
              </a:solidFill>
            </a:ln>
            <a:effectLst/>
          </p:spPr>
          <p:txBody>
            <a:bodyPr wrap="none" anchor="ctr"/>
            <a:lstStyle/>
            <a:p>
              <a:endParaRPr lang="en-US"/>
            </a:p>
          </p:txBody>
        </p:sp>
        <p:sp>
          <p:nvSpPr>
            <p:cNvPr id="24" name="Freeform 52"/>
            <p:cNvSpPr>
              <a:spLocks noChangeArrowheads="1"/>
            </p:cNvSpPr>
            <p:nvPr/>
          </p:nvSpPr>
          <p:spPr bwMode="auto">
            <a:xfrm>
              <a:off x="2480876" y="3168018"/>
              <a:ext cx="984360" cy="663769"/>
            </a:xfrm>
            <a:custGeom>
              <a:avLst/>
              <a:gdLst>
                <a:gd name="T0" fmla="*/ 2720 w 2729"/>
                <a:gd name="T1" fmla="*/ 269 h 2127"/>
                <a:gd name="T2" fmla="*/ 2720 w 2729"/>
                <a:gd name="T3" fmla="*/ 269 h 2127"/>
                <a:gd name="T4" fmla="*/ 2649 w 2729"/>
                <a:gd name="T5" fmla="*/ 222 h 2127"/>
                <a:gd name="T6" fmla="*/ 245 w 2729"/>
                <a:gd name="T7" fmla="*/ 0 h 2127"/>
                <a:gd name="T8" fmla="*/ 0 w 2729"/>
                <a:gd name="T9" fmla="*/ 1896 h 2127"/>
                <a:gd name="T10" fmla="*/ 1890 w 2729"/>
                <a:gd name="T11" fmla="*/ 2078 h 2127"/>
                <a:gd name="T12" fmla="*/ 1898 w 2729"/>
                <a:gd name="T13" fmla="*/ 2078 h 2127"/>
                <a:gd name="T14" fmla="*/ 2253 w 2729"/>
                <a:gd name="T15" fmla="*/ 2102 h 2127"/>
                <a:gd name="T16" fmla="*/ 2625 w 2729"/>
                <a:gd name="T17" fmla="*/ 2126 h 2127"/>
                <a:gd name="T18" fmla="*/ 2720 w 2729"/>
                <a:gd name="T19" fmla="*/ 269 h 2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29" h="2127">
                  <a:moveTo>
                    <a:pt x="2720" y="269"/>
                  </a:moveTo>
                  <a:lnTo>
                    <a:pt x="2720" y="269"/>
                  </a:lnTo>
                  <a:cubicBezTo>
                    <a:pt x="2712" y="206"/>
                    <a:pt x="2649" y="222"/>
                    <a:pt x="2649" y="222"/>
                  </a:cubicBezTo>
                  <a:cubicBezTo>
                    <a:pt x="2269" y="269"/>
                    <a:pt x="245" y="0"/>
                    <a:pt x="245" y="0"/>
                  </a:cubicBezTo>
                  <a:cubicBezTo>
                    <a:pt x="0" y="1896"/>
                    <a:pt x="0" y="1896"/>
                    <a:pt x="0" y="1896"/>
                  </a:cubicBezTo>
                  <a:cubicBezTo>
                    <a:pt x="522" y="1968"/>
                    <a:pt x="1155" y="2031"/>
                    <a:pt x="1890" y="2078"/>
                  </a:cubicBezTo>
                  <a:lnTo>
                    <a:pt x="1898" y="2078"/>
                  </a:lnTo>
                  <a:cubicBezTo>
                    <a:pt x="2016" y="2086"/>
                    <a:pt x="2135" y="2094"/>
                    <a:pt x="2253" y="2102"/>
                  </a:cubicBezTo>
                  <a:cubicBezTo>
                    <a:pt x="2380" y="2110"/>
                    <a:pt x="2498" y="2118"/>
                    <a:pt x="2625" y="2126"/>
                  </a:cubicBezTo>
                  <a:cubicBezTo>
                    <a:pt x="2664" y="1493"/>
                    <a:pt x="2728" y="324"/>
                    <a:pt x="2720" y="269"/>
                  </a:cubicBezTo>
                </a:path>
              </a:pathLst>
            </a:custGeom>
            <a:solidFill>
              <a:schemeClr val="accent6"/>
            </a:solidFill>
            <a:ln>
              <a:solidFill>
                <a:schemeClr val="bg2"/>
              </a:solidFill>
            </a:ln>
            <a:effectLst/>
          </p:spPr>
          <p:txBody>
            <a:bodyPr wrap="none" anchor="ctr"/>
            <a:lstStyle/>
            <a:p>
              <a:endParaRPr lang="en-US"/>
            </a:p>
          </p:txBody>
        </p:sp>
        <p:sp>
          <p:nvSpPr>
            <p:cNvPr id="25" name="Freeform 53"/>
            <p:cNvSpPr>
              <a:spLocks noChangeArrowheads="1"/>
            </p:cNvSpPr>
            <p:nvPr/>
          </p:nvSpPr>
          <p:spPr bwMode="auto">
            <a:xfrm>
              <a:off x="2480876" y="3168018"/>
              <a:ext cx="987541" cy="663769"/>
            </a:xfrm>
            <a:custGeom>
              <a:avLst/>
              <a:gdLst>
                <a:gd name="T0" fmla="*/ 2633 w 2737"/>
                <a:gd name="T1" fmla="*/ 2126 h 2127"/>
                <a:gd name="T2" fmla="*/ 2633 w 2737"/>
                <a:gd name="T3" fmla="*/ 2126 h 2127"/>
                <a:gd name="T4" fmla="*/ 2625 w 2737"/>
                <a:gd name="T5" fmla="*/ 2126 h 2127"/>
                <a:gd name="T6" fmla="*/ 2253 w 2737"/>
                <a:gd name="T7" fmla="*/ 2110 h 2127"/>
                <a:gd name="T8" fmla="*/ 1898 w 2737"/>
                <a:gd name="T9" fmla="*/ 2086 h 2127"/>
                <a:gd name="T10" fmla="*/ 1890 w 2737"/>
                <a:gd name="T11" fmla="*/ 2086 h 2127"/>
                <a:gd name="T12" fmla="*/ 0 w 2737"/>
                <a:gd name="T13" fmla="*/ 1904 h 2127"/>
                <a:gd name="T14" fmla="*/ 0 w 2737"/>
                <a:gd name="T15" fmla="*/ 1904 h 2127"/>
                <a:gd name="T16" fmla="*/ 0 w 2737"/>
                <a:gd name="T17" fmla="*/ 1896 h 2127"/>
                <a:gd name="T18" fmla="*/ 245 w 2737"/>
                <a:gd name="T19" fmla="*/ 0 h 2127"/>
                <a:gd name="T20" fmla="*/ 245 w 2737"/>
                <a:gd name="T21" fmla="*/ 0 h 2127"/>
                <a:gd name="T22" fmla="*/ 2514 w 2737"/>
                <a:gd name="T23" fmla="*/ 222 h 2127"/>
                <a:gd name="T24" fmla="*/ 2649 w 2737"/>
                <a:gd name="T25" fmla="*/ 222 h 2127"/>
                <a:gd name="T26" fmla="*/ 2664 w 2737"/>
                <a:gd name="T27" fmla="*/ 214 h 2127"/>
                <a:gd name="T28" fmla="*/ 2728 w 2737"/>
                <a:gd name="T29" fmla="*/ 269 h 2127"/>
                <a:gd name="T30" fmla="*/ 2633 w 2737"/>
                <a:gd name="T31" fmla="*/ 2126 h 2127"/>
                <a:gd name="T32" fmla="*/ 2633 w 2737"/>
                <a:gd name="T33" fmla="*/ 2126 h 2127"/>
                <a:gd name="T34" fmla="*/ 8 w 2737"/>
                <a:gd name="T35" fmla="*/ 1896 h 2127"/>
                <a:gd name="T36" fmla="*/ 8 w 2737"/>
                <a:gd name="T37" fmla="*/ 1896 h 2127"/>
                <a:gd name="T38" fmla="*/ 1890 w 2737"/>
                <a:gd name="T39" fmla="*/ 2078 h 2127"/>
                <a:gd name="T40" fmla="*/ 1898 w 2737"/>
                <a:gd name="T41" fmla="*/ 2078 h 2127"/>
                <a:gd name="T42" fmla="*/ 2253 w 2737"/>
                <a:gd name="T43" fmla="*/ 2102 h 2127"/>
                <a:gd name="T44" fmla="*/ 2625 w 2737"/>
                <a:gd name="T45" fmla="*/ 2118 h 2127"/>
                <a:gd name="T46" fmla="*/ 2720 w 2737"/>
                <a:gd name="T47" fmla="*/ 277 h 2127"/>
                <a:gd name="T48" fmla="*/ 2664 w 2737"/>
                <a:gd name="T49" fmla="*/ 222 h 2127"/>
                <a:gd name="T50" fmla="*/ 2649 w 2737"/>
                <a:gd name="T51" fmla="*/ 229 h 2127"/>
                <a:gd name="T52" fmla="*/ 2514 w 2737"/>
                <a:gd name="T53" fmla="*/ 229 h 2127"/>
                <a:gd name="T54" fmla="*/ 245 w 2737"/>
                <a:gd name="T55" fmla="*/ 8 h 2127"/>
                <a:gd name="T56" fmla="*/ 8 w 2737"/>
                <a:gd name="T57" fmla="*/ 1896 h 2127"/>
                <a:gd name="T58" fmla="*/ 2633 w 2737"/>
                <a:gd name="T59" fmla="*/ 2126 h 2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37" h="2127">
                  <a:moveTo>
                    <a:pt x="2633" y="2126"/>
                  </a:moveTo>
                  <a:lnTo>
                    <a:pt x="2633" y="2126"/>
                  </a:lnTo>
                  <a:cubicBezTo>
                    <a:pt x="2625" y="2126"/>
                    <a:pt x="2625" y="2126"/>
                    <a:pt x="2625" y="2126"/>
                  </a:cubicBezTo>
                  <a:cubicBezTo>
                    <a:pt x="2506" y="2118"/>
                    <a:pt x="2380" y="2118"/>
                    <a:pt x="2253" y="2110"/>
                  </a:cubicBezTo>
                  <a:cubicBezTo>
                    <a:pt x="2135" y="2102"/>
                    <a:pt x="2016" y="2094"/>
                    <a:pt x="1898" y="2086"/>
                  </a:cubicBezTo>
                  <a:cubicBezTo>
                    <a:pt x="1890" y="2086"/>
                    <a:pt x="1890" y="2086"/>
                    <a:pt x="1890" y="2086"/>
                  </a:cubicBezTo>
                  <a:cubicBezTo>
                    <a:pt x="1234" y="2039"/>
                    <a:pt x="601" y="1976"/>
                    <a:pt x="0" y="1904"/>
                  </a:cubicBezTo>
                  <a:lnTo>
                    <a:pt x="0" y="1904"/>
                  </a:lnTo>
                  <a:cubicBezTo>
                    <a:pt x="0" y="1896"/>
                    <a:pt x="0" y="1896"/>
                    <a:pt x="0" y="1896"/>
                  </a:cubicBezTo>
                  <a:cubicBezTo>
                    <a:pt x="245" y="0"/>
                    <a:pt x="245" y="0"/>
                    <a:pt x="245" y="0"/>
                  </a:cubicBezTo>
                  <a:lnTo>
                    <a:pt x="245" y="0"/>
                  </a:lnTo>
                  <a:cubicBezTo>
                    <a:pt x="261" y="0"/>
                    <a:pt x="1945" y="222"/>
                    <a:pt x="2514" y="222"/>
                  </a:cubicBezTo>
                  <a:cubicBezTo>
                    <a:pt x="2569" y="222"/>
                    <a:pt x="2617" y="222"/>
                    <a:pt x="2649" y="222"/>
                  </a:cubicBezTo>
                  <a:cubicBezTo>
                    <a:pt x="2649" y="222"/>
                    <a:pt x="2656" y="214"/>
                    <a:pt x="2664" y="214"/>
                  </a:cubicBezTo>
                  <a:cubicBezTo>
                    <a:pt x="2688" y="214"/>
                    <a:pt x="2720" y="222"/>
                    <a:pt x="2728" y="269"/>
                  </a:cubicBezTo>
                  <a:cubicBezTo>
                    <a:pt x="2736" y="324"/>
                    <a:pt x="2664" y="1454"/>
                    <a:pt x="2633" y="2126"/>
                  </a:cubicBezTo>
                  <a:lnTo>
                    <a:pt x="2633" y="2126"/>
                  </a:lnTo>
                  <a:lnTo>
                    <a:pt x="8" y="1896"/>
                  </a:lnTo>
                  <a:lnTo>
                    <a:pt x="8" y="1896"/>
                  </a:lnTo>
                  <a:cubicBezTo>
                    <a:pt x="601" y="1968"/>
                    <a:pt x="1241" y="2031"/>
                    <a:pt x="1890" y="2078"/>
                  </a:cubicBezTo>
                  <a:cubicBezTo>
                    <a:pt x="1898" y="2078"/>
                    <a:pt x="1898" y="2078"/>
                    <a:pt x="1898" y="2078"/>
                  </a:cubicBezTo>
                  <a:cubicBezTo>
                    <a:pt x="2016" y="2086"/>
                    <a:pt x="2143" y="2094"/>
                    <a:pt x="2253" y="2102"/>
                  </a:cubicBezTo>
                  <a:cubicBezTo>
                    <a:pt x="2380" y="2110"/>
                    <a:pt x="2498" y="2110"/>
                    <a:pt x="2625" y="2118"/>
                  </a:cubicBezTo>
                  <a:cubicBezTo>
                    <a:pt x="2664" y="1446"/>
                    <a:pt x="2728" y="324"/>
                    <a:pt x="2720" y="277"/>
                  </a:cubicBezTo>
                  <a:cubicBezTo>
                    <a:pt x="2712" y="229"/>
                    <a:pt x="2688" y="222"/>
                    <a:pt x="2664" y="222"/>
                  </a:cubicBezTo>
                  <a:cubicBezTo>
                    <a:pt x="2656" y="222"/>
                    <a:pt x="2649" y="229"/>
                    <a:pt x="2649" y="229"/>
                  </a:cubicBezTo>
                  <a:cubicBezTo>
                    <a:pt x="2617" y="229"/>
                    <a:pt x="2569" y="229"/>
                    <a:pt x="2514" y="229"/>
                  </a:cubicBezTo>
                  <a:cubicBezTo>
                    <a:pt x="1961" y="229"/>
                    <a:pt x="340" y="16"/>
                    <a:pt x="245" y="8"/>
                  </a:cubicBezTo>
                  <a:cubicBezTo>
                    <a:pt x="8" y="1896"/>
                    <a:pt x="8" y="1896"/>
                    <a:pt x="8" y="1896"/>
                  </a:cubicBezTo>
                  <a:lnTo>
                    <a:pt x="2633" y="2126"/>
                  </a:lnTo>
                </a:path>
              </a:pathLst>
            </a:custGeom>
            <a:solidFill>
              <a:schemeClr val="accent6"/>
            </a:solidFill>
            <a:ln>
              <a:solidFill>
                <a:schemeClr val="bg2"/>
              </a:solidFill>
            </a:ln>
            <a:effectLst/>
          </p:spPr>
          <p:txBody>
            <a:bodyPr wrap="none" anchor="ctr"/>
            <a:lstStyle/>
            <a:p>
              <a:endParaRPr lang="en-US"/>
            </a:p>
          </p:txBody>
        </p:sp>
        <p:sp>
          <p:nvSpPr>
            <p:cNvPr id="26" name="Freeform 129"/>
            <p:cNvSpPr>
              <a:spLocks noChangeArrowheads="1"/>
            </p:cNvSpPr>
            <p:nvPr/>
          </p:nvSpPr>
          <p:spPr bwMode="auto">
            <a:xfrm>
              <a:off x="1100545" y="2807214"/>
              <a:ext cx="869863" cy="1148514"/>
            </a:xfrm>
            <a:custGeom>
              <a:avLst/>
              <a:gdLst>
                <a:gd name="T0" fmla="*/ 356 w 2412"/>
                <a:gd name="T1" fmla="*/ 0 h 3676"/>
                <a:gd name="T2" fmla="*/ 356 w 2412"/>
                <a:gd name="T3" fmla="*/ 0 h 3676"/>
                <a:gd name="T4" fmla="*/ 0 w 2412"/>
                <a:gd name="T5" fmla="*/ 1391 h 3676"/>
                <a:gd name="T6" fmla="*/ 1597 w 2412"/>
                <a:gd name="T7" fmla="*/ 3675 h 3676"/>
                <a:gd name="T8" fmla="*/ 1605 w 2412"/>
                <a:gd name="T9" fmla="*/ 3627 h 3676"/>
                <a:gd name="T10" fmla="*/ 1652 w 2412"/>
                <a:gd name="T11" fmla="*/ 3564 h 3676"/>
                <a:gd name="T12" fmla="*/ 1629 w 2412"/>
                <a:gd name="T13" fmla="*/ 3446 h 3676"/>
                <a:gd name="T14" fmla="*/ 1660 w 2412"/>
                <a:gd name="T15" fmla="*/ 3359 h 3676"/>
                <a:gd name="T16" fmla="*/ 1668 w 2412"/>
                <a:gd name="T17" fmla="*/ 3272 h 3676"/>
                <a:gd name="T18" fmla="*/ 1668 w 2412"/>
                <a:gd name="T19" fmla="*/ 3209 h 3676"/>
                <a:gd name="T20" fmla="*/ 1692 w 2412"/>
                <a:gd name="T21" fmla="*/ 3137 h 3676"/>
                <a:gd name="T22" fmla="*/ 1802 w 2412"/>
                <a:gd name="T23" fmla="*/ 3169 h 3676"/>
                <a:gd name="T24" fmla="*/ 1842 w 2412"/>
                <a:gd name="T25" fmla="*/ 3224 h 3676"/>
                <a:gd name="T26" fmla="*/ 1897 w 2412"/>
                <a:gd name="T27" fmla="*/ 3169 h 3676"/>
                <a:gd name="T28" fmla="*/ 2000 w 2412"/>
                <a:gd name="T29" fmla="*/ 2758 h 3676"/>
                <a:gd name="T30" fmla="*/ 2000 w 2412"/>
                <a:gd name="T31" fmla="*/ 2758 h 3676"/>
                <a:gd name="T32" fmla="*/ 2000 w 2412"/>
                <a:gd name="T33" fmla="*/ 2758 h 3676"/>
                <a:gd name="T34" fmla="*/ 2008 w 2412"/>
                <a:gd name="T35" fmla="*/ 2758 h 3676"/>
                <a:gd name="T36" fmla="*/ 2411 w 2412"/>
                <a:gd name="T37" fmla="*/ 443 h 3676"/>
                <a:gd name="T38" fmla="*/ 356 w 2412"/>
                <a:gd name="T39" fmla="*/ 0 h 3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12" h="3676">
                  <a:moveTo>
                    <a:pt x="356" y="0"/>
                  </a:moveTo>
                  <a:lnTo>
                    <a:pt x="356" y="0"/>
                  </a:lnTo>
                  <a:cubicBezTo>
                    <a:pt x="0" y="1391"/>
                    <a:pt x="0" y="1391"/>
                    <a:pt x="0" y="1391"/>
                  </a:cubicBezTo>
                  <a:cubicBezTo>
                    <a:pt x="1597" y="3675"/>
                    <a:pt x="1597" y="3675"/>
                    <a:pt x="1597" y="3675"/>
                  </a:cubicBezTo>
                  <a:cubicBezTo>
                    <a:pt x="1597" y="3651"/>
                    <a:pt x="1589" y="3643"/>
                    <a:pt x="1605" y="3627"/>
                  </a:cubicBezTo>
                  <a:cubicBezTo>
                    <a:pt x="1629" y="3604"/>
                    <a:pt x="1652" y="3612"/>
                    <a:pt x="1652" y="3564"/>
                  </a:cubicBezTo>
                  <a:cubicBezTo>
                    <a:pt x="1644" y="3509"/>
                    <a:pt x="1629" y="3493"/>
                    <a:pt x="1629" y="3446"/>
                  </a:cubicBezTo>
                  <a:cubicBezTo>
                    <a:pt x="1629" y="3398"/>
                    <a:pt x="1668" y="3406"/>
                    <a:pt x="1660" y="3359"/>
                  </a:cubicBezTo>
                  <a:cubicBezTo>
                    <a:pt x="1652" y="3311"/>
                    <a:pt x="1652" y="3288"/>
                    <a:pt x="1668" y="3272"/>
                  </a:cubicBezTo>
                  <a:cubicBezTo>
                    <a:pt x="1676" y="3256"/>
                    <a:pt x="1676" y="3240"/>
                    <a:pt x="1668" y="3209"/>
                  </a:cubicBezTo>
                  <a:cubicBezTo>
                    <a:pt x="1660" y="3169"/>
                    <a:pt x="1636" y="3145"/>
                    <a:pt x="1692" y="3137"/>
                  </a:cubicBezTo>
                  <a:cubicBezTo>
                    <a:pt x="1755" y="3137"/>
                    <a:pt x="1779" y="3137"/>
                    <a:pt x="1802" y="3169"/>
                  </a:cubicBezTo>
                  <a:cubicBezTo>
                    <a:pt x="1818" y="3209"/>
                    <a:pt x="1802" y="3240"/>
                    <a:pt x="1842" y="3224"/>
                  </a:cubicBezTo>
                  <a:cubicBezTo>
                    <a:pt x="1882" y="3201"/>
                    <a:pt x="1889" y="3193"/>
                    <a:pt x="1897" y="3169"/>
                  </a:cubicBezTo>
                  <a:cubicBezTo>
                    <a:pt x="1913" y="3137"/>
                    <a:pt x="2000" y="2782"/>
                    <a:pt x="2000" y="2758"/>
                  </a:cubicBezTo>
                  <a:lnTo>
                    <a:pt x="2000" y="2758"/>
                  </a:lnTo>
                  <a:lnTo>
                    <a:pt x="2000" y="2758"/>
                  </a:lnTo>
                  <a:cubicBezTo>
                    <a:pt x="2000" y="2758"/>
                    <a:pt x="2000" y="2758"/>
                    <a:pt x="2008" y="2758"/>
                  </a:cubicBezTo>
                  <a:cubicBezTo>
                    <a:pt x="2411" y="443"/>
                    <a:pt x="2411" y="443"/>
                    <a:pt x="2411" y="443"/>
                  </a:cubicBezTo>
                  <a:cubicBezTo>
                    <a:pt x="1652" y="300"/>
                    <a:pt x="941" y="142"/>
                    <a:pt x="356" y="0"/>
                  </a:cubicBezTo>
                </a:path>
              </a:pathLst>
            </a:custGeom>
            <a:solidFill>
              <a:schemeClr val="accent6"/>
            </a:solidFill>
            <a:ln>
              <a:solidFill>
                <a:schemeClr val="bg2"/>
              </a:solidFill>
            </a:ln>
            <a:effectLst/>
          </p:spPr>
          <p:txBody>
            <a:bodyPr wrap="none" anchor="ctr"/>
            <a:lstStyle/>
            <a:p>
              <a:endParaRPr lang="en-US"/>
            </a:p>
          </p:txBody>
        </p:sp>
        <p:sp>
          <p:nvSpPr>
            <p:cNvPr id="27" name="Freeform 130"/>
            <p:cNvSpPr>
              <a:spLocks noChangeArrowheads="1"/>
            </p:cNvSpPr>
            <p:nvPr/>
          </p:nvSpPr>
          <p:spPr bwMode="auto">
            <a:xfrm>
              <a:off x="1100545" y="2805838"/>
              <a:ext cx="869863" cy="1152645"/>
            </a:xfrm>
            <a:custGeom>
              <a:avLst/>
              <a:gdLst>
                <a:gd name="T0" fmla="*/ 1597 w 2412"/>
                <a:gd name="T1" fmla="*/ 3691 h 3692"/>
                <a:gd name="T2" fmla="*/ 348 w 2412"/>
                <a:gd name="T3" fmla="*/ 0 h 3692"/>
                <a:gd name="T4" fmla="*/ 2411 w 2412"/>
                <a:gd name="T5" fmla="*/ 451 h 3692"/>
                <a:gd name="T6" fmla="*/ 2411 w 2412"/>
                <a:gd name="T7" fmla="*/ 451 h 3692"/>
                <a:gd name="T8" fmla="*/ 2008 w 2412"/>
                <a:gd name="T9" fmla="*/ 2774 h 3692"/>
                <a:gd name="T10" fmla="*/ 1905 w 2412"/>
                <a:gd name="T11" fmla="*/ 3177 h 3692"/>
                <a:gd name="T12" fmla="*/ 1842 w 2412"/>
                <a:gd name="T13" fmla="*/ 3232 h 3692"/>
                <a:gd name="T14" fmla="*/ 1810 w 2412"/>
                <a:gd name="T15" fmla="*/ 3217 h 3692"/>
                <a:gd name="T16" fmla="*/ 1731 w 2412"/>
                <a:gd name="T17" fmla="*/ 3153 h 3692"/>
                <a:gd name="T18" fmla="*/ 1660 w 2412"/>
                <a:gd name="T19" fmla="*/ 3161 h 3692"/>
                <a:gd name="T20" fmla="*/ 1668 w 2412"/>
                <a:gd name="T21" fmla="*/ 3217 h 3692"/>
                <a:gd name="T22" fmla="*/ 1668 w 2412"/>
                <a:gd name="T23" fmla="*/ 3280 h 3692"/>
                <a:gd name="T24" fmla="*/ 1644 w 2412"/>
                <a:gd name="T25" fmla="*/ 3414 h 3692"/>
                <a:gd name="T26" fmla="*/ 1644 w 2412"/>
                <a:gd name="T27" fmla="*/ 3509 h 3692"/>
                <a:gd name="T28" fmla="*/ 1629 w 2412"/>
                <a:gd name="T29" fmla="*/ 3620 h 3692"/>
                <a:gd name="T30" fmla="*/ 1597 w 2412"/>
                <a:gd name="T31" fmla="*/ 3675 h 3692"/>
                <a:gd name="T32" fmla="*/ 8 w 2412"/>
                <a:gd name="T33" fmla="*/ 1399 h 3692"/>
                <a:gd name="T34" fmla="*/ 1589 w 2412"/>
                <a:gd name="T35" fmla="*/ 3675 h 3692"/>
                <a:gd name="T36" fmla="*/ 1629 w 2412"/>
                <a:gd name="T37" fmla="*/ 3612 h 3692"/>
                <a:gd name="T38" fmla="*/ 1636 w 2412"/>
                <a:gd name="T39" fmla="*/ 3517 h 3692"/>
                <a:gd name="T40" fmla="*/ 1644 w 2412"/>
                <a:gd name="T41" fmla="*/ 3406 h 3692"/>
                <a:gd name="T42" fmla="*/ 1668 w 2412"/>
                <a:gd name="T43" fmla="*/ 3280 h 3692"/>
                <a:gd name="T44" fmla="*/ 1660 w 2412"/>
                <a:gd name="T45" fmla="*/ 3217 h 3692"/>
                <a:gd name="T46" fmla="*/ 1652 w 2412"/>
                <a:gd name="T47" fmla="*/ 3161 h 3692"/>
                <a:gd name="T48" fmla="*/ 1731 w 2412"/>
                <a:gd name="T49" fmla="*/ 3145 h 3692"/>
                <a:gd name="T50" fmla="*/ 1818 w 2412"/>
                <a:gd name="T51" fmla="*/ 3217 h 3692"/>
                <a:gd name="T52" fmla="*/ 1842 w 2412"/>
                <a:gd name="T53" fmla="*/ 3224 h 3692"/>
                <a:gd name="T54" fmla="*/ 1897 w 2412"/>
                <a:gd name="T55" fmla="*/ 3169 h 3692"/>
                <a:gd name="T56" fmla="*/ 2000 w 2412"/>
                <a:gd name="T57" fmla="*/ 2766 h 3692"/>
                <a:gd name="T58" fmla="*/ 2000 w 2412"/>
                <a:gd name="T59" fmla="*/ 2766 h 3692"/>
                <a:gd name="T60" fmla="*/ 356 w 2412"/>
                <a:gd name="T61" fmla="*/ 16 h 3692"/>
                <a:gd name="T62" fmla="*/ 1597 w 2412"/>
                <a:gd name="T63" fmla="*/ 3691 h 3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2" h="3692">
                  <a:moveTo>
                    <a:pt x="1597" y="3691"/>
                  </a:moveTo>
                  <a:lnTo>
                    <a:pt x="1597" y="3691"/>
                  </a:lnTo>
                  <a:cubicBezTo>
                    <a:pt x="0" y="1399"/>
                    <a:pt x="0" y="1399"/>
                    <a:pt x="0" y="1399"/>
                  </a:cubicBezTo>
                  <a:cubicBezTo>
                    <a:pt x="348" y="0"/>
                    <a:pt x="348" y="0"/>
                    <a:pt x="348" y="0"/>
                  </a:cubicBezTo>
                  <a:cubicBezTo>
                    <a:pt x="356" y="8"/>
                    <a:pt x="356" y="8"/>
                    <a:pt x="356" y="8"/>
                  </a:cubicBezTo>
                  <a:cubicBezTo>
                    <a:pt x="1067" y="174"/>
                    <a:pt x="1755" y="324"/>
                    <a:pt x="2411" y="451"/>
                  </a:cubicBezTo>
                  <a:lnTo>
                    <a:pt x="2411" y="451"/>
                  </a:lnTo>
                  <a:lnTo>
                    <a:pt x="2411" y="451"/>
                  </a:lnTo>
                  <a:cubicBezTo>
                    <a:pt x="2008" y="2774"/>
                    <a:pt x="2008" y="2774"/>
                    <a:pt x="2008" y="2774"/>
                  </a:cubicBezTo>
                  <a:lnTo>
                    <a:pt x="2008" y="2774"/>
                  </a:lnTo>
                  <a:lnTo>
                    <a:pt x="2000" y="2774"/>
                  </a:lnTo>
                  <a:cubicBezTo>
                    <a:pt x="2000" y="2813"/>
                    <a:pt x="1913" y="3145"/>
                    <a:pt x="1905" y="3177"/>
                  </a:cubicBezTo>
                  <a:cubicBezTo>
                    <a:pt x="1889" y="3201"/>
                    <a:pt x="1882" y="3209"/>
                    <a:pt x="1850" y="3224"/>
                  </a:cubicBezTo>
                  <a:cubicBezTo>
                    <a:pt x="1842" y="3232"/>
                    <a:pt x="1842" y="3232"/>
                    <a:pt x="1842" y="3232"/>
                  </a:cubicBezTo>
                  <a:cubicBezTo>
                    <a:pt x="1834" y="3240"/>
                    <a:pt x="1834" y="3240"/>
                    <a:pt x="1826" y="3240"/>
                  </a:cubicBezTo>
                  <a:cubicBezTo>
                    <a:pt x="1810" y="3240"/>
                    <a:pt x="1810" y="3232"/>
                    <a:pt x="1810" y="3217"/>
                  </a:cubicBezTo>
                  <a:cubicBezTo>
                    <a:pt x="1802" y="3209"/>
                    <a:pt x="1802" y="3193"/>
                    <a:pt x="1795" y="3185"/>
                  </a:cubicBezTo>
                  <a:cubicBezTo>
                    <a:pt x="1779" y="3161"/>
                    <a:pt x="1763" y="3153"/>
                    <a:pt x="1731" y="3153"/>
                  </a:cubicBezTo>
                  <a:cubicBezTo>
                    <a:pt x="1723" y="3153"/>
                    <a:pt x="1708" y="3153"/>
                    <a:pt x="1692" y="3153"/>
                  </a:cubicBezTo>
                  <a:cubicBezTo>
                    <a:pt x="1676" y="3153"/>
                    <a:pt x="1668" y="3153"/>
                    <a:pt x="1660" y="3161"/>
                  </a:cubicBezTo>
                  <a:cubicBezTo>
                    <a:pt x="1652" y="3169"/>
                    <a:pt x="1660" y="3185"/>
                    <a:pt x="1660" y="3201"/>
                  </a:cubicBezTo>
                  <a:cubicBezTo>
                    <a:pt x="1668" y="3201"/>
                    <a:pt x="1668" y="3209"/>
                    <a:pt x="1668" y="3217"/>
                  </a:cubicBezTo>
                  <a:cubicBezTo>
                    <a:pt x="1668" y="3224"/>
                    <a:pt x="1668" y="3224"/>
                    <a:pt x="1668" y="3224"/>
                  </a:cubicBezTo>
                  <a:cubicBezTo>
                    <a:pt x="1676" y="3248"/>
                    <a:pt x="1684" y="3264"/>
                    <a:pt x="1668" y="3280"/>
                  </a:cubicBezTo>
                  <a:cubicBezTo>
                    <a:pt x="1660" y="3296"/>
                    <a:pt x="1652" y="3319"/>
                    <a:pt x="1660" y="3367"/>
                  </a:cubicBezTo>
                  <a:cubicBezTo>
                    <a:pt x="1668" y="3391"/>
                    <a:pt x="1652" y="3406"/>
                    <a:pt x="1644" y="3414"/>
                  </a:cubicBezTo>
                  <a:cubicBezTo>
                    <a:pt x="1636" y="3422"/>
                    <a:pt x="1629" y="3430"/>
                    <a:pt x="1629" y="3454"/>
                  </a:cubicBezTo>
                  <a:cubicBezTo>
                    <a:pt x="1629" y="3477"/>
                    <a:pt x="1636" y="3493"/>
                    <a:pt x="1644" y="3509"/>
                  </a:cubicBezTo>
                  <a:cubicBezTo>
                    <a:pt x="1644" y="3525"/>
                    <a:pt x="1652" y="3541"/>
                    <a:pt x="1652" y="3572"/>
                  </a:cubicBezTo>
                  <a:cubicBezTo>
                    <a:pt x="1660" y="3604"/>
                    <a:pt x="1644" y="3612"/>
                    <a:pt x="1629" y="3620"/>
                  </a:cubicBezTo>
                  <a:cubicBezTo>
                    <a:pt x="1629" y="3628"/>
                    <a:pt x="1621" y="3628"/>
                    <a:pt x="1613" y="3635"/>
                  </a:cubicBezTo>
                  <a:cubicBezTo>
                    <a:pt x="1597" y="3651"/>
                    <a:pt x="1597" y="3659"/>
                    <a:pt x="1597" y="3675"/>
                  </a:cubicBezTo>
                  <a:cubicBezTo>
                    <a:pt x="1597" y="3691"/>
                    <a:pt x="1597" y="3691"/>
                    <a:pt x="1597" y="3691"/>
                  </a:cubicBezTo>
                  <a:lnTo>
                    <a:pt x="8" y="1399"/>
                  </a:lnTo>
                  <a:lnTo>
                    <a:pt x="8" y="1399"/>
                  </a:lnTo>
                  <a:cubicBezTo>
                    <a:pt x="1589" y="3675"/>
                    <a:pt x="1589" y="3675"/>
                    <a:pt x="1589" y="3675"/>
                  </a:cubicBezTo>
                  <a:cubicBezTo>
                    <a:pt x="1589" y="3659"/>
                    <a:pt x="1589" y="3644"/>
                    <a:pt x="1605" y="3628"/>
                  </a:cubicBezTo>
                  <a:cubicBezTo>
                    <a:pt x="1613" y="3620"/>
                    <a:pt x="1621" y="3620"/>
                    <a:pt x="1629" y="3612"/>
                  </a:cubicBezTo>
                  <a:cubicBezTo>
                    <a:pt x="1644" y="3604"/>
                    <a:pt x="1652" y="3604"/>
                    <a:pt x="1644" y="3572"/>
                  </a:cubicBezTo>
                  <a:cubicBezTo>
                    <a:pt x="1644" y="3549"/>
                    <a:pt x="1636" y="3533"/>
                    <a:pt x="1636" y="3517"/>
                  </a:cubicBezTo>
                  <a:cubicBezTo>
                    <a:pt x="1629" y="3501"/>
                    <a:pt x="1621" y="3485"/>
                    <a:pt x="1621" y="3454"/>
                  </a:cubicBezTo>
                  <a:cubicBezTo>
                    <a:pt x="1621" y="3430"/>
                    <a:pt x="1636" y="3422"/>
                    <a:pt x="1644" y="3406"/>
                  </a:cubicBezTo>
                  <a:cubicBezTo>
                    <a:pt x="1652" y="3398"/>
                    <a:pt x="1660" y="3391"/>
                    <a:pt x="1652" y="3367"/>
                  </a:cubicBezTo>
                  <a:cubicBezTo>
                    <a:pt x="1644" y="3319"/>
                    <a:pt x="1652" y="3296"/>
                    <a:pt x="1668" y="3280"/>
                  </a:cubicBezTo>
                  <a:cubicBezTo>
                    <a:pt x="1676" y="3264"/>
                    <a:pt x="1668" y="3248"/>
                    <a:pt x="1660" y="3224"/>
                  </a:cubicBezTo>
                  <a:cubicBezTo>
                    <a:pt x="1660" y="3217"/>
                    <a:pt x="1660" y="3217"/>
                    <a:pt x="1660" y="3217"/>
                  </a:cubicBezTo>
                  <a:cubicBezTo>
                    <a:pt x="1660" y="3209"/>
                    <a:pt x="1660" y="3201"/>
                    <a:pt x="1660" y="3201"/>
                  </a:cubicBezTo>
                  <a:cubicBezTo>
                    <a:pt x="1652" y="3185"/>
                    <a:pt x="1644" y="3169"/>
                    <a:pt x="1652" y="3161"/>
                  </a:cubicBezTo>
                  <a:cubicBezTo>
                    <a:pt x="1660" y="3153"/>
                    <a:pt x="1676" y="3145"/>
                    <a:pt x="1692" y="3145"/>
                  </a:cubicBezTo>
                  <a:cubicBezTo>
                    <a:pt x="1708" y="3145"/>
                    <a:pt x="1723" y="3145"/>
                    <a:pt x="1731" y="3145"/>
                  </a:cubicBezTo>
                  <a:cubicBezTo>
                    <a:pt x="1763" y="3145"/>
                    <a:pt x="1787" y="3145"/>
                    <a:pt x="1802" y="3177"/>
                  </a:cubicBezTo>
                  <a:cubicBezTo>
                    <a:pt x="1810" y="3193"/>
                    <a:pt x="1810" y="3201"/>
                    <a:pt x="1818" y="3217"/>
                  </a:cubicBezTo>
                  <a:cubicBezTo>
                    <a:pt x="1818" y="3224"/>
                    <a:pt x="1818" y="3232"/>
                    <a:pt x="1826" y="3232"/>
                  </a:cubicBezTo>
                  <a:cubicBezTo>
                    <a:pt x="1826" y="3232"/>
                    <a:pt x="1834" y="3232"/>
                    <a:pt x="1842" y="3224"/>
                  </a:cubicBezTo>
                  <a:cubicBezTo>
                    <a:pt x="1850" y="3224"/>
                    <a:pt x="1850" y="3224"/>
                    <a:pt x="1850" y="3224"/>
                  </a:cubicBezTo>
                  <a:cubicBezTo>
                    <a:pt x="1882" y="3201"/>
                    <a:pt x="1889" y="3201"/>
                    <a:pt x="1897" y="3169"/>
                  </a:cubicBezTo>
                  <a:cubicBezTo>
                    <a:pt x="1913" y="3145"/>
                    <a:pt x="1992" y="2790"/>
                    <a:pt x="1992" y="2766"/>
                  </a:cubicBezTo>
                  <a:cubicBezTo>
                    <a:pt x="1992" y="2766"/>
                    <a:pt x="1992" y="2766"/>
                    <a:pt x="2000" y="2766"/>
                  </a:cubicBezTo>
                  <a:lnTo>
                    <a:pt x="2000" y="2766"/>
                  </a:lnTo>
                  <a:lnTo>
                    <a:pt x="2000" y="2766"/>
                  </a:lnTo>
                  <a:cubicBezTo>
                    <a:pt x="2403" y="451"/>
                    <a:pt x="2403" y="451"/>
                    <a:pt x="2403" y="451"/>
                  </a:cubicBezTo>
                  <a:cubicBezTo>
                    <a:pt x="1755" y="332"/>
                    <a:pt x="1067" y="182"/>
                    <a:pt x="356" y="16"/>
                  </a:cubicBezTo>
                  <a:cubicBezTo>
                    <a:pt x="8" y="1399"/>
                    <a:pt x="8" y="1399"/>
                    <a:pt x="8" y="1399"/>
                  </a:cubicBezTo>
                  <a:lnTo>
                    <a:pt x="1597" y="3691"/>
                  </a:lnTo>
                </a:path>
              </a:pathLst>
            </a:custGeom>
            <a:solidFill>
              <a:schemeClr val="accent6"/>
            </a:solidFill>
            <a:ln>
              <a:solidFill>
                <a:schemeClr val="bg2"/>
              </a:solidFill>
            </a:ln>
            <a:effectLst/>
          </p:spPr>
          <p:txBody>
            <a:bodyPr wrap="none" anchor="ctr"/>
            <a:lstStyle/>
            <a:p>
              <a:endParaRPr lang="en-US"/>
            </a:p>
          </p:txBody>
        </p:sp>
        <p:sp>
          <p:nvSpPr>
            <p:cNvPr id="28" name="Freeform 132"/>
            <p:cNvSpPr>
              <a:spLocks noChangeArrowheads="1"/>
            </p:cNvSpPr>
            <p:nvPr/>
          </p:nvSpPr>
          <p:spPr bwMode="auto">
            <a:xfrm>
              <a:off x="1822515" y="2946303"/>
              <a:ext cx="747414" cy="816629"/>
            </a:xfrm>
            <a:custGeom>
              <a:avLst/>
              <a:gdLst>
                <a:gd name="T0" fmla="*/ 1826 w 2072"/>
                <a:gd name="T1" fmla="*/ 2615 h 2616"/>
                <a:gd name="T2" fmla="*/ 1826 w 2072"/>
                <a:gd name="T3" fmla="*/ 2615 h 2616"/>
                <a:gd name="T4" fmla="*/ 1826 w 2072"/>
                <a:gd name="T5" fmla="*/ 2615 h 2616"/>
                <a:gd name="T6" fmla="*/ 119 w 2072"/>
                <a:gd name="T7" fmla="*/ 2339 h 2616"/>
                <a:gd name="T8" fmla="*/ 48 w 2072"/>
                <a:gd name="T9" fmla="*/ 2331 h 2616"/>
                <a:gd name="T10" fmla="*/ 48 w 2072"/>
                <a:gd name="T11" fmla="*/ 2331 h 2616"/>
                <a:gd name="T12" fmla="*/ 32 w 2072"/>
                <a:gd name="T13" fmla="*/ 2323 h 2616"/>
                <a:gd name="T14" fmla="*/ 24 w 2072"/>
                <a:gd name="T15" fmla="*/ 2323 h 2616"/>
                <a:gd name="T16" fmla="*/ 8 w 2072"/>
                <a:gd name="T17" fmla="*/ 2323 h 2616"/>
                <a:gd name="T18" fmla="*/ 0 w 2072"/>
                <a:gd name="T19" fmla="*/ 2323 h 2616"/>
                <a:gd name="T20" fmla="*/ 403 w 2072"/>
                <a:gd name="T21" fmla="*/ 0 h 2616"/>
                <a:gd name="T22" fmla="*/ 411 w 2072"/>
                <a:gd name="T23" fmla="*/ 0 h 2616"/>
                <a:gd name="T24" fmla="*/ 1423 w 2072"/>
                <a:gd name="T25" fmla="*/ 166 h 2616"/>
                <a:gd name="T26" fmla="*/ 1423 w 2072"/>
                <a:gd name="T27" fmla="*/ 166 h 2616"/>
                <a:gd name="T28" fmla="*/ 1360 w 2072"/>
                <a:gd name="T29" fmla="*/ 624 h 2616"/>
                <a:gd name="T30" fmla="*/ 2048 w 2072"/>
                <a:gd name="T31" fmla="*/ 703 h 2616"/>
                <a:gd name="T32" fmla="*/ 2071 w 2072"/>
                <a:gd name="T33" fmla="*/ 735 h 2616"/>
                <a:gd name="T34" fmla="*/ 1826 w 2072"/>
                <a:gd name="T35" fmla="*/ 2615 h 2616"/>
                <a:gd name="T36" fmla="*/ 8 w 2072"/>
                <a:gd name="T37" fmla="*/ 2315 h 2616"/>
                <a:gd name="T38" fmla="*/ 8 w 2072"/>
                <a:gd name="T39" fmla="*/ 2315 h 2616"/>
                <a:gd name="T40" fmla="*/ 32 w 2072"/>
                <a:gd name="T41" fmla="*/ 2315 h 2616"/>
                <a:gd name="T42" fmla="*/ 32 w 2072"/>
                <a:gd name="T43" fmla="*/ 2315 h 2616"/>
                <a:gd name="T44" fmla="*/ 48 w 2072"/>
                <a:gd name="T45" fmla="*/ 2323 h 2616"/>
                <a:gd name="T46" fmla="*/ 48 w 2072"/>
                <a:gd name="T47" fmla="*/ 2323 h 2616"/>
                <a:gd name="T48" fmla="*/ 119 w 2072"/>
                <a:gd name="T49" fmla="*/ 2339 h 2616"/>
                <a:gd name="T50" fmla="*/ 1826 w 2072"/>
                <a:gd name="T51" fmla="*/ 2607 h 2616"/>
                <a:gd name="T52" fmla="*/ 2064 w 2072"/>
                <a:gd name="T53" fmla="*/ 735 h 2616"/>
                <a:gd name="T54" fmla="*/ 2048 w 2072"/>
                <a:gd name="T55" fmla="*/ 711 h 2616"/>
                <a:gd name="T56" fmla="*/ 1352 w 2072"/>
                <a:gd name="T57" fmla="*/ 632 h 2616"/>
                <a:gd name="T58" fmla="*/ 1415 w 2072"/>
                <a:gd name="T59" fmla="*/ 174 h 2616"/>
                <a:gd name="T60" fmla="*/ 411 w 2072"/>
                <a:gd name="T61" fmla="*/ 8 h 2616"/>
                <a:gd name="T62" fmla="*/ 8 w 2072"/>
                <a:gd name="T63" fmla="*/ 2315 h 2616"/>
                <a:gd name="T64" fmla="*/ 1826 w 2072"/>
                <a:gd name="T65" fmla="*/ 2615 h 2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72" h="2616">
                  <a:moveTo>
                    <a:pt x="1826" y="2615"/>
                  </a:moveTo>
                  <a:lnTo>
                    <a:pt x="1826" y="2615"/>
                  </a:lnTo>
                  <a:lnTo>
                    <a:pt x="1826" y="2615"/>
                  </a:lnTo>
                  <a:cubicBezTo>
                    <a:pt x="925" y="2497"/>
                    <a:pt x="356" y="2386"/>
                    <a:pt x="119" y="2339"/>
                  </a:cubicBezTo>
                  <a:cubicBezTo>
                    <a:pt x="87" y="2339"/>
                    <a:pt x="63" y="2331"/>
                    <a:pt x="48" y="2331"/>
                  </a:cubicBezTo>
                  <a:lnTo>
                    <a:pt x="48" y="2331"/>
                  </a:lnTo>
                  <a:cubicBezTo>
                    <a:pt x="40" y="2331"/>
                    <a:pt x="40" y="2323"/>
                    <a:pt x="32" y="2323"/>
                  </a:cubicBezTo>
                  <a:cubicBezTo>
                    <a:pt x="24" y="2323"/>
                    <a:pt x="24" y="2323"/>
                    <a:pt x="24" y="2323"/>
                  </a:cubicBezTo>
                  <a:cubicBezTo>
                    <a:pt x="16" y="2323"/>
                    <a:pt x="8" y="2323"/>
                    <a:pt x="8" y="2323"/>
                  </a:cubicBezTo>
                  <a:cubicBezTo>
                    <a:pt x="0" y="2323"/>
                    <a:pt x="0" y="2323"/>
                    <a:pt x="0" y="2323"/>
                  </a:cubicBezTo>
                  <a:cubicBezTo>
                    <a:pt x="403" y="0"/>
                    <a:pt x="403" y="0"/>
                    <a:pt x="403" y="0"/>
                  </a:cubicBezTo>
                  <a:cubicBezTo>
                    <a:pt x="411" y="0"/>
                    <a:pt x="411" y="0"/>
                    <a:pt x="411" y="0"/>
                  </a:cubicBezTo>
                  <a:cubicBezTo>
                    <a:pt x="759" y="63"/>
                    <a:pt x="1099" y="118"/>
                    <a:pt x="1423" y="166"/>
                  </a:cubicBezTo>
                  <a:lnTo>
                    <a:pt x="1423" y="166"/>
                  </a:lnTo>
                  <a:cubicBezTo>
                    <a:pt x="1360" y="624"/>
                    <a:pt x="1360" y="624"/>
                    <a:pt x="1360" y="624"/>
                  </a:cubicBezTo>
                  <a:cubicBezTo>
                    <a:pt x="2048" y="703"/>
                    <a:pt x="2048" y="703"/>
                    <a:pt x="2048" y="703"/>
                  </a:cubicBezTo>
                  <a:cubicBezTo>
                    <a:pt x="2071" y="735"/>
                    <a:pt x="2071" y="735"/>
                    <a:pt x="2071" y="735"/>
                  </a:cubicBezTo>
                  <a:cubicBezTo>
                    <a:pt x="1826" y="2615"/>
                    <a:pt x="1826" y="2615"/>
                    <a:pt x="1826" y="2615"/>
                  </a:cubicBezTo>
                  <a:lnTo>
                    <a:pt x="8" y="2315"/>
                  </a:lnTo>
                  <a:lnTo>
                    <a:pt x="8" y="2315"/>
                  </a:lnTo>
                  <a:cubicBezTo>
                    <a:pt x="16" y="2315"/>
                    <a:pt x="24" y="2315"/>
                    <a:pt x="32" y="2315"/>
                  </a:cubicBezTo>
                  <a:lnTo>
                    <a:pt x="32" y="2315"/>
                  </a:lnTo>
                  <a:cubicBezTo>
                    <a:pt x="40" y="2323"/>
                    <a:pt x="40" y="2323"/>
                    <a:pt x="48" y="2323"/>
                  </a:cubicBezTo>
                  <a:lnTo>
                    <a:pt x="48" y="2323"/>
                  </a:lnTo>
                  <a:cubicBezTo>
                    <a:pt x="63" y="2323"/>
                    <a:pt x="87" y="2331"/>
                    <a:pt x="119" y="2339"/>
                  </a:cubicBezTo>
                  <a:cubicBezTo>
                    <a:pt x="356" y="2386"/>
                    <a:pt x="925" y="2497"/>
                    <a:pt x="1826" y="2607"/>
                  </a:cubicBezTo>
                  <a:cubicBezTo>
                    <a:pt x="2064" y="735"/>
                    <a:pt x="2064" y="735"/>
                    <a:pt x="2064" y="735"/>
                  </a:cubicBezTo>
                  <a:cubicBezTo>
                    <a:pt x="2048" y="711"/>
                    <a:pt x="2048" y="711"/>
                    <a:pt x="2048" y="711"/>
                  </a:cubicBezTo>
                  <a:cubicBezTo>
                    <a:pt x="1352" y="632"/>
                    <a:pt x="1352" y="632"/>
                    <a:pt x="1352" y="632"/>
                  </a:cubicBezTo>
                  <a:cubicBezTo>
                    <a:pt x="1415" y="174"/>
                    <a:pt x="1415" y="174"/>
                    <a:pt x="1415" y="174"/>
                  </a:cubicBezTo>
                  <a:cubicBezTo>
                    <a:pt x="1099" y="126"/>
                    <a:pt x="759" y="71"/>
                    <a:pt x="411" y="8"/>
                  </a:cubicBezTo>
                  <a:cubicBezTo>
                    <a:pt x="8" y="2315"/>
                    <a:pt x="8" y="2315"/>
                    <a:pt x="8" y="2315"/>
                  </a:cubicBezTo>
                  <a:lnTo>
                    <a:pt x="1826" y="2615"/>
                  </a:lnTo>
                </a:path>
              </a:pathLst>
            </a:custGeom>
            <a:solidFill>
              <a:schemeClr val="accent6"/>
            </a:solidFill>
            <a:ln>
              <a:solidFill>
                <a:schemeClr val="bg2"/>
              </a:solidFill>
            </a:ln>
            <a:effectLst/>
          </p:spPr>
          <p:txBody>
            <a:bodyPr wrap="none" anchor="ctr"/>
            <a:lstStyle/>
            <a:p>
              <a:endParaRPr lang="en-US"/>
            </a:p>
          </p:txBody>
        </p:sp>
        <p:sp>
          <p:nvSpPr>
            <p:cNvPr id="29" name="Freeform 138"/>
            <p:cNvSpPr>
              <a:spLocks noChangeArrowheads="1"/>
            </p:cNvSpPr>
            <p:nvPr/>
          </p:nvSpPr>
          <p:spPr bwMode="auto">
            <a:xfrm>
              <a:off x="1838417" y="3673419"/>
              <a:ext cx="640868" cy="86758"/>
            </a:xfrm>
            <a:custGeom>
              <a:avLst/>
              <a:gdLst>
                <a:gd name="T0" fmla="*/ 0 w 1779"/>
                <a:gd name="T1" fmla="*/ 0 h 277"/>
                <a:gd name="T2" fmla="*/ 0 w 1779"/>
                <a:gd name="T3" fmla="*/ 0 h 277"/>
                <a:gd name="T4" fmla="*/ 1778 w 1779"/>
                <a:gd name="T5" fmla="*/ 276 h 277"/>
                <a:gd name="T6" fmla="*/ 1778 w 1779"/>
                <a:gd name="T7" fmla="*/ 276 h 277"/>
                <a:gd name="T8" fmla="*/ 0 w 1779"/>
                <a:gd name="T9" fmla="*/ 0 h 277"/>
              </a:gdLst>
              <a:ahLst/>
              <a:cxnLst>
                <a:cxn ang="0">
                  <a:pos x="T0" y="T1"/>
                </a:cxn>
                <a:cxn ang="0">
                  <a:pos x="T2" y="T3"/>
                </a:cxn>
                <a:cxn ang="0">
                  <a:pos x="T4" y="T5"/>
                </a:cxn>
                <a:cxn ang="0">
                  <a:pos x="T6" y="T7"/>
                </a:cxn>
                <a:cxn ang="0">
                  <a:pos x="T8" y="T9"/>
                </a:cxn>
              </a:cxnLst>
              <a:rect l="0" t="0" r="r" b="b"/>
              <a:pathLst>
                <a:path w="1779" h="277">
                  <a:moveTo>
                    <a:pt x="0" y="0"/>
                  </a:moveTo>
                  <a:lnTo>
                    <a:pt x="0" y="0"/>
                  </a:lnTo>
                  <a:cubicBezTo>
                    <a:pt x="166" y="31"/>
                    <a:pt x="774" y="158"/>
                    <a:pt x="1778" y="276"/>
                  </a:cubicBezTo>
                  <a:lnTo>
                    <a:pt x="1778" y="276"/>
                  </a:lnTo>
                  <a:cubicBezTo>
                    <a:pt x="774" y="158"/>
                    <a:pt x="166" y="31"/>
                    <a:pt x="0" y="0"/>
                  </a:cubicBezTo>
                </a:path>
              </a:pathLst>
            </a:custGeom>
            <a:solidFill>
              <a:schemeClr val="accent6"/>
            </a:solidFill>
            <a:ln>
              <a:solidFill>
                <a:schemeClr val="bg2"/>
              </a:solidFill>
            </a:ln>
            <a:effectLst/>
          </p:spPr>
          <p:txBody>
            <a:bodyPr wrap="none" anchor="ctr"/>
            <a:lstStyle/>
            <a:p>
              <a:endParaRPr lang="en-US"/>
            </a:p>
          </p:txBody>
        </p:sp>
        <p:sp>
          <p:nvSpPr>
            <p:cNvPr id="30" name="Freeform 219"/>
            <p:cNvSpPr>
              <a:spLocks noChangeArrowheads="1"/>
            </p:cNvSpPr>
            <p:nvPr/>
          </p:nvSpPr>
          <p:spPr bwMode="auto">
            <a:xfrm>
              <a:off x="718887" y="2096623"/>
              <a:ext cx="1078184" cy="784955"/>
            </a:xfrm>
            <a:custGeom>
              <a:avLst/>
              <a:gdLst>
                <a:gd name="T0" fmla="*/ 2450 w 2989"/>
                <a:gd name="T1" fmla="*/ 601 h 2515"/>
                <a:gd name="T2" fmla="*/ 2450 w 2989"/>
                <a:gd name="T3" fmla="*/ 601 h 2515"/>
                <a:gd name="T4" fmla="*/ 2213 w 2989"/>
                <a:gd name="T5" fmla="*/ 538 h 2515"/>
                <a:gd name="T6" fmla="*/ 2102 w 2989"/>
                <a:gd name="T7" fmla="*/ 546 h 2515"/>
                <a:gd name="T8" fmla="*/ 2015 w 2989"/>
                <a:gd name="T9" fmla="*/ 538 h 2515"/>
                <a:gd name="T10" fmla="*/ 1968 w 2989"/>
                <a:gd name="T11" fmla="*/ 554 h 2515"/>
                <a:gd name="T12" fmla="*/ 1818 w 2989"/>
                <a:gd name="T13" fmla="*/ 554 h 2515"/>
                <a:gd name="T14" fmla="*/ 1707 w 2989"/>
                <a:gd name="T15" fmla="*/ 554 h 2515"/>
                <a:gd name="T16" fmla="*/ 1620 w 2989"/>
                <a:gd name="T17" fmla="*/ 522 h 2515"/>
                <a:gd name="T18" fmla="*/ 1533 w 2989"/>
                <a:gd name="T19" fmla="*/ 538 h 2515"/>
                <a:gd name="T20" fmla="*/ 1454 w 2989"/>
                <a:gd name="T21" fmla="*/ 522 h 2515"/>
                <a:gd name="T22" fmla="*/ 1415 w 2989"/>
                <a:gd name="T23" fmla="*/ 490 h 2515"/>
                <a:gd name="T24" fmla="*/ 1360 w 2989"/>
                <a:gd name="T25" fmla="*/ 459 h 2515"/>
                <a:gd name="T26" fmla="*/ 1272 w 2989"/>
                <a:gd name="T27" fmla="*/ 451 h 2515"/>
                <a:gd name="T28" fmla="*/ 1185 w 2989"/>
                <a:gd name="T29" fmla="*/ 467 h 2515"/>
                <a:gd name="T30" fmla="*/ 1059 w 2989"/>
                <a:gd name="T31" fmla="*/ 451 h 2515"/>
                <a:gd name="T32" fmla="*/ 956 w 2989"/>
                <a:gd name="T33" fmla="*/ 419 h 2515"/>
                <a:gd name="T34" fmla="*/ 948 w 2989"/>
                <a:gd name="T35" fmla="*/ 348 h 2515"/>
                <a:gd name="T36" fmla="*/ 964 w 2989"/>
                <a:gd name="T37" fmla="*/ 190 h 2515"/>
                <a:gd name="T38" fmla="*/ 877 w 2989"/>
                <a:gd name="T39" fmla="*/ 103 h 2515"/>
                <a:gd name="T40" fmla="*/ 822 w 2989"/>
                <a:gd name="T41" fmla="*/ 87 h 2515"/>
                <a:gd name="T42" fmla="*/ 790 w 2989"/>
                <a:gd name="T43" fmla="*/ 40 h 2515"/>
                <a:gd name="T44" fmla="*/ 687 w 2989"/>
                <a:gd name="T45" fmla="*/ 0 h 2515"/>
                <a:gd name="T46" fmla="*/ 687 w 2989"/>
                <a:gd name="T47" fmla="*/ 16 h 2515"/>
                <a:gd name="T48" fmla="*/ 672 w 2989"/>
                <a:gd name="T49" fmla="*/ 79 h 2515"/>
                <a:gd name="T50" fmla="*/ 664 w 2989"/>
                <a:gd name="T51" fmla="*/ 95 h 2515"/>
                <a:gd name="T52" fmla="*/ 608 w 2989"/>
                <a:gd name="T53" fmla="*/ 277 h 2515"/>
                <a:gd name="T54" fmla="*/ 545 w 2989"/>
                <a:gd name="T55" fmla="*/ 459 h 2515"/>
                <a:gd name="T56" fmla="*/ 474 w 2989"/>
                <a:gd name="T57" fmla="*/ 593 h 2515"/>
                <a:gd name="T58" fmla="*/ 442 w 2989"/>
                <a:gd name="T59" fmla="*/ 672 h 2515"/>
                <a:gd name="T60" fmla="*/ 434 w 2989"/>
                <a:gd name="T61" fmla="*/ 743 h 2515"/>
                <a:gd name="T62" fmla="*/ 419 w 2989"/>
                <a:gd name="T63" fmla="*/ 799 h 2515"/>
                <a:gd name="T64" fmla="*/ 387 w 2989"/>
                <a:gd name="T65" fmla="*/ 862 h 2515"/>
                <a:gd name="T66" fmla="*/ 300 w 2989"/>
                <a:gd name="T67" fmla="*/ 1067 h 2515"/>
                <a:gd name="T68" fmla="*/ 253 w 2989"/>
                <a:gd name="T69" fmla="*/ 1178 h 2515"/>
                <a:gd name="T70" fmla="*/ 197 w 2989"/>
                <a:gd name="T71" fmla="*/ 1249 h 2515"/>
                <a:gd name="T72" fmla="*/ 166 w 2989"/>
                <a:gd name="T73" fmla="*/ 1289 h 2515"/>
                <a:gd name="T74" fmla="*/ 102 w 2989"/>
                <a:gd name="T75" fmla="*/ 1392 h 2515"/>
                <a:gd name="T76" fmla="*/ 55 w 2989"/>
                <a:gd name="T77" fmla="*/ 1494 h 2515"/>
                <a:gd name="T78" fmla="*/ 63 w 2989"/>
                <a:gd name="T79" fmla="*/ 1605 h 2515"/>
                <a:gd name="T80" fmla="*/ 15 w 2989"/>
                <a:gd name="T81" fmla="*/ 1692 h 2515"/>
                <a:gd name="T82" fmla="*/ 39 w 2989"/>
                <a:gd name="T83" fmla="*/ 1890 h 2515"/>
                <a:gd name="T84" fmla="*/ 55 w 2989"/>
                <a:gd name="T85" fmla="*/ 1913 h 2515"/>
                <a:gd name="T86" fmla="*/ 2442 w 2989"/>
                <a:gd name="T87" fmla="*/ 2514 h 2515"/>
                <a:gd name="T88" fmla="*/ 2616 w 2989"/>
                <a:gd name="T89" fmla="*/ 1724 h 2515"/>
                <a:gd name="T90" fmla="*/ 2672 w 2989"/>
                <a:gd name="T91" fmla="*/ 1629 h 2515"/>
                <a:gd name="T92" fmla="*/ 2680 w 2989"/>
                <a:gd name="T93" fmla="*/ 1566 h 2515"/>
                <a:gd name="T94" fmla="*/ 2672 w 2989"/>
                <a:gd name="T95" fmla="*/ 1479 h 2515"/>
                <a:gd name="T96" fmla="*/ 2616 w 2989"/>
                <a:gd name="T97" fmla="*/ 1376 h 2515"/>
                <a:gd name="T98" fmla="*/ 2798 w 2989"/>
                <a:gd name="T99" fmla="*/ 1178 h 2515"/>
                <a:gd name="T100" fmla="*/ 2814 w 2989"/>
                <a:gd name="T101" fmla="*/ 1115 h 2515"/>
                <a:gd name="T102" fmla="*/ 2885 w 2989"/>
                <a:gd name="T103" fmla="*/ 1036 h 2515"/>
                <a:gd name="T104" fmla="*/ 2972 w 2989"/>
                <a:gd name="T105" fmla="*/ 917 h 2515"/>
                <a:gd name="T106" fmla="*/ 2925 w 2989"/>
                <a:gd name="T107" fmla="*/ 783 h 2515"/>
                <a:gd name="T108" fmla="*/ 2877 w 2989"/>
                <a:gd name="T109" fmla="*/ 680 h 2515"/>
                <a:gd name="T110" fmla="*/ 2869 w 2989"/>
                <a:gd name="T111" fmla="*/ 672 h 2515"/>
                <a:gd name="T112" fmla="*/ 2450 w 2989"/>
                <a:gd name="T113" fmla="*/ 601 h 2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9" h="2515">
                  <a:moveTo>
                    <a:pt x="2450" y="601"/>
                  </a:moveTo>
                  <a:lnTo>
                    <a:pt x="2450" y="601"/>
                  </a:lnTo>
                  <a:cubicBezTo>
                    <a:pt x="2395" y="570"/>
                    <a:pt x="2237" y="530"/>
                    <a:pt x="2213" y="538"/>
                  </a:cubicBezTo>
                  <a:cubicBezTo>
                    <a:pt x="2190" y="554"/>
                    <a:pt x="2126" y="554"/>
                    <a:pt x="2102" y="546"/>
                  </a:cubicBezTo>
                  <a:cubicBezTo>
                    <a:pt x="2071" y="538"/>
                    <a:pt x="2031" y="522"/>
                    <a:pt x="2015" y="538"/>
                  </a:cubicBezTo>
                  <a:cubicBezTo>
                    <a:pt x="2000" y="546"/>
                    <a:pt x="2047" y="554"/>
                    <a:pt x="1968" y="554"/>
                  </a:cubicBezTo>
                  <a:cubicBezTo>
                    <a:pt x="1897" y="546"/>
                    <a:pt x="1834" y="546"/>
                    <a:pt x="1818" y="554"/>
                  </a:cubicBezTo>
                  <a:cubicBezTo>
                    <a:pt x="1802" y="570"/>
                    <a:pt x="1731" y="585"/>
                    <a:pt x="1707" y="554"/>
                  </a:cubicBezTo>
                  <a:cubicBezTo>
                    <a:pt x="1684" y="522"/>
                    <a:pt x="1636" y="506"/>
                    <a:pt x="1620" y="522"/>
                  </a:cubicBezTo>
                  <a:cubicBezTo>
                    <a:pt x="1604" y="530"/>
                    <a:pt x="1549" y="554"/>
                    <a:pt x="1533" y="538"/>
                  </a:cubicBezTo>
                  <a:cubicBezTo>
                    <a:pt x="1518" y="514"/>
                    <a:pt x="1470" y="522"/>
                    <a:pt x="1454" y="522"/>
                  </a:cubicBezTo>
                  <a:cubicBezTo>
                    <a:pt x="1438" y="522"/>
                    <a:pt x="1438" y="514"/>
                    <a:pt x="1415" y="490"/>
                  </a:cubicBezTo>
                  <a:cubicBezTo>
                    <a:pt x="1399" y="467"/>
                    <a:pt x="1391" y="459"/>
                    <a:pt x="1360" y="459"/>
                  </a:cubicBezTo>
                  <a:cubicBezTo>
                    <a:pt x="1320" y="459"/>
                    <a:pt x="1312" y="467"/>
                    <a:pt x="1272" y="451"/>
                  </a:cubicBezTo>
                  <a:cubicBezTo>
                    <a:pt x="1233" y="427"/>
                    <a:pt x="1225" y="451"/>
                    <a:pt x="1185" y="467"/>
                  </a:cubicBezTo>
                  <a:cubicBezTo>
                    <a:pt x="1146" y="475"/>
                    <a:pt x="1083" y="475"/>
                    <a:pt x="1059" y="451"/>
                  </a:cubicBezTo>
                  <a:cubicBezTo>
                    <a:pt x="1027" y="427"/>
                    <a:pt x="972" y="427"/>
                    <a:pt x="956" y="419"/>
                  </a:cubicBezTo>
                  <a:cubicBezTo>
                    <a:pt x="940" y="403"/>
                    <a:pt x="940" y="380"/>
                    <a:pt x="948" y="348"/>
                  </a:cubicBezTo>
                  <a:cubicBezTo>
                    <a:pt x="948" y="309"/>
                    <a:pt x="996" y="230"/>
                    <a:pt x="964" y="190"/>
                  </a:cubicBezTo>
                  <a:cubicBezTo>
                    <a:pt x="940" y="143"/>
                    <a:pt x="917" y="103"/>
                    <a:pt x="877" y="103"/>
                  </a:cubicBezTo>
                  <a:cubicBezTo>
                    <a:pt x="845" y="103"/>
                    <a:pt x="830" y="127"/>
                    <a:pt x="822" y="87"/>
                  </a:cubicBezTo>
                  <a:cubicBezTo>
                    <a:pt x="814" y="48"/>
                    <a:pt x="822" y="48"/>
                    <a:pt x="790" y="40"/>
                  </a:cubicBezTo>
                  <a:cubicBezTo>
                    <a:pt x="774" y="32"/>
                    <a:pt x="727" y="16"/>
                    <a:pt x="687" y="0"/>
                  </a:cubicBezTo>
                  <a:cubicBezTo>
                    <a:pt x="687" y="0"/>
                    <a:pt x="687" y="8"/>
                    <a:pt x="687" y="16"/>
                  </a:cubicBezTo>
                  <a:cubicBezTo>
                    <a:pt x="680" y="40"/>
                    <a:pt x="680" y="56"/>
                    <a:pt x="672" y="79"/>
                  </a:cubicBezTo>
                  <a:cubicBezTo>
                    <a:pt x="664" y="95"/>
                    <a:pt x="672" y="64"/>
                    <a:pt x="664" y="95"/>
                  </a:cubicBezTo>
                  <a:cubicBezTo>
                    <a:pt x="656" y="135"/>
                    <a:pt x="616" y="222"/>
                    <a:pt x="608" y="277"/>
                  </a:cubicBezTo>
                  <a:cubicBezTo>
                    <a:pt x="592" y="325"/>
                    <a:pt x="569" y="403"/>
                    <a:pt x="545" y="459"/>
                  </a:cubicBezTo>
                  <a:cubicBezTo>
                    <a:pt x="521" y="514"/>
                    <a:pt x="490" y="538"/>
                    <a:pt x="474" y="593"/>
                  </a:cubicBezTo>
                  <a:cubicBezTo>
                    <a:pt x="458" y="649"/>
                    <a:pt x="442" y="633"/>
                    <a:pt x="442" y="672"/>
                  </a:cubicBezTo>
                  <a:cubicBezTo>
                    <a:pt x="442" y="712"/>
                    <a:pt x="450" y="720"/>
                    <a:pt x="434" y="743"/>
                  </a:cubicBezTo>
                  <a:cubicBezTo>
                    <a:pt x="419" y="759"/>
                    <a:pt x="427" y="767"/>
                    <a:pt x="419" y="799"/>
                  </a:cubicBezTo>
                  <a:cubicBezTo>
                    <a:pt x="411" y="838"/>
                    <a:pt x="403" y="799"/>
                    <a:pt x="387" y="862"/>
                  </a:cubicBezTo>
                  <a:cubicBezTo>
                    <a:pt x="363" y="925"/>
                    <a:pt x="308" y="1028"/>
                    <a:pt x="300" y="1067"/>
                  </a:cubicBezTo>
                  <a:cubicBezTo>
                    <a:pt x="284" y="1099"/>
                    <a:pt x="276" y="1162"/>
                    <a:pt x="253" y="1178"/>
                  </a:cubicBezTo>
                  <a:cubicBezTo>
                    <a:pt x="229" y="1202"/>
                    <a:pt x="205" y="1218"/>
                    <a:pt x="197" y="1249"/>
                  </a:cubicBezTo>
                  <a:cubicBezTo>
                    <a:pt x="189" y="1289"/>
                    <a:pt x="158" y="1242"/>
                    <a:pt x="166" y="1289"/>
                  </a:cubicBezTo>
                  <a:cubicBezTo>
                    <a:pt x="174" y="1329"/>
                    <a:pt x="110" y="1376"/>
                    <a:pt x="102" y="1392"/>
                  </a:cubicBezTo>
                  <a:cubicBezTo>
                    <a:pt x="87" y="1407"/>
                    <a:pt x="63" y="1439"/>
                    <a:pt x="55" y="1494"/>
                  </a:cubicBezTo>
                  <a:cubicBezTo>
                    <a:pt x="47" y="1550"/>
                    <a:pt x="87" y="1581"/>
                    <a:pt x="63" y="1605"/>
                  </a:cubicBezTo>
                  <a:cubicBezTo>
                    <a:pt x="39" y="1629"/>
                    <a:pt x="15" y="1660"/>
                    <a:pt x="15" y="1692"/>
                  </a:cubicBezTo>
                  <a:cubicBezTo>
                    <a:pt x="15" y="1716"/>
                    <a:pt x="0" y="1826"/>
                    <a:pt x="39" y="1890"/>
                  </a:cubicBezTo>
                  <a:cubicBezTo>
                    <a:pt x="47" y="1898"/>
                    <a:pt x="47" y="1906"/>
                    <a:pt x="55" y="1913"/>
                  </a:cubicBezTo>
                  <a:cubicBezTo>
                    <a:pt x="371" y="2008"/>
                    <a:pt x="1296" y="2261"/>
                    <a:pt x="2442" y="2514"/>
                  </a:cubicBezTo>
                  <a:cubicBezTo>
                    <a:pt x="2474" y="2364"/>
                    <a:pt x="2616" y="1747"/>
                    <a:pt x="2616" y="1724"/>
                  </a:cubicBezTo>
                  <a:cubicBezTo>
                    <a:pt x="2616" y="1700"/>
                    <a:pt x="2656" y="1653"/>
                    <a:pt x="2672" y="1629"/>
                  </a:cubicBezTo>
                  <a:cubicBezTo>
                    <a:pt x="2680" y="1605"/>
                    <a:pt x="2664" y="1589"/>
                    <a:pt x="2680" y="1566"/>
                  </a:cubicBezTo>
                  <a:cubicBezTo>
                    <a:pt x="2688" y="1550"/>
                    <a:pt x="2727" y="1502"/>
                    <a:pt x="2672" y="1479"/>
                  </a:cubicBezTo>
                  <a:cubicBezTo>
                    <a:pt x="2616" y="1447"/>
                    <a:pt x="2624" y="1415"/>
                    <a:pt x="2616" y="1376"/>
                  </a:cubicBezTo>
                  <a:cubicBezTo>
                    <a:pt x="2616" y="1329"/>
                    <a:pt x="2798" y="1194"/>
                    <a:pt x="2798" y="1178"/>
                  </a:cubicBezTo>
                  <a:cubicBezTo>
                    <a:pt x="2798" y="1162"/>
                    <a:pt x="2790" y="1139"/>
                    <a:pt x="2814" y="1115"/>
                  </a:cubicBezTo>
                  <a:cubicBezTo>
                    <a:pt x="2838" y="1091"/>
                    <a:pt x="2885" y="1060"/>
                    <a:pt x="2885" y="1036"/>
                  </a:cubicBezTo>
                  <a:cubicBezTo>
                    <a:pt x="2885" y="1020"/>
                    <a:pt x="2948" y="933"/>
                    <a:pt x="2972" y="917"/>
                  </a:cubicBezTo>
                  <a:cubicBezTo>
                    <a:pt x="2988" y="902"/>
                    <a:pt x="2972" y="815"/>
                    <a:pt x="2925" y="783"/>
                  </a:cubicBezTo>
                  <a:cubicBezTo>
                    <a:pt x="2901" y="759"/>
                    <a:pt x="2885" y="712"/>
                    <a:pt x="2877" y="680"/>
                  </a:cubicBezTo>
                  <a:cubicBezTo>
                    <a:pt x="2869" y="672"/>
                    <a:pt x="2869" y="672"/>
                    <a:pt x="2869" y="672"/>
                  </a:cubicBezTo>
                  <a:cubicBezTo>
                    <a:pt x="2869" y="672"/>
                    <a:pt x="2506" y="625"/>
                    <a:pt x="2450" y="601"/>
                  </a:cubicBezTo>
                </a:path>
              </a:pathLst>
            </a:custGeom>
            <a:solidFill>
              <a:schemeClr val="accent6"/>
            </a:solidFill>
            <a:ln>
              <a:solidFill>
                <a:schemeClr val="bg2"/>
              </a:solidFill>
            </a:ln>
            <a:effectLst/>
          </p:spPr>
          <p:txBody>
            <a:bodyPr wrap="none" anchor="ctr"/>
            <a:lstStyle/>
            <a:p>
              <a:endParaRPr lang="en-US"/>
            </a:p>
          </p:txBody>
        </p:sp>
        <p:sp>
          <p:nvSpPr>
            <p:cNvPr id="31" name="Freeform 220"/>
            <p:cNvSpPr>
              <a:spLocks noChangeArrowheads="1"/>
            </p:cNvSpPr>
            <p:nvPr/>
          </p:nvSpPr>
          <p:spPr bwMode="auto">
            <a:xfrm>
              <a:off x="718887" y="2093869"/>
              <a:ext cx="1075004" cy="787710"/>
            </a:xfrm>
            <a:custGeom>
              <a:avLst/>
              <a:gdLst>
                <a:gd name="T0" fmla="*/ 47 w 2981"/>
                <a:gd name="T1" fmla="*/ 1929 h 2523"/>
                <a:gd name="T2" fmla="*/ 15 w 2981"/>
                <a:gd name="T3" fmla="*/ 1724 h 2523"/>
                <a:gd name="T4" fmla="*/ 47 w 2981"/>
                <a:gd name="T5" fmla="*/ 1502 h 2523"/>
                <a:gd name="T6" fmla="*/ 166 w 2981"/>
                <a:gd name="T7" fmla="*/ 1273 h 2523"/>
                <a:gd name="T8" fmla="*/ 253 w 2981"/>
                <a:gd name="T9" fmla="*/ 1186 h 2523"/>
                <a:gd name="T10" fmla="*/ 379 w 2981"/>
                <a:gd name="T11" fmla="*/ 870 h 2523"/>
                <a:gd name="T12" fmla="*/ 434 w 2981"/>
                <a:gd name="T13" fmla="*/ 744 h 2523"/>
                <a:gd name="T14" fmla="*/ 474 w 2981"/>
                <a:gd name="T15" fmla="*/ 601 h 2523"/>
                <a:gd name="T16" fmla="*/ 632 w 2981"/>
                <a:gd name="T17" fmla="*/ 182 h 2523"/>
                <a:gd name="T18" fmla="*/ 672 w 2981"/>
                <a:gd name="T19" fmla="*/ 87 h 2523"/>
                <a:gd name="T20" fmla="*/ 687 w 2981"/>
                <a:gd name="T21" fmla="*/ 0 h 2523"/>
                <a:gd name="T22" fmla="*/ 830 w 2981"/>
                <a:gd name="T23" fmla="*/ 95 h 2523"/>
                <a:gd name="T24" fmla="*/ 956 w 2981"/>
                <a:gd name="T25" fmla="*/ 182 h 2523"/>
                <a:gd name="T26" fmla="*/ 956 w 2981"/>
                <a:gd name="T27" fmla="*/ 420 h 2523"/>
                <a:gd name="T28" fmla="*/ 1185 w 2981"/>
                <a:gd name="T29" fmla="*/ 467 h 2523"/>
                <a:gd name="T30" fmla="*/ 1312 w 2981"/>
                <a:gd name="T31" fmla="*/ 467 h 2523"/>
                <a:gd name="T32" fmla="*/ 1423 w 2981"/>
                <a:gd name="T33" fmla="*/ 498 h 2523"/>
                <a:gd name="T34" fmla="*/ 1533 w 2981"/>
                <a:gd name="T35" fmla="*/ 538 h 2523"/>
                <a:gd name="T36" fmla="*/ 1715 w 2981"/>
                <a:gd name="T37" fmla="*/ 562 h 2523"/>
                <a:gd name="T38" fmla="*/ 1968 w 2981"/>
                <a:gd name="T39" fmla="*/ 554 h 2523"/>
                <a:gd name="T40" fmla="*/ 2039 w 2981"/>
                <a:gd name="T41" fmla="*/ 530 h 2523"/>
                <a:gd name="T42" fmla="*/ 2221 w 2981"/>
                <a:gd name="T43" fmla="*/ 546 h 2523"/>
                <a:gd name="T44" fmla="*/ 2885 w 2981"/>
                <a:gd name="T45" fmla="*/ 688 h 2523"/>
                <a:gd name="T46" fmla="*/ 2893 w 2981"/>
                <a:gd name="T47" fmla="*/ 1044 h 2523"/>
                <a:gd name="T48" fmla="*/ 2798 w 2981"/>
                <a:gd name="T49" fmla="*/ 1186 h 2523"/>
                <a:gd name="T50" fmla="*/ 2672 w 2981"/>
                <a:gd name="T51" fmla="*/ 1479 h 2523"/>
                <a:gd name="T52" fmla="*/ 2680 w 2981"/>
                <a:gd name="T53" fmla="*/ 1605 h 2523"/>
                <a:gd name="T54" fmla="*/ 2442 w 2981"/>
                <a:gd name="T55" fmla="*/ 2522 h 2523"/>
                <a:gd name="T56" fmla="*/ 2616 w 2981"/>
                <a:gd name="T57" fmla="*/ 1732 h 2523"/>
                <a:gd name="T58" fmla="*/ 2672 w 2981"/>
                <a:gd name="T59" fmla="*/ 1574 h 2523"/>
                <a:gd name="T60" fmla="*/ 2616 w 2981"/>
                <a:gd name="T61" fmla="*/ 1408 h 2523"/>
                <a:gd name="T62" fmla="*/ 2798 w 2981"/>
                <a:gd name="T63" fmla="*/ 1186 h 2523"/>
                <a:gd name="T64" fmla="*/ 2964 w 2981"/>
                <a:gd name="T65" fmla="*/ 925 h 2523"/>
                <a:gd name="T66" fmla="*/ 2869 w 2981"/>
                <a:gd name="T67" fmla="*/ 688 h 2523"/>
                <a:gd name="T68" fmla="*/ 2150 w 2981"/>
                <a:gd name="T69" fmla="*/ 562 h 2523"/>
                <a:gd name="T70" fmla="*/ 2015 w 2981"/>
                <a:gd name="T71" fmla="*/ 554 h 2523"/>
                <a:gd name="T72" fmla="*/ 1881 w 2981"/>
                <a:gd name="T73" fmla="*/ 562 h 2523"/>
                <a:gd name="T74" fmla="*/ 1636 w 2981"/>
                <a:gd name="T75" fmla="*/ 530 h 2523"/>
                <a:gd name="T76" fmla="*/ 1486 w 2981"/>
                <a:gd name="T77" fmla="*/ 530 h 2523"/>
                <a:gd name="T78" fmla="*/ 1407 w 2981"/>
                <a:gd name="T79" fmla="*/ 498 h 2523"/>
                <a:gd name="T80" fmla="*/ 1272 w 2981"/>
                <a:gd name="T81" fmla="*/ 459 h 2523"/>
                <a:gd name="T82" fmla="*/ 1130 w 2981"/>
                <a:gd name="T83" fmla="*/ 483 h 2523"/>
                <a:gd name="T84" fmla="*/ 940 w 2981"/>
                <a:gd name="T85" fmla="*/ 356 h 2523"/>
                <a:gd name="T86" fmla="*/ 877 w 2981"/>
                <a:gd name="T87" fmla="*/ 111 h 2523"/>
                <a:gd name="T88" fmla="*/ 814 w 2981"/>
                <a:gd name="T89" fmla="*/ 87 h 2523"/>
                <a:gd name="T90" fmla="*/ 680 w 2981"/>
                <a:gd name="T91" fmla="*/ 56 h 2523"/>
                <a:gd name="T92" fmla="*/ 640 w 2981"/>
                <a:gd name="T93" fmla="*/ 190 h 2523"/>
                <a:gd name="T94" fmla="*/ 482 w 2981"/>
                <a:gd name="T95" fmla="*/ 601 h 2523"/>
                <a:gd name="T96" fmla="*/ 434 w 2981"/>
                <a:gd name="T97" fmla="*/ 751 h 2523"/>
                <a:gd name="T98" fmla="*/ 387 w 2981"/>
                <a:gd name="T99" fmla="*/ 870 h 2523"/>
                <a:gd name="T100" fmla="*/ 253 w 2981"/>
                <a:gd name="T101" fmla="*/ 1186 h 2523"/>
                <a:gd name="T102" fmla="*/ 174 w 2981"/>
                <a:gd name="T103" fmla="*/ 1281 h 2523"/>
                <a:gd name="T104" fmla="*/ 102 w 2981"/>
                <a:gd name="T105" fmla="*/ 1400 h 2523"/>
                <a:gd name="T106" fmla="*/ 23 w 2981"/>
                <a:gd name="T107" fmla="*/ 1700 h 2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81" h="2523">
                  <a:moveTo>
                    <a:pt x="2442" y="2522"/>
                  </a:moveTo>
                  <a:lnTo>
                    <a:pt x="2442" y="2522"/>
                  </a:lnTo>
                  <a:lnTo>
                    <a:pt x="2442" y="2522"/>
                  </a:lnTo>
                  <a:cubicBezTo>
                    <a:pt x="1304" y="2277"/>
                    <a:pt x="387" y="2024"/>
                    <a:pt x="47" y="1929"/>
                  </a:cubicBezTo>
                  <a:lnTo>
                    <a:pt x="47" y="1929"/>
                  </a:lnTo>
                  <a:lnTo>
                    <a:pt x="47" y="1929"/>
                  </a:lnTo>
                  <a:cubicBezTo>
                    <a:pt x="47" y="1921"/>
                    <a:pt x="39" y="1906"/>
                    <a:pt x="31" y="1898"/>
                  </a:cubicBezTo>
                  <a:cubicBezTo>
                    <a:pt x="0" y="1850"/>
                    <a:pt x="8" y="1763"/>
                    <a:pt x="15" y="1724"/>
                  </a:cubicBezTo>
                  <a:cubicBezTo>
                    <a:pt x="15" y="1708"/>
                    <a:pt x="15" y="1700"/>
                    <a:pt x="15" y="1700"/>
                  </a:cubicBezTo>
                  <a:cubicBezTo>
                    <a:pt x="15" y="1668"/>
                    <a:pt x="31" y="1637"/>
                    <a:pt x="63" y="1613"/>
                  </a:cubicBezTo>
                  <a:cubicBezTo>
                    <a:pt x="71" y="1605"/>
                    <a:pt x="71" y="1589"/>
                    <a:pt x="63" y="1566"/>
                  </a:cubicBezTo>
                  <a:cubicBezTo>
                    <a:pt x="55" y="1550"/>
                    <a:pt x="47" y="1526"/>
                    <a:pt x="47" y="1502"/>
                  </a:cubicBezTo>
                  <a:cubicBezTo>
                    <a:pt x="55" y="1463"/>
                    <a:pt x="71" y="1423"/>
                    <a:pt x="95" y="1400"/>
                  </a:cubicBezTo>
                  <a:cubicBezTo>
                    <a:pt x="102" y="1400"/>
                    <a:pt x="102" y="1400"/>
                    <a:pt x="102" y="1392"/>
                  </a:cubicBezTo>
                  <a:cubicBezTo>
                    <a:pt x="118" y="1376"/>
                    <a:pt x="166" y="1328"/>
                    <a:pt x="158" y="1297"/>
                  </a:cubicBezTo>
                  <a:cubicBezTo>
                    <a:pt x="158" y="1281"/>
                    <a:pt x="158" y="1273"/>
                    <a:pt x="166" y="1273"/>
                  </a:cubicBezTo>
                  <a:cubicBezTo>
                    <a:pt x="166" y="1273"/>
                    <a:pt x="174" y="1273"/>
                    <a:pt x="181" y="1273"/>
                  </a:cubicBezTo>
                  <a:lnTo>
                    <a:pt x="181" y="1273"/>
                  </a:lnTo>
                  <a:cubicBezTo>
                    <a:pt x="189" y="1273"/>
                    <a:pt x="189" y="1273"/>
                    <a:pt x="197" y="1257"/>
                  </a:cubicBezTo>
                  <a:cubicBezTo>
                    <a:pt x="205" y="1226"/>
                    <a:pt x="221" y="1202"/>
                    <a:pt x="253" y="1186"/>
                  </a:cubicBezTo>
                  <a:cubicBezTo>
                    <a:pt x="268" y="1170"/>
                    <a:pt x="276" y="1131"/>
                    <a:pt x="284" y="1099"/>
                  </a:cubicBezTo>
                  <a:cubicBezTo>
                    <a:pt x="292" y="1091"/>
                    <a:pt x="292" y="1084"/>
                    <a:pt x="292" y="1075"/>
                  </a:cubicBezTo>
                  <a:cubicBezTo>
                    <a:pt x="300" y="1060"/>
                    <a:pt x="316" y="1028"/>
                    <a:pt x="324" y="997"/>
                  </a:cubicBezTo>
                  <a:cubicBezTo>
                    <a:pt x="348" y="957"/>
                    <a:pt x="371" y="902"/>
                    <a:pt x="379" y="870"/>
                  </a:cubicBezTo>
                  <a:cubicBezTo>
                    <a:pt x="387" y="838"/>
                    <a:pt x="395" y="831"/>
                    <a:pt x="403" y="823"/>
                  </a:cubicBezTo>
                  <a:cubicBezTo>
                    <a:pt x="411" y="823"/>
                    <a:pt x="411" y="823"/>
                    <a:pt x="411" y="807"/>
                  </a:cubicBezTo>
                  <a:cubicBezTo>
                    <a:pt x="419" y="799"/>
                    <a:pt x="419" y="791"/>
                    <a:pt x="419" y="783"/>
                  </a:cubicBezTo>
                  <a:cubicBezTo>
                    <a:pt x="419" y="767"/>
                    <a:pt x="419" y="759"/>
                    <a:pt x="434" y="744"/>
                  </a:cubicBezTo>
                  <a:cubicBezTo>
                    <a:pt x="442" y="736"/>
                    <a:pt x="442" y="728"/>
                    <a:pt x="442" y="704"/>
                  </a:cubicBezTo>
                  <a:cubicBezTo>
                    <a:pt x="442" y="696"/>
                    <a:pt x="442" y="688"/>
                    <a:pt x="442" y="680"/>
                  </a:cubicBezTo>
                  <a:cubicBezTo>
                    <a:pt x="442" y="657"/>
                    <a:pt x="442" y="649"/>
                    <a:pt x="450" y="641"/>
                  </a:cubicBezTo>
                  <a:cubicBezTo>
                    <a:pt x="458" y="633"/>
                    <a:pt x="466" y="625"/>
                    <a:pt x="474" y="601"/>
                  </a:cubicBezTo>
                  <a:cubicBezTo>
                    <a:pt x="482" y="570"/>
                    <a:pt x="490" y="546"/>
                    <a:pt x="506" y="522"/>
                  </a:cubicBezTo>
                  <a:cubicBezTo>
                    <a:pt x="521" y="506"/>
                    <a:pt x="529" y="491"/>
                    <a:pt x="537" y="467"/>
                  </a:cubicBezTo>
                  <a:cubicBezTo>
                    <a:pt x="561" y="411"/>
                    <a:pt x="585" y="340"/>
                    <a:pt x="600" y="285"/>
                  </a:cubicBezTo>
                  <a:cubicBezTo>
                    <a:pt x="608" y="253"/>
                    <a:pt x="624" y="222"/>
                    <a:pt x="632" y="182"/>
                  </a:cubicBezTo>
                  <a:cubicBezTo>
                    <a:pt x="640" y="151"/>
                    <a:pt x="656" y="127"/>
                    <a:pt x="656" y="103"/>
                  </a:cubicBezTo>
                  <a:cubicBezTo>
                    <a:pt x="664" y="87"/>
                    <a:pt x="664" y="87"/>
                    <a:pt x="664" y="87"/>
                  </a:cubicBezTo>
                  <a:lnTo>
                    <a:pt x="664" y="87"/>
                  </a:lnTo>
                  <a:cubicBezTo>
                    <a:pt x="672" y="87"/>
                    <a:pt x="672" y="87"/>
                    <a:pt x="672" y="87"/>
                  </a:cubicBezTo>
                  <a:cubicBezTo>
                    <a:pt x="672" y="72"/>
                    <a:pt x="672" y="64"/>
                    <a:pt x="672" y="56"/>
                  </a:cubicBezTo>
                  <a:cubicBezTo>
                    <a:pt x="680" y="48"/>
                    <a:pt x="680" y="32"/>
                    <a:pt x="680" y="24"/>
                  </a:cubicBezTo>
                  <a:cubicBezTo>
                    <a:pt x="680" y="16"/>
                    <a:pt x="687" y="8"/>
                    <a:pt x="687" y="8"/>
                  </a:cubicBezTo>
                  <a:cubicBezTo>
                    <a:pt x="687" y="0"/>
                    <a:pt x="687" y="0"/>
                    <a:pt x="687" y="0"/>
                  </a:cubicBezTo>
                  <a:lnTo>
                    <a:pt x="687" y="0"/>
                  </a:lnTo>
                  <a:cubicBezTo>
                    <a:pt x="743" y="24"/>
                    <a:pt x="782" y="40"/>
                    <a:pt x="790" y="40"/>
                  </a:cubicBezTo>
                  <a:cubicBezTo>
                    <a:pt x="822" y="48"/>
                    <a:pt x="822" y="56"/>
                    <a:pt x="822" y="87"/>
                  </a:cubicBezTo>
                  <a:cubicBezTo>
                    <a:pt x="822" y="87"/>
                    <a:pt x="830" y="87"/>
                    <a:pt x="830" y="95"/>
                  </a:cubicBezTo>
                  <a:cubicBezTo>
                    <a:pt x="830" y="119"/>
                    <a:pt x="838" y="119"/>
                    <a:pt x="838" y="119"/>
                  </a:cubicBezTo>
                  <a:lnTo>
                    <a:pt x="845" y="111"/>
                  </a:lnTo>
                  <a:cubicBezTo>
                    <a:pt x="854" y="111"/>
                    <a:pt x="869" y="103"/>
                    <a:pt x="877" y="103"/>
                  </a:cubicBezTo>
                  <a:cubicBezTo>
                    <a:pt x="917" y="103"/>
                    <a:pt x="932" y="143"/>
                    <a:pt x="956" y="182"/>
                  </a:cubicBezTo>
                  <a:cubicBezTo>
                    <a:pt x="964" y="182"/>
                    <a:pt x="964" y="190"/>
                    <a:pt x="972" y="190"/>
                  </a:cubicBezTo>
                  <a:cubicBezTo>
                    <a:pt x="988" y="230"/>
                    <a:pt x="972" y="277"/>
                    <a:pt x="956" y="317"/>
                  </a:cubicBezTo>
                  <a:cubicBezTo>
                    <a:pt x="956" y="333"/>
                    <a:pt x="948" y="340"/>
                    <a:pt x="948" y="356"/>
                  </a:cubicBezTo>
                  <a:cubicBezTo>
                    <a:pt x="940" y="388"/>
                    <a:pt x="948" y="411"/>
                    <a:pt x="956" y="420"/>
                  </a:cubicBezTo>
                  <a:cubicBezTo>
                    <a:pt x="964" y="427"/>
                    <a:pt x="980" y="427"/>
                    <a:pt x="988" y="427"/>
                  </a:cubicBezTo>
                  <a:cubicBezTo>
                    <a:pt x="1012" y="435"/>
                    <a:pt x="1043" y="435"/>
                    <a:pt x="1059" y="451"/>
                  </a:cubicBezTo>
                  <a:cubicBezTo>
                    <a:pt x="1075" y="467"/>
                    <a:pt x="1098" y="475"/>
                    <a:pt x="1130" y="475"/>
                  </a:cubicBezTo>
                  <a:cubicBezTo>
                    <a:pt x="1154" y="475"/>
                    <a:pt x="1170" y="475"/>
                    <a:pt x="1185" y="467"/>
                  </a:cubicBezTo>
                  <a:cubicBezTo>
                    <a:pt x="1193" y="467"/>
                    <a:pt x="1209" y="459"/>
                    <a:pt x="1209" y="459"/>
                  </a:cubicBezTo>
                  <a:cubicBezTo>
                    <a:pt x="1225" y="451"/>
                    <a:pt x="1233" y="443"/>
                    <a:pt x="1241" y="443"/>
                  </a:cubicBezTo>
                  <a:cubicBezTo>
                    <a:pt x="1249" y="443"/>
                    <a:pt x="1265" y="451"/>
                    <a:pt x="1272" y="451"/>
                  </a:cubicBezTo>
                  <a:cubicBezTo>
                    <a:pt x="1288" y="459"/>
                    <a:pt x="1304" y="467"/>
                    <a:pt x="1312" y="467"/>
                  </a:cubicBezTo>
                  <a:cubicBezTo>
                    <a:pt x="1320" y="467"/>
                    <a:pt x="1320" y="467"/>
                    <a:pt x="1328" y="459"/>
                  </a:cubicBezTo>
                  <a:cubicBezTo>
                    <a:pt x="1336" y="459"/>
                    <a:pt x="1344" y="459"/>
                    <a:pt x="1360" y="459"/>
                  </a:cubicBezTo>
                  <a:cubicBezTo>
                    <a:pt x="1391" y="459"/>
                    <a:pt x="1399" y="467"/>
                    <a:pt x="1415" y="491"/>
                  </a:cubicBezTo>
                  <a:cubicBezTo>
                    <a:pt x="1423" y="498"/>
                    <a:pt x="1423" y="498"/>
                    <a:pt x="1423" y="498"/>
                  </a:cubicBezTo>
                  <a:cubicBezTo>
                    <a:pt x="1423" y="498"/>
                    <a:pt x="1423" y="506"/>
                    <a:pt x="1431" y="506"/>
                  </a:cubicBezTo>
                  <a:cubicBezTo>
                    <a:pt x="1438" y="530"/>
                    <a:pt x="1446" y="530"/>
                    <a:pt x="1454" y="530"/>
                  </a:cubicBezTo>
                  <a:cubicBezTo>
                    <a:pt x="1462" y="530"/>
                    <a:pt x="1470" y="522"/>
                    <a:pt x="1486" y="522"/>
                  </a:cubicBezTo>
                  <a:cubicBezTo>
                    <a:pt x="1502" y="522"/>
                    <a:pt x="1525" y="530"/>
                    <a:pt x="1533" y="538"/>
                  </a:cubicBezTo>
                  <a:cubicBezTo>
                    <a:pt x="1541" y="546"/>
                    <a:pt x="1549" y="546"/>
                    <a:pt x="1557" y="546"/>
                  </a:cubicBezTo>
                  <a:cubicBezTo>
                    <a:pt x="1573" y="546"/>
                    <a:pt x="1604" y="530"/>
                    <a:pt x="1620" y="522"/>
                  </a:cubicBezTo>
                  <a:cubicBezTo>
                    <a:pt x="1620" y="522"/>
                    <a:pt x="1628" y="522"/>
                    <a:pt x="1636" y="522"/>
                  </a:cubicBezTo>
                  <a:cubicBezTo>
                    <a:pt x="1660" y="522"/>
                    <a:pt x="1691" y="530"/>
                    <a:pt x="1715" y="562"/>
                  </a:cubicBezTo>
                  <a:cubicBezTo>
                    <a:pt x="1723" y="570"/>
                    <a:pt x="1739" y="578"/>
                    <a:pt x="1755" y="578"/>
                  </a:cubicBezTo>
                  <a:cubicBezTo>
                    <a:pt x="1778" y="578"/>
                    <a:pt x="1810" y="570"/>
                    <a:pt x="1818" y="562"/>
                  </a:cubicBezTo>
                  <a:cubicBezTo>
                    <a:pt x="1826" y="554"/>
                    <a:pt x="1850" y="554"/>
                    <a:pt x="1881" y="554"/>
                  </a:cubicBezTo>
                  <a:cubicBezTo>
                    <a:pt x="1905" y="554"/>
                    <a:pt x="1937" y="554"/>
                    <a:pt x="1968" y="554"/>
                  </a:cubicBezTo>
                  <a:cubicBezTo>
                    <a:pt x="2000" y="554"/>
                    <a:pt x="2008" y="554"/>
                    <a:pt x="2008" y="554"/>
                  </a:cubicBezTo>
                  <a:lnTo>
                    <a:pt x="2008" y="554"/>
                  </a:lnTo>
                  <a:cubicBezTo>
                    <a:pt x="2008" y="554"/>
                    <a:pt x="2008" y="546"/>
                    <a:pt x="2015" y="538"/>
                  </a:cubicBezTo>
                  <a:cubicBezTo>
                    <a:pt x="2015" y="538"/>
                    <a:pt x="2023" y="530"/>
                    <a:pt x="2039" y="530"/>
                  </a:cubicBezTo>
                  <a:cubicBezTo>
                    <a:pt x="2055" y="530"/>
                    <a:pt x="2079" y="538"/>
                    <a:pt x="2102" y="546"/>
                  </a:cubicBezTo>
                  <a:cubicBezTo>
                    <a:pt x="2110" y="554"/>
                    <a:pt x="2134" y="554"/>
                    <a:pt x="2150" y="554"/>
                  </a:cubicBezTo>
                  <a:cubicBezTo>
                    <a:pt x="2174" y="554"/>
                    <a:pt x="2197" y="546"/>
                    <a:pt x="2213" y="546"/>
                  </a:cubicBezTo>
                  <a:cubicBezTo>
                    <a:pt x="2213" y="546"/>
                    <a:pt x="2213" y="546"/>
                    <a:pt x="2221" y="546"/>
                  </a:cubicBezTo>
                  <a:cubicBezTo>
                    <a:pt x="2268" y="546"/>
                    <a:pt x="2403" y="578"/>
                    <a:pt x="2450" y="601"/>
                  </a:cubicBezTo>
                  <a:cubicBezTo>
                    <a:pt x="2506" y="633"/>
                    <a:pt x="2861" y="680"/>
                    <a:pt x="2869" y="680"/>
                  </a:cubicBezTo>
                  <a:cubicBezTo>
                    <a:pt x="2885" y="680"/>
                    <a:pt x="2885" y="680"/>
                    <a:pt x="2885" y="680"/>
                  </a:cubicBezTo>
                  <a:cubicBezTo>
                    <a:pt x="2885" y="688"/>
                    <a:pt x="2885" y="688"/>
                    <a:pt x="2885" y="688"/>
                  </a:cubicBezTo>
                  <a:cubicBezTo>
                    <a:pt x="2885" y="712"/>
                    <a:pt x="2901" y="759"/>
                    <a:pt x="2925" y="783"/>
                  </a:cubicBezTo>
                  <a:cubicBezTo>
                    <a:pt x="2964" y="815"/>
                    <a:pt x="2980" y="862"/>
                    <a:pt x="2980" y="902"/>
                  </a:cubicBezTo>
                  <a:cubicBezTo>
                    <a:pt x="2980" y="910"/>
                    <a:pt x="2980" y="925"/>
                    <a:pt x="2972" y="925"/>
                  </a:cubicBezTo>
                  <a:cubicBezTo>
                    <a:pt x="2948" y="949"/>
                    <a:pt x="2893" y="1028"/>
                    <a:pt x="2893" y="1044"/>
                  </a:cubicBezTo>
                  <a:cubicBezTo>
                    <a:pt x="2893" y="1060"/>
                    <a:pt x="2869" y="1084"/>
                    <a:pt x="2846" y="1099"/>
                  </a:cubicBezTo>
                  <a:cubicBezTo>
                    <a:pt x="2838" y="1107"/>
                    <a:pt x="2830" y="1115"/>
                    <a:pt x="2814" y="1123"/>
                  </a:cubicBezTo>
                  <a:cubicBezTo>
                    <a:pt x="2790" y="1147"/>
                    <a:pt x="2798" y="1170"/>
                    <a:pt x="2798" y="1186"/>
                  </a:cubicBezTo>
                  <a:lnTo>
                    <a:pt x="2798" y="1186"/>
                  </a:lnTo>
                  <a:cubicBezTo>
                    <a:pt x="2806" y="1194"/>
                    <a:pt x="2790" y="1202"/>
                    <a:pt x="2743" y="1241"/>
                  </a:cubicBezTo>
                  <a:cubicBezTo>
                    <a:pt x="2695" y="1289"/>
                    <a:pt x="2616" y="1352"/>
                    <a:pt x="2624" y="1384"/>
                  </a:cubicBezTo>
                  <a:cubicBezTo>
                    <a:pt x="2624" y="1392"/>
                    <a:pt x="2624" y="1400"/>
                    <a:pt x="2624" y="1408"/>
                  </a:cubicBezTo>
                  <a:cubicBezTo>
                    <a:pt x="2624" y="1439"/>
                    <a:pt x="2624" y="1455"/>
                    <a:pt x="2672" y="1479"/>
                  </a:cubicBezTo>
                  <a:cubicBezTo>
                    <a:pt x="2688" y="1487"/>
                    <a:pt x="2703" y="1502"/>
                    <a:pt x="2703" y="1510"/>
                  </a:cubicBezTo>
                  <a:cubicBezTo>
                    <a:pt x="2711" y="1534"/>
                    <a:pt x="2695" y="1558"/>
                    <a:pt x="2680" y="1574"/>
                  </a:cubicBezTo>
                  <a:cubicBezTo>
                    <a:pt x="2680" y="1581"/>
                    <a:pt x="2680" y="1581"/>
                    <a:pt x="2680" y="1581"/>
                  </a:cubicBezTo>
                  <a:cubicBezTo>
                    <a:pt x="2672" y="1589"/>
                    <a:pt x="2672" y="1597"/>
                    <a:pt x="2680" y="1605"/>
                  </a:cubicBezTo>
                  <a:cubicBezTo>
                    <a:pt x="2680" y="1613"/>
                    <a:pt x="2680" y="1629"/>
                    <a:pt x="2672" y="1637"/>
                  </a:cubicBezTo>
                  <a:cubicBezTo>
                    <a:pt x="2664" y="1645"/>
                    <a:pt x="2664" y="1645"/>
                    <a:pt x="2664" y="1645"/>
                  </a:cubicBezTo>
                  <a:cubicBezTo>
                    <a:pt x="2648" y="1668"/>
                    <a:pt x="2624" y="1716"/>
                    <a:pt x="2624" y="1732"/>
                  </a:cubicBezTo>
                  <a:cubicBezTo>
                    <a:pt x="2624" y="1755"/>
                    <a:pt x="2490" y="2340"/>
                    <a:pt x="2442" y="2522"/>
                  </a:cubicBezTo>
                  <a:close/>
                  <a:moveTo>
                    <a:pt x="55" y="1921"/>
                  </a:moveTo>
                  <a:lnTo>
                    <a:pt x="55" y="1921"/>
                  </a:lnTo>
                  <a:cubicBezTo>
                    <a:pt x="395" y="2016"/>
                    <a:pt x="1304" y="2269"/>
                    <a:pt x="2442" y="2514"/>
                  </a:cubicBezTo>
                  <a:cubicBezTo>
                    <a:pt x="2521" y="2143"/>
                    <a:pt x="2616" y="1748"/>
                    <a:pt x="2616" y="1732"/>
                  </a:cubicBezTo>
                  <a:cubicBezTo>
                    <a:pt x="2616" y="1716"/>
                    <a:pt x="2640" y="1668"/>
                    <a:pt x="2656" y="1645"/>
                  </a:cubicBezTo>
                  <a:cubicBezTo>
                    <a:pt x="2664" y="1637"/>
                    <a:pt x="2664" y="1637"/>
                    <a:pt x="2664" y="1637"/>
                  </a:cubicBezTo>
                  <a:cubicBezTo>
                    <a:pt x="2672" y="1629"/>
                    <a:pt x="2672" y="1613"/>
                    <a:pt x="2672" y="1605"/>
                  </a:cubicBezTo>
                  <a:cubicBezTo>
                    <a:pt x="2664" y="1597"/>
                    <a:pt x="2664" y="1581"/>
                    <a:pt x="2672" y="1574"/>
                  </a:cubicBezTo>
                  <a:lnTo>
                    <a:pt x="2672" y="1574"/>
                  </a:lnTo>
                  <a:cubicBezTo>
                    <a:pt x="2688" y="1558"/>
                    <a:pt x="2703" y="1534"/>
                    <a:pt x="2695" y="1518"/>
                  </a:cubicBezTo>
                  <a:cubicBezTo>
                    <a:pt x="2695" y="1502"/>
                    <a:pt x="2688" y="1495"/>
                    <a:pt x="2672" y="1487"/>
                  </a:cubicBezTo>
                  <a:cubicBezTo>
                    <a:pt x="2624" y="1463"/>
                    <a:pt x="2616" y="1439"/>
                    <a:pt x="2616" y="1408"/>
                  </a:cubicBezTo>
                  <a:cubicBezTo>
                    <a:pt x="2616" y="1400"/>
                    <a:pt x="2616" y="1392"/>
                    <a:pt x="2616" y="1384"/>
                  </a:cubicBezTo>
                  <a:cubicBezTo>
                    <a:pt x="2608" y="1352"/>
                    <a:pt x="2672" y="1297"/>
                    <a:pt x="2743" y="1234"/>
                  </a:cubicBezTo>
                  <a:cubicBezTo>
                    <a:pt x="2767" y="1218"/>
                    <a:pt x="2790" y="1194"/>
                    <a:pt x="2798" y="1186"/>
                  </a:cubicBezTo>
                  <a:lnTo>
                    <a:pt x="2798" y="1186"/>
                  </a:lnTo>
                  <a:cubicBezTo>
                    <a:pt x="2790" y="1170"/>
                    <a:pt x="2782" y="1147"/>
                    <a:pt x="2814" y="1115"/>
                  </a:cubicBezTo>
                  <a:cubicBezTo>
                    <a:pt x="2822" y="1107"/>
                    <a:pt x="2830" y="1099"/>
                    <a:pt x="2838" y="1091"/>
                  </a:cubicBezTo>
                  <a:cubicBezTo>
                    <a:pt x="2861" y="1075"/>
                    <a:pt x="2885" y="1060"/>
                    <a:pt x="2885" y="1044"/>
                  </a:cubicBezTo>
                  <a:cubicBezTo>
                    <a:pt x="2885" y="1028"/>
                    <a:pt x="2948" y="941"/>
                    <a:pt x="2964" y="925"/>
                  </a:cubicBezTo>
                  <a:cubicBezTo>
                    <a:pt x="2972" y="917"/>
                    <a:pt x="2972" y="910"/>
                    <a:pt x="2972" y="902"/>
                  </a:cubicBezTo>
                  <a:cubicBezTo>
                    <a:pt x="2972" y="862"/>
                    <a:pt x="2956" y="815"/>
                    <a:pt x="2925" y="791"/>
                  </a:cubicBezTo>
                  <a:cubicBezTo>
                    <a:pt x="2893" y="767"/>
                    <a:pt x="2885" y="728"/>
                    <a:pt x="2877" y="688"/>
                  </a:cubicBezTo>
                  <a:cubicBezTo>
                    <a:pt x="2869" y="688"/>
                    <a:pt x="2869" y="688"/>
                    <a:pt x="2869" y="688"/>
                  </a:cubicBezTo>
                  <a:cubicBezTo>
                    <a:pt x="2854" y="688"/>
                    <a:pt x="2506" y="641"/>
                    <a:pt x="2450" y="609"/>
                  </a:cubicBezTo>
                  <a:cubicBezTo>
                    <a:pt x="2403" y="585"/>
                    <a:pt x="2268" y="546"/>
                    <a:pt x="2221" y="546"/>
                  </a:cubicBezTo>
                  <a:cubicBezTo>
                    <a:pt x="2213" y="546"/>
                    <a:pt x="2213" y="554"/>
                    <a:pt x="2213" y="554"/>
                  </a:cubicBezTo>
                  <a:cubicBezTo>
                    <a:pt x="2197" y="554"/>
                    <a:pt x="2182" y="562"/>
                    <a:pt x="2150" y="562"/>
                  </a:cubicBezTo>
                  <a:cubicBezTo>
                    <a:pt x="2134" y="562"/>
                    <a:pt x="2110" y="562"/>
                    <a:pt x="2102" y="554"/>
                  </a:cubicBezTo>
                  <a:cubicBezTo>
                    <a:pt x="2087" y="546"/>
                    <a:pt x="2055" y="538"/>
                    <a:pt x="2039" y="538"/>
                  </a:cubicBezTo>
                  <a:cubicBezTo>
                    <a:pt x="2023" y="538"/>
                    <a:pt x="2023" y="538"/>
                    <a:pt x="2015" y="546"/>
                  </a:cubicBezTo>
                  <a:cubicBezTo>
                    <a:pt x="2015" y="546"/>
                    <a:pt x="2015" y="546"/>
                    <a:pt x="2015" y="554"/>
                  </a:cubicBezTo>
                  <a:cubicBezTo>
                    <a:pt x="2015" y="554"/>
                    <a:pt x="2023" y="562"/>
                    <a:pt x="2015" y="562"/>
                  </a:cubicBezTo>
                  <a:cubicBezTo>
                    <a:pt x="2015" y="562"/>
                    <a:pt x="2015" y="562"/>
                    <a:pt x="2008" y="562"/>
                  </a:cubicBezTo>
                  <a:cubicBezTo>
                    <a:pt x="2000" y="562"/>
                    <a:pt x="1984" y="562"/>
                    <a:pt x="1968" y="562"/>
                  </a:cubicBezTo>
                  <a:cubicBezTo>
                    <a:pt x="1937" y="562"/>
                    <a:pt x="1905" y="562"/>
                    <a:pt x="1881" y="562"/>
                  </a:cubicBezTo>
                  <a:cubicBezTo>
                    <a:pt x="1842" y="562"/>
                    <a:pt x="1826" y="562"/>
                    <a:pt x="1818" y="570"/>
                  </a:cubicBezTo>
                  <a:cubicBezTo>
                    <a:pt x="1810" y="578"/>
                    <a:pt x="1778" y="585"/>
                    <a:pt x="1755" y="585"/>
                  </a:cubicBezTo>
                  <a:cubicBezTo>
                    <a:pt x="1731" y="585"/>
                    <a:pt x="1715" y="578"/>
                    <a:pt x="1707" y="562"/>
                  </a:cubicBezTo>
                  <a:cubicBezTo>
                    <a:pt x="1684" y="538"/>
                    <a:pt x="1652" y="530"/>
                    <a:pt x="1636" y="530"/>
                  </a:cubicBezTo>
                  <a:cubicBezTo>
                    <a:pt x="1628" y="530"/>
                    <a:pt x="1628" y="530"/>
                    <a:pt x="1620" y="530"/>
                  </a:cubicBezTo>
                  <a:cubicBezTo>
                    <a:pt x="1612" y="538"/>
                    <a:pt x="1581" y="554"/>
                    <a:pt x="1557" y="554"/>
                  </a:cubicBezTo>
                  <a:cubicBezTo>
                    <a:pt x="1541" y="554"/>
                    <a:pt x="1533" y="546"/>
                    <a:pt x="1533" y="546"/>
                  </a:cubicBezTo>
                  <a:cubicBezTo>
                    <a:pt x="1525" y="538"/>
                    <a:pt x="1510" y="530"/>
                    <a:pt x="1486" y="530"/>
                  </a:cubicBezTo>
                  <a:cubicBezTo>
                    <a:pt x="1478" y="530"/>
                    <a:pt x="1462" y="530"/>
                    <a:pt x="1454" y="538"/>
                  </a:cubicBezTo>
                  <a:cubicBezTo>
                    <a:pt x="1438" y="538"/>
                    <a:pt x="1438" y="530"/>
                    <a:pt x="1423" y="514"/>
                  </a:cubicBezTo>
                  <a:cubicBezTo>
                    <a:pt x="1423" y="506"/>
                    <a:pt x="1415" y="506"/>
                    <a:pt x="1415" y="498"/>
                  </a:cubicBezTo>
                  <a:cubicBezTo>
                    <a:pt x="1407" y="498"/>
                    <a:pt x="1407" y="498"/>
                    <a:pt x="1407" y="498"/>
                  </a:cubicBezTo>
                  <a:cubicBezTo>
                    <a:pt x="1391" y="475"/>
                    <a:pt x="1383" y="467"/>
                    <a:pt x="1360" y="467"/>
                  </a:cubicBezTo>
                  <a:cubicBezTo>
                    <a:pt x="1344" y="467"/>
                    <a:pt x="1336" y="467"/>
                    <a:pt x="1328" y="467"/>
                  </a:cubicBezTo>
                  <a:cubicBezTo>
                    <a:pt x="1328" y="467"/>
                    <a:pt x="1320" y="475"/>
                    <a:pt x="1312" y="475"/>
                  </a:cubicBezTo>
                  <a:cubicBezTo>
                    <a:pt x="1296" y="475"/>
                    <a:pt x="1288" y="467"/>
                    <a:pt x="1272" y="459"/>
                  </a:cubicBezTo>
                  <a:cubicBezTo>
                    <a:pt x="1257" y="459"/>
                    <a:pt x="1249" y="451"/>
                    <a:pt x="1241" y="451"/>
                  </a:cubicBezTo>
                  <a:cubicBezTo>
                    <a:pt x="1233" y="451"/>
                    <a:pt x="1225" y="459"/>
                    <a:pt x="1217" y="459"/>
                  </a:cubicBezTo>
                  <a:cubicBezTo>
                    <a:pt x="1209" y="467"/>
                    <a:pt x="1201" y="467"/>
                    <a:pt x="1185" y="475"/>
                  </a:cubicBezTo>
                  <a:cubicBezTo>
                    <a:pt x="1170" y="483"/>
                    <a:pt x="1154" y="483"/>
                    <a:pt x="1130" y="483"/>
                  </a:cubicBezTo>
                  <a:cubicBezTo>
                    <a:pt x="1098" y="483"/>
                    <a:pt x="1067" y="475"/>
                    <a:pt x="1051" y="459"/>
                  </a:cubicBezTo>
                  <a:cubicBezTo>
                    <a:pt x="1035" y="443"/>
                    <a:pt x="1012" y="443"/>
                    <a:pt x="988" y="435"/>
                  </a:cubicBezTo>
                  <a:cubicBezTo>
                    <a:pt x="972" y="435"/>
                    <a:pt x="964" y="435"/>
                    <a:pt x="956" y="427"/>
                  </a:cubicBezTo>
                  <a:cubicBezTo>
                    <a:pt x="940" y="411"/>
                    <a:pt x="932" y="388"/>
                    <a:pt x="940" y="356"/>
                  </a:cubicBezTo>
                  <a:cubicBezTo>
                    <a:pt x="940" y="340"/>
                    <a:pt x="948" y="325"/>
                    <a:pt x="956" y="317"/>
                  </a:cubicBezTo>
                  <a:cubicBezTo>
                    <a:pt x="964" y="277"/>
                    <a:pt x="980" y="230"/>
                    <a:pt x="964" y="198"/>
                  </a:cubicBezTo>
                  <a:cubicBezTo>
                    <a:pt x="956" y="190"/>
                    <a:pt x="956" y="190"/>
                    <a:pt x="956" y="182"/>
                  </a:cubicBezTo>
                  <a:cubicBezTo>
                    <a:pt x="932" y="143"/>
                    <a:pt x="909" y="111"/>
                    <a:pt x="877" y="111"/>
                  </a:cubicBezTo>
                  <a:cubicBezTo>
                    <a:pt x="869" y="111"/>
                    <a:pt x="861" y="119"/>
                    <a:pt x="854" y="119"/>
                  </a:cubicBezTo>
                  <a:cubicBezTo>
                    <a:pt x="845" y="119"/>
                    <a:pt x="845" y="119"/>
                    <a:pt x="838" y="119"/>
                  </a:cubicBezTo>
                  <a:cubicBezTo>
                    <a:pt x="830" y="119"/>
                    <a:pt x="822" y="111"/>
                    <a:pt x="822" y="95"/>
                  </a:cubicBezTo>
                  <a:cubicBezTo>
                    <a:pt x="822" y="95"/>
                    <a:pt x="822" y="87"/>
                    <a:pt x="814" y="87"/>
                  </a:cubicBezTo>
                  <a:cubicBezTo>
                    <a:pt x="814" y="56"/>
                    <a:pt x="814" y="56"/>
                    <a:pt x="790" y="48"/>
                  </a:cubicBezTo>
                  <a:cubicBezTo>
                    <a:pt x="774" y="40"/>
                    <a:pt x="727" y="24"/>
                    <a:pt x="687" y="8"/>
                  </a:cubicBezTo>
                  <a:cubicBezTo>
                    <a:pt x="687" y="16"/>
                    <a:pt x="687" y="16"/>
                    <a:pt x="687" y="24"/>
                  </a:cubicBezTo>
                  <a:cubicBezTo>
                    <a:pt x="687" y="40"/>
                    <a:pt x="680" y="48"/>
                    <a:pt x="680" y="56"/>
                  </a:cubicBezTo>
                  <a:cubicBezTo>
                    <a:pt x="680" y="64"/>
                    <a:pt x="680" y="72"/>
                    <a:pt x="672" y="87"/>
                  </a:cubicBezTo>
                  <a:cubicBezTo>
                    <a:pt x="672" y="95"/>
                    <a:pt x="672" y="95"/>
                    <a:pt x="672" y="95"/>
                  </a:cubicBezTo>
                  <a:cubicBezTo>
                    <a:pt x="664" y="95"/>
                    <a:pt x="664" y="103"/>
                    <a:pt x="664" y="111"/>
                  </a:cubicBezTo>
                  <a:cubicBezTo>
                    <a:pt x="664" y="127"/>
                    <a:pt x="648" y="158"/>
                    <a:pt x="640" y="190"/>
                  </a:cubicBezTo>
                  <a:cubicBezTo>
                    <a:pt x="624" y="222"/>
                    <a:pt x="616" y="253"/>
                    <a:pt x="608" y="285"/>
                  </a:cubicBezTo>
                  <a:cubicBezTo>
                    <a:pt x="592" y="340"/>
                    <a:pt x="569" y="420"/>
                    <a:pt x="545" y="467"/>
                  </a:cubicBezTo>
                  <a:cubicBezTo>
                    <a:pt x="537" y="491"/>
                    <a:pt x="521" y="506"/>
                    <a:pt x="514" y="522"/>
                  </a:cubicBezTo>
                  <a:cubicBezTo>
                    <a:pt x="498" y="546"/>
                    <a:pt x="490" y="570"/>
                    <a:pt x="482" y="601"/>
                  </a:cubicBezTo>
                  <a:cubicBezTo>
                    <a:pt x="474" y="633"/>
                    <a:pt x="466" y="641"/>
                    <a:pt x="458" y="649"/>
                  </a:cubicBezTo>
                  <a:cubicBezTo>
                    <a:pt x="450" y="657"/>
                    <a:pt x="450" y="657"/>
                    <a:pt x="450" y="680"/>
                  </a:cubicBezTo>
                  <a:cubicBezTo>
                    <a:pt x="450" y="688"/>
                    <a:pt x="450" y="696"/>
                    <a:pt x="450" y="704"/>
                  </a:cubicBezTo>
                  <a:cubicBezTo>
                    <a:pt x="450" y="728"/>
                    <a:pt x="450" y="736"/>
                    <a:pt x="434" y="751"/>
                  </a:cubicBezTo>
                  <a:cubicBezTo>
                    <a:pt x="427" y="759"/>
                    <a:pt x="427" y="767"/>
                    <a:pt x="427" y="783"/>
                  </a:cubicBezTo>
                  <a:cubicBezTo>
                    <a:pt x="427" y="791"/>
                    <a:pt x="427" y="799"/>
                    <a:pt x="419" y="815"/>
                  </a:cubicBezTo>
                  <a:cubicBezTo>
                    <a:pt x="419" y="823"/>
                    <a:pt x="411" y="831"/>
                    <a:pt x="411" y="831"/>
                  </a:cubicBezTo>
                  <a:cubicBezTo>
                    <a:pt x="403" y="831"/>
                    <a:pt x="395" y="838"/>
                    <a:pt x="387" y="870"/>
                  </a:cubicBezTo>
                  <a:cubicBezTo>
                    <a:pt x="379" y="910"/>
                    <a:pt x="355" y="957"/>
                    <a:pt x="332" y="1004"/>
                  </a:cubicBezTo>
                  <a:cubicBezTo>
                    <a:pt x="316" y="1036"/>
                    <a:pt x="308" y="1060"/>
                    <a:pt x="300" y="1075"/>
                  </a:cubicBezTo>
                  <a:cubicBezTo>
                    <a:pt x="300" y="1084"/>
                    <a:pt x="300" y="1091"/>
                    <a:pt x="292" y="1099"/>
                  </a:cubicBezTo>
                  <a:cubicBezTo>
                    <a:pt x="284" y="1139"/>
                    <a:pt x="276" y="1170"/>
                    <a:pt x="253" y="1186"/>
                  </a:cubicBezTo>
                  <a:cubicBezTo>
                    <a:pt x="229" y="1210"/>
                    <a:pt x="213" y="1226"/>
                    <a:pt x="205" y="1257"/>
                  </a:cubicBezTo>
                  <a:cubicBezTo>
                    <a:pt x="197" y="1273"/>
                    <a:pt x="197" y="1281"/>
                    <a:pt x="181" y="1281"/>
                  </a:cubicBezTo>
                  <a:cubicBezTo>
                    <a:pt x="181" y="1281"/>
                    <a:pt x="181" y="1281"/>
                    <a:pt x="174" y="1281"/>
                  </a:cubicBezTo>
                  <a:lnTo>
                    <a:pt x="174" y="1281"/>
                  </a:lnTo>
                  <a:cubicBezTo>
                    <a:pt x="174" y="1281"/>
                    <a:pt x="174" y="1281"/>
                    <a:pt x="166" y="1281"/>
                  </a:cubicBezTo>
                  <a:cubicBezTo>
                    <a:pt x="166" y="1281"/>
                    <a:pt x="166" y="1281"/>
                    <a:pt x="166" y="1297"/>
                  </a:cubicBezTo>
                  <a:cubicBezTo>
                    <a:pt x="174" y="1337"/>
                    <a:pt x="126" y="1376"/>
                    <a:pt x="110" y="1400"/>
                  </a:cubicBezTo>
                  <a:cubicBezTo>
                    <a:pt x="102" y="1400"/>
                    <a:pt x="102" y="1400"/>
                    <a:pt x="102" y="1400"/>
                  </a:cubicBezTo>
                  <a:cubicBezTo>
                    <a:pt x="79" y="1431"/>
                    <a:pt x="63" y="1463"/>
                    <a:pt x="55" y="1502"/>
                  </a:cubicBezTo>
                  <a:cubicBezTo>
                    <a:pt x="55" y="1526"/>
                    <a:pt x="63" y="1550"/>
                    <a:pt x="71" y="1566"/>
                  </a:cubicBezTo>
                  <a:cubicBezTo>
                    <a:pt x="79" y="1589"/>
                    <a:pt x="79" y="1605"/>
                    <a:pt x="63" y="1621"/>
                  </a:cubicBezTo>
                  <a:cubicBezTo>
                    <a:pt x="39" y="1645"/>
                    <a:pt x="23" y="1676"/>
                    <a:pt x="23" y="1700"/>
                  </a:cubicBezTo>
                  <a:cubicBezTo>
                    <a:pt x="23" y="1700"/>
                    <a:pt x="23" y="1708"/>
                    <a:pt x="23" y="1724"/>
                  </a:cubicBezTo>
                  <a:cubicBezTo>
                    <a:pt x="15" y="1763"/>
                    <a:pt x="8" y="1842"/>
                    <a:pt x="39" y="1890"/>
                  </a:cubicBezTo>
                  <a:cubicBezTo>
                    <a:pt x="47" y="1906"/>
                    <a:pt x="55" y="1914"/>
                    <a:pt x="55" y="1921"/>
                  </a:cubicBezTo>
                  <a:close/>
                </a:path>
              </a:pathLst>
            </a:custGeom>
            <a:solidFill>
              <a:schemeClr val="accent6"/>
            </a:solidFill>
            <a:ln>
              <a:solidFill>
                <a:schemeClr val="bg2"/>
              </a:solidFill>
            </a:ln>
            <a:effectLst/>
          </p:spPr>
          <p:txBody>
            <a:bodyPr wrap="none" anchor="ctr"/>
            <a:lstStyle/>
            <a:p>
              <a:endParaRPr lang="en-US"/>
            </a:p>
          </p:txBody>
        </p:sp>
        <p:sp>
          <p:nvSpPr>
            <p:cNvPr id="32" name="Freeform 221"/>
            <p:cNvSpPr>
              <a:spLocks noChangeArrowheads="1"/>
            </p:cNvSpPr>
            <p:nvPr/>
          </p:nvSpPr>
          <p:spPr bwMode="auto">
            <a:xfrm>
              <a:off x="957424" y="1741327"/>
              <a:ext cx="884175" cy="567371"/>
            </a:xfrm>
            <a:custGeom>
              <a:avLst/>
              <a:gdLst>
                <a:gd name="T0" fmla="*/ 2332 w 2451"/>
                <a:gd name="T1" fmla="*/ 1020 h 1819"/>
                <a:gd name="T2" fmla="*/ 656 w 2451"/>
                <a:gd name="T3" fmla="*/ 0 h 1819"/>
                <a:gd name="T4" fmla="*/ 719 w 2451"/>
                <a:gd name="T5" fmla="*/ 95 h 1819"/>
                <a:gd name="T6" fmla="*/ 767 w 2451"/>
                <a:gd name="T7" fmla="*/ 174 h 1819"/>
                <a:gd name="T8" fmla="*/ 743 w 2451"/>
                <a:gd name="T9" fmla="*/ 261 h 1819"/>
                <a:gd name="T10" fmla="*/ 703 w 2451"/>
                <a:gd name="T11" fmla="*/ 293 h 1819"/>
                <a:gd name="T12" fmla="*/ 759 w 2451"/>
                <a:gd name="T13" fmla="*/ 364 h 1819"/>
                <a:gd name="T14" fmla="*/ 759 w 2451"/>
                <a:gd name="T15" fmla="*/ 458 h 1819"/>
                <a:gd name="T16" fmla="*/ 727 w 2451"/>
                <a:gd name="T17" fmla="*/ 553 h 1819"/>
                <a:gd name="T18" fmla="*/ 672 w 2451"/>
                <a:gd name="T19" fmla="*/ 648 h 1819"/>
                <a:gd name="T20" fmla="*/ 664 w 2451"/>
                <a:gd name="T21" fmla="*/ 743 h 1819"/>
                <a:gd name="T22" fmla="*/ 577 w 2451"/>
                <a:gd name="T23" fmla="*/ 830 h 1819"/>
                <a:gd name="T24" fmla="*/ 443 w 2451"/>
                <a:gd name="T25" fmla="*/ 814 h 1819"/>
                <a:gd name="T26" fmla="*/ 506 w 2451"/>
                <a:gd name="T27" fmla="*/ 751 h 1819"/>
                <a:gd name="T28" fmla="*/ 529 w 2451"/>
                <a:gd name="T29" fmla="*/ 767 h 1819"/>
                <a:gd name="T30" fmla="*/ 569 w 2451"/>
                <a:gd name="T31" fmla="*/ 791 h 1819"/>
                <a:gd name="T32" fmla="*/ 616 w 2451"/>
                <a:gd name="T33" fmla="*/ 664 h 1819"/>
                <a:gd name="T34" fmla="*/ 624 w 2451"/>
                <a:gd name="T35" fmla="*/ 593 h 1819"/>
                <a:gd name="T36" fmla="*/ 640 w 2451"/>
                <a:gd name="T37" fmla="*/ 522 h 1819"/>
                <a:gd name="T38" fmla="*/ 616 w 2451"/>
                <a:gd name="T39" fmla="*/ 427 h 1819"/>
                <a:gd name="T40" fmla="*/ 545 w 2451"/>
                <a:gd name="T41" fmla="*/ 387 h 1819"/>
                <a:gd name="T42" fmla="*/ 419 w 2451"/>
                <a:gd name="T43" fmla="*/ 324 h 1819"/>
                <a:gd name="T44" fmla="*/ 71 w 2451"/>
                <a:gd name="T45" fmla="*/ 127 h 1819"/>
                <a:gd name="T46" fmla="*/ 23 w 2451"/>
                <a:gd name="T47" fmla="*/ 277 h 1819"/>
                <a:gd name="T48" fmla="*/ 63 w 2451"/>
                <a:gd name="T49" fmla="*/ 451 h 1819"/>
                <a:gd name="T50" fmla="*/ 79 w 2451"/>
                <a:gd name="T51" fmla="*/ 648 h 1819"/>
                <a:gd name="T52" fmla="*/ 47 w 2451"/>
                <a:gd name="T53" fmla="*/ 775 h 1819"/>
                <a:gd name="T54" fmla="*/ 110 w 2451"/>
                <a:gd name="T55" fmla="*/ 798 h 1819"/>
                <a:gd name="T56" fmla="*/ 94 w 2451"/>
                <a:gd name="T57" fmla="*/ 846 h 1819"/>
                <a:gd name="T58" fmla="*/ 55 w 2451"/>
                <a:gd name="T59" fmla="*/ 885 h 1819"/>
                <a:gd name="T60" fmla="*/ 110 w 2451"/>
                <a:gd name="T61" fmla="*/ 941 h 1819"/>
                <a:gd name="T62" fmla="*/ 71 w 2451"/>
                <a:gd name="T63" fmla="*/ 964 h 1819"/>
                <a:gd name="T64" fmla="*/ 47 w 2451"/>
                <a:gd name="T65" fmla="*/ 1035 h 1819"/>
                <a:gd name="T66" fmla="*/ 23 w 2451"/>
                <a:gd name="T67" fmla="*/ 1012 h 1819"/>
                <a:gd name="T68" fmla="*/ 8 w 2451"/>
                <a:gd name="T69" fmla="*/ 1028 h 1819"/>
                <a:gd name="T70" fmla="*/ 23 w 2451"/>
                <a:gd name="T71" fmla="*/ 1138 h 1819"/>
                <a:gd name="T72" fmla="*/ 158 w 2451"/>
                <a:gd name="T73" fmla="*/ 1225 h 1819"/>
                <a:gd name="T74" fmla="*/ 300 w 2451"/>
                <a:gd name="T75" fmla="*/ 1328 h 1819"/>
                <a:gd name="T76" fmla="*/ 292 w 2451"/>
                <a:gd name="T77" fmla="*/ 1557 h 1819"/>
                <a:gd name="T78" fmla="*/ 521 w 2451"/>
                <a:gd name="T79" fmla="*/ 1605 h 1819"/>
                <a:gd name="T80" fmla="*/ 696 w 2451"/>
                <a:gd name="T81" fmla="*/ 1597 h 1819"/>
                <a:gd name="T82" fmla="*/ 790 w 2451"/>
                <a:gd name="T83" fmla="*/ 1660 h 1819"/>
                <a:gd name="T84" fmla="*/ 956 w 2451"/>
                <a:gd name="T85" fmla="*/ 1660 h 1819"/>
                <a:gd name="T86" fmla="*/ 1154 w 2451"/>
                <a:gd name="T87" fmla="*/ 1692 h 1819"/>
                <a:gd name="T88" fmla="*/ 1351 w 2451"/>
                <a:gd name="T89" fmla="*/ 1676 h 1819"/>
                <a:gd name="T90" fmla="*/ 1549 w 2451"/>
                <a:gd name="T91" fmla="*/ 1676 h 1819"/>
                <a:gd name="T92" fmla="*/ 2205 w 2451"/>
                <a:gd name="T93" fmla="*/ 1810 h 1819"/>
                <a:gd name="T94" fmla="*/ 2213 w 2451"/>
                <a:gd name="T95" fmla="*/ 1763 h 1819"/>
                <a:gd name="T96" fmla="*/ 2229 w 2451"/>
                <a:gd name="T97" fmla="*/ 1486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51" h="1819">
                  <a:moveTo>
                    <a:pt x="2332" y="1020"/>
                  </a:moveTo>
                  <a:lnTo>
                    <a:pt x="2332" y="1020"/>
                  </a:lnTo>
                  <a:cubicBezTo>
                    <a:pt x="2340" y="996"/>
                    <a:pt x="2427" y="538"/>
                    <a:pt x="2450" y="427"/>
                  </a:cubicBezTo>
                  <a:cubicBezTo>
                    <a:pt x="1351" y="198"/>
                    <a:pt x="656" y="0"/>
                    <a:pt x="656" y="0"/>
                  </a:cubicBezTo>
                  <a:cubicBezTo>
                    <a:pt x="672" y="8"/>
                    <a:pt x="687" y="0"/>
                    <a:pt x="696" y="24"/>
                  </a:cubicBezTo>
                  <a:cubicBezTo>
                    <a:pt x="703" y="40"/>
                    <a:pt x="696" y="71"/>
                    <a:pt x="719" y="95"/>
                  </a:cubicBezTo>
                  <a:cubicBezTo>
                    <a:pt x="735" y="111"/>
                    <a:pt x="751" y="111"/>
                    <a:pt x="759" y="127"/>
                  </a:cubicBezTo>
                  <a:cubicBezTo>
                    <a:pt x="767" y="142"/>
                    <a:pt x="774" y="150"/>
                    <a:pt x="767" y="174"/>
                  </a:cubicBezTo>
                  <a:cubicBezTo>
                    <a:pt x="767" y="206"/>
                    <a:pt x="759" y="221"/>
                    <a:pt x="751" y="229"/>
                  </a:cubicBezTo>
                  <a:cubicBezTo>
                    <a:pt x="743" y="237"/>
                    <a:pt x="735" y="245"/>
                    <a:pt x="743" y="261"/>
                  </a:cubicBezTo>
                  <a:cubicBezTo>
                    <a:pt x="743" y="277"/>
                    <a:pt x="743" y="277"/>
                    <a:pt x="727" y="277"/>
                  </a:cubicBezTo>
                  <a:cubicBezTo>
                    <a:pt x="703" y="277"/>
                    <a:pt x="687" y="269"/>
                    <a:pt x="703" y="293"/>
                  </a:cubicBezTo>
                  <a:cubicBezTo>
                    <a:pt x="727" y="308"/>
                    <a:pt x="727" y="316"/>
                    <a:pt x="735" y="332"/>
                  </a:cubicBezTo>
                  <a:cubicBezTo>
                    <a:pt x="743" y="340"/>
                    <a:pt x="767" y="340"/>
                    <a:pt x="759" y="364"/>
                  </a:cubicBezTo>
                  <a:cubicBezTo>
                    <a:pt x="751" y="387"/>
                    <a:pt x="735" y="380"/>
                    <a:pt x="743" y="403"/>
                  </a:cubicBezTo>
                  <a:cubicBezTo>
                    <a:pt x="743" y="427"/>
                    <a:pt x="751" y="443"/>
                    <a:pt x="759" y="458"/>
                  </a:cubicBezTo>
                  <a:cubicBezTo>
                    <a:pt x="767" y="466"/>
                    <a:pt x="767" y="498"/>
                    <a:pt x="759" y="514"/>
                  </a:cubicBezTo>
                  <a:cubicBezTo>
                    <a:pt x="751" y="538"/>
                    <a:pt x="743" y="545"/>
                    <a:pt x="727" y="553"/>
                  </a:cubicBezTo>
                  <a:cubicBezTo>
                    <a:pt x="711" y="569"/>
                    <a:pt x="703" y="585"/>
                    <a:pt x="687" y="601"/>
                  </a:cubicBezTo>
                  <a:cubicBezTo>
                    <a:pt x="672" y="617"/>
                    <a:pt x="664" y="624"/>
                    <a:pt x="672" y="648"/>
                  </a:cubicBezTo>
                  <a:cubicBezTo>
                    <a:pt x="680" y="672"/>
                    <a:pt x="680" y="680"/>
                    <a:pt x="672" y="696"/>
                  </a:cubicBezTo>
                  <a:cubicBezTo>
                    <a:pt x="664" y="711"/>
                    <a:pt x="664" y="719"/>
                    <a:pt x="664" y="743"/>
                  </a:cubicBezTo>
                  <a:cubicBezTo>
                    <a:pt x="656" y="767"/>
                    <a:pt x="656" y="767"/>
                    <a:pt x="640" y="791"/>
                  </a:cubicBezTo>
                  <a:cubicBezTo>
                    <a:pt x="616" y="814"/>
                    <a:pt x="624" y="814"/>
                    <a:pt x="577" y="830"/>
                  </a:cubicBezTo>
                  <a:cubicBezTo>
                    <a:pt x="537" y="846"/>
                    <a:pt x="553" y="870"/>
                    <a:pt x="506" y="854"/>
                  </a:cubicBezTo>
                  <a:cubicBezTo>
                    <a:pt x="458" y="838"/>
                    <a:pt x="427" y="838"/>
                    <a:pt x="443" y="814"/>
                  </a:cubicBezTo>
                  <a:cubicBezTo>
                    <a:pt x="450" y="791"/>
                    <a:pt x="474" y="783"/>
                    <a:pt x="482" y="759"/>
                  </a:cubicBezTo>
                  <a:cubicBezTo>
                    <a:pt x="498" y="735"/>
                    <a:pt x="506" y="727"/>
                    <a:pt x="506" y="751"/>
                  </a:cubicBezTo>
                  <a:cubicBezTo>
                    <a:pt x="506" y="775"/>
                    <a:pt x="482" y="798"/>
                    <a:pt x="506" y="798"/>
                  </a:cubicBezTo>
                  <a:cubicBezTo>
                    <a:pt x="529" y="798"/>
                    <a:pt x="514" y="783"/>
                    <a:pt x="529" y="767"/>
                  </a:cubicBezTo>
                  <a:cubicBezTo>
                    <a:pt x="545" y="759"/>
                    <a:pt x="537" y="735"/>
                    <a:pt x="553" y="759"/>
                  </a:cubicBezTo>
                  <a:cubicBezTo>
                    <a:pt x="561" y="775"/>
                    <a:pt x="545" y="783"/>
                    <a:pt x="569" y="791"/>
                  </a:cubicBezTo>
                  <a:cubicBezTo>
                    <a:pt x="593" y="791"/>
                    <a:pt x="608" y="759"/>
                    <a:pt x="616" y="735"/>
                  </a:cubicBezTo>
                  <a:cubicBezTo>
                    <a:pt x="616" y="704"/>
                    <a:pt x="632" y="672"/>
                    <a:pt x="616" y="664"/>
                  </a:cubicBezTo>
                  <a:cubicBezTo>
                    <a:pt x="593" y="664"/>
                    <a:pt x="577" y="656"/>
                    <a:pt x="593" y="640"/>
                  </a:cubicBezTo>
                  <a:cubicBezTo>
                    <a:pt x="616" y="624"/>
                    <a:pt x="608" y="609"/>
                    <a:pt x="624" y="593"/>
                  </a:cubicBezTo>
                  <a:cubicBezTo>
                    <a:pt x="632" y="577"/>
                    <a:pt x="664" y="585"/>
                    <a:pt x="664" y="569"/>
                  </a:cubicBezTo>
                  <a:cubicBezTo>
                    <a:pt x="664" y="545"/>
                    <a:pt x="656" y="522"/>
                    <a:pt x="640" y="522"/>
                  </a:cubicBezTo>
                  <a:cubicBezTo>
                    <a:pt x="624" y="522"/>
                    <a:pt x="624" y="530"/>
                    <a:pt x="624" y="498"/>
                  </a:cubicBezTo>
                  <a:cubicBezTo>
                    <a:pt x="616" y="466"/>
                    <a:pt x="624" y="451"/>
                    <a:pt x="616" y="427"/>
                  </a:cubicBezTo>
                  <a:cubicBezTo>
                    <a:pt x="608" y="395"/>
                    <a:pt x="593" y="380"/>
                    <a:pt x="585" y="395"/>
                  </a:cubicBezTo>
                  <a:cubicBezTo>
                    <a:pt x="569" y="411"/>
                    <a:pt x="561" y="411"/>
                    <a:pt x="545" y="387"/>
                  </a:cubicBezTo>
                  <a:cubicBezTo>
                    <a:pt x="537" y="364"/>
                    <a:pt x="521" y="348"/>
                    <a:pt x="498" y="348"/>
                  </a:cubicBezTo>
                  <a:cubicBezTo>
                    <a:pt x="474" y="348"/>
                    <a:pt x="474" y="348"/>
                    <a:pt x="419" y="324"/>
                  </a:cubicBezTo>
                  <a:cubicBezTo>
                    <a:pt x="363" y="300"/>
                    <a:pt x="174" y="269"/>
                    <a:pt x="87" y="134"/>
                  </a:cubicBezTo>
                  <a:cubicBezTo>
                    <a:pt x="87" y="134"/>
                    <a:pt x="71" y="111"/>
                    <a:pt x="71" y="127"/>
                  </a:cubicBezTo>
                  <a:cubicBezTo>
                    <a:pt x="71" y="150"/>
                    <a:pt x="79" y="142"/>
                    <a:pt x="71" y="158"/>
                  </a:cubicBezTo>
                  <a:cubicBezTo>
                    <a:pt x="63" y="174"/>
                    <a:pt x="16" y="229"/>
                    <a:pt x="23" y="277"/>
                  </a:cubicBezTo>
                  <a:cubicBezTo>
                    <a:pt x="31" y="316"/>
                    <a:pt x="55" y="332"/>
                    <a:pt x="63" y="371"/>
                  </a:cubicBezTo>
                  <a:cubicBezTo>
                    <a:pt x="71" y="411"/>
                    <a:pt x="71" y="411"/>
                    <a:pt x="63" y="451"/>
                  </a:cubicBezTo>
                  <a:cubicBezTo>
                    <a:pt x="55" y="498"/>
                    <a:pt x="63" y="561"/>
                    <a:pt x="71" y="601"/>
                  </a:cubicBezTo>
                  <a:cubicBezTo>
                    <a:pt x="79" y="640"/>
                    <a:pt x="87" y="609"/>
                    <a:pt x="79" y="648"/>
                  </a:cubicBezTo>
                  <a:cubicBezTo>
                    <a:pt x="71" y="680"/>
                    <a:pt x="71" y="704"/>
                    <a:pt x="63" y="727"/>
                  </a:cubicBezTo>
                  <a:cubicBezTo>
                    <a:pt x="55" y="751"/>
                    <a:pt x="39" y="759"/>
                    <a:pt x="47" y="775"/>
                  </a:cubicBezTo>
                  <a:cubicBezTo>
                    <a:pt x="63" y="798"/>
                    <a:pt x="63" y="775"/>
                    <a:pt x="79" y="775"/>
                  </a:cubicBezTo>
                  <a:cubicBezTo>
                    <a:pt x="87" y="783"/>
                    <a:pt x="103" y="791"/>
                    <a:pt x="110" y="798"/>
                  </a:cubicBezTo>
                  <a:cubicBezTo>
                    <a:pt x="126" y="814"/>
                    <a:pt x="142" y="814"/>
                    <a:pt x="134" y="822"/>
                  </a:cubicBezTo>
                  <a:cubicBezTo>
                    <a:pt x="118" y="830"/>
                    <a:pt x="126" y="846"/>
                    <a:pt x="94" y="846"/>
                  </a:cubicBezTo>
                  <a:cubicBezTo>
                    <a:pt x="71" y="846"/>
                    <a:pt x="55" y="814"/>
                    <a:pt x="55" y="822"/>
                  </a:cubicBezTo>
                  <a:cubicBezTo>
                    <a:pt x="55" y="838"/>
                    <a:pt x="47" y="854"/>
                    <a:pt x="55" y="885"/>
                  </a:cubicBezTo>
                  <a:cubicBezTo>
                    <a:pt x="55" y="917"/>
                    <a:pt x="23" y="933"/>
                    <a:pt x="63" y="941"/>
                  </a:cubicBezTo>
                  <a:cubicBezTo>
                    <a:pt x="103" y="941"/>
                    <a:pt x="103" y="925"/>
                    <a:pt x="110" y="941"/>
                  </a:cubicBezTo>
                  <a:cubicBezTo>
                    <a:pt x="126" y="949"/>
                    <a:pt x="126" y="957"/>
                    <a:pt x="110" y="957"/>
                  </a:cubicBezTo>
                  <a:cubicBezTo>
                    <a:pt x="94" y="957"/>
                    <a:pt x="71" y="949"/>
                    <a:pt x="71" y="964"/>
                  </a:cubicBezTo>
                  <a:cubicBezTo>
                    <a:pt x="63" y="980"/>
                    <a:pt x="63" y="988"/>
                    <a:pt x="63" y="1004"/>
                  </a:cubicBezTo>
                  <a:cubicBezTo>
                    <a:pt x="71" y="1020"/>
                    <a:pt x="55" y="1020"/>
                    <a:pt x="47" y="1035"/>
                  </a:cubicBezTo>
                  <a:cubicBezTo>
                    <a:pt x="39" y="1059"/>
                    <a:pt x="47" y="1091"/>
                    <a:pt x="31" y="1067"/>
                  </a:cubicBezTo>
                  <a:cubicBezTo>
                    <a:pt x="23" y="1044"/>
                    <a:pt x="16" y="1044"/>
                    <a:pt x="23" y="1012"/>
                  </a:cubicBezTo>
                  <a:cubicBezTo>
                    <a:pt x="31" y="972"/>
                    <a:pt x="39" y="957"/>
                    <a:pt x="23" y="972"/>
                  </a:cubicBezTo>
                  <a:cubicBezTo>
                    <a:pt x="8" y="988"/>
                    <a:pt x="0" y="1004"/>
                    <a:pt x="8" y="1028"/>
                  </a:cubicBezTo>
                  <a:cubicBezTo>
                    <a:pt x="16" y="1051"/>
                    <a:pt x="8" y="1083"/>
                    <a:pt x="16" y="1107"/>
                  </a:cubicBezTo>
                  <a:cubicBezTo>
                    <a:pt x="23" y="1123"/>
                    <a:pt x="23" y="1130"/>
                    <a:pt x="23" y="1138"/>
                  </a:cubicBezTo>
                  <a:cubicBezTo>
                    <a:pt x="63" y="1154"/>
                    <a:pt x="110" y="1170"/>
                    <a:pt x="126" y="1178"/>
                  </a:cubicBezTo>
                  <a:cubicBezTo>
                    <a:pt x="158" y="1186"/>
                    <a:pt x="150" y="1186"/>
                    <a:pt x="158" y="1225"/>
                  </a:cubicBezTo>
                  <a:cubicBezTo>
                    <a:pt x="166" y="1265"/>
                    <a:pt x="181" y="1241"/>
                    <a:pt x="213" y="1241"/>
                  </a:cubicBezTo>
                  <a:cubicBezTo>
                    <a:pt x="253" y="1241"/>
                    <a:pt x="276" y="1281"/>
                    <a:pt x="300" y="1328"/>
                  </a:cubicBezTo>
                  <a:cubicBezTo>
                    <a:pt x="332" y="1368"/>
                    <a:pt x="284" y="1447"/>
                    <a:pt x="284" y="1486"/>
                  </a:cubicBezTo>
                  <a:cubicBezTo>
                    <a:pt x="276" y="1518"/>
                    <a:pt x="276" y="1541"/>
                    <a:pt x="292" y="1557"/>
                  </a:cubicBezTo>
                  <a:cubicBezTo>
                    <a:pt x="308" y="1565"/>
                    <a:pt x="363" y="1565"/>
                    <a:pt x="395" y="1589"/>
                  </a:cubicBezTo>
                  <a:cubicBezTo>
                    <a:pt x="419" y="1613"/>
                    <a:pt x="482" y="1613"/>
                    <a:pt x="521" y="1605"/>
                  </a:cubicBezTo>
                  <a:cubicBezTo>
                    <a:pt x="561" y="1589"/>
                    <a:pt x="569" y="1565"/>
                    <a:pt x="608" y="1589"/>
                  </a:cubicBezTo>
                  <a:cubicBezTo>
                    <a:pt x="648" y="1605"/>
                    <a:pt x="656" y="1597"/>
                    <a:pt x="696" y="1597"/>
                  </a:cubicBezTo>
                  <a:cubicBezTo>
                    <a:pt x="727" y="1597"/>
                    <a:pt x="735" y="1605"/>
                    <a:pt x="751" y="1628"/>
                  </a:cubicBezTo>
                  <a:cubicBezTo>
                    <a:pt x="774" y="1652"/>
                    <a:pt x="774" y="1660"/>
                    <a:pt x="790" y="1660"/>
                  </a:cubicBezTo>
                  <a:cubicBezTo>
                    <a:pt x="806" y="1660"/>
                    <a:pt x="854" y="1652"/>
                    <a:pt x="869" y="1676"/>
                  </a:cubicBezTo>
                  <a:cubicBezTo>
                    <a:pt x="885" y="1692"/>
                    <a:pt x="940" y="1668"/>
                    <a:pt x="956" y="1660"/>
                  </a:cubicBezTo>
                  <a:cubicBezTo>
                    <a:pt x="972" y="1644"/>
                    <a:pt x="1020" y="1660"/>
                    <a:pt x="1043" y="1692"/>
                  </a:cubicBezTo>
                  <a:cubicBezTo>
                    <a:pt x="1067" y="1723"/>
                    <a:pt x="1138" y="1708"/>
                    <a:pt x="1154" y="1692"/>
                  </a:cubicBezTo>
                  <a:cubicBezTo>
                    <a:pt x="1170" y="1684"/>
                    <a:pt x="1233" y="1684"/>
                    <a:pt x="1304" y="1692"/>
                  </a:cubicBezTo>
                  <a:cubicBezTo>
                    <a:pt x="1383" y="1692"/>
                    <a:pt x="1336" y="1684"/>
                    <a:pt x="1351" y="1676"/>
                  </a:cubicBezTo>
                  <a:cubicBezTo>
                    <a:pt x="1367" y="1660"/>
                    <a:pt x="1407" y="1676"/>
                    <a:pt x="1438" y="1684"/>
                  </a:cubicBezTo>
                  <a:cubicBezTo>
                    <a:pt x="1462" y="1692"/>
                    <a:pt x="1526" y="1692"/>
                    <a:pt x="1549" y="1676"/>
                  </a:cubicBezTo>
                  <a:cubicBezTo>
                    <a:pt x="1573" y="1668"/>
                    <a:pt x="1731" y="1708"/>
                    <a:pt x="1786" y="1739"/>
                  </a:cubicBezTo>
                  <a:cubicBezTo>
                    <a:pt x="1842" y="1763"/>
                    <a:pt x="2205" y="1810"/>
                    <a:pt x="2205" y="1810"/>
                  </a:cubicBezTo>
                  <a:cubicBezTo>
                    <a:pt x="2213" y="1818"/>
                    <a:pt x="2213" y="1818"/>
                    <a:pt x="2213" y="1818"/>
                  </a:cubicBezTo>
                  <a:cubicBezTo>
                    <a:pt x="2213" y="1794"/>
                    <a:pt x="2213" y="1771"/>
                    <a:pt x="2213" y="1763"/>
                  </a:cubicBezTo>
                  <a:cubicBezTo>
                    <a:pt x="2213" y="1739"/>
                    <a:pt x="2237" y="1700"/>
                    <a:pt x="2221" y="1676"/>
                  </a:cubicBezTo>
                  <a:cubicBezTo>
                    <a:pt x="2213" y="1660"/>
                    <a:pt x="2205" y="1518"/>
                    <a:pt x="2229" y="1486"/>
                  </a:cubicBezTo>
                  <a:cubicBezTo>
                    <a:pt x="2245" y="1455"/>
                    <a:pt x="2324" y="1051"/>
                    <a:pt x="2332" y="1020"/>
                  </a:cubicBezTo>
                </a:path>
              </a:pathLst>
            </a:custGeom>
            <a:solidFill>
              <a:schemeClr val="accent6"/>
            </a:solidFill>
            <a:ln>
              <a:solidFill>
                <a:schemeClr val="bg2"/>
              </a:solidFill>
            </a:ln>
            <a:effectLst/>
          </p:spPr>
          <p:txBody>
            <a:bodyPr wrap="none" anchor="ctr"/>
            <a:lstStyle/>
            <a:p>
              <a:endParaRPr lang="en-US"/>
            </a:p>
          </p:txBody>
        </p:sp>
        <p:sp>
          <p:nvSpPr>
            <p:cNvPr id="33" name="Freeform 222"/>
            <p:cNvSpPr>
              <a:spLocks noChangeArrowheads="1"/>
            </p:cNvSpPr>
            <p:nvPr/>
          </p:nvSpPr>
          <p:spPr bwMode="auto">
            <a:xfrm>
              <a:off x="957424" y="1738573"/>
              <a:ext cx="887355" cy="570126"/>
            </a:xfrm>
            <a:custGeom>
              <a:avLst/>
              <a:gdLst>
                <a:gd name="T0" fmla="*/ 1486 w 2459"/>
                <a:gd name="T1" fmla="*/ 1700 h 1827"/>
                <a:gd name="T2" fmla="*/ 1304 w 2459"/>
                <a:gd name="T3" fmla="*/ 1700 h 1827"/>
                <a:gd name="T4" fmla="*/ 893 w 2459"/>
                <a:gd name="T5" fmla="*/ 1692 h 1827"/>
                <a:gd name="T6" fmla="*/ 696 w 2459"/>
                <a:gd name="T7" fmla="*/ 1605 h 1827"/>
                <a:gd name="T8" fmla="*/ 466 w 2459"/>
                <a:gd name="T9" fmla="*/ 1621 h 1827"/>
                <a:gd name="T10" fmla="*/ 292 w 2459"/>
                <a:gd name="T11" fmla="*/ 1320 h 1827"/>
                <a:gd name="T12" fmla="*/ 23 w 2459"/>
                <a:gd name="T13" fmla="*/ 1146 h 1827"/>
                <a:gd name="T14" fmla="*/ 23 w 2459"/>
                <a:gd name="T15" fmla="*/ 972 h 1827"/>
                <a:gd name="T16" fmla="*/ 39 w 2459"/>
                <a:gd name="T17" fmla="*/ 1075 h 1827"/>
                <a:gd name="T18" fmla="*/ 87 w 2459"/>
                <a:gd name="T19" fmla="*/ 957 h 1827"/>
                <a:gd name="T20" fmla="*/ 39 w 2459"/>
                <a:gd name="T21" fmla="*/ 941 h 1827"/>
                <a:gd name="T22" fmla="*/ 94 w 2459"/>
                <a:gd name="T23" fmla="*/ 846 h 1827"/>
                <a:gd name="T24" fmla="*/ 79 w 2459"/>
                <a:gd name="T25" fmla="*/ 791 h 1827"/>
                <a:gd name="T26" fmla="*/ 71 w 2459"/>
                <a:gd name="T27" fmla="*/ 656 h 1827"/>
                <a:gd name="T28" fmla="*/ 63 w 2459"/>
                <a:gd name="T29" fmla="*/ 379 h 1827"/>
                <a:gd name="T30" fmla="*/ 71 w 2459"/>
                <a:gd name="T31" fmla="*/ 126 h 1827"/>
                <a:gd name="T32" fmla="*/ 553 w 2459"/>
                <a:gd name="T33" fmla="*/ 395 h 1827"/>
                <a:gd name="T34" fmla="*/ 632 w 2459"/>
                <a:gd name="T35" fmla="*/ 522 h 1827"/>
                <a:gd name="T36" fmla="*/ 616 w 2459"/>
                <a:gd name="T37" fmla="*/ 625 h 1827"/>
                <a:gd name="T38" fmla="*/ 545 w 2459"/>
                <a:gd name="T39" fmla="*/ 783 h 1827"/>
                <a:gd name="T40" fmla="*/ 498 w 2459"/>
                <a:gd name="T41" fmla="*/ 806 h 1827"/>
                <a:gd name="T42" fmla="*/ 443 w 2459"/>
                <a:gd name="T43" fmla="*/ 830 h 1827"/>
                <a:gd name="T44" fmla="*/ 632 w 2459"/>
                <a:gd name="T45" fmla="*/ 791 h 1827"/>
                <a:gd name="T46" fmla="*/ 687 w 2459"/>
                <a:gd name="T47" fmla="*/ 609 h 1827"/>
                <a:gd name="T48" fmla="*/ 743 w 2459"/>
                <a:gd name="T49" fmla="*/ 388 h 1827"/>
                <a:gd name="T50" fmla="*/ 719 w 2459"/>
                <a:gd name="T51" fmla="*/ 277 h 1827"/>
                <a:gd name="T52" fmla="*/ 767 w 2459"/>
                <a:gd name="T53" fmla="*/ 182 h 1827"/>
                <a:gd name="T54" fmla="*/ 672 w 2459"/>
                <a:gd name="T55" fmla="*/ 16 h 1827"/>
                <a:gd name="T56" fmla="*/ 2340 w 2459"/>
                <a:gd name="T57" fmla="*/ 1028 h 1827"/>
                <a:gd name="T58" fmla="*/ 1557 w 2459"/>
                <a:gd name="T59" fmla="*/ 1684 h 1827"/>
                <a:gd name="T60" fmla="*/ 2221 w 2459"/>
                <a:gd name="T61" fmla="*/ 1684 h 1827"/>
                <a:gd name="T62" fmla="*/ 703 w 2459"/>
                <a:gd name="T63" fmla="*/ 55 h 1827"/>
                <a:gd name="T64" fmla="*/ 743 w 2459"/>
                <a:gd name="T65" fmla="*/ 269 h 1827"/>
                <a:gd name="T66" fmla="*/ 703 w 2459"/>
                <a:gd name="T67" fmla="*/ 293 h 1827"/>
                <a:gd name="T68" fmla="*/ 767 w 2459"/>
                <a:gd name="T69" fmla="*/ 459 h 1827"/>
                <a:gd name="T70" fmla="*/ 680 w 2459"/>
                <a:gd name="T71" fmla="*/ 656 h 1827"/>
                <a:gd name="T72" fmla="*/ 577 w 2459"/>
                <a:gd name="T73" fmla="*/ 846 h 1827"/>
                <a:gd name="T74" fmla="*/ 482 w 2459"/>
                <a:gd name="T75" fmla="*/ 767 h 1827"/>
                <a:gd name="T76" fmla="*/ 529 w 2459"/>
                <a:gd name="T77" fmla="*/ 775 h 1827"/>
                <a:gd name="T78" fmla="*/ 616 w 2459"/>
                <a:gd name="T79" fmla="*/ 712 h 1827"/>
                <a:gd name="T80" fmla="*/ 656 w 2459"/>
                <a:gd name="T81" fmla="*/ 577 h 1827"/>
                <a:gd name="T82" fmla="*/ 616 w 2459"/>
                <a:gd name="T83" fmla="*/ 435 h 1827"/>
                <a:gd name="T84" fmla="*/ 419 w 2459"/>
                <a:gd name="T85" fmla="*/ 340 h 1827"/>
                <a:gd name="T86" fmla="*/ 63 w 2459"/>
                <a:gd name="T87" fmla="*/ 182 h 1827"/>
                <a:gd name="T88" fmla="*/ 79 w 2459"/>
                <a:gd name="T89" fmla="*/ 609 h 1827"/>
                <a:gd name="T90" fmla="*/ 55 w 2459"/>
                <a:gd name="T91" fmla="*/ 783 h 1827"/>
                <a:gd name="T92" fmla="*/ 126 w 2459"/>
                <a:gd name="T93" fmla="*/ 814 h 1827"/>
                <a:gd name="T94" fmla="*/ 55 w 2459"/>
                <a:gd name="T95" fmla="*/ 838 h 1827"/>
                <a:gd name="T96" fmla="*/ 118 w 2459"/>
                <a:gd name="T97" fmla="*/ 941 h 1827"/>
                <a:gd name="T98" fmla="*/ 63 w 2459"/>
                <a:gd name="T99" fmla="*/ 1036 h 1827"/>
                <a:gd name="T100" fmla="*/ 23 w 2459"/>
                <a:gd name="T101" fmla="*/ 996 h 1827"/>
                <a:gd name="T102" fmla="*/ 31 w 2459"/>
                <a:gd name="T103" fmla="*/ 1138 h 1827"/>
                <a:gd name="T104" fmla="*/ 292 w 2459"/>
                <a:gd name="T105" fmla="*/ 1320 h 1827"/>
                <a:gd name="T106" fmla="*/ 466 w 2459"/>
                <a:gd name="T107" fmla="*/ 1613 h 1827"/>
                <a:gd name="T108" fmla="*/ 696 w 2459"/>
                <a:gd name="T109" fmla="*/ 1597 h 1827"/>
                <a:gd name="T110" fmla="*/ 893 w 2459"/>
                <a:gd name="T111" fmla="*/ 1684 h 1827"/>
                <a:gd name="T112" fmla="*/ 1304 w 2459"/>
                <a:gd name="T113" fmla="*/ 1692 h 1827"/>
                <a:gd name="T114" fmla="*/ 1549 w 2459"/>
                <a:gd name="T115" fmla="*/ 1684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59" h="1827">
                  <a:moveTo>
                    <a:pt x="2221" y="1826"/>
                  </a:moveTo>
                  <a:lnTo>
                    <a:pt x="2221" y="1826"/>
                  </a:lnTo>
                  <a:cubicBezTo>
                    <a:pt x="2205" y="1826"/>
                    <a:pt x="2205" y="1826"/>
                    <a:pt x="2205" y="1826"/>
                  </a:cubicBezTo>
                  <a:cubicBezTo>
                    <a:pt x="2190" y="1826"/>
                    <a:pt x="1842" y="1779"/>
                    <a:pt x="1786" y="1747"/>
                  </a:cubicBezTo>
                  <a:cubicBezTo>
                    <a:pt x="1739" y="1723"/>
                    <a:pt x="1604" y="1684"/>
                    <a:pt x="1557" y="1684"/>
                  </a:cubicBezTo>
                  <a:cubicBezTo>
                    <a:pt x="1549" y="1684"/>
                    <a:pt x="1549" y="1692"/>
                    <a:pt x="1549" y="1692"/>
                  </a:cubicBezTo>
                  <a:cubicBezTo>
                    <a:pt x="1533" y="1692"/>
                    <a:pt x="1518" y="1700"/>
                    <a:pt x="1486" y="1700"/>
                  </a:cubicBezTo>
                  <a:cubicBezTo>
                    <a:pt x="1470" y="1700"/>
                    <a:pt x="1446" y="1700"/>
                    <a:pt x="1438" y="1692"/>
                  </a:cubicBezTo>
                  <a:cubicBezTo>
                    <a:pt x="1423" y="1684"/>
                    <a:pt x="1391" y="1676"/>
                    <a:pt x="1375" y="1676"/>
                  </a:cubicBezTo>
                  <a:cubicBezTo>
                    <a:pt x="1359" y="1676"/>
                    <a:pt x="1359" y="1676"/>
                    <a:pt x="1351" y="1684"/>
                  </a:cubicBezTo>
                  <a:cubicBezTo>
                    <a:pt x="1351" y="1684"/>
                    <a:pt x="1351" y="1684"/>
                    <a:pt x="1351" y="1692"/>
                  </a:cubicBezTo>
                  <a:cubicBezTo>
                    <a:pt x="1351" y="1692"/>
                    <a:pt x="1359" y="1700"/>
                    <a:pt x="1351" y="1700"/>
                  </a:cubicBezTo>
                  <a:cubicBezTo>
                    <a:pt x="1351" y="1700"/>
                    <a:pt x="1351" y="1700"/>
                    <a:pt x="1344" y="1700"/>
                  </a:cubicBezTo>
                  <a:cubicBezTo>
                    <a:pt x="1336" y="1700"/>
                    <a:pt x="1320" y="1700"/>
                    <a:pt x="1304" y="1700"/>
                  </a:cubicBezTo>
                  <a:cubicBezTo>
                    <a:pt x="1273" y="1700"/>
                    <a:pt x="1241" y="1700"/>
                    <a:pt x="1217" y="1700"/>
                  </a:cubicBezTo>
                  <a:cubicBezTo>
                    <a:pt x="1178" y="1700"/>
                    <a:pt x="1162" y="1700"/>
                    <a:pt x="1154" y="1708"/>
                  </a:cubicBezTo>
                  <a:cubicBezTo>
                    <a:pt x="1146" y="1716"/>
                    <a:pt x="1114" y="1723"/>
                    <a:pt x="1091" y="1723"/>
                  </a:cubicBezTo>
                  <a:cubicBezTo>
                    <a:pt x="1067" y="1723"/>
                    <a:pt x="1051" y="1716"/>
                    <a:pt x="1043" y="1700"/>
                  </a:cubicBezTo>
                  <a:cubicBezTo>
                    <a:pt x="1020" y="1676"/>
                    <a:pt x="988" y="1668"/>
                    <a:pt x="972" y="1668"/>
                  </a:cubicBezTo>
                  <a:cubicBezTo>
                    <a:pt x="964" y="1668"/>
                    <a:pt x="964" y="1668"/>
                    <a:pt x="956" y="1668"/>
                  </a:cubicBezTo>
                  <a:cubicBezTo>
                    <a:pt x="948" y="1676"/>
                    <a:pt x="917" y="1692"/>
                    <a:pt x="893" y="1692"/>
                  </a:cubicBezTo>
                  <a:cubicBezTo>
                    <a:pt x="877" y="1692"/>
                    <a:pt x="869" y="1684"/>
                    <a:pt x="869" y="1684"/>
                  </a:cubicBezTo>
                  <a:cubicBezTo>
                    <a:pt x="861" y="1676"/>
                    <a:pt x="846" y="1668"/>
                    <a:pt x="822" y="1668"/>
                  </a:cubicBezTo>
                  <a:cubicBezTo>
                    <a:pt x="814" y="1668"/>
                    <a:pt x="798" y="1668"/>
                    <a:pt x="790" y="1676"/>
                  </a:cubicBezTo>
                  <a:cubicBezTo>
                    <a:pt x="774" y="1676"/>
                    <a:pt x="774" y="1668"/>
                    <a:pt x="759" y="1652"/>
                  </a:cubicBezTo>
                  <a:cubicBezTo>
                    <a:pt x="759" y="1644"/>
                    <a:pt x="751" y="1644"/>
                    <a:pt x="751" y="1636"/>
                  </a:cubicBezTo>
                  <a:cubicBezTo>
                    <a:pt x="743" y="1636"/>
                    <a:pt x="743" y="1636"/>
                    <a:pt x="743" y="1636"/>
                  </a:cubicBezTo>
                  <a:cubicBezTo>
                    <a:pt x="727" y="1613"/>
                    <a:pt x="719" y="1605"/>
                    <a:pt x="696" y="1605"/>
                  </a:cubicBezTo>
                  <a:cubicBezTo>
                    <a:pt x="680" y="1605"/>
                    <a:pt x="672" y="1605"/>
                    <a:pt x="664" y="1605"/>
                  </a:cubicBezTo>
                  <a:cubicBezTo>
                    <a:pt x="664" y="1605"/>
                    <a:pt x="656" y="1613"/>
                    <a:pt x="648" y="1613"/>
                  </a:cubicBezTo>
                  <a:cubicBezTo>
                    <a:pt x="632" y="1613"/>
                    <a:pt x="624" y="1605"/>
                    <a:pt x="608" y="1597"/>
                  </a:cubicBezTo>
                  <a:cubicBezTo>
                    <a:pt x="593" y="1597"/>
                    <a:pt x="585" y="1589"/>
                    <a:pt x="577" y="1589"/>
                  </a:cubicBezTo>
                  <a:cubicBezTo>
                    <a:pt x="569" y="1589"/>
                    <a:pt x="561" y="1597"/>
                    <a:pt x="553" y="1597"/>
                  </a:cubicBezTo>
                  <a:cubicBezTo>
                    <a:pt x="545" y="1605"/>
                    <a:pt x="537" y="1605"/>
                    <a:pt x="521" y="1613"/>
                  </a:cubicBezTo>
                  <a:cubicBezTo>
                    <a:pt x="506" y="1621"/>
                    <a:pt x="490" y="1621"/>
                    <a:pt x="466" y="1621"/>
                  </a:cubicBezTo>
                  <a:cubicBezTo>
                    <a:pt x="434" y="1621"/>
                    <a:pt x="403" y="1613"/>
                    <a:pt x="387" y="1597"/>
                  </a:cubicBezTo>
                  <a:cubicBezTo>
                    <a:pt x="371" y="1581"/>
                    <a:pt x="348" y="1581"/>
                    <a:pt x="324" y="1573"/>
                  </a:cubicBezTo>
                  <a:cubicBezTo>
                    <a:pt x="308" y="1573"/>
                    <a:pt x="300" y="1573"/>
                    <a:pt x="292" y="1565"/>
                  </a:cubicBezTo>
                  <a:cubicBezTo>
                    <a:pt x="276" y="1549"/>
                    <a:pt x="268" y="1526"/>
                    <a:pt x="276" y="1494"/>
                  </a:cubicBezTo>
                  <a:cubicBezTo>
                    <a:pt x="276" y="1478"/>
                    <a:pt x="284" y="1463"/>
                    <a:pt x="292" y="1455"/>
                  </a:cubicBezTo>
                  <a:cubicBezTo>
                    <a:pt x="300" y="1415"/>
                    <a:pt x="316" y="1368"/>
                    <a:pt x="300" y="1336"/>
                  </a:cubicBezTo>
                  <a:cubicBezTo>
                    <a:pt x="292" y="1328"/>
                    <a:pt x="292" y="1328"/>
                    <a:pt x="292" y="1320"/>
                  </a:cubicBezTo>
                  <a:cubicBezTo>
                    <a:pt x="268" y="1281"/>
                    <a:pt x="245" y="1249"/>
                    <a:pt x="213" y="1249"/>
                  </a:cubicBezTo>
                  <a:cubicBezTo>
                    <a:pt x="205" y="1249"/>
                    <a:pt x="197" y="1257"/>
                    <a:pt x="190" y="1257"/>
                  </a:cubicBezTo>
                  <a:cubicBezTo>
                    <a:pt x="181" y="1257"/>
                    <a:pt x="181" y="1257"/>
                    <a:pt x="174" y="1257"/>
                  </a:cubicBezTo>
                  <a:cubicBezTo>
                    <a:pt x="166" y="1257"/>
                    <a:pt x="158" y="1249"/>
                    <a:pt x="158" y="1233"/>
                  </a:cubicBezTo>
                  <a:cubicBezTo>
                    <a:pt x="158" y="1233"/>
                    <a:pt x="158" y="1225"/>
                    <a:pt x="150" y="1225"/>
                  </a:cubicBezTo>
                  <a:cubicBezTo>
                    <a:pt x="150" y="1194"/>
                    <a:pt x="150" y="1194"/>
                    <a:pt x="126" y="1186"/>
                  </a:cubicBezTo>
                  <a:cubicBezTo>
                    <a:pt x="110" y="1178"/>
                    <a:pt x="63" y="1162"/>
                    <a:pt x="23" y="1146"/>
                  </a:cubicBezTo>
                  <a:lnTo>
                    <a:pt x="23" y="1146"/>
                  </a:lnTo>
                  <a:lnTo>
                    <a:pt x="23" y="1146"/>
                  </a:lnTo>
                  <a:cubicBezTo>
                    <a:pt x="23" y="1138"/>
                    <a:pt x="23" y="1138"/>
                    <a:pt x="16" y="1131"/>
                  </a:cubicBezTo>
                  <a:cubicBezTo>
                    <a:pt x="16" y="1131"/>
                    <a:pt x="16" y="1123"/>
                    <a:pt x="16" y="1115"/>
                  </a:cubicBezTo>
                  <a:cubicBezTo>
                    <a:pt x="8" y="1099"/>
                    <a:pt x="8" y="1083"/>
                    <a:pt x="8" y="1067"/>
                  </a:cubicBezTo>
                  <a:cubicBezTo>
                    <a:pt x="8" y="1059"/>
                    <a:pt x="8" y="1043"/>
                    <a:pt x="8" y="1036"/>
                  </a:cubicBezTo>
                  <a:cubicBezTo>
                    <a:pt x="0" y="1012"/>
                    <a:pt x="8" y="988"/>
                    <a:pt x="23" y="972"/>
                  </a:cubicBezTo>
                  <a:cubicBezTo>
                    <a:pt x="23" y="972"/>
                    <a:pt x="23" y="965"/>
                    <a:pt x="31" y="965"/>
                  </a:cubicBezTo>
                  <a:lnTo>
                    <a:pt x="31" y="972"/>
                  </a:lnTo>
                  <a:cubicBezTo>
                    <a:pt x="39" y="972"/>
                    <a:pt x="31" y="980"/>
                    <a:pt x="31" y="996"/>
                  </a:cubicBezTo>
                  <a:cubicBezTo>
                    <a:pt x="31" y="1004"/>
                    <a:pt x="31" y="1012"/>
                    <a:pt x="23" y="1020"/>
                  </a:cubicBezTo>
                  <a:cubicBezTo>
                    <a:pt x="23" y="1052"/>
                    <a:pt x="23" y="1052"/>
                    <a:pt x="31" y="1067"/>
                  </a:cubicBezTo>
                  <a:cubicBezTo>
                    <a:pt x="39" y="1075"/>
                    <a:pt x="39" y="1075"/>
                    <a:pt x="39" y="1075"/>
                  </a:cubicBezTo>
                  <a:lnTo>
                    <a:pt x="39" y="1075"/>
                  </a:lnTo>
                  <a:cubicBezTo>
                    <a:pt x="39" y="1075"/>
                    <a:pt x="39" y="1075"/>
                    <a:pt x="39" y="1067"/>
                  </a:cubicBezTo>
                  <a:cubicBezTo>
                    <a:pt x="39" y="1059"/>
                    <a:pt x="39" y="1052"/>
                    <a:pt x="39" y="1043"/>
                  </a:cubicBezTo>
                  <a:cubicBezTo>
                    <a:pt x="47" y="1036"/>
                    <a:pt x="47" y="1036"/>
                    <a:pt x="55" y="1028"/>
                  </a:cubicBezTo>
                  <a:cubicBezTo>
                    <a:pt x="63" y="1028"/>
                    <a:pt x="63" y="1020"/>
                    <a:pt x="63" y="1012"/>
                  </a:cubicBezTo>
                  <a:cubicBezTo>
                    <a:pt x="63" y="996"/>
                    <a:pt x="63" y="988"/>
                    <a:pt x="63" y="972"/>
                  </a:cubicBezTo>
                  <a:cubicBezTo>
                    <a:pt x="63" y="965"/>
                    <a:pt x="71" y="957"/>
                    <a:pt x="79" y="957"/>
                  </a:cubicBezTo>
                  <a:lnTo>
                    <a:pt x="87" y="957"/>
                  </a:lnTo>
                  <a:cubicBezTo>
                    <a:pt x="94" y="965"/>
                    <a:pt x="103" y="965"/>
                    <a:pt x="103" y="965"/>
                  </a:cubicBezTo>
                  <a:cubicBezTo>
                    <a:pt x="118" y="957"/>
                    <a:pt x="118" y="957"/>
                    <a:pt x="118" y="957"/>
                  </a:cubicBezTo>
                  <a:cubicBezTo>
                    <a:pt x="118" y="957"/>
                    <a:pt x="118" y="957"/>
                    <a:pt x="110" y="949"/>
                  </a:cubicBezTo>
                  <a:cubicBezTo>
                    <a:pt x="110" y="941"/>
                    <a:pt x="110" y="941"/>
                    <a:pt x="103" y="941"/>
                  </a:cubicBezTo>
                  <a:lnTo>
                    <a:pt x="103" y="949"/>
                  </a:lnTo>
                  <a:cubicBezTo>
                    <a:pt x="94" y="949"/>
                    <a:pt x="79" y="949"/>
                    <a:pt x="63" y="949"/>
                  </a:cubicBezTo>
                  <a:cubicBezTo>
                    <a:pt x="55" y="949"/>
                    <a:pt x="47" y="949"/>
                    <a:pt x="39" y="941"/>
                  </a:cubicBezTo>
                  <a:cubicBezTo>
                    <a:pt x="39" y="933"/>
                    <a:pt x="39" y="933"/>
                    <a:pt x="47" y="925"/>
                  </a:cubicBezTo>
                  <a:cubicBezTo>
                    <a:pt x="47" y="917"/>
                    <a:pt x="47" y="901"/>
                    <a:pt x="47" y="893"/>
                  </a:cubicBezTo>
                  <a:cubicBezTo>
                    <a:pt x="47" y="862"/>
                    <a:pt x="47" y="854"/>
                    <a:pt x="47" y="838"/>
                  </a:cubicBezTo>
                  <a:cubicBezTo>
                    <a:pt x="47" y="830"/>
                    <a:pt x="47" y="830"/>
                    <a:pt x="47" y="830"/>
                  </a:cubicBezTo>
                  <a:cubicBezTo>
                    <a:pt x="55" y="830"/>
                    <a:pt x="55" y="830"/>
                    <a:pt x="55" y="830"/>
                  </a:cubicBezTo>
                  <a:cubicBezTo>
                    <a:pt x="63" y="830"/>
                    <a:pt x="63" y="830"/>
                    <a:pt x="63" y="830"/>
                  </a:cubicBezTo>
                  <a:cubicBezTo>
                    <a:pt x="71" y="838"/>
                    <a:pt x="79" y="846"/>
                    <a:pt x="94" y="846"/>
                  </a:cubicBezTo>
                  <a:cubicBezTo>
                    <a:pt x="110" y="846"/>
                    <a:pt x="110" y="846"/>
                    <a:pt x="118" y="838"/>
                  </a:cubicBezTo>
                  <a:lnTo>
                    <a:pt x="126" y="830"/>
                  </a:lnTo>
                  <a:cubicBezTo>
                    <a:pt x="134" y="830"/>
                    <a:pt x="134" y="830"/>
                    <a:pt x="134" y="830"/>
                  </a:cubicBezTo>
                  <a:cubicBezTo>
                    <a:pt x="134" y="822"/>
                    <a:pt x="126" y="822"/>
                    <a:pt x="126" y="822"/>
                  </a:cubicBezTo>
                  <a:cubicBezTo>
                    <a:pt x="118" y="822"/>
                    <a:pt x="110" y="814"/>
                    <a:pt x="110" y="814"/>
                  </a:cubicBezTo>
                  <a:cubicBezTo>
                    <a:pt x="103" y="806"/>
                    <a:pt x="94" y="799"/>
                    <a:pt x="87" y="791"/>
                  </a:cubicBezTo>
                  <a:cubicBezTo>
                    <a:pt x="79" y="791"/>
                    <a:pt x="79" y="791"/>
                    <a:pt x="79" y="791"/>
                  </a:cubicBezTo>
                  <a:cubicBezTo>
                    <a:pt x="71" y="791"/>
                    <a:pt x="71" y="791"/>
                    <a:pt x="63" y="791"/>
                  </a:cubicBezTo>
                  <a:cubicBezTo>
                    <a:pt x="63" y="791"/>
                    <a:pt x="63" y="799"/>
                    <a:pt x="55" y="799"/>
                  </a:cubicBezTo>
                  <a:lnTo>
                    <a:pt x="47" y="791"/>
                  </a:lnTo>
                  <a:cubicBezTo>
                    <a:pt x="39" y="775"/>
                    <a:pt x="39" y="767"/>
                    <a:pt x="47" y="751"/>
                  </a:cubicBezTo>
                  <a:cubicBezTo>
                    <a:pt x="55" y="751"/>
                    <a:pt x="55" y="743"/>
                    <a:pt x="55" y="735"/>
                  </a:cubicBezTo>
                  <a:cubicBezTo>
                    <a:pt x="63" y="719"/>
                    <a:pt x="63" y="704"/>
                    <a:pt x="63" y="696"/>
                  </a:cubicBezTo>
                  <a:cubicBezTo>
                    <a:pt x="71" y="680"/>
                    <a:pt x="71" y="672"/>
                    <a:pt x="71" y="656"/>
                  </a:cubicBezTo>
                  <a:cubicBezTo>
                    <a:pt x="71" y="648"/>
                    <a:pt x="71" y="648"/>
                    <a:pt x="71" y="648"/>
                  </a:cubicBezTo>
                  <a:cubicBezTo>
                    <a:pt x="79" y="632"/>
                    <a:pt x="79" y="632"/>
                    <a:pt x="79" y="632"/>
                  </a:cubicBezTo>
                  <a:cubicBezTo>
                    <a:pt x="71" y="632"/>
                    <a:pt x="71" y="625"/>
                    <a:pt x="71" y="609"/>
                  </a:cubicBezTo>
                  <a:cubicBezTo>
                    <a:pt x="71" y="601"/>
                    <a:pt x="71" y="601"/>
                    <a:pt x="71" y="601"/>
                  </a:cubicBezTo>
                  <a:cubicBezTo>
                    <a:pt x="63" y="561"/>
                    <a:pt x="55" y="506"/>
                    <a:pt x="63" y="459"/>
                  </a:cubicBezTo>
                  <a:cubicBezTo>
                    <a:pt x="63" y="451"/>
                    <a:pt x="63" y="443"/>
                    <a:pt x="63" y="443"/>
                  </a:cubicBezTo>
                  <a:cubicBezTo>
                    <a:pt x="63" y="411"/>
                    <a:pt x="63" y="411"/>
                    <a:pt x="63" y="379"/>
                  </a:cubicBezTo>
                  <a:cubicBezTo>
                    <a:pt x="55" y="364"/>
                    <a:pt x="47" y="348"/>
                    <a:pt x="39" y="340"/>
                  </a:cubicBezTo>
                  <a:cubicBezTo>
                    <a:pt x="31" y="324"/>
                    <a:pt x="23" y="308"/>
                    <a:pt x="23" y="285"/>
                  </a:cubicBezTo>
                  <a:cubicBezTo>
                    <a:pt x="16" y="245"/>
                    <a:pt x="47" y="198"/>
                    <a:pt x="55" y="174"/>
                  </a:cubicBezTo>
                  <a:cubicBezTo>
                    <a:pt x="63" y="174"/>
                    <a:pt x="63" y="166"/>
                    <a:pt x="63" y="166"/>
                  </a:cubicBezTo>
                  <a:cubicBezTo>
                    <a:pt x="71" y="158"/>
                    <a:pt x="71" y="158"/>
                    <a:pt x="71" y="150"/>
                  </a:cubicBezTo>
                  <a:cubicBezTo>
                    <a:pt x="71" y="150"/>
                    <a:pt x="71" y="150"/>
                    <a:pt x="63" y="135"/>
                  </a:cubicBezTo>
                  <a:lnTo>
                    <a:pt x="71" y="126"/>
                  </a:lnTo>
                  <a:lnTo>
                    <a:pt x="71" y="126"/>
                  </a:lnTo>
                  <a:cubicBezTo>
                    <a:pt x="79" y="126"/>
                    <a:pt x="87" y="135"/>
                    <a:pt x="87" y="135"/>
                  </a:cubicBezTo>
                  <a:cubicBezTo>
                    <a:pt x="158" y="245"/>
                    <a:pt x="300" y="293"/>
                    <a:pt x="379" y="316"/>
                  </a:cubicBezTo>
                  <a:cubicBezTo>
                    <a:pt x="395" y="324"/>
                    <a:pt x="411" y="324"/>
                    <a:pt x="419" y="332"/>
                  </a:cubicBezTo>
                  <a:cubicBezTo>
                    <a:pt x="434" y="332"/>
                    <a:pt x="443" y="340"/>
                    <a:pt x="450" y="340"/>
                  </a:cubicBezTo>
                  <a:cubicBezTo>
                    <a:pt x="474" y="356"/>
                    <a:pt x="474" y="356"/>
                    <a:pt x="498" y="356"/>
                  </a:cubicBezTo>
                  <a:cubicBezTo>
                    <a:pt x="529" y="356"/>
                    <a:pt x="537" y="372"/>
                    <a:pt x="553" y="395"/>
                  </a:cubicBezTo>
                  <a:cubicBezTo>
                    <a:pt x="553" y="403"/>
                    <a:pt x="561" y="411"/>
                    <a:pt x="569" y="411"/>
                  </a:cubicBezTo>
                  <a:lnTo>
                    <a:pt x="577" y="403"/>
                  </a:lnTo>
                  <a:cubicBezTo>
                    <a:pt x="577" y="395"/>
                    <a:pt x="585" y="395"/>
                    <a:pt x="593" y="395"/>
                  </a:cubicBezTo>
                  <a:cubicBezTo>
                    <a:pt x="601" y="395"/>
                    <a:pt x="616" y="411"/>
                    <a:pt x="616" y="435"/>
                  </a:cubicBezTo>
                  <a:cubicBezTo>
                    <a:pt x="624" y="443"/>
                    <a:pt x="624" y="451"/>
                    <a:pt x="624" y="466"/>
                  </a:cubicBezTo>
                  <a:cubicBezTo>
                    <a:pt x="624" y="474"/>
                    <a:pt x="624" y="490"/>
                    <a:pt x="624" y="506"/>
                  </a:cubicBezTo>
                  <a:cubicBezTo>
                    <a:pt x="624" y="514"/>
                    <a:pt x="624" y="522"/>
                    <a:pt x="632" y="522"/>
                  </a:cubicBezTo>
                  <a:lnTo>
                    <a:pt x="632" y="522"/>
                  </a:lnTo>
                  <a:cubicBezTo>
                    <a:pt x="632" y="522"/>
                    <a:pt x="632" y="522"/>
                    <a:pt x="640" y="522"/>
                  </a:cubicBezTo>
                  <a:cubicBezTo>
                    <a:pt x="648" y="522"/>
                    <a:pt x="648" y="522"/>
                    <a:pt x="656" y="530"/>
                  </a:cubicBezTo>
                  <a:cubicBezTo>
                    <a:pt x="664" y="538"/>
                    <a:pt x="664" y="561"/>
                    <a:pt x="664" y="577"/>
                  </a:cubicBezTo>
                  <a:cubicBezTo>
                    <a:pt x="664" y="585"/>
                    <a:pt x="656" y="593"/>
                    <a:pt x="640" y="593"/>
                  </a:cubicBezTo>
                  <a:cubicBezTo>
                    <a:pt x="640" y="593"/>
                    <a:pt x="632" y="601"/>
                    <a:pt x="624" y="601"/>
                  </a:cubicBezTo>
                  <a:cubicBezTo>
                    <a:pt x="616" y="609"/>
                    <a:pt x="616" y="617"/>
                    <a:pt x="616" y="625"/>
                  </a:cubicBezTo>
                  <a:cubicBezTo>
                    <a:pt x="608" y="632"/>
                    <a:pt x="608" y="641"/>
                    <a:pt x="593" y="648"/>
                  </a:cubicBezTo>
                  <a:cubicBezTo>
                    <a:pt x="593" y="656"/>
                    <a:pt x="593" y="656"/>
                    <a:pt x="593" y="656"/>
                  </a:cubicBezTo>
                  <a:cubicBezTo>
                    <a:pt x="593" y="664"/>
                    <a:pt x="608" y="672"/>
                    <a:pt x="616" y="672"/>
                  </a:cubicBezTo>
                  <a:cubicBezTo>
                    <a:pt x="632" y="680"/>
                    <a:pt x="624" y="696"/>
                    <a:pt x="624" y="712"/>
                  </a:cubicBezTo>
                  <a:cubicBezTo>
                    <a:pt x="616" y="719"/>
                    <a:pt x="616" y="735"/>
                    <a:pt x="616" y="743"/>
                  </a:cubicBezTo>
                  <a:cubicBezTo>
                    <a:pt x="616" y="767"/>
                    <a:pt x="593" y="806"/>
                    <a:pt x="569" y="799"/>
                  </a:cubicBezTo>
                  <a:cubicBezTo>
                    <a:pt x="553" y="799"/>
                    <a:pt x="545" y="791"/>
                    <a:pt x="545" y="783"/>
                  </a:cubicBezTo>
                  <a:cubicBezTo>
                    <a:pt x="545" y="775"/>
                    <a:pt x="553" y="775"/>
                    <a:pt x="545" y="767"/>
                  </a:cubicBezTo>
                  <a:lnTo>
                    <a:pt x="545" y="759"/>
                  </a:lnTo>
                  <a:cubicBezTo>
                    <a:pt x="545" y="767"/>
                    <a:pt x="545" y="767"/>
                    <a:pt x="545" y="767"/>
                  </a:cubicBezTo>
                  <a:cubicBezTo>
                    <a:pt x="537" y="767"/>
                    <a:pt x="537" y="775"/>
                    <a:pt x="529" y="783"/>
                  </a:cubicBezTo>
                  <a:lnTo>
                    <a:pt x="521" y="791"/>
                  </a:lnTo>
                  <a:cubicBezTo>
                    <a:pt x="521" y="799"/>
                    <a:pt x="521" y="814"/>
                    <a:pt x="506" y="814"/>
                  </a:cubicBezTo>
                  <a:cubicBezTo>
                    <a:pt x="498" y="814"/>
                    <a:pt x="498" y="806"/>
                    <a:pt x="498" y="806"/>
                  </a:cubicBezTo>
                  <a:cubicBezTo>
                    <a:pt x="490" y="799"/>
                    <a:pt x="498" y="791"/>
                    <a:pt x="498" y="783"/>
                  </a:cubicBezTo>
                  <a:cubicBezTo>
                    <a:pt x="498" y="775"/>
                    <a:pt x="506" y="767"/>
                    <a:pt x="506" y="759"/>
                  </a:cubicBezTo>
                  <a:cubicBezTo>
                    <a:pt x="506" y="751"/>
                    <a:pt x="506" y="751"/>
                    <a:pt x="506" y="751"/>
                  </a:cubicBezTo>
                  <a:cubicBezTo>
                    <a:pt x="498" y="751"/>
                    <a:pt x="498" y="751"/>
                    <a:pt x="490" y="767"/>
                  </a:cubicBezTo>
                  <a:cubicBezTo>
                    <a:pt x="482" y="783"/>
                    <a:pt x="474" y="791"/>
                    <a:pt x="466" y="799"/>
                  </a:cubicBezTo>
                  <a:cubicBezTo>
                    <a:pt x="458" y="806"/>
                    <a:pt x="450" y="814"/>
                    <a:pt x="443" y="822"/>
                  </a:cubicBezTo>
                  <a:lnTo>
                    <a:pt x="443" y="830"/>
                  </a:lnTo>
                  <a:cubicBezTo>
                    <a:pt x="443" y="838"/>
                    <a:pt x="458" y="846"/>
                    <a:pt x="482" y="854"/>
                  </a:cubicBezTo>
                  <a:cubicBezTo>
                    <a:pt x="490" y="854"/>
                    <a:pt x="498" y="854"/>
                    <a:pt x="506" y="862"/>
                  </a:cubicBezTo>
                  <a:cubicBezTo>
                    <a:pt x="521" y="862"/>
                    <a:pt x="529" y="862"/>
                    <a:pt x="537" y="862"/>
                  </a:cubicBezTo>
                  <a:cubicBezTo>
                    <a:pt x="537" y="862"/>
                    <a:pt x="545" y="862"/>
                    <a:pt x="545" y="854"/>
                  </a:cubicBezTo>
                  <a:cubicBezTo>
                    <a:pt x="553" y="854"/>
                    <a:pt x="561" y="846"/>
                    <a:pt x="577" y="838"/>
                  </a:cubicBezTo>
                  <a:cubicBezTo>
                    <a:pt x="608" y="830"/>
                    <a:pt x="616" y="822"/>
                    <a:pt x="624" y="806"/>
                  </a:cubicBezTo>
                  <a:cubicBezTo>
                    <a:pt x="624" y="806"/>
                    <a:pt x="632" y="799"/>
                    <a:pt x="632" y="791"/>
                  </a:cubicBezTo>
                  <a:cubicBezTo>
                    <a:pt x="656" y="775"/>
                    <a:pt x="656" y="775"/>
                    <a:pt x="656" y="759"/>
                  </a:cubicBezTo>
                  <a:lnTo>
                    <a:pt x="656" y="751"/>
                  </a:lnTo>
                  <a:lnTo>
                    <a:pt x="656" y="743"/>
                  </a:lnTo>
                  <a:cubicBezTo>
                    <a:pt x="664" y="727"/>
                    <a:pt x="664" y="719"/>
                    <a:pt x="672" y="704"/>
                  </a:cubicBezTo>
                  <a:cubicBezTo>
                    <a:pt x="680" y="688"/>
                    <a:pt x="680" y="688"/>
                    <a:pt x="672" y="656"/>
                  </a:cubicBezTo>
                  <a:cubicBezTo>
                    <a:pt x="664" y="632"/>
                    <a:pt x="672" y="625"/>
                    <a:pt x="680" y="617"/>
                  </a:cubicBezTo>
                  <a:cubicBezTo>
                    <a:pt x="680" y="609"/>
                    <a:pt x="680" y="609"/>
                    <a:pt x="687" y="609"/>
                  </a:cubicBezTo>
                  <a:cubicBezTo>
                    <a:pt x="687" y="601"/>
                    <a:pt x="687" y="601"/>
                    <a:pt x="696" y="593"/>
                  </a:cubicBezTo>
                  <a:cubicBezTo>
                    <a:pt x="703" y="585"/>
                    <a:pt x="711" y="569"/>
                    <a:pt x="727" y="561"/>
                  </a:cubicBezTo>
                  <a:cubicBezTo>
                    <a:pt x="743" y="553"/>
                    <a:pt x="743" y="546"/>
                    <a:pt x="751" y="530"/>
                  </a:cubicBezTo>
                  <a:cubicBezTo>
                    <a:pt x="751" y="522"/>
                    <a:pt x="751" y="522"/>
                    <a:pt x="751" y="522"/>
                  </a:cubicBezTo>
                  <a:cubicBezTo>
                    <a:pt x="767" y="498"/>
                    <a:pt x="767" y="474"/>
                    <a:pt x="759" y="466"/>
                  </a:cubicBezTo>
                  <a:cubicBezTo>
                    <a:pt x="751" y="459"/>
                    <a:pt x="743" y="435"/>
                    <a:pt x="735" y="411"/>
                  </a:cubicBezTo>
                  <a:cubicBezTo>
                    <a:pt x="735" y="395"/>
                    <a:pt x="743" y="395"/>
                    <a:pt x="743" y="388"/>
                  </a:cubicBezTo>
                  <a:cubicBezTo>
                    <a:pt x="751" y="388"/>
                    <a:pt x="751" y="379"/>
                    <a:pt x="759" y="372"/>
                  </a:cubicBezTo>
                  <a:cubicBezTo>
                    <a:pt x="759" y="364"/>
                    <a:pt x="751" y="356"/>
                    <a:pt x="743" y="348"/>
                  </a:cubicBezTo>
                  <a:cubicBezTo>
                    <a:pt x="735" y="348"/>
                    <a:pt x="735" y="348"/>
                    <a:pt x="727" y="340"/>
                  </a:cubicBezTo>
                  <a:lnTo>
                    <a:pt x="727" y="332"/>
                  </a:lnTo>
                  <a:cubicBezTo>
                    <a:pt x="719" y="324"/>
                    <a:pt x="719" y="316"/>
                    <a:pt x="703" y="301"/>
                  </a:cubicBezTo>
                  <a:cubicBezTo>
                    <a:pt x="696" y="301"/>
                    <a:pt x="687" y="293"/>
                    <a:pt x="696" y="285"/>
                  </a:cubicBezTo>
                  <a:cubicBezTo>
                    <a:pt x="696" y="277"/>
                    <a:pt x="703" y="277"/>
                    <a:pt x="719" y="277"/>
                  </a:cubicBezTo>
                  <a:cubicBezTo>
                    <a:pt x="727" y="277"/>
                    <a:pt x="727" y="277"/>
                    <a:pt x="727" y="277"/>
                  </a:cubicBezTo>
                  <a:cubicBezTo>
                    <a:pt x="727" y="277"/>
                    <a:pt x="727" y="277"/>
                    <a:pt x="735" y="277"/>
                  </a:cubicBezTo>
                  <a:lnTo>
                    <a:pt x="735" y="277"/>
                  </a:lnTo>
                  <a:lnTo>
                    <a:pt x="735" y="277"/>
                  </a:lnTo>
                  <a:cubicBezTo>
                    <a:pt x="735" y="277"/>
                    <a:pt x="735" y="277"/>
                    <a:pt x="735" y="269"/>
                  </a:cubicBezTo>
                  <a:cubicBezTo>
                    <a:pt x="735" y="253"/>
                    <a:pt x="743" y="245"/>
                    <a:pt x="743" y="237"/>
                  </a:cubicBezTo>
                  <a:cubicBezTo>
                    <a:pt x="759" y="221"/>
                    <a:pt x="759" y="206"/>
                    <a:pt x="767" y="182"/>
                  </a:cubicBezTo>
                  <a:cubicBezTo>
                    <a:pt x="767" y="166"/>
                    <a:pt x="767" y="158"/>
                    <a:pt x="759" y="150"/>
                  </a:cubicBezTo>
                  <a:cubicBezTo>
                    <a:pt x="759" y="142"/>
                    <a:pt x="759" y="142"/>
                    <a:pt x="759" y="135"/>
                  </a:cubicBezTo>
                  <a:cubicBezTo>
                    <a:pt x="751" y="126"/>
                    <a:pt x="743" y="126"/>
                    <a:pt x="735" y="119"/>
                  </a:cubicBezTo>
                  <a:cubicBezTo>
                    <a:pt x="727" y="119"/>
                    <a:pt x="719" y="111"/>
                    <a:pt x="711" y="103"/>
                  </a:cubicBezTo>
                  <a:cubicBezTo>
                    <a:pt x="696" y="87"/>
                    <a:pt x="696" y="71"/>
                    <a:pt x="696" y="55"/>
                  </a:cubicBezTo>
                  <a:cubicBezTo>
                    <a:pt x="696" y="48"/>
                    <a:pt x="696" y="39"/>
                    <a:pt x="696" y="32"/>
                  </a:cubicBezTo>
                  <a:cubicBezTo>
                    <a:pt x="687" y="16"/>
                    <a:pt x="680" y="16"/>
                    <a:pt x="672" y="16"/>
                  </a:cubicBezTo>
                  <a:cubicBezTo>
                    <a:pt x="672" y="16"/>
                    <a:pt x="664" y="16"/>
                    <a:pt x="656" y="8"/>
                  </a:cubicBezTo>
                  <a:cubicBezTo>
                    <a:pt x="640" y="0"/>
                    <a:pt x="640" y="0"/>
                    <a:pt x="640" y="0"/>
                  </a:cubicBezTo>
                  <a:cubicBezTo>
                    <a:pt x="656" y="0"/>
                    <a:pt x="656" y="0"/>
                    <a:pt x="656" y="0"/>
                  </a:cubicBezTo>
                  <a:cubicBezTo>
                    <a:pt x="664" y="8"/>
                    <a:pt x="1367" y="206"/>
                    <a:pt x="2450" y="427"/>
                  </a:cubicBezTo>
                  <a:cubicBezTo>
                    <a:pt x="2458" y="435"/>
                    <a:pt x="2458" y="435"/>
                    <a:pt x="2458" y="435"/>
                  </a:cubicBezTo>
                  <a:cubicBezTo>
                    <a:pt x="2450" y="435"/>
                    <a:pt x="2450" y="435"/>
                    <a:pt x="2450" y="435"/>
                  </a:cubicBezTo>
                  <a:cubicBezTo>
                    <a:pt x="2427" y="569"/>
                    <a:pt x="2348" y="1004"/>
                    <a:pt x="2340" y="1028"/>
                  </a:cubicBezTo>
                  <a:cubicBezTo>
                    <a:pt x="2340" y="1036"/>
                    <a:pt x="2324" y="1083"/>
                    <a:pt x="2316" y="1138"/>
                  </a:cubicBezTo>
                  <a:cubicBezTo>
                    <a:pt x="2284" y="1273"/>
                    <a:pt x="2245" y="1471"/>
                    <a:pt x="2229" y="1494"/>
                  </a:cubicBezTo>
                  <a:cubicBezTo>
                    <a:pt x="2213" y="1526"/>
                    <a:pt x="2213" y="1660"/>
                    <a:pt x="2229" y="1684"/>
                  </a:cubicBezTo>
                  <a:cubicBezTo>
                    <a:pt x="2237" y="1700"/>
                    <a:pt x="2229" y="1723"/>
                    <a:pt x="2221" y="1747"/>
                  </a:cubicBezTo>
                  <a:cubicBezTo>
                    <a:pt x="2221" y="1755"/>
                    <a:pt x="2221" y="1763"/>
                    <a:pt x="2221" y="1771"/>
                  </a:cubicBezTo>
                  <a:cubicBezTo>
                    <a:pt x="2213" y="1779"/>
                    <a:pt x="2213" y="1795"/>
                    <a:pt x="2221" y="1826"/>
                  </a:cubicBezTo>
                  <a:close/>
                  <a:moveTo>
                    <a:pt x="1557" y="1684"/>
                  </a:moveTo>
                  <a:lnTo>
                    <a:pt x="1557" y="1684"/>
                  </a:lnTo>
                  <a:cubicBezTo>
                    <a:pt x="1604" y="1684"/>
                    <a:pt x="1739" y="1716"/>
                    <a:pt x="1786" y="1739"/>
                  </a:cubicBezTo>
                  <a:cubicBezTo>
                    <a:pt x="1842" y="1771"/>
                    <a:pt x="2197" y="1818"/>
                    <a:pt x="2205" y="1818"/>
                  </a:cubicBezTo>
                  <a:cubicBezTo>
                    <a:pt x="2213" y="1818"/>
                    <a:pt x="2213" y="1818"/>
                    <a:pt x="2213" y="1818"/>
                  </a:cubicBezTo>
                  <a:cubicBezTo>
                    <a:pt x="2213" y="1795"/>
                    <a:pt x="2205" y="1779"/>
                    <a:pt x="2213" y="1771"/>
                  </a:cubicBezTo>
                  <a:cubicBezTo>
                    <a:pt x="2213" y="1763"/>
                    <a:pt x="2213" y="1755"/>
                    <a:pt x="2213" y="1747"/>
                  </a:cubicBezTo>
                  <a:cubicBezTo>
                    <a:pt x="2221" y="1723"/>
                    <a:pt x="2229" y="1700"/>
                    <a:pt x="2221" y="1684"/>
                  </a:cubicBezTo>
                  <a:cubicBezTo>
                    <a:pt x="2205" y="1668"/>
                    <a:pt x="2205" y="1518"/>
                    <a:pt x="2221" y="1486"/>
                  </a:cubicBezTo>
                  <a:cubicBezTo>
                    <a:pt x="2237" y="1471"/>
                    <a:pt x="2284" y="1257"/>
                    <a:pt x="2308" y="1138"/>
                  </a:cubicBezTo>
                  <a:cubicBezTo>
                    <a:pt x="2324" y="1075"/>
                    <a:pt x="2332" y="1036"/>
                    <a:pt x="2332" y="1028"/>
                  </a:cubicBezTo>
                  <a:cubicBezTo>
                    <a:pt x="2340" y="1004"/>
                    <a:pt x="2419" y="577"/>
                    <a:pt x="2443" y="435"/>
                  </a:cubicBezTo>
                  <a:cubicBezTo>
                    <a:pt x="1518" y="245"/>
                    <a:pt x="861" y="63"/>
                    <a:pt x="696" y="24"/>
                  </a:cubicBezTo>
                  <a:lnTo>
                    <a:pt x="696" y="24"/>
                  </a:lnTo>
                  <a:cubicBezTo>
                    <a:pt x="703" y="39"/>
                    <a:pt x="703" y="48"/>
                    <a:pt x="703" y="55"/>
                  </a:cubicBezTo>
                  <a:cubicBezTo>
                    <a:pt x="703" y="71"/>
                    <a:pt x="703" y="87"/>
                    <a:pt x="719" y="95"/>
                  </a:cubicBezTo>
                  <a:cubicBezTo>
                    <a:pt x="727" y="103"/>
                    <a:pt x="735" y="111"/>
                    <a:pt x="743" y="111"/>
                  </a:cubicBezTo>
                  <a:cubicBezTo>
                    <a:pt x="751" y="119"/>
                    <a:pt x="759" y="126"/>
                    <a:pt x="759" y="135"/>
                  </a:cubicBezTo>
                  <a:cubicBezTo>
                    <a:pt x="767" y="142"/>
                    <a:pt x="767" y="142"/>
                    <a:pt x="767" y="142"/>
                  </a:cubicBezTo>
                  <a:cubicBezTo>
                    <a:pt x="767" y="150"/>
                    <a:pt x="774" y="158"/>
                    <a:pt x="774" y="182"/>
                  </a:cubicBezTo>
                  <a:cubicBezTo>
                    <a:pt x="767" y="206"/>
                    <a:pt x="767" y="221"/>
                    <a:pt x="751" y="237"/>
                  </a:cubicBezTo>
                  <a:cubicBezTo>
                    <a:pt x="751" y="245"/>
                    <a:pt x="743" y="253"/>
                    <a:pt x="743" y="269"/>
                  </a:cubicBezTo>
                  <a:cubicBezTo>
                    <a:pt x="743" y="277"/>
                    <a:pt x="743" y="277"/>
                    <a:pt x="743" y="285"/>
                  </a:cubicBezTo>
                  <a:lnTo>
                    <a:pt x="735" y="285"/>
                  </a:lnTo>
                  <a:cubicBezTo>
                    <a:pt x="735" y="285"/>
                    <a:pt x="735" y="285"/>
                    <a:pt x="727" y="285"/>
                  </a:cubicBezTo>
                  <a:lnTo>
                    <a:pt x="727" y="285"/>
                  </a:lnTo>
                  <a:cubicBezTo>
                    <a:pt x="719" y="285"/>
                    <a:pt x="719" y="285"/>
                    <a:pt x="719" y="285"/>
                  </a:cubicBezTo>
                  <a:cubicBezTo>
                    <a:pt x="703" y="285"/>
                    <a:pt x="703" y="285"/>
                    <a:pt x="703" y="285"/>
                  </a:cubicBezTo>
                  <a:lnTo>
                    <a:pt x="703" y="293"/>
                  </a:lnTo>
                  <a:cubicBezTo>
                    <a:pt x="719" y="308"/>
                    <a:pt x="727" y="316"/>
                    <a:pt x="727" y="324"/>
                  </a:cubicBezTo>
                  <a:cubicBezTo>
                    <a:pt x="735" y="332"/>
                    <a:pt x="735" y="332"/>
                    <a:pt x="735" y="340"/>
                  </a:cubicBezTo>
                  <a:cubicBezTo>
                    <a:pt x="735" y="340"/>
                    <a:pt x="743" y="340"/>
                    <a:pt x="751" y="348"/>
                  </a:cubicBezTo>
                  <a:cubicBezTo>
                    <a:pt x="759" y="348"/>
                    <a:pt x="767" y="356"/>
                    <a:pt x="759" y="372"/>
                  </a:cubicBezTo>
                  <a:cubicBezTo>
                    <a:pt x="759" y="379"/>
                    <a:pt x="751" y="388"/>
                    <a:pt x="751" y="395"/>
                  </a:cubicBezTo>
                  <a:cubicBezTo>
                    <a:pt x="743" y="395"/>
                    <a:pt x="743" y="403"/>
                    <a:pt x="743" y="411"/>
                  </a:cubicBezTo>
                  <a:cubicBezTo>
                    <a:pt x="751" y="435"/>
                    <a:pt x="759" y="451"/>
                    <a:pt x="767" y="459"/>
                  </a:cubicBezTo>
                  <a:cubicBezTo>
                    <a:pt x="774" y="474"/>
                    <a:pt x="767" y="506"/>
                    <a:pt x="759" y="522"/>
                  </a:cubicBezTo>
                  <a:cubicBezTo>
                    <a:pt x="759" y="530"/>
                    <a:pt x="759" y="530"/>
                    <a:pt x="759" y="530"/>
                  </a:cubicBezTo>
                  <a:cubicBezTo>
                    <a:pt x="751" y="546"/>
                    <a:pt x="743" y="553"/>
                    <a:pt x="727" y="569"/>
                  </a:cubicBezTo>
                  <a:cubicBezTo>
                    <a:pt x="719" y="577"/>
                    <a:pt x="711" y="585"/>
                    <a:pt x="703" y="601"/>
                  </a:cubicBezTo>
                  <a:cubicBezTo>
                    <a:pt x="696" y="601"/>
                    <a:pt x="696" y="609"/>
                    <a:pt x="687" y="609"/>
                  </a:cubicBezTo>
                  <a:cubicBezTo>
                    <a:pt x="687" y="617"/>
                    <a:pt x="687" y="617"/>
                    <a:pt x="687" y="617"/>
                  </a:cubicBezTo>
                  <a:cubicBezTo>
                    <a:pt x="672" y="632"/>
                    <a:pt x="672" y="632"/>
                    <a:pt x="680" y="656"/>
                  </a:cubicBezTo>
                  <a:cubicBezTo>
                    <a:pt x="687" y="680"/>
                    <a:pt x="687" y="688"/>
                    <a:pt x="680" y="712"/>
                  </a:cubicBezTo>
                  <a:cubicBezTo>
                    <a:pt x="672" y="719"/>
                    <a:pt x="672" y="727"/>
                    <a:pt x="664" y="743"/>
                  </a:cubicBezTo>
                  <a:lnTo>
                    <a:pt x="664" y="751"/>
                  </a:lnTo>
                  <a:cubicBezTo>
                    <a:pt x="664" y="759"/>
                    <a:pt x="664" y="759"/>
                    <a:pt x="664" y="759"/>
                  </a:cubicBezTo>
                  <a:cubicBezTo>
                    <a:pt x="664" y="775"/>
                    <a:pt x="656" y="775"/>
                    <a:pt x="640" y="799"/>
                  </a:cubicBezTo>
                  <a:cubicBezTo>
                    <a:pt x="632" y="806"/>
                    <a:pt x="632" y="806"/>
                    <a:pt x="632" y="814"/>
                  </a:cubicBezTo>
                  <a:cubicBezTo>
                    <a:pt x="616" y="822"/>
                    <a:pt x="616" y="830"/>
                    <a:pt x="577" y="846"/>
                  </a:cubicBezTo>
                  <a:cubicBezTo>
                    <a:pt x="561" y="854"/>
                    <a:pt x="553" y="854"/>
                    <a:pt x="553" y="862"/>
                  </a:cubicBezTo>
                  <a:cubicBezTo>
                    <a:pt x="545" y="870"/>
                    <a:pt x="537" y="878"/>
                    <a:pt x="506" y="862"/>
                  </a:cubicBezTo>
                  <a:cubicBezTo>
                    <a:pt x="498" y="862"/>
                    <a:pt x="490" y="862"/>
                    <a:pt x="482" y="862"/>
                  </a:cubicBezTo>
                  <a:cubicBezTo>
                    <a:pt x="458" y="854"/>
                    <a:pt x="443" y="846"/>
                    <a:pt x="434" y="838"/>
                  </a:cubicBezTo>
                  <a:cubicBezTo>
                    <a:pt x="434" y="830"/>
                    <a:pt x="434" y="822"/>
                    <a:pt x="434" y="822"/>
                  </a:cubicBezTo>
                  <a:cubicBezTo>
                    <a:pt x="443" y="806"/>
                    <a:pt x="450" y="799"/>
                    <a:pt x="458" y="791"/>
                  </a:cubicBezTo>
                  <a:cubicBezTo>
                    <a:pt x="466" y="783"/>
                    <a:pt x="474" y="783"/>
                    <a:pt x="482" y="767"/>
                  </a:cubicBezTo>
                  <a:cubicBezTo>
                    <a:pt x="482" y="759"/>
                    <a:pt x="490" y="743"/>
                    <a:pt x="506" y="743"/>
                  </a:cubicBezTo>
                  <a:cubicBezTo>
                    <a:pt x="506" y="743"/>
                    <a:pt x="514" y="743"/>
                    <a:pt x="514" y="759"/>
                  </a:cubicBezTo>
                  <a:cubicBezTo>
                    <a:pt x="514" y="767"/>
                    <a:pt x="506" y="775"/>
                    <a:pt x="506" y="783"/>
                  </a:cubicBezTo>
                  <a:cubicBezTo>
                    <a:pt x="506" y="791"/>
                    <a:pt x="498" y="799"/>
                    <a:pt x="498" y="799"/>
                  </a:cubicBezTo>
                  <a:cubicBezTo>
                    <a:pt x="506" y="806"/>
                    <a:pt x="506" y="806"/>
                    <a:pt x="506" y="806"/>
                  </a:cubicBezTo>
                  <a:cubicBezTo>
                    <a:pt x="514" y="806"/>
                    <a:pt x="514" y="799"/>
                    <a:pt x="514" y="791"/>
                  </a:cubicBezTo>
                  <a:cubicBezTo>
                    <a:pt x="514" y="791"/>
                    <a:pt x="521" y="783"/>
                    <a:pt x="529" y="775"/>
                  </a:cubicBezTo>
                  <a:cubicBezTo>
                    <a:pt x="529" y="767"/>
                    <a:pt x="537" y="767"/>
                    <a:pt x="537" y="759"/>
                  </a:cubicBezTo>
                  <a:cubicBezTo>
                    <a:pt x="537" y="759"/>
                    <a:pt x="537" y="751"/>
                    <a:pt x="545" y="751"/>
                  </a:cubicBezTo>
                  <a:cubicBezTo>
                    <a:pt x="545" y="751"/>
                    <a:pt x="553" y="759"/>
                    <a:pt x="553" y="767"/>
                  </a:cubicBezTo>
                  <a:cubicBezTo>
                    <a:pt x="553" y="775"/>
                    <a:pt x="553" y="775"/>
                    <a:pt x="553" y="783"/>
                  </a:cubicBezTo>
                  <a:cubicBezTo>
                    <a:pt x="553" y="791"/>
                    <a:pt x="553" y="791"/>
                    <a:pt x="569" y="791"/>
                  </a:cubicBezTo>
                  <a:cubicBezTo>
                    <a:pt x="593" y="799"/>
                    <a:pt x="608" y="767"/>
                    <a:pt x="608" y="743"/>
                  </a:cubicBezTo>
                  <a:cubicBezTo>
                    <a:pt x="608" y="727"/>
                    <a:pt x="616" y="719"/>
                    <a:pt x="616" y="712"/>
                  </a:cubicBezTo>
                  <a:cubicBezTo>
                    <a:pt x="624" y="688"/>
                    <a:pt x="624" y="680"/>
                    <a:pt x="616" y="680"/>
                  </a:cubicBezTo>
                  <a:cubicBezTo>
                    <a:pt x="601" y="672"/>
                    <a:pt x="585" y="672"/>
                    <a:pt x="585" y="664"/>
                  </a:cubicBezTo>
                  <a:cubicBezTo>
                    <a:pt x="585" y="656"/>
                    <a:pt x="585" y="648"/>
                    <a:pt x="593" y="648"/>
                  </a:cubicBezTo>
                  <a:cubicBezTo>
                    <a:pt x="601" y="632"/>
                    <a:pt x="608" y="625"/>
                    <a:pt x="608" y="617"/>
                  </a:cubicBezTo>
                  <a:cubicBezTo>
                    <a:pt x="608" y="609"/>
                    <a:pt x="616" y="609"/>
                    <a:pt x="616" y="601"/>
                  </a:cubicBezTo>
                  <a:cubicBezTo>
                    <a:pt x="624" y="593"/>
                    <a:pt x="632" y="593"/>
                    <a:pt x="640" y="585"/>
                  </a:cubicBezTo>
                  <a:cubicBezTo>
                    <a:pt x="656" y="585"/>
                    <a:pt x="656" y="585"/>
                    <a:pt x="656" y="577"/>
                  </a:cubicBezTo>
                  <a:cubicBezTo>
                    <a:pt x="656" y="561"/>
                    <a:pt x="656" y="538"/>
                    <a:pt x="648" y="530"/>
                  </a:cubicBezTo>
                  <a:lnTo>
                    <a:pt x="640" y="530"/>
                  </a:lnTo>
                  <a:lnTo>
                    <a:pt x="632" y="530"/>
                  </a:lnTo>
                  <a:cubicBezTo>
                    <a:pt x="632" y="530"/>
                    <a:pt x="632" y="530"/>
                    <a:pt x="624" y="530"/>
                  </a:cubicBezTo>
                  <a:cubicBezTo>
                    <a:pt x="624" y="530"/>
                    <a:pt x="616" y="522"/>
                    <a:pt x="616" y="506"/>
                  </a:cubicBezTo>
                  <a:cubicBezTo>
                    <a:pt x="616" y="490"/>
                    <a:pt x="616" y="474"/>
                    <a:pt x="616" y="466"/>
                  </a:cubicBezTo>
                  <a:cubicBezTo>
                    <a:pt x="616" y="459"/>
                    <a:pt x="616" y="443"/>
                    <a:pt x="616" y="435"/>
                  </a:cubicBezTo>
                  <a:cubicBezTo>
                    <a:pt x="608" y="411"/>
                    <a:pt x="601" y="403"/>
                    <a:pt x="593" y="403"/>
                  </a:cubicBezTo>
                  <a:cubicBezTo>
                    <a:pt x="585" y="403"/>
                    <a:pt x="585" y="403"/>
                    <a:pt x="585" y="403"/>
                  </a:cubicBezTo>
                  <a:cubicBezTo>
                    <a:pt x="577" y="419"/>
                    <a:pt x="569" y="419"/>
                    <a:pt x="569" y="419"/>
                  </a:cubicBezTo>
                  <a:cubicBezTo>
                    <a:pt x="561" y="419"/>
                    <a:pt x="553" y="411"/>
                    <a:pt x="545" y="395"/>
                  </a:cubicBezTo>
                  <a:cubicBezTo>
                    <a:pt x="529" y="372"/>
                    <a:pt x="521" y="364"/>
                    <a:pt x="498" y="364"/>
                  </a:cubicBezTo>
                  <a:cubicBezTo>
                    <a:pt x="474" y="364"/>
                    <a:pt x="474" y="364"/>
                    <a:pt x="443" y="348"/>
                  </a:cubicBezTo>
                  <a:cubicBezTo>
                    <a:pt x="434" y="348"/>
                    <a:pt x="427" y="340"/>
                    <a:pt x="419" y="340"/>
                  </a:cubicBezTo>
                  <a:cubicBezTo>
                    <a:pt x="411" y="332"/>
                    <a:pt x="395" y="332"/>
                    <a:pt x="379" y="324"/>
                  </a:cubicBezTo>
                  <a:cubicBezTo>
                    <a:pt x="300" y="301"/>
                    <a:pt x="158" y="253"/>
                    <a:pt x="87" y="142"/>
                  </a:cubicBezTo>
                  <a:cubicBezTo>
                    <a:pt x="79" y="135"/>
                    <a:pt x="79" y="135"/>
                    <a:pt x="71" y="135"/>
                  </a:cubicBezTo>
                  <a:lnTo>
                    <a:pt x="71" y="135"/>
                  </a:lnTo>
                  <a:cubicBezTo>
                    <a:pt x="71" y="142"/>
                    <a:pt x="79" y="150"/>
                    <a:pt x="79" y="150"/>
                  </a:cubicBezTo>
                  <a:cubicBezTo>
                    <a:pt x="79" y="158"/>
                    <a:pt x="79" y="158"/>
                    <a:pt x="71" y="166"/>
                  </a:cubicBezTo>
                  <a:cubicBezTo>
                    <a:pt x="71" y="174"/>
                    <a:pt x="71" y="174"/>
                    <a:pt x="63" y="182"/>
                  </a:cubicBezTo>
                  <a:cubicBezTo>
                    <a:pt x="47" y="206"/>
                    <a:pt x="23" y="245"/>
                    <a:pt x="31" y="285"/>
                  </a:cubicBezTo>
                  <a:cubicBezTo>
                    <a:pt x="31" y="301"/>
                    <a:pt x="39" y="316"/>
                    <a:pt x="47" y="332"/>
                  </a:cubicBezTo>
                  <a:cubicBezTo>
                    <a:pt x="55" y="348"/>
                    <a:pt x="63" y="356"/>
                    <a:pt x="71" y="379"/>
                  </a:cubicBezTo>
                  <a:cubicBezTo>
                    <a:pt x="71" y="411"/>
                    <a:pt x="71" y="411"/>
                    <a:pt x="71" y="443"/>
                  </a:cubicBezTo>
                  <a:cubicBezTo>
                    <a:pt x="71" y="451"/>
                    <a:pt x="71" y="451"/>
                    <a:pt x="63" y="466"/>
                  </a:cubicBezTo>
                  <a:cubicBezTo>
                    <a:pt x="63" y="506"/>
                    <a:pt x="71" y="561"/>
                    <a:pt x="71" y="601"/>
                  </a:cubicBezTo>
                  <a:cubicBezTo>
                    <a:pt x="79" y="609"/>
                    <a:pt x="79" y="609"/>
                    <a:pt x="79" y="609"/>
                  </a:cubicBezTo>
                  <a:cubicBezTo>
                    <a:pt x="79" y="625"/>
                    <a:pt x="79" y="632"/>
                    <a:pt x="79" y="632"/>
                  </a:cubicBezTo>
                  <a:cubicBezTo>
                    <a:pt x="87" y="632"/>
                    <a:pt x="87" y="632"/>
                    <a:pt x="79" y="656"/>
                  </a:cubicBezTo>
                  <a:lnTo>
                    <a:pt x="79" y="656"/>
                  </a:lnTo>
                  <a:cubicBezTo>
                    <a:pt x="79" y="672"/>
                    <a:pt x="79" y="680"/>
                    <a:pt x="71" y="696"/>
                  </a:cubicBezTo>
                  <a:cubicBezTo>
                    <a:pt x="71" y="712"/>
                    <a:pt x="71" y="719"/>
                    <a:pt x="63" y="735"/>
                  </a:cubicBezTo>
                  <a:cubicBezTo>
                    <a:pt x="63" y="743"/>
                    <a:pt x="55" y="751"/>
                    <a:pt x="55" y="759"/>
                  </a:cubicBezTo>
                  <a:cubicBezTo>
                    <a:pt x="47" y="767"/>
                    <a:pt x="47" y="775"/>
                    <a:pt x="55" y="783"/>
                  </a:cubicBezTo>
                  <a:cubicBezTo>
                    <a:pt x="55" y="791"/>
                    <a:pt x="55" y="791"/>
                    <a:pt x="55" y="791"/>
                  </a:cubicBezTo>
                  <a:cubicBezTo>
                    <a:pt x="55" y="791"/>
                    <a:pt x="63" y="791"/>
                    <a:pt x="63" y="783"/>
                  </a:cubicBezTo>
                  <a:lnTo>
                    <a:pt x="71" y="783"/>
                  </a:lnTo>
                  <a:lnTo>
                    <a:pt x="79" y="783"/>
                  </a:lnTo>
                  <a:cubicBezTo>
                    <a:pt x="79" y="783"/>
                    <a:pt x="87" y="783"/>
                    <a:pt x="87" y="791"/>
                  </a:cubicBezTo>
                  <a:cubicBezTo>
                    <a:pt x="94" y="791"/>
                    <a:pt x="110" y="799"/>
                    <a:pt x="118" y="806"/>
                  </a:cubicBezTo>
                  <a:lnTo>
                    <a:pt x="126" y="814"/>
                  </a:lnTo>
                  <a:cubicBezTo>
                    <a:pt x="134" y="822"/>
                    <a:pt x="142" y="822"/>
                    <a:pt x="142" y="830"/>
                  </a:cubicBezTo>
                  <a:cubicBezTo>
                    <a:pt x="142" y="830"/>
                    <a:pt x="134" y="830"/>
                    <a:pt x="134" y="838"/>
                  </a:cubicBezTo>
                  <a:cubicBezTo>
                    <a:pt x="126" y="838"/>
                    <a:pt x="126" y="838"/>
                    <a:pt x="126" y="846"/>
                  </a:cubicBezTo>
                  <a:cubicBezTo>
                    <a:pt x="118" y="846"/>
                    <a:pt x="118" y="854"/>
                    <a:pt x="94" y="854"/>
                  </a:cubicBezTo>
                  <a:cubicBezTo>
                    <a:pt x="79" y="854"/>
                    <a:pt x="71" y="846"/>
                    <a:pt x="63" y="838"/>
                  </a:cubicBezTo>
                  <a:cubicBezTo>
                    <a:pt x="63" y="838"/>
                    <a:pt x="63" y="838"/>
                    <a:pt x="55" y="838"/>
                  </a:cubicBezTo>
                  <a:lnTo>
                    <a:pt x="55" y="838"/>
                  </a:lnTo>
                  <a:lnTo>
                    <a:pt x="55" y="838"/>
                  </a:lnTo>
                  <a:cubicBezTo>
                    <a:pt x="55" y="854"/>
                    <a:pt x="55" y="862"/>
                    <a:pt x="55" y="893"/>
                  </a:cubicBezTo>
                  <a:cubicBezTo>
                    <a:pt x="55" y="909"/>
                    <a:pt x="55" y="917"/>
                    <a:pt x="47" y="925"/>
                  </a:cubicBezTo>
                  <a:cubicBezTo>
                    <a:pt x="47" y="933"/>
                    <a:pt x="47" y="933"/>
                    <a:pt x="47" y="941"/>
                  </a:cubicBezTo>
                  <a:cubicBezTo>
                    <a:pt x="47" y="941"/>
                    <a:pt x="55" y="941"/>
                    <a:pt x="63" y="941"/>
                  </a:cubicBezTo>
                  <a:cubicBezTo>
                    <a:pt x="79" y="941"/>
                    <a:pt x="87" y="941"/>
                    <a:pt x="94" y="941"/>
                  </a:cubicBezTo>
                  <a:cubicBezTo>
                    <a:pt x="110" y="933"/>
                    <a:pt x="110" y="933"/>
                    <a:pt x="118" y="941"/>
                  </a:cubicBezTo>
                  <a:cubicBezTo>
                    <a:pt x="126" y="949"/>
                    <a:pt x="126" y="957"/>
                    <a:pt x="126" y="965"/>
                  </a:cubicBezTo>
                  <a:cubicBezTo>
                    <a:pt x="118" y="965"/>
                    <a:pt x="110" y="965"/>
                    <a:pt x="110" y="972"/>
                  </a:cubicBezTo>
                  <a:cubicBezTo>
                    <a:pt x="103" y="972"/>
                    <a:pt x="94" y="972"/>
                    <a:pt x="87" y="965"/>
                  </a:cubicBezTo>
                  <a:lnTo>
                    <a:pt x="79" y="965"/>
                  </a:lnTo>
                  <a:cubicBezTo>
                    <a:pt x="71" y="965"/>
                    <a:pt x="71" y="965"/>
                    <a:pt x="71" y="972"/>
                  </a:cubicBezTo>
                  <a:cubicBezTo>
                    <a:pt x="71" y="988"/>
                    <a:pt x="71" y="996"/>
                    <a:pt x="71" y="1012"/>
                  </a:cubicBezTo>
                  <a:cubicBezTo>
                    <a:pt x="71" y="1028"/>
                    <a:pt x="63" y="1028"/>
                    <a:pt x="63" y="1036"/>
                  </a:cubicBezTo>
                  <a:cubicBezTo>
                    <a:pt x="55" y="1036"/>
                    <a:pt x="47" y="1043"/>
                    <a:pt x="47" y="1052"/>
                  </a:cubicBezTo>
                  <a:cubicBezTo>
                    <a:pt x="47" y="1052"/>
                    <a:pt x="47" y="1067"/>
                    <a:pt x="47" y="1075"/>
                  </a:cubicBezTo>
                  <a:cubicBezTo>
                    <a:pt x="47" y="1083"/>
                    <a:pt x="47" y="1083"/>
                    <a:pt x="39" y="1083"/>
                  </a:cubicBezTo>
                  <a:cubicBezTo>
                    <a:pt x="39" y="1083"/>
                    <a:pt x="31" y="1083"/>
                    <a:pt x="31" y="1075"/>
                  </a:cubicBezTo>
                  <a:cubicBezTo>
                    <a:pt x="23" y="1075"/>
                    <a:pt x="23" y="1075"/>
                    <a:pt x="23" y="1075"/>
                  </a:cubicBezTo>
                  <a:cubicBezTo>
                    <a:pt x="16" y="1052"/>
                    <a:pt x="16" y="1052"/>
                    <a:pt x="23" y="1020"/>
                  </a:cubicBezTo>
                  <a:cubicBezTo>
                    <a:pt x="23" y="1012"/>
                    <a:pt x="23" y="1004"/>
                    <a:pt x="23" y="996"/>
                  </a:cubicBezTo>
                  <a:cubicBezTo>
                    <a:pt x="23" y="988"/>
                    <a:pt x="23" y="980"/>
                    <a:pt x="23" y="980"/>
                  </a:cubicBezTo>
                  <a:lnTo>
                    <a:pt x="23" y="980"/>
                  </a:lnTo>
                  <a:cubicBezTo>
                    <a:pt x="16" y="996"/>
                    <a:pt x="8" y="1012"/>
                    <a:pt x="8" y="1036"/>
                  </a:cubicBezTo>
                  <a:cubicBezTo>
                    <a:pt x="16" y="1043"/>
                    <a:pt x="16" y="1059"/>
                    <a:pt x="16" y="1067"/>
                  </a:cubicBezTo>
                  <a:cubicBezTo>
                    <a:pt x="16" y="1083"/>
                    <a:pt x="16" y="1099"/>
                    <a:pt x="23" y="1115"/>
                  </a:cubicBezTo>
                  <a:cubicBezTo>
                    <a:pt x="23" y="1123"/>
                    <a:pt x="23" y="1131"/>
                    <a:pt x="23" y="1131"/>
                  </a:cubicBezTo>
                  <a:cubicBezTo>
                    <a:pt x="23" y="1138"/>
                    <a:pt x="31" y="1138"/>
                    <a:pt x="31" y="1138"/>
                  </a:cubicBezTo>
                  <a:cubicBezTo>
                    <a:pt x="79" y="1162"/>
                    <a:pt x="118" y="1178"/>
                    <a:pt x="126" y="1178"/>
                  </a:cubicBezTo>
                  <a:cubicBezTo>
                    <a:pt x="158" y="1186"/>
                    <a:pt x="158" y="1194"/>
                    <a:pt x="158" y="1225"/>
                  </a:cubicBezTo>
                  <a:cubicBezTo>
                    <a:pt x="158" y="1225"/>
                    <a:pt x="166" y="1225"/>
                    <a:pt x="166" y="1233"/>
                  </a:cubicBezTo>
                  <a:cubicBezTo>
                    <a:pt x="166" y="1257"/>
                    <a:pt x="174" y="1257"/>
                    <a:pt x="174" y="1257"/>
                  </a:cubicBezTo>
                  <a:lnTo>
                    <a:pt x="181" y="1249"/>
                  </a:lnTo>
                  <a:cubicBezTo>
                    <a:pt x="190" y="1249"/>
                    <a:pt x="205" y="1241"/>
                    <a:pt x="213" y="1241"/>
                  </a:cubicBezTo>
                  <a:cubicBezTo>
                    <a:pt x="253" y="1241"/>
                    <a:pt x="268" y="1281"/>
                    <a:pt x="292" y="1320"/>
                  </a:cubicBezTo>
                  <a:cubicBezTo>
                    <a:pt x="300" y="1320"/>
                    <a:pt x="300" y="1328"/>
                    <a:pt x="308" y="1328"/>
                  </a:cubicBezTo>
                  <a:cubicBezTo>
                    <a:pt x="324" y="1368"/>
                    <a:pt x="308" y="1415"/>
                    <a:pt x="292" y="1455"/>
                  </a:cubicBezTo>
                  <a:cubicBezTo>
                    <a:pt x="292" y="1471"/>
                    <a:pt x="284" y="1478"/>
                    <a:pt x="284" y="1494"/>
                  </a:cubicBezTo>
                  <a:cubicBezTo>
                    <a:pt x="276" y="1526"/>
                    <a:pt x="284" y="1549"/>
                    <a:pt x="292" y="1558"/>
                  </a:cubicBezTo>
                  <a:cubicBezTo>
                    <a:pt x="300" y="1565"/>
                    <a:pt x="316" y="1565"/>
                    <a:pt x="324" y="1565"/>
                  </a:cubicBezTo>
                  <a:cubicBezTo>
                    <a:pt x="348" y="1573"/>
                    <a:pt x="379" y="1573"/>
                    <a:pt x="395" y="1589"/>
                  </a:cubicBezTo>
                  <a:cubicBezTo>
                    <a:pt x="411" y="1605"/>
                    <a:pt x="434" y="1613"/>
                    <a:pt x="466" y="1613"/>
                  </a:cubicBezTo>
                  <a:cubicBezTo>
                    <a:pt x="490" y="1613"/>
                    <a:pt x="506" y="1613"/>
                    <a:pt x="521" y="1605"/>
                  </a:cubicBezTo>
                  <a:cubicBezTo>
                    <a:pt x="529" y="1605"/>
                    <a:pt x="545" y="1597"/>
                    <a:pt x="545" y="1597"/>
                  </a:cubicBezTo>
                  <a:cubicBezTo>
                    <a:pt x="561" y="1589"/>
                    <a:pt x="569" y="1581"/>
                    <a:pt x="577" y="1581"/>
                  </a:cubicBezTo>
                  <a:cubicBezTo>
                    <a:pt x="585" y="1581"/>
                    <a:pt x="601" y="1589"/>
                    <a:pt x="608" y="1589"/>
                  </a:cubicBezTo>
                  <a:cubicBezTo>
                    <a:pt x="624" y="1597"/>
                    <a:pt x="640" y="1605"/>
                    <a:pt x="648" y="1605"/>
                  </a:cubicBezTo>
                  <a:cubicBezTo>
                    <a:pt x="656" y="1605"/>
                    <a:pt x="656" y="1605"/>
                    <a:pt x="664" y="1597"/>
                  </a:cubicBezTo>
                  <a:cubicBezTo>
                    <a:pt x="672" y="1597"/>
                    <a:pt x="680" y="1597"/>
                    <a:pt x="696" y="1597"/>
                  </a:cubicBezTo>
                  <a:cubicBezTo>
                    <a:pt x="727" y="1597"/>
                    <a:pt x="735" y="1605"/>
                    <a:pt x="751" y="1629"/>
                  </a:cubicBezTo>
                  <a:cubicBezTo>
                    <a:pt x="759" y="1636"/>
                    <a:pt x="759" y="1636"/>
                    <a:pt x="759" y="1636"/>
                  </a:cubicBezTo>
                  <a:cubicBezTo>
                    <a:pt x="759" y="1636"/>
                    <a:pt x="759" y="1644"/>
                    <a:pt x="767" y="1644"/>
                  </a:cubicBezTo>
                  <a:cubicBezTo>
                    <a:pt x="774" y="1668"/>
                    <a:pt x="782" y="1668"/>
                    <a:pt x="790" y="1668"/>
                  </a:cubicBezTo>
                  <a:cubicBezTo>
                    <a:pt x="798" y="1668"/>
                    <a:pt x="806" y="1660"/>
                    <a:pt x="822" y="1660"/>
                  </a:cubicBezTo>
                  <a:cubicBezTo>
                    <a:pt x="838" y="1660"/>
                    <a:pt x="861" y="1668"/>
                    <a:pt x="869" y="1676"/>
                  </a:cubicBezTo>
                  <a:cubicBezTo>
                    <a:pt x="877" y="1684"/>
                    <a:pt x="885" y="1684"/>
                    <a:pt x="893" y="1684"/>
                  </a:cubicBezTo>
                  <a:cubicBezTo>
                    <a:pt x="909" y="1684"/>
                    <a:pt x="940" y="1668"/>
                    <a:pt x="956" y="1660"/>
                  </a:cubicBezTo>
                  <a:cubicBezTo>
                    <a:pt x="956" y="1660"/>
                    <a:pt x="964" y="1660"/>
                    <a:pt x="972" y="1660"/>
                  </a:cubicBezTo>
                  <a:cubicBezTo>
                    <a:pt x="996" y="1660"/>
                    <a:pt x="1027" y="1668"/>
                    <a:pt x="1051" y="1700"/>
                  </a:cubicBezTo>
                  <a:cubicBezTo>
                    <a:pt x="1059" y="1708"/>
                    <a:pt x="1075" y="1716"/>
                    <a:pt x="1091" y="1716"/>
                  </a:cubicBezTo>
                  <a:cubicBezTo>
                    <a:pt x="1114" y="1716"/>
                    <a:pt x="1146" y="1708"/>
                    <a:pt x="1154" y="1700"/>
                  </a:cubicBezTo>
                  <a:cubicBezTo>
                    <a:pt x="1162" y="1692"/>
                    <a:pt x="1186" y="1692"/>
                    <a:pt x="1217" y="1692"/>
                  </a:cubicBezTo>
                  <a:cubicBezTo>
                    <a:pt x="1241" y="1692"/>
                    <a:pt x="1273" y="1692"/>
                    <a:pt x="1304" y="1692"/>
                  </a:cubicBezTo>
                  <a:cubicBezTo>
                    <a:pt x="1336" y="1692"/>
                    <a:pt x="1344" y="1692"/>
                    <a:pt x="1344" y="1692"/>
                  </a:cubicBezTo>
                  <a:lnTo>
                    <a:pt x="1344" y="1692"/>
                  </a:lnTo>
                  <a:cubicBezTo>
                    <a:pt x="1344" y="1692"/>
                    <a:pt x="1344" y="1684"/>
                    <a:pt x="1351" y="1676"/>
                  </a:cubicBezTo>
                  <a:cubicBezTo>
                    <a:pt x="1351" y="1676"/>
                    <a:pt x="1359" y="1668"/>
                    <a:pt x="1375" y="1668"/>
                  </a:cubicBezTo>
                  <a:cubicBezTo>
                    <a:pt x="1391" y="1668"/>
                    <a:pt x="1415" y="1676"/>
                    <a:pt x="1438" y="1684"/>
                  </a:cubicBezTo>
                  <a:cubicBezTo>
                    <a:pt x="1446" y="1692"/>
                    <a:pt x="1470" y="1692"/>
                    <a:pt x="1486" y="1692"/>
                  </a:cubicBezTo>
                  <a:cubicBezTo>
                    <a:pt x="1510" y="1692"/>
                    <a:pt x="1533" y="1684"/>
                    <a:pt x="1549" y="1684"/>
                  </a:cubicBezTo>
                  <a:cubicBezTo>
                    <a:pt x="1549" y="1684"/>
                    <a:pt x="1549" y="1684"/>
                    <a:pt x="1557" y="1684"/>
                  </a:cubicBezTo>
                  <a:close/>
                </a:path>
              </a:pathLst>
            </a:custGeom>
            <a:solidFill>
              <a:schemeClr val="accent6"/>
            </a:solidFill>
            <a:ln>
              <a:solidFill>
                <a:schemeClr val="bg2"/>
              </a:solidFill>
            </a:ln>
            <a:effectLst/>
          </p:spPr>
          <p:txBody>
            <a:bodyPr wrap="none" anchor="ctr"/>
            <a:lstStyle/>
            <a:p>
              <a:endParaRPr lang="en-US"/>
            </a:p>
          </p:txBody>
        </p:sp>
        <p:sp>
          <p:nvSpPr>
            <p:cNvPr id="34" name="Freeform 261"/>
            <p:cNvSpPr>
              <a:spLocks noChangeArrowheads="1"/>
            </p:cNvSpPr>
            <p:nvPr/>
          </p:nvSpPr>
          <p:spPr bwMode="auto">
            <a:xfrm>
              <a:off x="1590340" y="1874908"/>
              <a:ext cx="812614" cy="1126480"/>
            </a:xfrm>
            <a:custGeom>
              <a:avLst/>
              <a:gdLst>
                <a:gd name="T0" fmla="*/ 2213 w 2254"/>
                <a:gd name="T1" fmla="*/ 2364 h 3606"/>
                <a:gd name="T2" fmla="*/ 2213 w 2254"/>
                <a:gd name="T3" fmla="*/ 2364 h 3606"/>
                <a:gd name="T4" fmla="*/ 2142 w 2254"/>
                <a:gd name="T5" fmla="*/ 2292 h 3606"/>
                <a:gd name="T6" fmla="*/ 2079 w 2254"/>
                <a:gd name="T7" fmla="*/ 2395 h 3606"/>
                <a:gd name="T8" fmla="*/ 2039 w 2254"/>
                <a:gd name="T9" fmla="*/ 2371 h 3606"/>
                <a:gd name="T10" fmla="*/ 1992 w 2254"/>
                <a:gd name="T11" fmla="*/ 2371 h 3606"/>
                <a:gd name="T12" fmla="*/ 1897 w 2254"/>
                <a:gd name="T13" fmla="*/ 2348 h 3606"/>
                <a:gd name="T14" fmla="*/ 1834 w 2254"/>
                <a:gd name="T15" fmla="*/ 2340 h 3606"/>
                <a:gd name="T16" fmla="*/ 1778 w 2254"/>
                <a:gd name="T17" fmla="*/ 2371 h 3606"/>
                <a:gd name="T18" fmla="*/ 1707 w 2254"/>
                <a:gd name="T19" fmla="*/ 2348 h 3606"/>
                <a:gd name="T20" fmla="*/ 1652 w 2254"/>
                <a:gd name="T21" fmla="*/ 2387 h 3606"/>
                <a:gd name="T22" fmla="*/ 1620 w 2254"/>
                <a:gd name="T23" fmla="*/ 2355 h 3606"/>
                <a:gd name="T24" fmla="*/ 1589 w 2254"/>
                <a:gd name="T25" fmla="*/ 2229 h 3606"/>
                <a:gd name="T26" fmla="*/ 1518 w 2254"/>
                <a:gd name="T27" fmla="*/ 2158 h 3606"/>
                <a:gd name="T28" fmla="*/ 1494 w 2254"/>
                <a:gd name="T29" fmla="*/ 2079 h 3606"/>
                <a:gd name="T30" fmla="*/ 1478 w 2254"/>
                <a:gd name="T31" fmla="*/ 1960 h 3606"/>
                <a:gd name="T32" fmla="*/ 1423 w 2254"/>
                <a:gd name="T33" fmla="*/ 1850 h 3606"/>
                <a:gd name="T34" fmla="*/ 1439 w 2254"/>
                <a:gd name="T35" fmla="*/ 1739 h 3606"/>
                <a:gd name="T36" fmla="*/ 1352 w 2254"/>
                <a:gd name="T37" fmla="*/ 1747 h 3606"/>
                <a:gd name="T38" fmla="*/ 1257 w 2254"/>
                <a:gd name="T39" fmla="*/ 1794 h 3606"/>
                <a:gd name="T40" fmla="*/ 1225 w 2254"/>
                <a:gd name="T41" fmla="*/ 1771 h 3606"/>
                <a:gd name="T42" fmla="*/ 1186 w 2254"/>
                <a:gd name="T43" fmla="*/ 1739 h 3606"/>
                <a:gd name="T44" fmla="*/ 1194 w 2254"/>
                <a:gd name="T45" fmla="*/ 1668 h 3606"/>
                <a:gd name="T46" fmla="*/ 1241 w 2254"/>
                <a:gd name="T47" fmla="*/ 1644 h 3606"/>
                <a:gd name="T48" fmla="*/ 1257 w 2254"/>
                <a:gd name="T49" fmla="*/ 1565 h 3606"/>
                <a:gd name="T50" fmla="*/ 1257 w 2254"/>
                <a:gd name="T51" fmla="*/ 1454 h 3606"/>
                <a:gd name="T52" fmla="*/ 1304 w 2254"/>
                <a:gd name="T53" fmla="*/ 1367 h 3606"/>
                <a:gd name="T54" fmla="*/ 1336 w 2254"/>
                <a:gd name="T55" fmla="*/ 1249 h 3606"/>
                <a:gd name="T56" fmla="*/ 1272 w 2254"/>
                <a:gd name="T57" fmla="*/ 1249 h 3606"/>
                <a:gd name="T58" fmla="*/ 1194 w 2254"/>
                <a:gd name="T59" fmla="*/ 1162 h 3606"/>
                <a:gd name="T60" fmla="*/ 1170 w 2254"/>
                <a:gd name="T61" fmla="*/ 1083 h 3606"/>
                <a:gd name="T62" fmla="*/ 1114 w 2254"/>
                <a:gd name="T63" fmla="*/ 1012 h 3606"/>
                <a:gd name="T64" fmla="*/ 1091 w 2254"/>
                <a:gd name="T65" fmla="*/ 917 h 3606"/>
                <a:gd name="T66" fmla="*/ 1035 w 2254"/>
                <a:gd name="T67" fmla="*/ 870 h 3606"/>
                <a:gd name="T68" fmla="*/ 980 w 2254"/>
                <a:gd name="T69" fmla="*/ 798 h 3606"/>
                <a:gd name="T70" fmla="*/ 1004 w 2254"/>
                <a:gd name="T71" fmla="*/ 696 h 3606"/>
                <a:gd name="T72" fmla="*/ 925 w 2254"/>
                <a:gd name="T73" fmla="*/ 545 h 3606"/>
                <a:gd name="T74" fmla="*/ 941 w 2254"/>
                <a:gd name="T75" fmla="*/ 450 h 3606"/>
                <a:gd name="T76" fmla="*/ 972 w 2254"/>
                <a:gd name="T77" fmla="*/ 292 h 3606"/>
                <a:gd name="T78" fmla="*/ 996 w 2254"/>
                <a:gd name="T79" fmla="*/ 126 h 3606"/>
                <a:gd name="T80" fmla="*/ 1004 w 2254"/>
                <a:gd name="T81" fmla="*/ 63 h 3606"/>
                <a:gd name="T82" fmla="*/ 672 w 2254"/>
                <a:gd name="T83" fmla="*/ 0 h 3606"/>
                <a:gd name="T84" fmla="*/ 553 w 2254"/>
                <a:gd name="T85" fmla="*/ 593 h 3606"/>
                <a:gd name="T86" fmla="*/ 450 w 2254"/>
                <a:gd name="T87" fmla="*/ 1051 h 3606"/>
                <a:gd name="T88" fmla="*/ 442 w 2254"/>
                <a:gd name="T89" fmla="*/ 1249 h 3606"/>
                <a:gd name="T90" fmla="*/ 435 w 2254"/>
                <a:gd name="T91" fmla="*/ 1328 h 3606"/>
                <a:gd name="T92" fmla="*/ 482 w 2254"/>
                <a:gd name="T93" fmla="*/ 1486 h 3606"/>
                <a:gd name="T94" fmla="*/ 522 w 2254"/>
                <a:gd name="T95" fmla="*/ 1628 h 3606"/>
                <a:gd name="T96" fmla="*/ 442 w 2254"/>
                <a:gd name="T97" fmla="*/ 1747 h 3606"/>
                <a:gd name="T98" fmla="*/ 371 w 2254"/>
                <a:gd name="T99" fmla="*/ 1818 h 3606"/>
                <a:gd name="T100" fmla="*/ 355 w 2254"/>
                <a:gd name="T101" fmla="*/ 1889 h 3606"/>
                <a:gd name="T102" fmla="*/ 174 w 2254"/>
                <a:gd name="T103" fmla="*/ 2079 h 3606"/>
                <a:gd name="T104" fmla="*/ 229 w 2254"/>
                <a:gd name="T105" fmla="*/ 2182 h 3606"/>
                <a:gd name="T106" fmla="*/ 229 w 2254"/>
                <a:gd name="T107" fmla="*/ 2277 h 3606"/>
                <a:gd name="T108" fmla="*/ 221 w 2254"/>
                <a:gd name="T109" fmla="*/ 2340 h 3606"/>
                <a:gd name="T110" fmla="*/ 174 w 2254"/>
                <a:gd name="T111" fmla="*/ 2435 h 3606"/>
                <a:gd name="T112" fmla="*/ 0 w 2254"/>
                <a:gd name="T113" fmla="*/ 3217 h 3606"/>
                <a:gd name="T114" fmla="*/ 2063 w 2254"/>
                <a:gd name="T115" fmla="*/ 3605 h 3606"/>
                <a:gd name="T116" fmla="*/ 2253 w 2254"/>
                <a:gd name="T117" fmla="*/ 2427 h 3606"/>
                <a:gd name="T118" fmla="*/ 2213 w 2254"/>
                <a:gd name="T119" fmla="*/ 2364 h 3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4" h="3606">
                  <a:moveTo>
                    <a:pt x="2213" y="2364"/>
                  </a:moveTo>
                  <a:lnTo>
                    <a:pt x="2213" y="2364"/>
                  </a:lnTo>
                  <a:cubicBezTo>
                    <a:pt x="2205" y="2316"/>
                    <a:pt x="2174" y="2316"/>
                    <a:pt x="2142" y="2292"/>
                  </a:cubicBezTo>
                  <a:cubicBezTo>
                    <a:pt x="2111" y="2277"/>
                    <a:pt x="2126" y="2348"/>
                    <a:pt x="2079" y="2395"/>
                  </a:cubicBezTo>
                  <a:cubicBezTo>
                    <a:pt x="2031" y="2435"/>
                    <a:pt x="2079" y="2395"/>
                    <a:pt x="2039" y="2371"/>
                  </a:cubicBezTo>
                  <a:cubicBezTo>
                    <a:pt x="2000" y="2348"/>
                    <a:pt x="2024" y="2364"/>
                    <a:pt x="1992" y="2371"/>
                  </a:cubicBezTo>
                  <a:cubicBezTo>
                    <a:pt x="1952" y="2379"/>
                    <a:pt x="1929" y="2371"/>
                    <a:pt x="1897" y="2348"/>
                  </a:cubicBezTo>
                  <a:cubicBezTo>
                    <a:pt x="1865" y="2324"/>
                    <a:pt x="1850" y="2332"/>
                    <a:pt x="1834" y="2340"/>
                  </a:cubicBezTo>
                  <a:cubicBezTo>
                    <a:pt x="1818" y="2348"/>
                    <a:pt x="1802" y="2371"/>
                    <a:pt x="1778" y="2371"/>
                  </a:cubicBezTo>
                  <a:cubicBezTo>
                    <a:pt x="1747" y="2364"/>
                    <a:pt x="1739" y="2355"/>
                    <a:pt x="1707" y="2348"/>
                  </a:cubicBezTo>
                  <a:cubicBezTo>
                    <a:pt x="1676" y="2332"/>
                    <a:pt x="1676" y="2355"/>
                    <a:pt x="1652" y="2387"/>
                  </a:cubicBezTo>
                  <a:cubicBezTo>
                    <a:pt x="1628" y="2411"/>
                    <a:pt x="1628" y="2371"/>
                    <a:pt x="1620" y="2355"/>
                  </a:cubicBezTo>
                  <a:cubicBezTo>
                    <a:pt x="1605" y="2332"/>
                    <a:pt x="1589" y="2269"/>
                    <a:pt x="1589" y="2229"/>
                  </a:cubicBezTo>
                  <a:cubicBezTo>
                    <a:pt x="1589" y="2190"/>
                    <a:pt x="1573" y="2166"/>
                    <a:pt x="1518" y="2158"/>
                  </a:cubicBezTo>
                  <a:cubicBezTo>
                    <a:pt x="1454" y="2142"/>
                    <a:pt x="1478" y="2126"/>
                    <a:pt x="1494" y="2079"/>
                  </a:cubicBezTo>
                  <a:cubicBezTo>
                    <a:pt x="1510" y="2031"/>
                    <a:pt x="1502" y="2000"/>
                    <a:pt x="1478" y="1960"/>
                  </a:cubicBezTo>
                  <a:cubicBezTo>
                    <a:pt x="1446" y="1921"/>
                    <a:pt x="1439" y="1889"/>
                    <a:pt x="1423" y="1850"/>
                  </a:cubicBezTo>
                  <a:cubicBezTo>
                    <a:pt x="1407" y="1818"/>
                    <a:pt x="1439" y="1787"/>
                    <a:pt x="1439" y="1739"/>
                  </a:cubicBezTo>
                  <a:cubicBezTo>
                    <a:pt x="1431" y="1700"/>
                    <a:pt x="1383" y="1723"/>
                    <a:pt x="1352" y="1747"/>
                  </a:cubicBezTo>
                  <a:cubicBezTo>
                    <a:pt x="1328" y="1778"/>
                    <a:pt x="1312" y="1778"/>
                    <a:pt x="1257" y="1794"/>
                  </a:cubicBezTo>
                  <a:cubicBezTo>
                    <a:pt x="1194" y="1802"/>
                    <a:pt x="1257" y="1794"/>
                    <a:pt x="1225" y="1771"/>
                  </a:cubicBezTo>
                  <a:cubicBezTo>
                    <a:pt x="1194" y="1747"/>
                    <a:pt x="1178" y="1747"/>
                    <a:pt x="1186" y="1739"/>
                  </a:cubicBezTo>
                  <a:cubicBezTo>
                    <a:pt x="1194" y="1723"/>
                    <a:pt x="1201" y="1700"/>
                    <a:pt x="1194" y="1668"/>
                  </a:cubicBezTo>
                  <a:cubicBezTo>
                    <a:pt x="1194" y="1636"/>
                    <a:pt x="1217" y="1644"/>
                    <a:pt x="1241" y="1644"/>
                  </a:cubicBezTo>
                  <a:cubicBezTo>
                    <a:pt x="1257" y="1644"/>
                    <a:pt x="1265" y="1581"/>
                    <a:pt x="1257" y="1565"/>
                  </a:cubicBezTo>
                  <a:cubicBezTo>
                    <a:pt x="1257" y="1541"/>
                    <a:pt x="1241" y="1502"/>
                    <a:pt x="1257" y="1454"/>
                  </a:cubicBezTo>
                  <a:cubicBezTo>
                    <a:pt x="1265" y="1415"/>
                    <a:pt x="1296" y="1383"/>
                    <a:pt x="1304" y="1367"/>
                  </a:cubicBezTo>
                  <a:cubicBezTo>
                    <a:pt x="1320" y="1344"/>
                    <a:pt x="1344" y="1296"/>
                    <a:pt x="1336" y="1249"/>
                  </a:cubicBezTo>
                  <a:cubicBezTo>
                    <a:pt x="1328" y="1201"/>
                    <a:pt x="1304" y="1257"/>
                    <a:pt x="1272" y="1249"/>
                  </a:cubicBezTo>
                  <a:cubicBezTo>
                    <a:pt x="1233" y="1241"/>
                    <a:pt x="1233" y="1194"/>
                    <a:pt x="1194" y="1162"/>
                  </a:cubicBezTo>
                  <a:cubicBezTo>
                    <a:pt x="1146" y="1130"/>
                    <a:pt x="1178" y="1130"/>
                    <a:pt x="1170" y="1083"/>
                  </a:cubicBezTo>
                  <a:cubicBezTo>
                    <a:pt x="1162" y="1036"/>
                    <a:pt x="1154" y="1036"/>
                    <a:pt x="1114" y="1012"/>
                  </a:cubicBezTo>
                  <a:cubicBezTo>
                    <a:pt x="1075" y="988"/>
                    <a:pt x="1099" y="956"/>
                    <a:pt x="1091" y="917"/>
                  </a:cubicBezTo>
                  <a:cubicBezTo>
                    <a:pt x="1083" y="877"/>
                    <a:pt x="1051" y="893"/>
                    <a:pt x="1035" y="870"/>
                  </a:cubicBezTo>
                  <a:cubicBezTo>
                    <a:pt x="1012" y="838"/>
                    <a:pt x="980" y="838"/>
                    <a:pt x="980" y="798"/>
                  </a:cubicBezTo>
                  <a:cubicBezTo>
                    <a:pt x="980" y="767"/>
                    <a:pt x="1004" y="735"/>
                    <a:pt x="1004" y="696"/>
                  </a:cubicBezTo>
                  <a:cubicBezTo>
                    <a:pt x="996" y="656"/>
                    <a:pt x="941" y="577"/>
                    <a:pt x="925" y="545"/>
                  </a:cubicBezTo>
                  <a:cubicBezTo>
                    <a:pt x="917" y="514"/>
                    <a:pt x="933" y="482"/>
                    <a:pt x="941" y="450"/>
                  </a:cubicBezTo>
                  <a:cubicBezTo>
                    <a:pt x="941" y="419"/>
                    <a:pt x="964" y="332"/>
                    <a:pt x="972" y="292"/>
                  </a:cubicBezTo>
                  <a:cubicBezTo>
                    <a:pt x="988" y="253"/>
                    <a:pt x="996" y="158"/>
                    <a:pt x="996" y="126"/>
                  </a:cubicBezTo>
                  <a:cubicBezTo>
                    <a:pt x="996" y="111"/>
                    <a:pt x="996" y="79"/>
                    <a:pt x="1004" y="63"/>
                  </a:cubicBezTo>
                  <a:cubicBezTo>
                    <a:pt x="885" y="39"/>
                    <a:pt x="775" y="16"/>
                    <a:pt x="672" y="0"/>
                  </a:cubicBezTo>
                  <a:cubicBezTo>
                    <a:pt x="648" y="111"/>
                    <a:pt x="561" y="561"/>
                    <a:pt x="553" y="593"/>
                  </a:cubicBezTo>
                  <a:cubicBezTo>
                    <a:pt x="545" y="617"/>
                    <a:pt x="466" y="1020"/>
                    <a:pt x="450" y="1051"/>
                  </a:cubicBezTo>
                  <a:cubicBezTo>
                    <a:pt x="427" y="1083"/>
                    <a:pt x="427" y="1225"/>
                    <a:pt x="442" y="1249"/>
                  </a:cubicBezTo>
                  <a:cubicBezTo>
                    <a:pt x="450" y="1265"/>
                    <a:pt x="435" y="1312"/>
                    <a:pt x="435" y="1328"/>
                  </a:cubicBezTo>
                  <a:cubicBezTo>
                    <a:pt x="427" y="1352"/>
                    <a:pt x="435" y="1454"/>
                    <a:pt x="482" y="1486"/>
                  </a:cubicBezTo>
                  <a:cubicBezTo>
                    <a:pt x="529" y="1526"/>
                    <a:pt x="545" y="1613"/>
                    <a:pt x="522" y="1628"/>
                  </a:cubicBezTo>
                  <a:cubicBezTo>
                    <a:pt x="506" y="1644"/>
                    <a:pt x="442" y="1731"/>
                    <a:pt x="442" y="1747"/>
                  </a:cubicBezTo>
                  <a:cubicBezTo>
                    <a:pt x="442" y="1771"/>
                    <a:pt x="395" y="1794"/>
                    <a:pt x="371" y="1818"/>
                  </a:cubicBezTo>
                  <a:cubicBezTo>
                    <a:pt x="348" y="1850"/>
                    <a:pt x="348" y="1873"/>
                    <a:pt x="355" y="1889"/>
                  </a:cubicBezTo>
                  <a:cubicBezTo>
                    <a:pt x="355" y="1897"/>
                    <a:pt x="166" y="2040"/>
                    <a:pt x="174" y="2079"/>
                  </a:cubicBezTo>
                  <a:cubicBezTo>
                    <a:pt x="182" y="2126"/>
                    <a:pt x="166" y="2158"/>
                    <a:pt x="229" y="2182"/>
                  </a:cubicBezTo>
                  <a:cubicBezTo>
                    <a:pt x="284" y="2213"/>
                    <a:pt x="245" y="2253"/>
                    <a:pt x="229" y="2277"/>
                  </a:cubicBezTo>
                  <a:cubicBezTo>
                    <a:pt x="221" y="2292"/>
                    <a:pt x="237" y="2316"/>
                    <a:pt x="221" y="2340"/>
                  </a:cubicBezTo>
                  <a:cubicBezTo>
                    <a:pt x="205" y="2364"/>
                    <a:pt x="174" y="2411"/>
                    <a:pt x="174" y="2435"/>
                  </a:cubicBezTo>
                  <a:cubicBezTo>
                    <a:pt x="174" y="2458"/>
                    <a:pt x="31" y="3075"/>
                    <a:pt x="0" y="3217"/>
                  </a:cubicBezTo>
                  <a:cubicBezTo>
                    <a:pt x="640" y="3360"/>
                    <a:pt x="1352" y="3494"/>
                    <a:pt x="2063" y="3605"/>
                  </a:cubicBezTo>
                  <a:cubicBezTo>
                    <a:pt x="2253" y="2427"/>
                    <a:pt x="2253" y="2427"/>
                    <a:pt x="2253" y="2427"/>
                  </a:cubicBezTo>
                  <a:cubicBezTo>
                    <a:pt x="2229" y="2411"/>
                    <a:pt x="2221" y="2395"/>
                    <a:pt x="2213" y="2364"/>
                  </a:cubicBezTo>
                </a:path>
              </a:pathLst>
            </a:custGeom>
            <a:solidFill>
              <a:schemeClr val="accent6"/>
            </a:solidFill>
            <a:ln>
              <a:solidFill>
                <a:schemeClr val="bg2"/>
              </a:solidFill>
            </a:ln>
            <a:effectLst/>
          </p:spPr>
          <p:txBody>
            <a:bodyPr wrap="none" anchor="ctr"/>
            <a:lstStyle/>
            <a:p>
              <a:endParaRPr lang="en-US"/>
            </a:p>
          </p:txBody>
        </p:sp>
        <p:sp>
          <p:nvSpPr>
            <p:cNvPr id="35" name="Freeform 262"/>
            <p:cNvSpPr>
              <a:spLocks noChangeArrowheads="1"/>
            </p:cNvSpPr>
            <p:nvPr/>
          </p:nvSpPr>
          <p:spPr bwMode="auto">
            <a:xfrm>
              <a:off x="1588750" y="1872153"/>
              <a:ext cx="818974" cy="1129234"/>
            </a:xfrm>
            <a:custGeom>
              <a:avLst/>
              <a:gdLst>
                <a:gd name="T0" fmla="*/ 8 w 2270"/>
                <a:gd name="T1" fmla="*/ 3233 h 3614"/>
                <a:gd name="T2" fmla="*/ 221 w 2270"/>
                <a:gd name="T3" fmla="*/ 2356 h 3614"/>
                <a:gd name="T4" fmla="*/ 237 w 2270"/>
                <a:gd name="T5" fmla="*/ 2277 h 3614"/>
                <a:gd name="T6" fmla="*/ 182 w 2270"/>
                <a:gd name="T7" fmla="*/ 2087 h 3614"/>
                <a:gd name="T8" fmla="*/ 379 w 2270"/>
                <a:gd name="T9" fmla="*/ 1826 h 3614"/>
                <a:gd name="T10" fmla="*/ 537 w 2270"/>
                <a:gd name="T11" fmla="*/ 1605 h 3614"/>
                <a:gd name="T12" fmla="*/ 450 w 2270"/>
                <a:gd name="T13" fmla="*/ 1257 h 3614"/>
                <a:gd name="T14" fmla="*/ 672 w 2270"/>
                <a:gd name="T15" fmla="*/ 0 h 3614"/>
                <a:gd name="T16" fmla="*/ 1012 w 2270"/>
                <a:gd name="T17" fmla="*/ 71 h 3614"/>
                <a:gd name="T18" fmla="*/ 949 w 2270"/>
                <a:gd name="T19" fmla="*/ 458 h 3614"/>
                <a:gd name="T20" fmla="*/ 1012 w 2270"/>
                <a:gd name="T21" fmla="*/ 704 h 3614"/>
                <a:gd name="T22" fmla="*/ 1043 w 2270"/>
                <a:gd name="T23" fmla="*/ 869 h 3614"/>
                <a:gd name="T24" fmla="*/ 1122 w 2270"/>
                <a:gd name="T25" fmla="*/ 1012 h 3614"/>
                <a:gd name="T26" fmla="*/ 1202 w 2270"/>
                <a:gd name="T27" fmla="*/ 1170 h 3614"/>
                <a:gd name="T28" fmla="*/ 1312 w 2270"/>
                <a:gd name="T29" fmla="*/ 1241 h 3614"/>
                <a:gd name="T30" fmla="*/ 1312 w 2270"/>
                <a:gd name="T31" fmla="*/ 1375 h 3614"/>
                <a:gd name="T32" fmla="*/ 1249 w 2270"/>
                <a:gd name="T33" fmla="*/ 1652 h 3614"/>
                <a:gd name="T34" fmla="*/ 1209 w 2270"/>
                <a:gd name="T35" fmla="*/ 1676 h 3614"/>
                <a:gd name="T36" fmla="*/ 1233 w 2270"/>
                <a:gd name="T37" fmla="*/ 1771 h 3614"/>
                <a:gd name="T38" fmla="*/ 1360 w 2270"/>
                <a:gd name="T39" fmla="*/ 1755 h 3614"/>
                <a:gd name="T40" fmla="*/ 1439 w 2270"/>
                <a:gd name="T41" fmla="*/ 1858 h 3614"/>
                <a:gd name="T42" fmla="*/ 1494 w 2270"/>
                <a:gd name="T43" fmla="*/ 2111 h 3614"/>
                <a:gd name="T44" fmla="*/ 1628 w 2270"/>
                <a:gd name="T45" fmla="*/ 2356 h 3614"/>
                <a:gd name="T46" fmla="*/ 1668 w 2270"/>
                <a:gd name="T47" fmla="*/ 2372 h 3614"/>
                <a:gd name="T48" fmla="*/ 1826 w 2270"/>
                <a:gd name="T49" fmla="*/ 2356 h 3614"/>
                <a:gd name="T50" fmla="*/ 1913 w 2270"/>
                <a:gd name="T51" fmla="*/ 2356 h 3614"/>
                <a:gd name="T52" fmla="*/ 2024 w 2270"/>
                <a:gd name="T53" fmla="*/ 2363 h 3614"/>
                <a:gd name="T54" fmla="*/ 2119 w 2270"/>
                <a:gd name="T55" fmla="*/ 2332 h 3614"/>
                <a:gd name="T56" fmla="*/ 2221 w 2270"/>
                <a:gd name="T57" fmla="*/ 2372 h 3614"/>
                <a:gd name="T58" fmla="*/ 8 w 2270"/>
                <a:gd name="T59" fmla="*/ 3225 h 3614"/>
                <a:gd name="T60" fmla="*/ 2213 w 2270"/>
                <a:gd name="T61" fmla="*/ 2372 h 3614"/>
                <a:gd name="T62" fmla="*/ 2126 w 2270"/>
                <a:gd name="T63" fmla="*/ 2332 h 3614"/>
                <a:gd name="T64" fmla="*/ 2055 w 2270"/>
                <a:gd name="T65" fmla="*/ 2419 h 3614"/>
                <a:gd name="T66" fmla="*/ 2024 w 2270"/>
                <a:gd name="T67" fmla="*/ 2372 h 3614"/>
                <a:gd name="T68" fmla="*/ 1873 w 2270"/>
                <a:gd name="T69" fmla="*/ 2348 h 3614"/>
                <a:gd name="T70" fmla="*/ 1786 w 2270"/>
                <a:gd name="T71" fmla="*/ 2379 h 3614"/>
                <a:gd name="T72" fmla="*/ 1676 w 2270"/>
                <a:gd name="T73" fmla="*/ 2372 h 3614"/>
                <a:gd name="T74" fmla="*/ 1620 w 2270"/>
                <a:gd name="T75" fmla="*/ 2363 h 3614"/>
                <a:gd name="T76" fmla="*/ 1486 w 2270"/>
                <a:gd name="T77" fmla="*/ 2111 h 3614"/>
                <a:gd name="T78" fmla="*/ 1431 w 2270"/>
                <a:gd name="T79" fmla="*/ 1866 h 3614"/>
                <a:gd name="T80" fmla="*/ 1367 w 2270"/>
                <a:gd name="T81" fmla="*/ 1763 h 3614"/>
                <a:gd name="T82" fmla="*/ 1233 w 2270"/>
                <a:gd name="T83" fmla="*/ 1795 h 3614"/>
                <a:gd name="T84" fmla="*/ 1194 w 2270"/>
                <a:gd name="T85" fmla="*/ 1747 h 3614"/>
                <a:gd name="T86" fmla="*/ 1233 w 2270"/>
                <a:gd name="T87" fmla="*/ 1644 h 3614"/>
                <a:gd name="T88" fmla="*/ 1257 w 2270"/>
                <a:gd name="T89" fmla="*/ 1462 h 3614"/>
                <a:gd name="T90" fmla="*/ 1336 w 2270"/>
                <a:gd name="T91" fmla="*/ 1241 h 3614"/>
                <a:gd name="T92" fmla="*/ 1241 w 2270"/>
                <a:gd name="T93" fmla="*/ 1225 h 3614"/>
                <a:gd name="T94" fmla="*/ 1138 w 2270"/>
                <a:gd name="T95" fmla="*/ 1036 h 3614"/>
                <a:gd name="T96" fmla="*/ 1067 w 2270"/>
                <a:gd name="T97" fmla="*/ 893 h 3614"/>
                <a:gd name="T98" fmla="*/ 996 w 2270"/>
                <a:gd name="T99" fmla="*/ 767 h 3614"/>
                <a:gd name="T100" fmla="*/ 933 w 2270"/>
                <a:gd name="T101" fmla="*/ 490 h 3614"/>
                <a:gd name="T102" fmla="*/ 1004 w 2270"/>
                <a:gd name="T103" fmla="*/ 71 h 3614"/>
                <a:gd name="T104" fmla="*/ 458 w 2270"/>
                <a:gd name="T105" fmla="*/ 1059 h 3614"/>
                <a:gd name="T106" fmla="*/ 490 w 2270"/>
                <a:gd name="T107" fmla="*/ 1494 h 3614"/>
                <a:gd name="T108" fmla="*/ 411 w 2270"/>
                <a:gd name="T109" fmla="*/ 1810 h 3614"/>
                <a:gd name="T110" fmla="*/ 308 w 2270"/>
                <a:gd name="T111" fmla="*/ 1952 h 3614"/>
                <a:gd name="T112" fmla="*/ 269 w 2270"/>
                <a:gd name="T113" fmla="*/ 2221 h 3614"/>
                <a:gd name="T114" fmla="*/ 237 w 2270"/>
                <a:gd name="T115" fmla="*/ 2348 h 3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70" h="3614">
                  <a:moveTo>
                    <a:pt x="2071" y="3613"/>
                  </a:moveTo>
                  <a:lnTo>
                    <a:pt x="2071" y="3613"/>
                  </a:lnTo>
                  <a:lnTo>
                    <a:pt x="2071" y="3613"/>
                  </a:lnTo>
                  <a:cubicBezTo>
                    <a:pt x="1431" y="3518"/>
                    <a:pt x="735" y="3391"/>
                    <a:pt x="8" y="3233"/>
                  </a:cubicBezTo>
                  <a:cubicBezTo>
                    <a:pt x="0" y="3233"/>
                    <a:pt x="0" y="3233"/>
                    <a:pt x="0" y="3233"/>
                  </a:cubicBezTo>
                  <a:cubicBezTo>
                    <a:pt x="0" y="3225"/>
                    <a:pt x="0" y="3225"/>
                    <a:pt x="0" y="3225"/>
                  </a:cubicBezTo>
                  <a:cubicBezTo>
                    <a:pt x="87" y="2854"/>
                    <a:pt x="182" y="2459"/>
                    <a:pt x="182" y="2443"/>
                  </a:cubicBezTo>
                  <a:cubicBezTo>
                    <a:pt x="182" y="2419"/>
                    <a:pt x="205" y="2379"/>
                    <a:pt x="221" y="2356"/>
                  </a:cubicBezTo>
                  <a:cubicBezTo>
                    <a:pt x="229" y="2348"/>
                    <a:pt x="229" y="2348"/>
                    <a:pt x="229" y="2348"/>
                  </a:cubicBezTo>
                  <a:cubicBezTo>
                    <a:pt x="237" y="2332"/>
                    <a:pt x="237" y="2324"/>
                    <a:pt x="229" y="2316"/>
                  </a:cubicBezTo>
                  <a:cubicBezTo>
                    <a:pt x="229" y="2300"/>
                    <a:pt x="229" y="2292"/>
                    <a:pt x="237" y="2285"/>
                  </a:cubicBezTo>
                  <a:cubicBezTo>
                    <a:pt x="237" y="2277"/>
                    <a:pt x="237" y="2277"/>
                    <a:pt x="237" y="2277"/>
                  </a:cubicBezTo>
                  <a:cubicBezTo>
                    <a:pt x="245" y="2269"/>
                    <a:pt x="269" y="2245"/>
                    <a:pt x="261" y="2221"/>
                  </a:cubicBezTo>
                  <a:cubicBezTo>
                    <a:pt x="261" y="2213"/>
                    <a:pt x="245" y="2206"/>
                    <a:pt x="229" y="2198"/>
                  </a:cubicBezTo>
                  <a:cubicBezTo>
                    <a:pt x="182" y="2174"/>
                    <a:pt x="182" y="2142"/>
                    <a:pt x="182" y="2111"/>
                  </a:cubicBezTo>
                  <a:cubicBezTo>
                    <a:pt x="182" y="2103"/>
                    <a:pt x="182" y="2095"/>
                    <a:pt x="182" y="2087"/>
                  </a:cubicBezTo>
                  <a:cubicBezTo>
                    <a:pt x="174" y="2063"/>
                    <a:pt x="237" y="2008"/>
                    <a:pt x="308" y="1945"/>
                  </a:cubicBezTo>
                  <a:cubicBezTo>
                    <a:pt x="332" y="1921"/>
                    <a:pt x="356" y="1897"/>
                    <a:pt x="356" y="1897"/>
                  </a:cubicBezTo>
                  <a:lnTo>
                    <a:pt x="356" y="1897"/>
                  </a:lnTo>
                  <a:cubicBezTo>
                    <a:pt x="356" y="1881"/>
                    <a:pt x="348" y="1850"/>
                    <a:pt x="379" y="1826"/>
                  </a:cubicBezTo>
                  <a:cubicBezTo>
                    <a:pt x="387" y="1818"/>
                    <a:pt x="395" y="1810"/>
                    <a:pt x="403" y="1802"/>
                  </a:cubicBezTo>
                  <a:cubicBezTo>
                    <a:pt x="427" y="1786"/>
                    <a:pt x="443" y="1771"/>
                    <a:pt x="443" y="1755"/>
                  </a:cubicBezTo>
                  <a:cubicBezTo>
                    <a:pt x="443" y="1731"/>
                    <a:pt x="506" y="1652"/>
                    <a:pt x="530" y="1628"/>
                  </a:cubicBezTo>
                  <a:cubicBezTo>
                    <a:pt x="537" y="1628"/>
                    <a:pt x="537" y="1621"/>
                    <a:pt x="537" y="1605"/>
                  </a:cubicBezTo>
                  <a:cubicBezTo>
                    <a:pt x="537" y="1573"/>
                    <a:pt x="514" y="1526"/>
                    <a:pt x="490" y="1502"/>
                  </a:cubicBezTo>
                  <a:cubicBezTo>
                    <a:pt x="443" y="1462"/>
                    <a:pt x="435" y="1360"/>
                    <a:pt x="435" y="1336"/>
                  </a:cubicBezTo>
                  <a:cubicBezTo>
                    <a:pt x="435" y="1328"/>
                    <a:pt x="443" y="1328"/>
                    <a:pt x="443" y="1320"/>
                  </a:cubicBezTo>
                  <a:cubicBezTo>
                    <a:pt x="450" y="1296"/>
                    <a:pt x="450" y="1273"/>
                    <a:pt x="450" y="1257"/>
                  </a:cubicBezTo>
                  <a:cubicBezTo>
                    <a:pt x="435" y="1233"/>
                    <a:pt x="435" y="1091"/>
                    <a:pt x="450" y="1059"/>
                  </a:cubicBezTo>
                  <a:cubicBezTo>
                    <a:pt x="466" y="1036"/>
                    <a:pt x="506" y="830"/>
                    <a:pt x="537" y="704"/>
                  </a:cubicBezTo>
                  <a:cubicBezTo>
                    <a:pt x="545" y="648"/>
                    <a:pt x="561" y="609"/>
                    <a:pt x="561" y="593"/>
                  </a:cubicBezTo>
                  <a:cubicBezTo>
                    <a:pt x="569" y="577"/>
                    <a:pt x="624" y="277"/>
                    <a:pt x="672" y="0"/>
                  </a:cubicBezTo>
                  <a:lnTo>
                    <a:pt x="672" y="0"/>
                  </a:lnTo>
                  <a:cubicBezTo>
                    <a:pt x="680" y="0"/>
                    <a:pt x="680" y="0"/>
                    <a:pt x="680" y="0"/>
                  </a:cubicBezTo>
                  <a:cubicBezTo>
                    <a:pt x="783" y="24"/>
                    <a:pt x="893" y="47"/>
                    <a:pt x="1012" y="71"/>
                  </a:cubicBezTo>
                  <a:lnTo>
                    <a:pt x="1012" y="71"/>
                  </a:lnTo>
                  <a:lnTo>
                    <a:pt x="1012" y="71"/>
                  </a:lnTo>
                  <a:cubicBezTo>
                    <a:pt x="1012" y="95"/>
                    <a:pt x="1004" y="119"/>
                    <a:pt x="1004" y="134"/>
                  </a:cubicBezTo>
                  <a:cubicBezTo>
                    <a:pt x="1004" y="166"/>
                    <a:pt x="1004" y="261"/>
                    <a:pt x="988" y="300"/>
                  </a:cubicBezTo>
                  <a:cubicBezTo>
                    <a:pt x="972" y="340"/>
                    <a:pt x="956" y="427"/>
                    <a:pt x="949" y="458"/>
                  </a:cubicBezTo>
                  <a:cubicBezTo>
                    <a:pt x="949" y="466"/>
                    <a:pt x="949" y="482"/>
                    <a:pt x="941" y="490"/>
                  </a:cubicBezTo>
                  <a:cubicBezTo>
                    <a:pt x="933" y="514"/>
                    <a:pt x="933" y="530"/>
                    <a:pt x="941" y="553"/>
                  </a:cubicBezTo>
                  <a:cubicBezTo>
                    <a:pt x="941" y="569"/>
                    <a:pt x="956" y="585"/>
                    <a:pt x="964" y="601"/>
                  </a:cubicBezTo>
                  <a:cubicBezTo>
                    <a:pt x="988" y="640"/>
                    <a:pt x="1012" y="680"/>
                    <a:pt x="1012" y="704"/>
                  </a:cubicBezTo>
                  <a:cubicBezTo>
                    <a:pt x="1012" y="727"/>
                    <a:pt x="1012" y="743"/>
                    <a:pt x="1004" y="767"/>
                  </a:cubicBezTo>
                  <a:cubicBezTo>
                    <a:pt x="996" y="783"/>
                    <a:pt x="996" y="798"/>
                    <a:pt x="996" y="806"/>
                  </a:cubicBezTo>
                  <a:cubicBezTo>
                    <a:pt x="996" y="830"/>
                    <a:pt x="1004" y="838"/>
                    <a:pt x="1020" y="854"/>
                  </a:cubicBezTo>
                  <a:cubicBezTo>
                    <a:pt x="1027" y="854"/>
                    <a:pt x="1036" y="862"/>
                    <a:pt x="1043" y="869"/>
                  </a:cubicBezTo>
                  <a:cubicBezTo>
                    <a:pt x="1051" y="885"/>
                    <a:pt x="1059" y="885"/>
                    <a:pt x="1067" y="885"/>
                  </a:cubicBezTo>
                  <a:cubicBezTo>
                    <a:pt x="1083" y="893"/>
                    <a:pt x="1099" y="893"/>
                    <a:pt x="1107" y="925"/>
                  </a:cubicBezTo>
                  <a:cubicBezTo>
                    <a:pt x="1107" y="933"/>
                    <a:pt x="1107" y="949"/>
                    <a:pt x="1107" y="964"/>
                  </a:cubicBezTo>
                  <a:cubicBezTo>
                    <a:pt x="1099" y="980"/>
                    <a:pt x="1099" y="1004"/>
                    <a:pt x="1122" y="1012"/>
                  </a:cubicBezTo>
                  <a:cubicBezTo>
                    <a:pt x="1130" y="1020"/>
                    <a:pt x="1138" y="1020"/>
                    <a:pt x="1146" y="1028"/>
                  </a:cubicBezTo>
                  <a:cubicBezTo>
                    <a:pt x="1170" y="1044"/>
                    <a:pt x="1178" y="1051"/>
                    <a:pt x="1186" y="1091"/>
                  </a:cubicBezTo>
                  <a:cubicBezTo>
                    <a:pt x="1186" y="1107"/>
                    <a:pt x="1186" y="1122"/>
                    <a:pt x="1178" y="1131"/>
                  </a:cubicBezTo>
                  <a:cubicBezTo>
                    <a:pt x="1178" y="1146"/>
                    <a:pt x="1178" y="1146"/>
                    <a:pt x="1202" y="1170"/>
                  </a:cubicBezTo>
                  <a:cubicBezTo>
                    <a:pt x="1225" y="1186"/>
                    <a:pt x="1233" y="1202"/>
                    <a:pt x="1249" y="1217"/>
                  </a:cubicBezTo>
                  <a:cubicBezTo>
                    <a:pt x="1257" y="1233"/>
                    <a:pt x="1265" y="1249"/>
                    <a:pt x="1280" y="1249"/>
                  </a:cubicBezTo>
                  <a:cubicBezTo>
                    <a:pt x="1280" y="1257"/>
                    <a:pt x="1280" y="1257"/>
                    <a:pt x="1289" y="1257"/>
                  </a:cubicBezTo>
                  <a:cubicBezTo>
                    <a:pt x="1296" y="1257"/>
                    <a:pt x="1304" y="1249"/>
                    <a:pt x="1312" y="1241"/>
                  </a:cubicBezTo>
                  <a:cubicBezTo>
                    <a:pt x="1320" y="1241"/>
                    <a:pt x="1328" y="1233"/>
                    <a:pt x="1336" y="1233"/>
                  </a:cubicBezTo>
                  <a:cubicBezTo>
                    <a:pt x="1344" y="1233"/>
                    <a:pt x="1344" y="1249"/>
                    <a:pt x="1344" y="1257"/>
                  </a:cubicBezTo>
                  <a:cubicBezTo>
                    <a:pt x="1352" y="1296"/>
                    <a:pt x="1336" y="1352"/>
                    <a:pt x="1320" y="1375"/>
                  </a:cubicBezTo>
                  <a:cubicBezTo>
                    <a:pt x="1312" y="1375"/>
                    <a:pt x="1312" y="1375"/>
                    <a:pt x="1312" y="1375"/>
                  </a:cubicBezTo>
                  <a:cubicBezTo>
                    <a:pt x="1296" y="1399"/>
                    <a:pt x="1273" y="1431"/>
                    <a:pt x="1265" y="1462"/>
                  </a:cubicBezTo>
                  <a:cubicBezTo>
                    <a:pt x="1257" y="1502"/>
                    <a:pt x="1265" y="1542"/>
                    <a:pt x="1273" y="1565"/>
                  </a:cubicBezTo>
                  <a:cubicBezTo>
                    <a:pt x="1273" y="1589"/>
                    <a:pt x="1273" y="1628"/>
                    <a:pt x="1257" y="1644"/>
                  </a:cubicBezTo>
                  <a:cubicBezTo>
                    <a:pt x="1257" y="1652"/>
                    <a:pt x="1249" y="1652"/>
                    <a:pt x="1249" y="1652"/>
                  </a:cubicBezTo>
                  <a:cubicBezTo>
                    <a:pt x="1241" y="1652"/>
                    <a:pt x="1241" y="1652"/>
                    <a:pt x="1241" y="1652"/>
                  </a:cubicBezTo>
                  <a:cubicBezTo>
                    <a:pt x="1233" y="1652"/>
                    <a:pt x="1233" y="1652"/>
                    <a:pt x="1233" y="1652"/>
                  </a:cubicBezTo>
                  <a:cubicBezTo>
                    <a:pt x="1225" y="1652"/>
                    <a:pt x="1217" y="1652"/>
                    <a:pt x="1209" y="1660"/>
                  </a:cubicBezTo>
                  <a:cubicBezTo>
                    <a:pt x="1209" y="1660"/>
                    <a:pt x="1209" y="1668"/>
                    <a:pt x="1209" y="1676"/>
                  </a:cubicBezTo>
                  <a:cubicBezTo>
                    <a:pt x="1209" y="1708"/>
                    <a:pt x="1202" y="1731"/>
                    <a:pt x="1194" y="1747"/>
                  </a:cubicBezTo>
                  <a:lnTo>
                    <a:pt x="1194" y="1747"/>
                  </a:lnTo>
                  <a:cubicBezTo>
                    <a:pt x="1194" y="1755"/>
                    <a:pt x="1194" y="1755"/>
                    <a:pt x="1202" y="1755"/>
                  </a:cubicBezTo>
                  <a:cubicBezTo>
                    <a:pt x="1209" y="1763"/>
                    <a:pt x="1217" y="1763"/>
                    <a:pt x="1233" y="1771"/>
                  </a:cubicBezTo>
                  <a:cubicBezTo>
                    <a:pt x="1241" y="1779"/>
                    <a:pt x="1241" y="1786"/>
                    <a:pt x="1241" y="1786"/>
                  </a:cubicBezTo>
                  <a:cubicBezTo>
                    <a:pt x="1241" y="1795"/>
                    <a:pt x="1241" y="1795"/>
                    <a:pt x="1241" y="1802"/>
                  </a:cubicBezTo>
                  <a:cubicBezTo>
                    <a:pt x="1241" y="1795"/>
                    <a:pt x="1249" y="1795"/>
                    <a:pt x="1257" y="1795"/>
                  </a:cubicBezTo>
                  <a:cubicBezTo>
                    <a:pt x="1320" y="1786"/>
                    <a:pt x="1336" y="1779"/>
                    <a:pt x="1360" y="1755"/>
                  </a:cubicBezTo>
                  <a:cubicBezTo>
                    <a:pt x="1375" y="1739"/>
                    <a:pt x="1407" y="1723"/>
                    <a:pt x="1423" y="1723"/>
                  </a:cubicBezTo>
                  <a:cubicBezTo>
                    <a:pt x="1431" y="1723"/>
                    <a:pt x="1447" y="1731"/>
                    <a:pt x="1447" y="1747"/>
                  </a:cubicBezTo>
                  <a:cubicBezTo>
                    <a:pt x="1447" y="1771"/>
                    <a:pt x="1447" y="1786"/>
                    <a:pt x="1439" y="1802"/>
                  </a:cubicBezTo>
                  <a:cubicBezTo>
                    <a:pt x="1431" y="1818"/>
                    <a:pt x="1431" y="1842"/>
                    <a:pt x="1439" y="1858"/>
                  </a:cubicBezTo>
                  <a:cubicBezTo>
                    <a:pt x="1439" y="1866"/>
                    <a:pt x="1439" y="1866"/>
                    <a:pt x="1439" y="1873"/>
                  </a:cubicBezTo>
                  <a:cubicBezTo>
                    <a:pt x="1454" y="1905"/>
                    <a:pt x="1462" y="1929"/>
                    <a:pt x="1486" y="1961"/>
                  </a:cubicBezTo>
                  <a:cubicBezTo>
                    <a:pt x="1518" y="2000"/>
                    <a:pt x="1518" y="2039"/>
                    <a:pt x="1510" y="2087"/>
                  </a:cubicBezTo>
                  <a:cubicBezTo>
                    <a:pt x="1502" y="2095"/>
                    <a:pt x="1502" y="2103"/>
                    <a:pt x="1494" y="2111"/>
                  </a:cubicBezTo>
                  <a:cubicBezTo>
                    <a:pt x="1494" y="2126"/>
                    <a:pt x="1486" y="2134"/>
                    <a:pt x="1486" y="2142"/>
                  </a:cubicBezTo>
                  <a:cubicBezTo>
                    <a:pt x="1494" y="2150"/>
                    <a:pt x="1502" y="2158"/>
                    <a:pt x="1526" y="2158"/>
                  </a:cubicBezTo>
                  <a:cubicBezTo>
                    <a:pt x="1581" y="2174"/>
                    <a:pt x="1597" y="2190"/>
                    <a:pt x="1597" y="2237"/>
                  </a:cubicBezTo>
                  <a:cubicBezTo>
                    <a:pt x="1597" y="2277"/>
                    <a:pt x="1620" y="2340"/>
                    <a:pt x="1628" y="2356"/>
                  </a:cubicBezTo>
                  <a:cubicBezTo>
                    <a:pt x="1636" y="2363"/>
                    <a:pt x="1636" y="2372"/>
                    <a:pt x="1636" y="2379"/>
                  </a:cubicBezTo>
                  <a:cubicBezTo>
                    <a:pt x="1644" y="2387"/>
                    <a:pt x="1644" y="2395"/>
                    <a:pt x="1652" y="2395"/>
                  </a:cubicBezTo>
                  <a:cubicBezTo>
                    <a:pt x="1652" y="2395"/>
                    <a:pt x="1652" y="2395"/>
                    <a:pt x="1660" y="2387"/>
                  </a:cubicBezTo>
                  <a:cubicBezTo>
                    <a:pt x="1668" y="2379"/>
                    <a:pt x="1668" y="2372"/>
                    <a:pt x="1668" y="2372"/>
                  </a:cubicBezTo>
                  <a:cubicBezTo>
                    <a:pt x="1684" y="2348"/>
                    <a:pt x="1692" y="2340"/>
                    <a:pt x="1715" y="2348"/>
                  </a:cubicBezTo>
                  <a:cubicBezTo>
                    <a:pt x="1731" y="2356"/>
                    <a:pt x="1739" y="2356"/>
                    <a:pt x="1747" y="2363"/>
                  </a:cubicBezTo>
                  <a:cubicBezTo>
                    <a:pt x="1763" y="2372"/>
                    <a:pt x="1771" y="2372"/>
                    <a:pt x="1786" y="2372"/>
                  </a:cubicBezTo>
                  <a:cubicBezTo>
                    <a:pt x="1802" y="2379"/>
                    <a:pt x="1810" y="2363"/>
                    <a:pt x="1826" y="2356"/>
                  </a:cubicBezTo>
                  <a:cubicBezTo>
                    <a:pt x="1826" y="2356"/>
                    <a:pt x="1834" y="2348"/>
                    <a:pt x="1842" y="2348"/>
                  </a:cubicBezTo>
                  <a:lnTo>
                    <a:pt x="1842" y="2348"/>
                  </a:lnTo>
                  <a:cubicBezTo>
                    <a:pt x="1850" y="2340"/>
                    <a:pt x="1858" y="2340"/>
                    <a:pt x="1873" y="2340"/>
                  </a:cubicBezTo>
                  <a:cubicBezTo>
                    <a:pt x="1881" y="2340"/>
                    <a:pt x="1897" y="2340"/>
                    <a:pt x="1913" y="2356"/>
                  </a:cubicBezTo>
                  <a:cubicBezTo>
                    <a:pt x="1937" y="2372"/>
                    <a:pt x="1953" y="2379"/>
                    <a:pt x="1976" y="2379"/>
                  </a:cubicBezTo>
                  <a:cubicBezTo>
                    <a:pt x="1984" y="2379"/>
                    <a:pt x="1984" y="2379"/>
                    <a:pt x="1992" y="2379"/>
                  </a:cubicBezTo>
                  <a:cubicBezTo>
                    <a:pt x="2008" y="2372"/>
                    <a:pt x="2016" y="2372"/>
                    <a:pt x="2016" y="2372"/>
                  </a:cubicBezTo>
                  <a:cubicBezTo>
                    <a:pt x="2016" y="2363"/>
                    <a:pt x="2024" y="2363"/>
                    <a:pt x="2024" y="2363"/>
                  </a:cubicBezTo>
                  <a:cubicBezTo>
                    <a:pt x="2032" y="2363"/>
                    <a:pt x="2039" y="2363"/>
                    <a:pt x="2047" y="2372"/>
                  </a:cubicBezTo>
                  <a:cubicBezTo>
                    <a:pt x="2071" y="2387"/>
                    <a:pt x="2063" y="2403"/>
                    <a:pt x="2063" y="2411"/>
                  </a:cubicBezTo>
                  <a:cubicBezTo>
                    <a:pt x="2071" y="2411"/>
                    <a:pt x="2071" y="2403"/>
                    <a:pt x="2079" y="2395"/>
                  </a:cubicBezTo>
                  <a:cubicBezTo>
                    <a:pt x="2103" y="2379"/>
                    <a:pt x="2111" y="2348"/>
                    <a:pt x="2119" y="2332"/>
                  </a:cubicBezTo>
                  <a:cubicBezTo>
                    <a:pt x="2126" y="2308"/>
                    <a:pt x="2134" y="2300"/>
                    <a:pt x="2142" y="2300"/>
                  </a:cubicBezTo>
                  <a:cubicBezTo>
                    <a:pt x="2150" y="2300"/>
                    <a:pt x="2150" y="2300"/>
                    <a:pt x="2150" y="2300"/>
                  </a:cubicBezTo>
                  <a:cubicBezTo>
                    <a:pt x="2158" y="2300"/>
                    <a:pt x="2166" y="2308"/>
                    <a:pt x="2166" y="2308"/>
                  </a:cubicBezTo>
                  <a:cubicBezTo>
                    <a:pt x="2197" y="2324"/>
                    <a:pt x="2213" y="2332"/>
                    <a:pt x="2221" y="2372"/>
                  </a:cubicBezTo>
                  <a:cubicBezTo>
                    <a:pt x="2229" y="2403"/>
                    <a:pt x="2237" y="2419"/>
                    <a:pt x="2261" y="2427"/>
                  </a:cubicBezTo>
                  <a:cubicBezTo>
                    <a:pt x="2269" y="2427"/>
                    <a:pt x="2269" y="2427"/>
                    <a:pt x="2269" y="2427"/>
                  </a:cubicBezTo>
                  <a:lnTo>
                    <a:pt x="2071" y="3613"/>
                  </a:lnTo>
                  <a:close/>
                  <a:moveTo>
                    <a:pt x="8" y="3225"/>
                  </a:moveTo>
                  <a:lnTo>
                    <a:pt x="8" y="3225"/>
                  </a:lnTo>
                  <a:cubicBezTo>
                    <a:pt x="743" y="3383"/>
                    <a:pt x="1431" y="3510"/>
                    <a:pt x="2063" y="3605"/>
                  </a:cubicBezTo>
                  <a:cubicBezTo>
                    <a:pt x="2261" y="2435"/>
                    <a:pt x="2261" y="2435"/>
                    <a:pt x="2261" y="2435"/>
                  </a:cubicBezTo>
                  <a:cubicBezTo>
                    <a:pt x="2237" y="2419"/>
                    <a:pt x="2221" y="2403"/>
                    <a:pt x="2213" y="2372"/>
                  </a:cubicBezTo>
                  <a:cubicBezTo>
                    <a:pt x="2213" y="2340"/>
                    <a:pt x="2190" y="2324"/>
                    <a:pt x="2166" y="2316"/>
                  </a:cubicBezTo>
                  <a:cubicBezTo>
                    <a:pt x="2158" y="2316"/>
                    <a:pt x="2158" y="2308"/>
                    <a:pt x="2150" y="2308"/>
                  </a:cubicBezTo>
                  <a:lnTo>
                    <a:pt x="2142" y="2308"/>
                  </a:lnTo>
                  <a:cubicBezTo>
                    <a:pt x="2134" y="2308"/>
                    <a:pt x="2134" y="2316"/>
                    <a:pt x="2126" y="2332"/>
                  </a:cubicBezTo>
                  <a:cubicBezTo>
                    <a:pt x="2119" y="2356"/>
                    <a:pt x="2111" y="2379"/>
                    <a:pt x="2087" y="2403"/>
                  </a:cubicBezTo>
                  <a:cubicBezTo>
                    <a:pt x="2071" y="2419"/>
                    <a:pt x="2063" y="2427"/>
                    <a:pt x="2063" y="2427"/>
                  </a:cubicBezTo>
                  <a:lnTo>
                    <a:pt x="2063" y="2427"/>
                  </a:lnTo>
                  <a:cubicBezTo>
                    <a:pt x="2055" y="2419"/>
                    <a:pt x="2055" y="2419"/>
                    <a:pt x="2055" y="2419"/>
                  </a:cubicBezTo>
                  <a:cubicBezTo>
                    <a:pt x="2055" y="2419"/>
                    <a:pt x="2055" y="2419"/>
                    <a:pt x="2055" y="2411"/>
                  </a:cubicBezTo>
                  <a:cubicBezTo>
                    <a:pt x="2063" y="2403"/>
                    <a:pt x="2063" y="2387"/>
                    <a:pt x="2047" y="2379"/>
                  </a:cubicBezTo>
                  <a:cubicBezTo>
                    <a:pt x="2032" y="2372"/>
                    <a:pt x="2024" y="2372"/>
                    <a:pt x="2024" y="2372"/>
                  </a:cubicBezTo>
                  <a:lnTo>
                    <a:pt x="2024" y="2372"/>
                  </a:lnTo>
                  <a:cubicBezTo>
                    <a:pt x="2016" y="2379"/>
                    <a:pt x="2008" y="2379"/>
                    <a:pt x="2000" y="2387"/>
                  </a:cubicBezTo>
                  <a:cubicBezTo>
                    <a:pt x="1992" y="2387"/>
                    <a:pt x="1984" y="2387"/>
                    <a:pt x="1976" y="2387"/>
                  </a:cubicBezTo>
                  <a:cubicBezTo>
                    <a:pt x="1953" y="2387"/>
                    <a:pt x="1929" y="2379"/>
                    <a:pt x="1905" y="2356"/>
                  </a:cubicBezTo>
                  <a:cubicBezTo>
                    <a:pt x="1897" y="2348"/>
                    <a:pt x="1881" y="2348"/>
                    <a:pt x="1873" y="2348"/>
                  </a:cubicBezTo>
                  <a:cubicBezTo>
                    <a:pt x="1866" y="2348"/>
                    <a:pt x="1850" y="2348"/>
                    <a:pt x="1850" y="2348"/>
                  </a:cubicBezTo>
                  <a:cubicBezTo>
                    <a:pt x="1842" y="2348"/>
                    <a:pt x="1842" y="2356"/>
                    <a:pt x="1842" y="2356"/>
                  </a:cubicBezTo>
                  <a:cubicBezTo>
                    <a:pt x="1834" y="2356"/>
                    <a:pt x="1834" y="2356"/>
                    <a:pt x="1826" y="2363"/>
                  </a:cubicBezTo>
                  <a:cubicBezTo>
                    <a:pt x="1818" y="2372"/>
                    <a:pt x="1802" y="2379"/>
                    <a:pt x="1786" y="2379"/>
                  </a:cubicBezTo>
                  <a:cubicBezTo>
                    <a:pt x="1763" y="2379"/>
                    <a:pt x="1755" y="2372"/>
                    <a:pt x="1747" y="2372"/>
                  </a:cubicBezTo>
                  <a:cubicBezTo>
                    <a:pt x="1739" y="2363"/>
                    <a:pt x="1731" y="2363"/>
                    <a:pt x="1715" y="2356"/>
                  </a:cubicBezTo>
                  <a:cubicBezTo>
                    <a:pt x="1707" y="2356"/>
                    <a:pt x="1700" y="2356"/>
                    <a:pt x="1700" y="2356"/>
                  </a:cubicBezTo>
                  <a:cubicBezTo>
                    <a:pt x="1692" y="2356"/>
                    <a:pt x="1684" y="2356"/>
                    <a:pt x="1676" y="2372"/>
                  </a:cubicBezTo>
                  <a:cubicBezTo>
                    <a:pt x="1676" y="2379"/>
                    <a:pt x="1668" y="2387"/>
                    <a:pt x="1668" y="2395"/>
                  </a:cubicBezTo>
                  <a:cubicBezTo>
                    <a:pt x="1660" y="2403"/>
                    <a:pt x="1652" y="2403"/>
                    <a:pt x="1652" y="2403"/>
                  </a:cubicBezTo>
                  <a:cubicBezTo>
                    <a:pt x="1636" y="2403"/>
                    <a:pt x="1636" y="2395"/>
                    <a:pt x="1628" y="2379"/>
                  </a:cubicBezTo>
                  <a:cubicBezTo>
                    <a:pt x="1628" y="2372"/>
                    <a:pt x="1628" y="2363"/>
                    <a:pt x="1620" y="2363"/>
                  </a:cubicBezTo>
                  <a:cubicBezTo>
                    <a:pt x="1613" y="2348"/>
                    <a:pt x="1589" y="2277"/>
                    <a:pt x="1589" y="2237"/>
                  </a:cubicBezTo>
                  <a:cubicBezTo>
                    <a:pt x="1589" y="2198"/>
                    <a:pt x="1581" y="2174"/>
                    <a:pt x="1518" y="2166"/>
                  </a:cubicBezTo>
                  <a:cubicBezTo>
                    <a:pt x="1502" y="2166"/>
                    <a:pt x="1486" y="2158"/>
                    <a:pt x="1486" y="2150"/>
                  </a:cubicBezTo>
                  <a:cubicBezTo>
                    <a:pt x="1478" y="2134"/>
                    <a:pt x="1486" y="2126"/>
                    <a:pt x="1486" y="2111"/>
                  </a:cubicBezTo>
                  <a:cubicBezTo>
                    <a:pt x="1494" y="2103"/>
                    <a:pt x="1494" y="2095"/>
                    <a:pt x="1502" y="2087"/>
                  </a:cubicBezTo>
                  <a:cubicBezTo>
                    <a:pt x="1510" y="2039"/>
                    <a:pt x="1510" y="2008"/>
                    <a:pt x="1478" y="1968"/>
                  </a:cubicBezTo>
                  <a:cubicBezTo>
                    <a:pt x="1454" y="1929"/>
                    <a:pt x="1447" y="1905"/>
                    <a:pt x="1431" y="1873"/>
                  </a:cubicBezTo>
                  <a:lnTo>
                    <a:pt x="1431" y="1866"/>
                  </a:lnTo>
                  <a:cubicBezTo>
                    <a:pt x="1423" y="1842"/>
                    <a:pt x="1423" y="1818"/>
                    <a:pt x="1431" y="1802"/>
                  </a:cubicBezTo>
                  <a:cubicBezTo>
                    <a:pt x="1439" y="1786"/>
                    <a:pt x="1439" y="1771"/>
                    <a:pt x="1439" y="1747"/>
                  </a:cubicBezTo>
                  <a:cubicBezTo>
                    <a:pt x="1439" y="1739"/>
                    <a:pt x="1431" y="1731"/>
                    <a:pt x="1423" y="1731"/>
                  </a:cubicBezTo>
                  <a:cubicBezTo>
                    <a:pt x="1407" y="1731"/>
                    <a:pt x="1383" y="1747"/>
                    <a:pt x="1367" y="1763"/>
                  </a:cubicBezTo>
                  <a:cubicBezTo>
                    <a:pt x="1336" y="1786"/>
                    <a:pt x="1320" y="1795"/>
                    <a:pt x="1265" y="1802"/>
                  </a:cubicBezTo>
                  <a:cubicBezTo>
                    <a:pt x="1249" y="1802"/>
                    <a:pt x="1241" y="1810"/>
                    <a:pt x="1233" y="1810"/>
                  </a:cubicBezTo>
                  <a:lnTo>
                    <a:pt x="1233" y="1802"/>
                  </a:lnTo>
                  <a:cubicBezTo>
                    <a:pt x="1225" y="1802"/>
                    <a:pt x="1233" y="1802"/>
                    <a:pt x="1233" y="1795"/>
                  </a:cubicBezTo>
                  <a:cubicBezTo>
                    <a:pt x="1233" y="1795"/>
                    <a:pt x="1233" y="1795"/>
                    <a:pt x="1233" y="1786"/>
                  </a:cubicBezTo>
                  <a:cubicBezTo>
                    <a:pt x="1233" y="1786"/>
                    <a:pt x="1233" y="1779"/>
                    <a:pt x="1225" y="1779"/>
                  </a:cubicBezTo>
                  <a:cubicBezTo>
                    <a:pt x="1217" y="1771"/>
                    <a:pt x="1209" y="1763"/>
                    <a:pt x="1202" y="1763"/>
                  </a:cubicBezTo>
                  <a:cubicBezTo>
                    <a:pt x="1194" y="1755"/>
                    <a:pt x="1186" y="1755"/>
                    <a:pt x="1194" y="1747"/>
                  </a:cubicBezTo>
                  <a:cubicBezTo>
                    <a:pt x="1194" y="1739"/>
                    <a:pt x="1194" y="1739"/>
                    <a:pt x="1194" y="1739"/>
                  </a:cubicBezTo>
                  <a:cubicBezTo>
                    <a:pt x="1194" y="1731"/>
                    <a:pt x="1202" y="1708"/>
                    <a:pt x="1202" y="1676"/>
                  </a:cubicBezTo>
                  <a:cubicBezTo>
                    <a:pt x="1202" y="1668"/>
                    <a:pt x="1202" y="1660"/>
                    <a:pt x="1209" y="1652"/>
                  </a:cubicBezTo>
                  <a:cubicBezTo>
                    <a:pt x="1209" y="1644"/>
                    <a:pt x="1225" y="1644"/>
                    <a:pt x="1233" y="1644"/>
                  </a:cubicBezTo>
                  <a:cubicBezTo>
                    <a:pt x="1233" y="1644"/>
                    <a:pt x="1233" y="1644"/>
                    <a:pt x="1241" y="1644"/>
                  </a:cubicBezTo>
                  <a:cubicBezTo>
                    <a:pt x="1241" y="1644"/>
                    <a:pt x="1249" y="1644"/>
                    <a:pt x="1257" y="1644"/>
                  </a:cubicBezTo>
                  <a:cubicBezTo>
                    <a:pt x="1265" y="1628"/>
                    <a:pt x="1265" y="1589"/>
                    <a:pt x="1265" y="1573"/>
                  </a:cubicBezTo>
                  <a:cubicBezTo>
                    <a:pt x="1257" y="1542"/>
                    <a:pt x="1249" y="1502"/>
                    <a:pt x="1257" y="1462"/>
                  </a:cubicBezTo>
                  <a:cubicBezTo>
                    <a:pt x="1265" y="1423"/>
                    <a:pt x="1296" y="1391"/>
                    <a:pt x="1312" y="1375"/>
                  </a:cubicBezTo>
                  <a:cubicBezTo>
                    <a:pt x="1312" y="1368"/>
                    <a:pt x="1312" y="1368"/>
                    <a:pt x="1312" y="1368"/>
                  </a:cubicBezTo>
                  <a:cubicBezTo>
                    <a:pt x="1328" y="1352"/>
                    <a:pt x="1344" y="1304"/>
                    <a:pt x="1344" y="1257"/>
                  </a:cubicBezTo>
                  <a:cubicBezTo>
                    <a:pt x="1336" y="1249"/>
                    <a:pt x="1336" y="1241"/>
                    <a:pt x="1336" y="1241"/>
                  </a:cubicBezTo>
                  <a:cubicBezTo>
                    <a:pt x="1328" y="1241"/>
                    <a:pt x="1328" y="1241"/>
                    <a:pt x="1320" y="1249"/>
                  </a:cubicBezTo>
                  <a:cubicBezTo>
                    <a:pt x="1312" y="1257"/>
                    <a:pt x="1296" y="1257"/>
                    <a:pt x="1289" y="1257"/>
                  </a:cubicBezTo>
                  <a:cubicBezTo>
                    <a:pt x="1280" y="1257"/>
                    <a:pt x="1280" y="1257"/>
                    <a:pt x="1280" y="1257"/>
                  </a:cubicBezTo>
                  <a:cubicBezTo>
                    <a:pt x="1257" y="1257"/>
                    <a:pt x="1249" y="1241"/>
                    <a:pt x="1241" y="1225"/>
                  </a:cubicBezTo>
                  <a:cubicBezTo>
                    <a:pt x="1233" y="1209"/>
                    <a:pt x="1217" y="1186"/>
                    <a:pt x="1194" y="1178"/>
                  </a:cubicBezTo>
                  <a:cubicBezTo>
                    <a:pt x="1170" y="1154"/>
                    <a:pt x="1170" y="1146"/>
                    <a:pt x="1170" y="1131"/>
                  </a:cubicBezTo>
                  <a:cubicBezTo>
                    <a:pt x="1178" y="1115"/>
                    <a:pt x="1178" y="1107"/>
                    <a:pt x="1178" y="1091"/>
                  </a:cubicBezTo>
                  <a:cubicBezTo>
                    <a:pt x="1170" y="1051"/>
                    <a:pt x="1162" y="1051"/>
                    <a:pt x="1138" y="1036"/>
                  </a:cubicBezTo>
                  <a:cubicBezTo>
                    <a:pt x="1130" y="1028"/>
                    <a:pt x="1130" y="1028"/>
                    <a:pt x="1122" y="1020"/>
                  </a:cubicBezTo>
                  <a:cubicBezTo>
                    <a:pt x="1091" y="1004"/>
                    <a:pt x="1091" y="980"/>
                    <a:pt x="1099" y="964"/>
                  </a:cubicBezTo>
                  <a:cubicBezTo>
                    <a:pt x="1099" y="949"/>
                    <a:pt x="1099" y="933"/>
                    <a:pt x="1099" y="925"/>
                  </a:cubicBezTo>
                  <a:cubicBezTo>
                    <a:pt x="1091" y="901"/>
                    <a:pt x="1083" y="901"/>
                    <a:pt x="1067" y="893"/>
                  </a:cubicBezTo>
                  <a:cubicBezTo>
                    <a:pt x="1059" y="893"/>
                    <a:pt x="1043" y="885"/>
                    <a:pt x="1036" y="878"/>
                  </a:cubicBezTo>
                  <a:cubicBezTo>
                    <a:pt x="1027" y="869"/>
                    <a:pt x="1020" y="862"/>
                    <a:pt x="1020" y="854"/>
                  </a:cubicBezTo>
                  <a:cubicBezTo>
                    <a:pt x="1004" y="846"/>
                    <a:pt x="988" y="830"/>
                    <a:pt x="988" y="806"/>
                  </a:cubicBezTo>
                  <a:cubicBezTo>
                    <a:pt x="988" y="791"/>
                    <a:pt x="996" y="783"/>
                    <a:pt x="996" y="767"/>
                  </a:cubicBezTo>
                  <a:cubicBezTo>
                    <a:pt x="1004" y="743"/>
                    <a:pt x="1004" y="727"/>
                    <a:pt x="1004" y="704"/>
                  </a:cubicBezTo>
                  <a:cubicBezTo>
                    <a:pt x="1004" y="680"/>
                    <a:pt x="980" y="640"/>
                    <a:pt x="956" y="609"/>
                  </a:cubicBezTo>
                  <a:cubicBezTo>
                    <a:pt x="949" y="585"/>
                    <a:pt x="933" y="569"/>
                    <a:pt x="933" y="553"/>
                  </a:cubicBezTo>
                  <a:cubicBezTo>
                    <a:pt x="925" y="538"/>
                    <a:pt x="933" y="514"/>
                    <a:pt x="933" y="490"/>
                  </a:cubicBezTo>
                  <a:cubicBezTo>
                    <a:pt x="941" y="482"/>
                    <a:pt x="941" y="466"/>
                    <a:pt x="941" y="458"/>
                  </a:cubicBezTo>
                  <a:cubicBezTo>
                    <a:pt x="949" y="427"/>
                    <a:pt x="964" y="340"/>
                    <a:pt x="980" y="300"/>
                  </a:cubicBezTo>
                  <a:cubicBezTo>
                    <a:pt x="996" y="261"/>
                    <a:pt x="996" y="158"/>
                    <a:pt x="996" y="134"/>
                  </a:cubicBezTo>
                  <a:cubicBezTo>
                    <a:pt x="996" y="119"/>
                    <a:pt x="1004" y="95"/>
                    <a:pt x="1004" y="71"/>
                  </a:cubicBezTo>
                  <a:cubicBezTo>
                    <a:pt x="893" y="55"/>
                    <a:pt x="783" y="32"/>
                    <a:pt x="680" y="8"/>
                  </a:cubicBezTo>
                  <a:cubicBezTo>
                    <a:pt x="656" y="142"/>
                    <a:pt x="577" y="577"/>
                    <a:pt x="569" y="601"/>
                  </a:cubicBezTo>
                  <a:cubicBezTo>
                    <a:pt x="561" y="609"/>
                    <a:pt x="553" y="648"/>
                    <a:pt x="545" y="711"/>
                  </a:cubicBezTo>
                  <a:cubicBezTo>
                    <a:pt x="514" y="838"/>
                    <a:pt x="474" y="1044"/>
                    <a:pt x="458" y="1059"/>
                  </a:cubicBezTo>
                  <a:cubicBezTo>
                    <a:pt x="443" y="1091"/>
                    <a:pt x="443" y="1233"/>
                    <a:pt x="450" y="1257"/>
                  </a:cubicBezTo>
                  <a:cubicBezTo>
                    <a:pt x="458" y="1273"/>
                    <a:pt x="458" y="1296"/>
                    <a:pt x="450" y="1320"/>
                  </a:cubicBezTo>
                  <a:cubicBezTo>
                    <a:pt x="450" y="1328"/>
                    <a:pt x="443" y="1336"/>
                    <a:pt x="443" y="1336"/>
                  </a:cubicBezTo>
                  <a:cubicBezTo>
                    <a:pt x="443" y="1360"/>
                    <a:pt x="450" y="1462"/>
                    <a:pt x="490" y="1494"/>
                  </a:cubicBezTo>
                  <a:cubicBezTo>
                    <a:pt x="522" y="1518"/>
                    <a:pt x="545" y="1573"/>
                    <a:pt x="545" y="1605"/>
                  </a:cubicBezTo>
                  <a:cubicBezTo>
                    <a:pt x="545" y="1621"/>
                    <a:pt x="537" y="1628"/>
                    <a:pt x="537" y="1636"/>
                  </a:cubicBezTo>
                  <a:cubicBezTo>
                    <a:pt x="514" y="1652"/>
                    <a:pt x="450" y="1739"/>
                    <a:pt x="450" y="1755"/>
                  </a:cubicBezTo>
                  <a:cubicBezTo>
                    <a:pt x="450" y="1771"/>
                    <a:pt x="435" y="1786"/>
                    <a:pt x="411" y="1810"/>
                  </a:cubicBezTo>
                  <a:cubicBezTo>
                    <a:pt x="403" y="1818"/>
                    <a:pt x="387" y="1826"/>
                    <a:pt x="379" y="1834"/>
                  </a:cubicBezTo>
                  <a:cubicBezTo>
                    <a:pt x="356" y="1858"/>
                    <a:pt x="363" y="1881"/>
                    <a:pt x="363" y="1889"/>
                  </a:cubicBezTo>
                  <a:cubicBezTo>
                    <a:pt x="363" y="1897"/>
                    <a:pt x="363" y="1897"/>
                    <a:pt x="363" y="1897"/>
                  </a:cubicBezTo>
                  <a:cubicBezTo>
                    <a:pt x="363" y="1897"/>
                    <a:pt x="356" y="1913"/>
                    <a:pt x="308" y="1952"/>
                  </a:cubicBezTo>
                  <a:cubicBezTo>
                    <a:pt x="261" y="1992"/>
                    <a:pt x="182" y="2063"/>
                    <a:pt x="190" y="2087"/>
                  </a:cubicBezTo>
                  <a:cubicBezTo>
                    <a:pt x="190" y="2095"/>
                    <a:pt x="190" y="2103"/>
                    <a:pt x="190" y="2111"/>
                  </a:cubicBezTo>
                  <a:cubicBezTo>
                    <a:pt x="190" y="2142"/>
                    <a:pt x="190" y="2166"/>
                    <a:pt x="237" y="2190"/>
                  </a:cubicBezTo>
                  <a:cubicBezTo>
                    <a:pt x="253" y="2198"/>
                    <a:pt x="261" y="2206"/>
                    <a:pt x="269" y="2221"/>
                  </a:cubicBezTo>
                  <a:cubicBezTo>
                    <a:pt x="277" y="2245"/>
                    <a:pt x="253" y="2269"/>
                    <a:pt x="245" y="2285"/>
                  </a:cubicBezTo>
                  <a:lnTo>
                    <a:pt x="245" y="2285"/>
                  </a:lnTo>
                  <a:cubicBezTo>
                    <a:pt x="237" y="2292"/>
                    <a:pt x="237" y="2300"/>
                    <a:pt x="237" y="2316"/>
                  </a:cubicBezTo>
                  <a:cubicBezTo>
                    <a:pt x="237" y="2324"/>
                    <a:pt x="245" y="2332"/>
                    <a:pt x="237" y="2348"/>
                  </a:cubicBezTo>
                  <a:cubicBezTo>
                    <a:pt x="229" y="2356"/>
                    <a:pt x="229" y="2356"/>
                    <a:pt x="229" y="2356"/>
                  </a:cubicBezTo>
                  <a:cubicBezTo>
                    <a:pt x="213" y="2379"/>
                    <a:pt x="190" y="2427"/>
                    <a:pt x="190" y="2443"/>
                  </a:cubicBezTo>
                  <a:cubicBezTo>
                    <a:pt x="190" y="2459"/>
                    <a:pt x="55" y="3043"/>
                    <a:pt x="8" y="3225"/>
                  </a:cubicBezTo>
                  <a:close/>
                </a:path>
              </a:pathLst>
            </a:custGeom>
            <a:solidFill>
              <a:schemeClr val="accent6"/>
            </a:solidFill>
            <a:ln>
              <a:solidFill>
                <a:schemeClr val="bg2"/>
              </a:solidFill>
            </a:ln>
            <a:effectLst/>
          </p:spPr>
          <p:txBody>
            <a:bodyPr wrap="none" anchor="ctr"/>
            <a:lstStyle/>
            <a:p>
              <a:endParaRPr lang="en-US"/>
            </a:p>
          </p:txBody>
        </p:sp>
        <p:sp>
          <p:nvSpPr>
            <p:cNvPr id="36" name="Freeform 263"/>
            <p:cNvSpPr>
              <a:spLocks noChangeArrowheads="1"/>
            </p:cNvSpPr>
            <p:nvPr/>
          </p:nvSpPr>
          <p:spPr bwMode="auto">
            <a:xfrm>
              <a:off x="1921110" y="1894187"/>
              <a:ext cx="1385101" cy="753282"/>
            </a:xfrm>
            <a:custGeom>
              <a:avLst/>
              <a:gdLst>
                <a:gd name="T0" fmla="*/ 87 w 3843"/>
                <a:gd name="T1" fmla="*/ 0 h 2412"/>
                <a:gd name="T2" fmla="*/ 87 w 3843"/>
                <a:gd name="T3" fmla="*/ 0 h 2412"/>
                <a:gd name="T4" fmla="*/ 79 w 3843"/>
                <a:gd name="T5" fmla="*/ 63 h 2412"/>
                <a:gd name="T6" fmla="*/ 55 w 3843"/>
                <a:gd name="T7" fmla="*/ 229 h 2412"/>
                <a:gd name="T8" fmla="*/ 24 w 3843"/>
                <a:gd name="T9" fmla="*/ 387 h 2412"/>
                <a:gd name="T10" fmla="*/ 8 w 3843"/>
                <a:gd name="T11" fmla="*/ 482 h 2412"/>
                <a:gd name="T12" fmla="*/ 87 w 3843"/>
                <a:gd name="T13" fmla="*/ 633 h 2412"/>
                <a:gd name="T14" fmla="*/ 63 w 3843"/>
                <a:gd name="T15" fmla="*/ 735 h 2412"/>
                <a:gd name="T16" fmla="*/ 118 w 3843"/>
                <a:gd name="T17" fmla="*/ 807 h 2412"/>
                <a:gd name="T18" fmla="*/ 174 w 3843"/>
                <a:gd name="T19" fmla="*/ 854 h 2412"/>
                <a:gd name="T20" fmla="*/ 197 w 3843"/>
                <a:gd name="T21" fmla="*/ 949 h 2412"/>
                <a:gd name="T22" fmla="*/ 253 w 3843"/>
                <a:gd name="T23" fmla="*/ 1020 h 2412"/>
                <a:gd name="T24" fmla="*/ 277 w 3843"/>
                <a:gd name="T25" fmla="*/ 1099 h 2412"/>
                <a:gd name="T26" fmla="*/ 355 w 3843"/>
                <a:gd name="T27" fmla="*/ 1186 h 2412"/>
                <a:gd name="T28" fmla="*/ 419 w 3843"/>
                <a:gd name="T29" fmla="*/ 1186 h 2412"/>
                <a:gd name="T30" fmla="*/ 387 w 3843"/>
                <a:gd name="T31" fmla="*/ 1304 h 2412"/>
                <a:gd name="T32" fmla="*/ 340 w 3843"/>
                <a:gd name="T33" fmla="*/ 1391 h 2412"/>
                <a:gd name="T34" fmla="*/ 340 w 3843"/>
                <a:gd name="T35" fmla="*/ 1502 h 2412"/>
                <a:gd name="T36" fmla="*/ 324 w 3843"/>
                <a:gd name="T37" fmla="*/ 1581 h 2412"/>
                <a:gd name="T38" fmla="*/ 277 w 3843"/>
                <a:gd name="T39" fmla="*/ 1605 h 2412"/>
                <a:gd name="T40" fmla="*/ 269 w 3843"/>
                <a:gd name="T41" fmla="*/ 1676 h 2412"/>
                <a:gd name="T42" fmla="*/ 308 w 3843"/>
                <a:gd name="T43" fmla="*/ 1708 h 2412"/>
                <a:gd name="T44" fmla="*/ 340 w 3843"/>
                <a:gd name="T45" fmla="*/ 1731 h 2412"/>
                <a:gd name="T46" fmla="*/ 435 w 3843"/>
                <a:gd name="T47" fmla="*/ 1684 h 2412"/>
                <a:gd name="T48" fmla="*/ 522 w 3843"/>
                <a:gd name="T49" fmla="*/ 1676 h 2412"/>
                <a:gd name="T50" fmla="*/ 506 w 3843"/>
                <a:gd name="T51" fmla="*/ 1787 h 2412"/>
                <a:gd name="T52" fmla="*/ 561 w 3843"/>
                <a:gd name="T53" fmla="*/ 1897 h 2412"/>
                <a:gd name="T54" fmla="*/ 577 w 3843"/>
                <a:gd name="T55" fmla="*/ 2016 h 2412"/>
                <a:gd name="T56" fmla="*/ 601 w 3843"/>
                <a:gd name="T57" fmla="*/ 2095 h 2412"/>
                <a:gd name="T58" fmla="*/ 672 w 3843"/>
                <a:gd name="T59" fmla="*/ 2166 h 2412"/>
                <a:gd name="T60" fmla="*/ 703 w 3843"/>
                <a:gd name="T61" fmla="*/ 2292 h 2412"/>
                <a:gd name="T62" fmla="*/ 735 w 3843"/>
                <a:gd name="T63" fmla="*/ 2324 h 2412"/>
                <a:gd name="T64" fmla="*/ 790 w 3843"/>
                <a:gd name="T65" fmla="*/ 2285 h 2412"/>
                <a:gd name="T66" fmla="*/ 861 w 3843"/>
                <a:gd name="T67" fmla="*/ 2308 h 2412"/>
                <a:gd name="T68" fmla="*/ 917 w 3843"/>
                <a:gd name="T69" fmla="*/ 2277 h 2412"/>
                <a:gd name="T70" fmla="*/ 980 w 3843"/>
                <a:gd name="T71" fmla="*/ 2285 h 2412"/>
                <a:gd name="T72" fmla="*/ 1075 w 3843"/>
                <a:gd name="T73" fmla="*/ 2308 h 2412"/>
                <a:gd name="T74" fmla="*/ 1122 w 3843"/>
                <a:gd name="T75" fmla="*/ 2308 h 2412"/>
                <a:gd name="T76" fmla="*/ 1162 w 3843"/>
                <a:gd name="T77" fmla="*/ 2332 h 2412"/>
                <a:gd name="T78" fmla="*/ 1225 w 3843"/>
                <a:gd name="T79" fmla="*/ 2229 h 2412"/>
                <a:gd name="T80" fmla="*/ 1296 w 3843"/>
                <a:gd name="T81" fmla="*/ 2301 h 2412"/>
                <a:gd name="T82" fmla="*/ 1336 w 3843"/>
                <a:gd name="T83" fmla="*/ 2364 h 2412"/>
                <a:gd name="T84" fmla="*/ 1367 w 3843"/>
                <a:gd name="T85" fmla="*/ 2182 h 2412"/>
                <a:gd name="T86" fmla="*/ 1391 w 3843"/>
                <a:gd name="T87" fmla="*/ 2135 h 2412"/>
                <a:gd name="T88" fmla="*/ 3700 w 3843"/>
                <a:gd name="T89" fmla="*/ 2380 h 2412"/>
                <a:gd name="T90" fmla="*/ 3842 w 3843"/>
                <a:gd name="T91" fmla="*/ 522 h 2412"/>
                <a:gd name="T92" fmla="*/ 87 w 3843"/>
                <a:gd name="T93" fmla="*/ 0 h 2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43" h="2412">
                  <a:moveTo>
                    <a:pt x="87" y="0"/>
                  </a:moveTo>
                  <a:lnTo>
                    <a:pt x="87" y="0"/>
                  </a:lnTo>
                  <a:cubicBezTo>
                    <a:pt x="79" y="16"/>
                    <a:pt x="79" y="48"/>
                    <a:pt x="79" y="63"/>
                  </a:cubicBezTo>
                  <a:cubicBezTo>
                    <a:pt x="79" y="95"/>
                    <a:pt x="71" y="190"/>
                    <a:pt x="55" y="229"/>
                  </a:cubicBezTo>
                  <a:cubicBezTo>
                    <a:pt x="47" y="269"/>
                    <a:pt x="24" y="356"/>
                    <a:pt x="24" y="387"/>
                  </a:cubicBezTo>
                  <a:cubicBezTo>
                    <a:pt x="16" y="419"/>
                    <a:pt x="0" y="451"/>
                    <a:pt x="8" y="482"/>
                  </a:cubicBezTo>
                  <a:cubicBezTo>
                    <a:pt x="24" y="514"/>
                    <a:pt x="79" y="593"/>
                    <a:pt x="87" y="633"/>
                  </a:cubicBezTo>
                  <a:cubicBezTo>
                    <a:pt x="87" y="672"/>
                    <a:pt x="63" y="704"/>
                    <a:pt x="63" y="735"/>
                  </a:cubicBezTo>
                  <a:cubicBezTo>
                    <a:pt x="63" y="775"/>
                    <a:pt x="95" y="775"/>
                    <a:pt x="118" y="807"/>
                  </a:cubicBezTo>
                  <a:cubicBezTo>
                    <a:pt x="134" y="830"/>
                    <a:pt x="166" y="814"/>
                    <a:pt x="174" y="854"/>
                  </a:cubicBezTo>
                  <a:cubicBezTo>
                    <a:pt x="182" y="893"/>
                    <a:pt x="158" y="925"/>
                    <a:pt x="197" y="949"/>
                  </a:cubicBezTo>
                  <a:cubicBezTo>
                    <a:pt x="237" y="973"/>
                    <a:pt x="245" y="973"/>
                    <a:pt x="253" y="1020"/>
                  </a:cubicBezTo>
                  <a:cubicBezTo>
                    <a:pt x="261" y="1067"/>
                    <a:pt x="229" y="1067"/>
                    <a:pt x="277" y="1099"/>
                  </a:cubicBezTo>
                  <a:cubicBezTo>
                    <a:pt x="316" y="1131"/>
                    <a:pt x="316" y="1178"/>
                    <a:pt x="355" y="1186"/>
                  </a:cubicBezTo>
                  <a:cubicBezTo>
                    <a:pt x="387" y="1194"/>
                    <a:pt x="411" y="1138"/>
                    <a:pt x="419" y="1186"/>
                  </a:cubicBezTo>
                  <a:cubicBezTo>
                    <a:pt x="427" y="1233"/>
                    <a:pt x="403" y="1281"/>
                    <a:pt x="387" y="1304"/>
                  </a:cubicBezTo>
                  <a:cubicBezTo>
                    <a:pt x="379" y="1320"/>
                    <a:pt x="348" y="1352"/>
                    <a:pt x="340" y="1391"/>
                  </a:cubicBezTo>
                  <a:cubicBezTo>
                    <a:pt x="324" y="1439"/>
                    <a:pt x="340" y="1478"/>
                    <a:pt x="340" y="1502"/>
                  </a:cubicBezTo>
                  <a:cubicBezTo>
                    <a:pt x="348" y="1518"/>
                    <a:pt x="340" y="1581"/>
                    <a:pt x="324" y="1581"/>
                  </a:cubicBezTo>
                  <a:cubicBezTo>
                    <a:pt x="300" y="1581"/>
                    <a:pt x="277" y="1573"/>
                    <a:pt x="277" y="1605"/>
                  </a:cubicBezTo>
                  <a:cubicBezTo>
                    <a:pt x="284" y="1637"/>
                    <a:pt x="277" y="1660"/>
                    <a:pt x="269" y="1676"/>
                  </a:cubicBezTo>
                  <a:cubicBezTo>
                    <a:pt x="261" y="1684"/>
                    <a:pt x="277" y="1684"/>
                    <a:pt x="308" y="1708"/>
                  </a:cubicBezTo>
                  <a:cubicBezTo>
                    <a:pt x="340" y="1731"/>
                    <a:pt x="277" y="1739"/>
                    <a:pt x="340" y="1731"/>
                  </a:cubicBezTo>
                  <a:cubicBezTo>
                    <a:pt x="395" y="1715"/>
                    <a:pt x="411" y="1715"/>
                    <a:pt x="435" y="1684"/>
                  </a:cubicBezTo>
                  <a:cubicBezTo>
                    <a:pt x="466" y="1660"/>
                    <a:pt x="514" y="1637"/>
                    <a:pt x="522" y="1676"/>
                  </a:cubicBezTo>
                  <a:cubicBezTo>
                    <a:pt x="522" y="1724"/>
                    <a:pt x="490" y="1755"/>
                    <a:pt x="506" y="1787"/>
                  </a:cubicBezTo>
                  <a:cubicBezTo>
                    <a:pt x="522" y="1826"/>
                    <a:pt x="529" y="1858"/>
                    <a:pt x="561" y="1897"/>
                  </a:cubicBezTo>
                  <a:cubicBezTo>
                    <a:pt x="585" y="1937"/>
                    <a:pt x="593" y="1968"/>
                    <a:pt x="577" y="2016"/>
                  </a:cubicBezTo>
                  <a:cubicBezTo>
                    <a:pt x="561" y="2063"/>
                    <a:pt x="537" y="2079"/>
                    <a:pt x="601" y="2095"/>
                  </a:cubicBezTo>
                  <a:cubicBezTo>
                    <a:pt x="656" y="2103"/>
                    <a:pt x="672" y="2127"/>
                    <a:pt x="672" y="2166"/>
                  </a:cubicBezTo>
                  <a:cubicBezTo>
                    <a:pt x="672" y="2206"/>
                    <a:pt x="688" y="2269"/>
                    <a:pt x="703" y="2292"/>
                  </a:cubicBezTo>
                  <a:cubicBezTo>
                    <a:pt x="711" y="2308"/>
                    <a:pt x="711" y="2348"/>
                    <a:pt x="735" y="2324"/>
                  </a:cubicBezTo>
                  <a:cubicBezTo>
                    <a:pt x="759" y="2292"/>
                    <a:pt x="759" y="2269"/>
                    <a:pt x="790" y="2285"/>
                  </a:cubicBezTo>
                  <a:cubicBezTo>
                    <a:pt x="822" y="2292"/>
                    <a:pt x="830" y="2301"/>
                    <a:pt x="861" y="2308"/>
                  </a:cubicBezTo>
                  <a:cubicBezTo>
                    <a:pt x="885" y="2308"/>
                    <a:pt x="901" y="2285"/>
                    <a:pt x="917" y="2277"/>
                  </a:cubicBezTo>
                  <a:cubicBezTo>
                    <a:pt x="933" y="2269"/>
                    <a:pt x="948" y="2261"/>
                    <a:pt x="980" y="2285"/>
                  </a:cubicBezTo>
                  <a:cubicBezTo>
                    <a:pt x="1012" y="2308"/>
                    <a:pt x="1035" y="2316"/>
                    <a:pt x="1075" y="2308"/>
                  </a:cubicBezTo>
                  <a:cubicBezTo>
                    <a:pt x="1107" y="2301"/>
                    <a:pt x="1083" y="2285"/>
                    <a:pt x="1122" y="2308"/>
                  </a:cubicBezTo>
                  <a:cubicBezTo>
                    <a:pt x="1162" y="2332"/>
                    <a:pt x="1114" y="2372"/>
                    <a:pt x="1162" y="2332"/>
                  </a:cubicBezTo>
                  <a:cubicBezTo>
                    <a:pt x="1209" y="2285"/>
                    <a:pt x="1194" y="2214"/>
                    <a:pt x="1225" y="2229"/>
                  </a:cubicBezTo>
                  <a:cubicBezTo>
                    <a:pt x="1257" y="2253"/>
                    <a:pt x="1288" y="2253"/>
                    <a:pt x="1296" y="2301"/>
                  </a:cubicBezTo>
                  <a:cubicBezTo>
                    <a:pt x="1304" y="2332"/>
                    <a:pt x="1312" y="2348"/>
                    <a:pt x="1336" y="2364"/>
                  </a:cubicBezTo>
                  <a:cubicBezTo>
                    <a:pt x="1367" y="2182"/>
                    <a:pt x="1367" y="2182"/>
                    <a:pt x="1367" y="2182"/>
                  </a:cubicBezTo>
                  <a:cubicBezTo>
                    <a:pt x="1367" y="2182"/>
                    <a:pt x="1367" y="2135"/>
                    <a:pt x="1391" y="2135"/>
                  </a:cubicBezTo>
                  <a:cubicBezTo>
                    <a:pt x="1415" y="2135"/>
                    <a:pt x="3486" y="2411"/>
                    <a:pt x="3700" y="2380"/>
                  </a:cubicBezTo>
                  <a:cubicBezTo>
                    <a:pt x="3842" y="522"/>
                    <a:pt x="3842" y="522"/>
                    <a:pt x="3842" y="522"/>
                  </a:cubicBezTo>
                  <a:cubicBezTo>
                    <a:pt x="2443" y="419"/>
                    <a:pt x="1122" y="206"/>
                    <a:pt x="87" y="0"/>
                  </a:cubicBezTo>
                </a:path>
              </a:pathLst>
            </a:custGeom>
            <a:solidFill>
              <a:schemeClr val="accent6"/>
            </a:solidFill>
            <a:ln>
              <a:solidFill>
                <a:schemeClr val="bg2"/>
              </a:solidFill>
            </a:ln>
            <a:effectLst/>
          </p:spPr>
          <p:txBody>
            <a:bodyPr wrap="none" anchor="ctr"/>
            <a:lstStyle/>
            <a:p>
              <a:endParaRPr lang="en-US"/>
            </a:p>
          </p:txBody>
        </p:sp>
        <p:sp>
          <p:nvSpPr>
            <p:cNvPr id="37" name="Freeform 264"/>
            <p:cNvSpPr>
              <a:spLocks noChangeArrowheads="1"/>
            </p:cNvSpPr>
            <p:nvPr/>
          </p:nvSpPr>
          <p:spPr bwMode="auto">
            <a:xfrm>
              <a:off x="1921110" y="1891433"/>
              <a:ext cx="1388282" cy="749150"/>
            </a:xfrm>
            <a:custGeom>
              <a:avLst/>
              <a:gdLst>
                <a:gd name="T0" fmla="*/ 3644 w 3851"/>
                <a:gd name="T1" fmla="*/ 2396 h 2397"/>
                <a:gd name="T2" fmla="*/ 1367 w 3851"/>
                <a:gd name="T3" fmla="*/ 2190 h 2397"/>
                <a:gd name="T4" fmla="*/ 1288 w 3851"/>
                <a:gd name="T5" fmla="*/ 2309 h 2397"/>
                <a:gd name="T6" fmla="*/ 1217 w 3851"/>
                <a:gd name="T7" fmla="*/ 2245 h 2397"/>
                <a:gd name="T8" fmla="*/ 1138 w 3851"/>
                <a:gd name="T9" fmla="*/ 2364 h 2397"/>
                <a:gd name="T10" fmla="*/ 1130 w 3851"/>
                <a:gd name="T11" fmla="*/ 2348 h 2397"/>
                <a:gd name="T12" fmla="*/ 1099 w 3851"/>
                <a:gd name="T13" fmla="*/ 2309 h 2397"/>
                <a:gd name="T14" fmla="*/ 980 w 3851"/>
                <a:gd name="T15" fmla="*/ 2293 h 2397"/>
                <a:gd name="T16" fmla="*/ 917 w 3851"/>
                <a:gd name="T17" fmla="*/ 2293 h 2397"/>
                <a:gd name="T18" fmla="*/ 822 w 3851"/>
                <a:gd name="T19" fmla="*/ 2309 h 2397"/>
                <a:gd name="T20" fmla="*/ 751 w 3851"/>
                <a:gd name="T21" fmla="*/ 2309 h 2397"/>
                <a:gd name="T22" fmla="*/ 703 w 3851"/>
                <a:gd name="T23" fmla="*/ 2316 h 2397"/>
                <a:gd name="T24" fmla="*/ 593 w 3851"/>
                <a:gd name="T25" fmla="*/ 2103 h 2397"/>
                <a:gd name="T26" fmla="*/ 577 w 3851"/>
                <a:gd name="T27" fmla="*/ 2024 h 2397"/>
                <a:gd name="T28" fmla="*/ 506 w 3851"/>
                <a:gd name="T29" fmla="*/ 1803 h 2397"/>
                <a:gd name="T30" fmla="*/ 498 w 3851"/>
                <a:gd name="T31" fmla="*/ 1668 h 2397"/>
                <a:gd name="T32" fmla="*/ 308 w 3851"/>
                <a:gd name="T33" fmla="*/ 1747 h 2397"/>
                <a:gd name="T34" fmla="*/ 308 w 3851"/>
                <a:gd name="T35" fmla="*/ 1723 h 2397"/>
                <a:gd name="T36" fmla="*/ 269 w 3851"/>
                <a:gd name="T37" fmla="*/ 1684 h 2397"/>
                <a:gd name="T38" fmla="*/ 284 w 3851"/>
                <a:gd name="T39" fmla="*/ 1589 h 2397"/>
                <a:gd name="T40" fmla="*/ 332 w 3851"/>
                <a:gd name="T41" fmla="*/ 1581 h 2397"/>
                <a:gd name="T42" fmla="*/ 387 w 3851"/>
                <a:gd name="T43" fmla="*/ 1312 h 2397"/>
                <a:gd name="T44" fmla="*/ 411 w 3851"/>
                <a:gd name="T45" fmla="*/ 1178 h 2397"/>
                <a:gd name="T46" fmla="*/ 355 w 3851"/>
                <a:gd name="T47" fmla="*/ 1194 h 2397"/>
                <a:gd name="T48" fmla="*/ 245 w 3851"/>
                <a:gd name="T49" fmla="*/ 1068 h 2397"/>
                <a:gd name="T50" fmla="*/ 197 w 3851"/>
                <a:gd name="T51" fmla="*/ 957 h 2397"/>
                <a:gd name="T52" fmla="*/ 142 w 3851"/>
                <a:gd name="T53" fmla="*/ 830 h 2397"/>
                <a:gd name="T54" fmla="*/ 63 w 3851"/>
                <a:gd name="T55" fmla="*/ 743 h 2397"/>
                <a:gd name="T56" fmla="*/ 31 w 3851"/>
                <a:gd name="T57" fmla="*/ 546 h 2397"/>
                <a:gd name="T58" fmla="*/ 16 w 3851"/>
                <a:gd name="T59" fmla="*/ 395 h 2397"/>
                <a:gd name="T60" fmla="*/ 79 w 3851"/>
                <a:gd name="T61" fmla="*/ 8 h 2397"/>
                <a:gd name="T62" fmla="*/ 3842 w 3851"/>
                <a:gd name="T63" fmla="*/ 530 h 2397"/>
                <a:gd name="T64" fmla="*/ 3700 w 3851"/>
                <a:gd name="T65" fmla="*/ 2388 h 2397"/>
                <a:gd name="T66" fmla="*/ 1391 w 3851"/>
                <a:gd name="T67" fmla="*/ 2143 h 2397"/>
                <a:gd name="T68" fmla="*/ 3700 w 3851"/>
                <a:gd name="T69" fmla="*/ 2380 h 2397"/>
                <a:gd name="T70" fmla="*/ 79 w 3851"/>
                <a:gd name="T71" fmla="*/ 71 h 2397"/>
                <a:gd name="T72" fmla="*/ 16 w 3851"/>
                <a:gd name="T73" fmla="*/ 427 h 2397"/>
                <a:gd name="T74" fmla="*/ 87 w 3851"/>
                <a:gd name="T75" fmla="*/ 641 h 2397"/>
                <a:gd name="T76" fmla="*/ 95 w 3851"/>
                <a:gd name="T77" fmla="*/ 791 h 2397"/>
                <a:gd name="T78" fmla="*/ 182 w 3851"/>
                <a:gd name="T79" fmla="*/ 862 h 2397"/>
                <a:gd name="T80" fmla="*/ 221 w 3851"/>
                <a:gd name="T81" fmla="*/ 965 h 2397"/>
                <a:gd name="T82" fmla="*/ 277 w 3851"/>
                <a:gd name="T83" fmla="*/ 1107 h 2397"/>
                <a:gd name="T84" fmla="*/ 364 w 3851"/>
                <a:gd name="T85" fmla="*/ 1194 h 2397"/>
                <a:gd name="T86" fmla="*/ 419 w 3851"/>
                <a:gd name="T87" fmla="*/ 1194 h 2397"/>
                <a:gd name="T88" fmla="*/ 340 w 3851"/>
                <a:gd name="T89" fmla="*/ 1399 h 2397"/>
                <a:gd name="T90" fmla="*/ 324 w 3851"/>
                <a:gd name="T91" fmla="*/ 1589 h 2397"/>
                <a:gd name="T92" fmla="*/ 284 w 3851"/>
                <a:gd name="T93" fmla="*/ 1597 h 2397"/>
                <a:gd name="T94" fmla="*/ 269 w 3851"/>
                <a:gd name="T95" fmla="*/ 1684 h 2397"/>
                <a:gd name="T96" fmla="*/ 316 w 3851"/>
                <a:gd name="T97" fmla="*/ 1723 h 2397"/>
                <a:gd name="T98" fmla="*/ 435 w 3851"/>
                <a:gd name="T99" fmla="*/ 1692 h 2397"/>
                <a:gd name="T100" fmla="*/ 514 w 3851"/>
                <a:gd name="T101" fmla="*/ 1739 h 2397"/>
                <a:gd name="T102" fmla="*/ 561 w 3851"/>
                <a:gd name="T103" fmla="*/ 1898 h 2397"/>
                <a:gd name="T104" fmla="*/ 561 w 3851"/>
                <a:gd name="T105" fmla="*/ 2079 h 2397"/>
                <a:gd name="T106" fmla="*/ 703 w 3851"/>
                <a:gd name="T107" fmla="*/ 2293 h 2397"/>
                <a:gd name="T108" fmla="*/ 735 w 3851"/>
                <a:gd name="T109" fmla="*/ 2324 h 2397"/>
                <a:gd name="T110" fmla="*/ 822 w 3851"/>
                <a:gd name="T111" fmla="*/ 2300 h 2397"/>
                <a:gd name="T112" fmla="*/ 917 w 3851"/>
                <a:gd name="T113" fmla="*/ 2285 h 2397"/>
                <a:gd name="T114" fmla="*/ 988 w 3851"/>
                <a:gd name="T115" fmla="*/ 2293 h 2397"/>
                <a:gd name="T116" fmla="*/ 1091 w 3851"/>
                <a:gd name="T117" fmla="*/ 2309 h 2397"/>
                <a:gd name="T118" fmla="*/ 1138 w 3851"/>
                <a:gd name="T119" fmla="*/ 2348 h 2397"/>
                <a:gd name="T120" fmla="*/ 1217 w 3851"/>
                <a:gd name="T121" fmla="*/ 2237 h 2397"/>
                <a:gd name="T122" fmla="*/ 1296 w 3851"/>
                <a:gd name="T123" fmla="*/ 2309 h 2397"/>
                <a:gd name="T124" fmla="*/ 1391 w 3851"/>
                <a:gd name="T125" fmla="*/ 2143 h 2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51" h="2397">
                  <a:moveTo>
                    <a:pt x="3644" y="2396"/>
                  </a:moveTo>
                  <a:lnTo>
                    <a:pt x="3644" y="2396"/>
                  </a:lnTo>
                  <a:lnTo>
                    <a:pt x="3644" y="2396"/>
                  </a:lnTo>
                  <a:cubicBezTo>
                    <a:pt x="3328" y="2396"/>
                    <a:pt x="2047" y="2229"/>
                    <a:pt x="1565" y="2166"/>
                  </a:cubicBezTo>
                  <a:cubicBezTo>
                    <a:pt x="1462" y="2158"/>
                    <a:pt x="1391" y="2150"/>
                    <a:pt x="1391" y="2150"/>
                  </a:cubicBezTo>
                  <a:cubicBezTo>
                    <a:pt x="1375" y="2150"/>
                    <a:pt x="1367" y="2182"/>
                    <a:pt x="1367" y="2190"/>
                  </a:cubicBezTo>
                  <a:cubicBezTo>
                    <a:pt x="1336" y="2372"/>
                    <a:pt x="1336" y="2372"/>
                    <a:pt x="1336" y="2372"/>
                  </a:cubicBezTo>
                  <a:lnTo>
                    <a:pt x="1336" y="2372"/>
                  </a:lnTo>
                  <a:cubicBezTo>
                    <a:pt x="1312" y="2364"/>
                    <a:pt x="1296" y="2340"/>
                    <a:pt x="1288" y="2309"/>
                  </a:cubicBezTo>
                  <a:cubicBezTo>
                    <a:pt x="1288" y="2277"/>
                    <a:pt x="1265" y="2261"/>
                    <a:pt x="1241" y="2253"/>
                  </a:cubicBezTo>
                  <a:cubicBezTo>
                    <a:pt x="1233" y="2253"/>
                    <a:pt x="1233" y="2245"/>
                    <a:pt x="1225" y="2245"/>
                  </a:cubicBezTo>
                  <a:lnTo>
                    <a:pt x="1217" y="2245"/>
                  </a:lnTo>
                  <a:cubicBezTo>
                    <a:pt x="1209" y="2245"/>
                    <a:pt x="1209" y="2253"/>
                    <a:pt x="1201" y="2269"/>
                  </a:cubicBezTo>
                  <a:cubicBezTo>
                    <a:pt x="1194" y="2293"/>
                    <a:pt x="1186" y="2316"/>
                    <a:pt x="1162" y="2340"/>
                  </a:cubicBezTo>
                  <a:cubicBezTo>
                    <a:pt x="1146" y="2356"/>
                    <a:pt x="1138" y="2364"/>
                    <a:pt x="1138" y="2364"/>
                  </a:cubicBezTo>
                  <a:lnTo>
                    <a:pt x="1138" y="2364"/>
                  </a:lnTo>
                  <a:cubicBezTo>
                    <a:pt x="1130" y="2356"/>
                    <a:pt x="1130" y="2356"/>
                    <a:pt x="1130" y="2356"/>
                  </a:cubicBezTo>
                  <a:cubicBezTo>
                    <a:pt x="1130" y="2356"/>
                    <a:pt x="1130" y="2356"/>
                    <a:pt x="1130" y="2348"/>
                  </a:cubicBezTo>
                  <a:cubicBezTo>
                    <a:pt x="1138" y="2340"/>
                    <a:pt x="1138" y="2324"/>
                    <a:pt x="1122" y="2316"/>
                  </a:cubicBezTo>
                  <a:cubicBezTo>
                    <a:pt x="1107" y="2309"/>
                    <a:pt x="1099" y="2309"/>
                    <a:pt x="1099" y="2309"/>
                  </a:cubicBezTo>
                  <a:lnTo>
                    <a:pt x="1099" y="2309"/>
                  </a:lnTo>
                  <a:cubicBezTo>
                    <a:pt x="1091" y="2316"/>
                    <a:pt x="1083" y="2316"/>
                    <a:pt x="1075" y="2324"/>
                  </a:cubicBezTo>
                  <a:cubicBezTo>
                    <a:pt x="1067" y="2324"/>
                    <a:pt x="1059" y="2324"/>
                    <a:pt x="1051" y="2324"/>
                  </a:cubicBezTo>
                  <a:cubicBezTo>
                    <a:pt x="1028" y="2324"/>
                    <a:pt x="1004" y="2316"/>
                    <a:pt x="980" y="2293"/>
                  </a:cubicBezTo>
                  <a:cubicBezTo>
                    <a:pt x="972" y="2285"/>
                    <a:pt x="956" y="2285"/>
                    <a:pt x="948" y="2285"/>
                  </a:cubicBezTo>
                  <a:cubicBezTo>
                    <a:pt x="941" y="2285"/>
                    <a:pt x="925" y="2285"/>
                    <a:pt x="925" y="2285"/>
                  </a:cubicBezTo>
                  <a:cubicBezTo>
                    <a:pt x="917" y="2285"/>
                    <a:pt x="917" y="2293"/>
                    <a:pt x="917" y="2293"/>
                  </a:cubicBezTo>
                  <a:cubicBezTo>
                    <a:pt x="909" y="2293"/>
                    <a:pt x="909" y="2293"/>
                    <a:pt x="901" y="2300"/>
                  </a:cubicBezTo>
                  <a:cubicBezTo>
                    <a:pt x="893" y="2309"/>
                    <a:pt x="877" y="2316"/>
                    <a:pt x="861" y="2316"/>
                  </a:cubicBezTo>
                  <a:cubicBezTo>
                    <a:pt x="838" y="2316"/>
                    <a:pt x="830" y="2309"/>
                    <a:pt x="822" y="2309"/>
                  </a:cubicBezTo>
                  <a:cubicBezTo>
                    <a:pt x="814" y="2300"/>
                    <a:pt x="806" y="2300"/>
                    <a:pt x="790" y="2293"/>
                  </a:cubicBezTo>
                  <a:cubicBezTo>
                    <a:pt x="782" y="2293"/>
                    <a:pt x="775" y="2293"/>
                    <a:pt x="775" y="2293"/>
                  </a:cubicBezTo>
                  <a:cubicBezTo>
                    <a:pt x="767" y="2293"/>
                    <a:pt x="759" y="2293"/>
                    <a:pt x="751" y="2309"/>
                  </a:cubicBezTo>
                  <a:cubicBezTo>
                    <a:pt x="751" y="2316"/>
                    <a:pt x="743" y="2324"/>
                    <a:pt x="743" y="2332"/>
                  </a:cubicBezTo>
                  <a:cubicBezTo>
                    <a:pt x="735" y="2340"/>
                    <a:pt x="727" y="2340"/>
                    <a:pt x="727" y="2340"/>
                  </a:cubicBezTo>
                  <a:cubicBezTo>
                    <a:pt x="711" y="2340"/>
                    <a:pt x="711" y="2332"/>
                    <a:pt x="703" y="2316"/>
                  </a:cubicBezTo>
                  <a:cubicBezTo>
                    <a:pt x="703" y="2309"/>
                    <a:pt x="703" y="2300"/>
                    <a:pt x="695" y="2300"/>
                  </a:cubicBezTo>
                  <a:cubicBezTo>
                    <a:pt x="688" y="2285"/>
                    <a:pt x="664" y="2214"/>
                    <a:pt x="664" y="2174"/>
                  </a:cubicBezTo>
                  <a:cubicBezTo>
                    <a:pt x="664" y="2135"/>
                    <a:pt x="656" y="2111"/>
                    <a:pt x="593" y="2103"/>
                  </a:cubicBezTo>
                  <a:cubicBezTo>
                    <a:pt x="577" y="2103"/>
                    <a:pt x="561" y="2095"/>
                    <a:pt x="561" y="2087"/>
                  </a:cubicBezTo>
                  <a:cubicBezTo>
                    <a:pt x="553" y="2071"/>
                    <a:pt x="561" y="2063"/>
                    <a:pt x="561" y="2048"/>
                  </a:cubicBezTo>
                  <a:cubicBezTo>
                    <a:pt x="569" y="2040"/>
                    <a:pt x="569" y="2032"/>
                    <a:pt x="577" y="2024"/>
                  </a:cubicBezTo>
                  <a:cubicBezTo>
                    <a:pt x="585" y="1976"/>
                    <a:pt x="585" y="1945"/>
                    <a:pt x="553" y="1905"/>
                  </a:cubicBezTo>
                  <a:cubicBezTo>
                    <a:pt x="529" y="1866"/>
                    <a:pt x="522" y="1842"/>
                    <a:pt x="506" y="1810"/>
                  </a:cubicBezTo>
                  <a:lnTo>
                    <a:pt x="506" y="1803"/>
                  </a:lnTo>
                  <a:cubicBezTo>
                    <a:pt x="498" y="1779"/>
                    <a:pt x="498" y="1755"/>
                    <a:pt x="506" y="1739"/>
                  </a:cubicBezTo>
                  <a:cubicBezTo>
                    <a:pt x="514" y="1723"/>
                    <a:pt x="514" y="1708"/>
                    <a:pt x="514" y="1684"/>
                  </a:cubicBezTo>
                  <a:cubicBezTo>
                    <a:pt x="514" y="1668"/>
                    <a:pt x="506" y="1668"/>
                    <a:pt x="498" y="1668"/>
                  </a:cubicBezTo>
                  <a:cubicBezTo>
                    <a:pt x="482" y="1668"/>
                    <a:pt x="458" y="1684"/>
                    <a:pt x="442" y="1700"/>
                  </a:cubicBezTo>
                  <a:cubicBezTo>
                    <a:pt x="411" y="1723"/>
                    <a:pt x="395" y="1732"/>
                    <a:pt x="340" y="1739"/>
                  </a:cubicBezTo>
                  <a:cubicBezTo>
                    <a:pt x="324" y="1739"/>
                    <a:pt x="316" y="1747"/>
                    <a:pt x="308" y="1747"/>
                  </a:cubicBezTo>
                  <a:lnTo>
                    <a:pt x="308" y="1739"/>
                  </a:lnTo>
                  <a:cubicBezTo>
                    <a:pt x="300" y="1739"/>
                    <a:pt x="308" y="1739"/>
                    <a:pt x="308" y="1732"/>
                  </a:cubicBezTo>
                  <a:cubicBezTo>
                    <a:pt x="308" y="1732"/>
                    <a:pt x="308" y="1732"/>
                    <a:pt x="308" y="1723"/>
                  </a:cubicBezTo>
                  <a:cubicBezTo>
                    <a:pt x="308" y="1723"/>
                    <a:pt x="308" y="1716"/>
                    <a:pt x="300" y="1716"/>
                  </a:cubicBezTo>
                  <a:cubicBezTo>
                    <a:pt x="292" y="1708"/>
                    <a:pt x="284" y="1700"/>
                    <a:pt x="277" y="1700"/>
                  </a:cubicBezTo>
                  <a:cubicBezTo>
                    <a:pt x="269" y="1692"/>
                    <a:pt x="261" y="1692"/>
                    <a:pt x="269" y="1684"/>
                  </a:cubicBezTo>
                  <a:cubicBezTo>
                    <a:pt x="269" y="1676"/>
                    <a:pt x="269" y="1676"/>
                    <a:pt x="269" y="1676"/>
                  </a:cubicBezTo>
                  <a:cubicBezTo>
                    <a:pt x="269" y="1668"/>
                    <a:pt x="277" y="1645"/>
                    <a:pt x="277" y="1613"/>
                  </a:cubicBezTo>
                  <a:cubicBezTo>
                    <a:pt x="277" y="1605"/>
                    <a:pt x="277" y="1597"/>
                    <a:pt x="284" y="1589"/>
                  </a:cubicBezTo>
                  <a:cubicBezTo>
                    <a:pt x="284" y="1581"/>
                    <a:pt x="300" y="1581"/>
                    <a:pt x="308" y="1581"/>
                  </a:cubicBezTo>
                  <a:cubicBezTo>
                    <a:pt x="308" y="1581"/>
                    <a:pt x="308" y="1581"/>
                    <a:pt x="316" y="1581"/>
                  </a:cubicBezTo>
                  <a:cubicBezTo>
                    <a:pt x="316" y="1581"/>
                    <a:pt x="324" y="1581"/>
                    <a:pt x="332" y="1581"/>
                  </a:cubicBezTo>
                  <a:cubicBezTo>
                    <a:pt x="340" y="1565"/>
                    <a:pt x="340" y="1526"/>
                    <a:pt x="340" y="1510"/>
                  </a:cubicBezTo>
                  <a:cubicBezTo>
                    <a:pt x="332" y="1479"/>
                    <a:pt x="324" y="1439"/>
                    <a:pt x="332" y="1399"/>
                  </a:cubicBezTo>
                  <a:cubicBezTo>
                    <a:pt x="340" y="1360"/>
                    <a:pt x="371" y="1328"/>
                    <a:pt x="387" y="1312"/>
                  </a:cubicBezTo>
                  <a:cubicBezTo>
                    <a:pt x="387" y="1305"/>
                    <a:pt x="387" y="1305"/>
                    <a:pt x="387" y="1305"/>
                  </a:cubicBezTo>
                  <a:cubicBezTo>
                    <a:pt x="403" y="1289"/>
                    <a:pt x="419" y="1241"/>
                    <a:pt x="419" y="1194"/>
                  </a:cubicBezTo>
                  <a:cubicBezTo>
                    <a:pt x="411" y="1186"/>
                    <a:pt x="411" y="1178"/>
                    <a:pt x="411" y="1178"/>
                  </a:cubicBezTo>
                  <a:cubicBezTo>
                    <a:pt x="403" y="1178"/>
                    <a:pt x="403" y="1178"/>
                    <a:pt x="395" y="1186"/>
                  </a:cubicBezTo>
                  <a:cubicBezTo>
                    <a:pt x="387" y="1194"/>
                    <a:pt x="371" y="1194"/>
                    <a:pt x="364" y="1194"/>
                  </a:cubicBezTo>
                  <a:cubicBezTo>
                    <a:pt x="355" y="1194"/>
                    <a:pt x="355" y="1194"/>
                    <a:pt x="355" y="1194"/>
                  </a:cubicBezTo>
                  <a:cubicBezTo>
                    <a:pt x="332" y="1194"/>
                    <a:pt x="324" y="1178"/>
                    <a:pt x="316" y="1162"/>
                  </a:cubicBezTo>
                  <a:cubicBezTo>
                    <a:pt x="308" y="1146"/>
                    <a:pt x="292" y="1123"/>
                    <a:pt x="269" y="1115"/>
                  </a:cubicBezTo>
                  <a:cubicBezTo>
                    <a:pt x="245" y="1091"/>
                    <a:pt x="245" y="1083"/>
                    <a:pt x="245" y="1068"/>
                  </a:cubicBezTo>
                  <a:cubicBezTo>
                    <a:pt x="253" y="1052"/>
                    <a:pt x="253" y="1044"/>
                    <a:pt x="253" y="1028"/>
                  </a:cubicBezTo>
                  <a:cubicBezTo>
                    <a:pt x="245" y="988"/>
                    <a:pt x="237" y="988"/>
                    <a:pt x="213" y="973"/>
                  </a:cubicBezTo>
                  <a:cubicBezTo>
                    <a:pt x="205" y="965"/>
                    <a:pt x="205" y="965"/>
                    <a:pt x="197" y="957"/>
                  </a:cubicBezTo>
                  <a:cubicBezTo>
                    <a:pt x="166" y="941"/>
                    <a:pt x="166" y="917"/>
                    <a:pt x="174" y="901"/>
                  </a:cubicBezTo>
                  <a:cubicBezTo>
                    <a:pt x="174" y="886"/>
                    <a:pt x="174" y="870"/>
                    <a:pt x="174" y="862"/>
                  </a:cubicBezTo>
                  <a:cubicBezTo>
                    <a:pt x="166" y="838"/>
                    <a:pt x="158" y="838"/>
                    <a:pt x="142" y="830"/>
                  </a:cubicBezTo>
                  <a:cubicBezTo>
                    <a:pt x="134" y="830"/>
                    <a:pt x="118" y="822"/>
                    <a:pt x="111" y="815"/>
                  </a:cubicBezTo>
                  <a:cubicBezTo>
                    <a:pt x="102" y="806"/>
                    <a:pt x="95" y="799"/>
                    <a:pt x="95" y="791"/>
                  </a:cubicBezTo>
                  <a:cubicBezTo>
                    <a:pt x="79" y="783"/>
                    <a:pt x="63" y="767"/>
                    <a:pt x="63" y="743"/>
                  </a:cubicBezTo>
                  <a:cubicBezTo>
                    <a:pt x="63" y="728"/>
                    <a:pt x="71" y="720"/>
                    <a:pt x="71" y="704"/>
                  </a:cubicBezTo>
                  <a:cubicBezTo>
                    <a:pt x="79" y="680"/>
                    <a:pt x="79" y="664"/>
                    <a:pt x="79" y="641"/>
                  </a:cubicBezTo>
                  <a:cubicBezTo>
                    <a:pt x="79" y="617"/>
                    <a:pt x="55" y="577"/>
                    <a:pt x="31" y="546"/>
                  </a:cubicBezTo>
                  <a:cubicBezTo>
                    <a:pt x="24" y="522"/>
                    <a:pt x="8" y="506"/>
                    <a:pt x="8" y="490"/>
                  </a:cubicBezTo>
                  <a:cubicBezTo>
                    <a:pt x="0" y="475"/>
                    <a:pt x="8" y="451"/>
                    <a:pt x="8" y="427"/>
                  </a:cubicBezTo>
                  <a:cubicBezTo>
                    <a:pt x="16" y="419"/>
                    <a:pt x="16" y="403"/>
                    <a:pt x="16" y="395"/>
                  </a:cubicBezTo>
                  <a:cubicBezTo>
                    <a:pt x="24" y="364"/>
                    <a:pt x="39" y="277"/>
                    <a:pt x="55" y="237"/>
                  </a:cubicBezTo>
                  <a:cubicBezTo>
                    <a:pt x="71" y="198"/>
                    <a:pt x="71" y="95"/>
                    <a:pt x="71" y="71"/>
                  </a:cubicBezTo>
                  <a:cubicBezTo>
                    <a:pt x="71" y="56"/>
                    <a:pt x="79" y="32"/>
                    <a:pt x="79" y="8"/>
                  </a:cubicBezTo>
                  <a:cubicBezTo>
                    <a:pt x="79" y="0"/>
                    <a:pt x="79" y="0"/>
                    <a:pt x="79" y="0"/>
                  </a:cubicBezTo>
                  <a:cubicBezTo>
                    <a:pt x="87" y="8"/>
                    <a:pt x="87" y="8"/>
                    <a:pt x="87" y="8"/>
                  </a:cubicBezTo>
                  <a:cubicBezTo>
                    <a:pt x="1391" y="261"/>
                    <a:pt x="2656" y="443"/>
                    <a:pt x="3842" y="530"/>
                  </a:cubicBezTo>
                  <a:cubicBezTo>
                    <a:pt x="3850" y="530"/>
                    <a:pt x="3850" y="530"/>
                    <a:pt x="3850" y="530"/>
                  </a:cubicBezTo>
                  <a:cubicBezTo>
                    <a:pt x="3707" y="2388"/>
                    <a:pt x="3707" y="2388"/>
                    <a:pt x="3707" y="2388"/>
                  </a:cubicBezTo>
                  <a:cubicBezTo>
                    <a:pt x="3700" y="2388"/>
                    <a:pt x="3700" y="2388"/>
                    <a:pt x="3700" y="2388"/>
                  </a:cubicBezTo>
                  <a:cubicBezTo>
                    <a:pt x="3692" y="2388"/>
                    <a:pt x="3668" y="2396"/>
                    <a:pt x="3644" y="2396"/>
                  </a:cubicBezTo>
                  <a:close/>
                  <a:moveTo>
                    <a:pt x="1391" y="2143"/>
                  </a:moveTo>
                  <a:lnTo>
                    <a:pt x="1391" y="2143"/>
                  </a:lnTo>
                  <a:cubicBezTo>
                    <a:pt x="1391" y="2143"/>
                    <a:pt x="1447" y="2150"/>
                    <a:pt x="1565" y="2158"/>
                  </a:cubicBezTo>
                  <a:cubicBezTo>
                    <a:pt x="2047" y="2222"/>
                    <a:pt x="3328" y="2388"/>
                    <a:pt x="3644" y="2388"/>
                  </a:cubicBezTo>
                  <a:cubicBezTo>
                    <a:pt x="3668" y="2388"/>
                    <a:pt x="3684" y="2380"/>
                    <a:pt x="3700" y="2380"/>
                  </a:cubicBezTo>
                  <a:cubicBezTo>
                    <a:pt x="3842" y="538"/>
                    <a:pt x="3842" y="538"/>
                    <a:pt x="3842" y="538"/>
                  </a:cubicBezTo>
                  <a:cubicBezTo>
                    <a:pt x="2656" y="451"/>
                    <a:pt x="1391" y="269"/>
                    <a:pt x="87" y="16"/>
                  </a:cubicBezTo>
                  <a:cubicBezTo>
                    <a:pt x="79" y="32"/>
                    <a:pt x="79" y="63"/>
                    <a:pt x="79" y="71"/>
                  </a:cubicBezTo>
                  <a:cubicBezTo>
                    <a:pt x="79" y="103"/>
                    <a:pt x="79" y="198"/>
                    <a:pt x="63" y="237"/>
                  </a:cubicBezTo>
                  <a:cubicBezTo>
                    <a:pt x="47" y="277"/>
                    <a:pt x="31" y="364"/>
                    <a:pt x="24" y="395"/>
                  </a:cubicBezTo>
                  <a:cubicBezTo>
                    <a:pt x="24" y="403"/>
                    <a:pt x="24" y="419"/>
                    <a:pt x="16" y="427"/>
                  </a:cubicBezTo>
                  <a:cubicBezTo>
                    <a:pt x="8" y="451"/>
                    <a:pt x="8" y="467"/>
                    <a:pt x="16" y="490"/>
                  </a:cubicBezTo>
                  <a:cubicBezTo>
                    <a:pt x="16" y="506"/>
                    <a:pt x="31" y="522"/>
                    <a:pt x="39" y="538"/>
                  </a:cubicBezTo>
                  <a:cubicBezTo>
                    <a:pt x="63" y="577"/>
                    <a:pt x="87" y="617"/>
                    <a:pt x="87" y="641"/>
                  </a:cubicBezTo>
                  <a:cubicBezTo>
                    <a:pt x="87" y="664"/>
                    <a:pt x="87" y="680"/>
                    <a:pt x="79" y="704"/>
                  </a:cubicBezTo>
                  <a:cubicBezTo>
                    <a:pt x="71" y="720"/>
                    <a:pt x="71" y="735"/>
                    <a:pt x="71" y="743"/>
                  </a:cubicBezTo>
                  <a:cubicBezTo>
                    <a:pt x="71" y="767"/>
                    <a:pt x="79" y="775"/>
                    <a:pt x="95" y="791"/>
                  </a:cubicBezTo>
                  <a:cubicBezTo>
                    <a:pt x="102" y="791"/>
                    <a:pt x="111" y="799"/>
                    <a:pt x="118" y="806"/>
                  </a:cubicBezTo>
                  <a:cubicBezTo>
                    <a:pt x="126" y="822"/>
                    <a:pt x="134" y="822"/>
                    <a:pt x="142" y="822"/>
                  </a:cubicBezTo>
                  <a:cubicBezTo>
                    <a:pt x="158" y="830"/>
                    <a:pt x="174" y="830"/>
                    <a:pt x="182" y="862"/>
                  </a:cubicBezTo>
                  <a:cubicBezTo>
                    <a:pt x="182" y="870"/>
                    <a:pt x="182" y="886"/>
                    <a:pt x="182" y="901"/>
                  </a:cubicBezTo>
                  <a:cubicBezTo>
                    <a:pt x="174" y="917"/>
                    <a:pt x="174" y="941"/>
                    <a:pt x="197" y="949"/>
                  </a:cubicBezTo>
                  <a:cubicBezTo>
                    <a:pt x="205" y="957"/>
                    <a:pt x="213" y="957"/>
                    <a:pt x="221" y="965"/>
                  </a:cubicBezTo>
                  <a:cubicBezTo>
                    <a:pt x="245" y="981"/>
                    <a:pt x="253" y="988"/>
                    <a:pt x="261" y="1028"/>
                  </a:cubicBezTo>
                  <a:cubicBezTo>
                    <a:pt x="261" y="1044"/>
                    <a:pt x="261" y="1059"/>
                    <a:pt x="253" y="1068"/>
                  </a:cubicBezTo>
                  <a:cubicBezTo>
                    <a:pt x="253" y="1083"/>
                    <a:pt x="253" y="1083"/>
                    <a:pt x="277" y="1107"/>
                  </a:cubicBezTo>
                  <a:cubicBezTo>
                    <a:pt x="300" y="1123"/>
                    <a:pt x="308" y="1139"/>
                    <a:pt x="324" y="1154"/>
                  </a:cubicBezTo>
                  <a:cubicBezTo>
                    <a:pt x="332" y="1170"/>
                    <a:pt x="340" y="1186"/>
                    <a:pt x="355" y="1186"/>
                  </a:cubicBezTo>
                  <a:cubicBezTo>
                    <a:pt x="355" y="1194"/>
                    <a:pt x="355" y="1194"/>
                    <a:pt x="364" y="1194"/>
                  </a:cubicBezTo>
                  <a:cubicBezTo>
                    <a:pt x="371" y="1194"/>
                    <a:pt x="379" y="1186"/>
                    <a:pt x="387" y="1178"/>
                  </a:cubicBezTo>
                  <a:cubicBezTo>
                    <a:pt x="395" y="1178"/>
                    <a:pt x="403" y="1170"/>
                    <a:pt x="411" y="1170"/>
                  </a:cubicBezTo>
                  <a:cubicBezTo>
                    <a:pt x="419" y="1170"/>
                    <a:pt x="419" y="1186"/>
                    <a:pt x="419" y="1194"/>
                  </a:cubicBezTo>
                  <a:cubicBezTo>
                    <a:pt x="427" y="1233"/>
                    <a:pt x="411" y="1289"/>
                    <a:pt x="395" y="1312"/>
                  </a:cubicBezTo>
                  <a:cubicBezTo>
                    <a:pt x="387" y="1312"/>
                    <a:pt x="387" y="1312"/>
                    <a:pt x="387" y="1312"/>
                  </a:cubicBezTo>
                  <a:cubicBezTo>
                    <a:pt x="371" y="1336"/>
                    <a:pt x="348" y="1368"/>
                    <a:pt x="340" y="1399"/>
                  </a:cubicBezTo>
                  <a:cubicBezTo>
                    <a:pt x="332" y="1439"/>
                    <a:pt x="340" y="1479"/>
                    <a:pt x="348" y="1502"/>
                  </a:cubicBezTo>
                  <a:cubicBezTo>
                    <a:pt x="348" y="1526"/>
                    <a:pt x="348" y="1565"/>
                    <a:pt x="332" y="1581"/>
                  </a:cubicBezTo>
                  <a:cubicBezTo>
                    <a:pt x="332" y="1589"/>
                    <a:pt x="324" y="1589"/>
                    <a:pt x="324" y="1589"/>
                  </a:cubicBezTo>
                  <a:cubicBezTo>
                    <a:pt x="316" y="1589"/>
                    <a:pt x="316" y="1589"/>
                    <a:pt x="316" y="1589"/>
                  </a:cubicBezTo>
                  <a:cubicBezTo>
                    <a:pt x="308" y="1589"/>
                    <a:pt x="308" y="1589"/>
                    <a:pt x="308" y="1589"/>
                  </a:cubicBezTo>
                  <a:cubicBezTo>
                    <a:pt x="300" y="1589"/>
                    <a:pt x="292" y="1589"/>
                    <a:pt x="284" y="1597"/>
                  </a:cubicBezTo>
                  <a:cubicBezTo>
                    <a:pt x="284" y="1597"/>
                    <a:pt x="284" y="1605"/>
                    <a:pt x="284" y="1613"/>
                  </a:cubicBezTo>
                  <a:cubicBezTo>
                    <a:pt x="284" y="1645"/>
                    <a:pt x="277" y="1668"/>
                    <a:pt x="269" y="1684"/>
                  </a:cubicBezTo>
                  <a:lnTo>
                    <a:pt x="269" y="1684"/>
                  </a:lnTo>
                  <a:cubicBezTo>
                    <a:pt x="269" y="1692"/>
                    <a:pt x="269" y="1692"/>
                    <a:pt x="277" y="1692"/>
                  </a:cubicBezTo>
                  <a:cubicBezTo>
                    <a:pt x="284" y="1700"/>
                    <a:pt x="292" y="1700"/>
                    <a:pt x="308" y="1708"/>
                  </a:cubicBezTo>
                  <a:cubicBezTo>
                    <a:pt x="316" y="1716"/>
                    <a:pt x="316" y="1723"/>
                    <a:pt x="316" y="1723"/>
                  </a:cubicBezTo>
                  <a:cubicBezTo>
                    <a:pt x="316" y="1732"/>
                    <a:pt x="316" y="1732"/>
                    <a:pt x="316" y="1739"/>
                  </a:cubicBezTo>
                  <a:cubicBezTo>
                    <a:pt x="316" y="1732"/>
                    <a:pt x="324" y="1732"/>
                    <a:pt x="332" y="1732"/>
                  </a:cubicBezTo>
                  <a:cubicBezTo>
                    <a:pt x="395" y="1723"/>
                    <a:pt x="411" y="1716"/>
                    <a:pt x="435" y="1692"/>
                  </a:cubicBezTo>
                  <a:cubicBezTo>
                    <a:pt x="450" y="1676"/>
                    <a:pt x="482" y="1660"/>
                    <a:pt x="498" y="1660"/>
                  </a:cubicBezTo>
                  <a:cubicBezTo>
                    <a:pt x="506" y="1660"/>
                    <a:pt x="522" y="1668"/>
                    <a:pt x="522" y="1684"/>
                  </a:cubicBezTo>
                  <a:cubicBezTo>
                    <a:pt x="522" y="1708"/>
                    <a:pt x="522" y="1723"/>
                    <a:pt x="514" y="1739"/>
                  </a:cubicBezTo>
                  <a:cubicBezTo>
                    <a:pt x="506" y="1755"/>
                    <a:pt x="506" y="1779"/>
                    <a:pt x="514" y="1795"/>
                  </a:cubicBezTo>
                  <a:cubicBezTo>
                    <a:pt x="514" y="1803"/>
                    <a:pt x="514" y="1803"/>
                    <a:pt x="514" y="1810"/>
                  </a:cubicBezTo>
                  <a:cubicBezTo>
                    <a:pt x="529" y="1842"/>
                    <a:pt x="537" y="1866"/>
                    <a:pt x="561" y="1898"/>
                  </a:cubicBezTo>
                  <a:cubicBezTo>
                    <a:pt x="593" y="1937"/>
                    <a:pt x="593" y="1976"/>
                    <a:pt x="585" y="2024"/>
                  </a:cubicBezTo>
                  <a:cubicBezTo>
                    <a:pt x="577" y="2032"/>
                    <a:pt x="577" y="2040"/>
                    <a:pt x="569" y="2048"/>
                  </a:cubicBezTo>
                  <a:cubicBezTo>
                    <a:pt x="569" y="2063"/>
                    <a:pt x="561" y="2071"/>
                    <a:pt x="561" y="2079"/>
                  </a:cubicBezTo>
                  <a:cubicBezTo>
                    <a:pt x="569" y="2087"/>
                    <a:pt x="577" y="2095"/>
                    <a:pt x="601" y="2095"/>
                  </a:cubicBezTo>
                  <a:cubicBezTo>
                    <a:pt x="656" y="2111"/>
                    <a:pt x="672" y="2127"/>
                    <a:pt x="672" y="2174"/>
                  </a:cubicBezTo>
                  <a:cubicBezTo>
                    <a:pt x="672" y="2214"/>
                    <a:pt x="695" y="2277"/>
                    <a:pt x="703" y="2293"/>
                  </a:cubicBezTo>
                  <a:cubicBezTo>
                    <a:pt x="711" y="2300"/>
                    <a:pt x="711" y="2309"/>
                    <a:pt x="711" y="2316"/>
                  </a:cubicBezTo>
                  <a:cubicBezTo>
                    <a:pt x="719" y="2324"/>
                    <a:pt x="719" y="2332"/>
                    <a:pt x="727" y="2332"/>
                  </a:cubicBezTo>
                  <a:cubicBezTo>
                    <a:pt x="727" y="2332"/>
                    <a:pt x="727" y="2332"/>
                    <a:pt x="735" y="2324"/>
                  </a:cubicBezTo>
                  <a:cubicBezTo>
                    <a:pt x="743" y="2316"/>
                    <a:pt x="743" y="2309"/>
                    <a:pt x="743" y="2309"/>
                  </a:cubicBezTo>
                  <a:cubicBezTo>
                    <a:pt x="759" y="2285"/>
                    <a:pt x="767" y="2277"/>
                    <a:pt x="790" y="2285"/>
                  </a:cubicBezTo>
                  <a:cubicBezTo>
                    <a:pt x="806" y="2293"/>
                    <a:pt x="814" y="2293"/>
                    <a:pt x="822" y="2300"/>
                  </a:cubicBezTo>
                  <a:cubicBezTo>
                    <a:pt x="838" y="2309"/>
                    <a:pt x="846" y="2309"/>
                    <a:pt x="861" y="2309"/>
                  </a:cubicBezTo>
                  <a:cubicBezTo>
                    <a:pt x="877" y="2316"/>
                    <a:pt x="885" y="2300"/>
                    <a:pt x="901" y="2293"/>
                  </a:cubicBezTo>
                  <a:cubicBezTo>
                    <a:pt x="901" y="2293"/>
                    <a:pt x="909" y="2285"/>
                    <a:pt x="917" y="2285"/>
                  </a:cubicBezTo>
                  <a:lnTo>
                    <a:pt x="917" y="2285"/>
                  </a:lnTo>
                  <a:cubicBezTo>
                    <a:pt x="925" y="2277"/>
                    <a:pt x="933" y="2277"/>
                    <a:pt x="948" y="2277"/>
                  </a:cubicBezTo>
                  <a:cubicBezTo>
                    <a:pt x="956" y="2277"/>
                    <a:pt x="972" y="2277"/>
                    <a:pt x="988" y="2293"/>
                  </a:cubicBezTo>
                  <a:cubicBezTo>
                    <a:pt x="1012" y="2309"/>
                    <a:pt x="1028" y="2316"/>
                    <a:pt x="1051" y="2316"/>
                  </a:cubicBezTo>
                  <a:cubicBezTo>
                    <a:pt x="1059" y="2316"/>
                    <a:pt x="1059" y="2316"/>
                    <a:pt x="1067" y="2316"/>
                  </a:cubicBezTo>
                  <a:cubicBezTo>
                    <a:pt x="1083" y="2309"/>
                    <a:pt x="1091" y="2309"/>
                    <a:pt x="1091" y="2309"/>
                  </a:cubicBezTo>
                  <a:cubicBezTo>
                    <a:pt x="1091" y="2300"/>
                    <a:pt x="1099" y="2300"/>
                    <a:pt x="1099" y="2300"/>
                  </a:cubicBezTo>
                  <a:cubicBezTo>
                    <a:pt x="1107" y="2300"/>
                    <a:pt x="1114" y="2300"/>
                    <a:pt x="1122" y="2309"/>
                  </a:cubicBezTo>
                  <a:cubicBezTo>
                    <a:pt x="1146" y="2324"/>
                    <a:pt x="1138" y="2340"/>
                    <a:pt x="1138" y="2348"/>
                  </a:cubicBezTo>
                  <a:cubicBezTo>
                    <a:pt x="1146" y="2348"/>
                    <a:pt x="1146" y="2340"/>
                    <a:pt x="1154" y="2332"/>
                  </a:cubicBezTo>
                  <a:cubicBezTo>
                    <a:pt x="1178" y="2316"/>
                    <a:pt x="1186" y="2285"/>
                    <a:pt x="1194" y="2269"/>
                  </a:cubicBezTo>
                  <a:cubicBezTo>
                    <a:pt x="1201" y="2245"/>
                    <a:pt x="1209" y="2237"/>
                    <a:pt x="1217" y="2237"/>
                  </a:cubicBezTo>
                  <a:cubicBezTo>
                    <a:pt x="1225" y="2237"/>
                    <a:pt x="1225" y="2237"/>
                    <a:pt x="1225" y="2237"/>
                  </a:cubicBezTo>
                  <a:cubicBezTo>
                    <a:pt x="1233" y="2237"/>
                    <a:pt x="1241" y="2245"/>
                    <a:pt x="1241" y="2245"/>
                  </a:cubicBezTo>
                  <a:cubicBezTo>
                    <a:pt x="1272" y="2261"/>
                    <a:pt x="1288" y="2269"/>
                    <a:pt x="1296" y="2309"/>
                  </a:cubicBezTo>
                  <a:cubicBezTo>
                    <a:pt x="1304" y="2340"/>
                    <a:pt x="1312" y="2356"/>
                    <a:pt x="1336" y="2364"/>
                  </a:cubicBezTo>
                  <a:cubicBezTo>
                    <a:pt x="1360" y="2190"/>
                    <a:pt x="1360" y="2190"/>
                    <a:pt x="1360" y="2190"/>
                  </a:cubicBezTo>
                  <a:cubicBezTo>
                    <a:pt x="1360" y="2182"/>
                    <a:pt x="1367" y="2143"/>
                    <a:pt x="1391" y="2143"/>
                  </a:cubicBezTo>
                  <a:close/>
                </a:path>
              </a:pathLst>
            </a:custGeom>
            <a:solidFill>
              <a:schemeClr val="accent6"/>
            </a:solidFill>
            <a:ln>
              <a:solidFill>
                <a:schemeClr val="bg2"/>
              </a:solidFill>
            </a:ln>
            <a:effectLst/>
          </p:spPr>
          <p:txBody>
            <a:bodyPr wrap="none" anchor="ctr"/>
            <a:lstStyle/>
            <a:p>
              <a:endParaRPr lang="en-US"/>
            </a:p>
          </p:txBody>
        </p:sp>
        <p:sp>
          <p:nvSpPr>
            <p:cNvPr id="38" name="Freeform 289"/>
            <p:cNvSpPr>
              <a:spLocks noChangeArrowheads="1"/>
            </p:cNvSpPr>
            <p:nvPr/>
          </p:nvSpPr>
          <p:spPr bwMode="auto">
            <a:xfrm>
              <a:off x="2309129" y="2560711"/>
              <a:ext cx="947784" cy="669278"/>
            </a:xfrm>
            <a:custGeom>
              <a:avLst/>
              <a:gdLst>
                <a:gd name="T0" fmla="*/ 316 w 2626"/>
                <a:gd name="T1" fmla="*/ 0 h 2143"/>
                <a:gd name="T2" fmla="*/ 316 w 2626"/>
                <a:gd name="T3" fmla="*/ 0 h 2143"/>
                <a:gd name="T4" fmla="*/ 292 w 2626"/>
                <a:gd name="T5" fmla="*/ 47 h 2143"/>
                <a:gd name="T6" fmla="*/ 71 w 2626"/>
                <a:gd name="T7" fmla="*/ 1407 h 2143"/>
                <a:gd name="T8" fmla="*/ 0 w 2626"/>
                <a:gd name="T9" fmla="*/ 1857 h 2143"/>
                <a:gd name="T10" fmla="*/ 696 w 2626"/>
                <a:gd name="T11" fmla="*/ 1944 h 2143"/>
                <a:gd name="T12" fmla="*/ 719 w 2626"/>
                <a:gd name="T13" fmla="*/ 1968 h 2143"/>
                <a:gd name="T14" fmla="*/ 719 w 2626"/>
                <a:gd name="T15" fmla="*/ 1944 h 2143"/>
                <a:gd name="T16" fmla="*/ 2498 w 2626"/>
                <a:gd name="T17" fmla="*/ 2142 h 2143"/>
                <a:gd name="T18" fmla="*/ 2625 w 2626"/>
                <a:gd name="T19" fmla="*/ 245 h 2143"/>
                <a:gd name="T20" fmla="*/ 316 w 2626"/>
                <a:gd name="T21" fmla="*/ 0 h 2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26" h="2143">
                  <a:moveTo>
                    <a:pt x="316" y="0"/>
                  </a:moveTo>
                  <a:lnTo>
                    <a:pt x="316" y="0"/>
                  </a:lnTo>
                  <a:cubicBezTo>
                    <a:pt x="292" y="0"/>
                    <a:pt x="292" y="47"/>
                    <a:pt x="292" y="47"/>
                  </a:cubicBezTo>
                  <a:cubicBezTo>
                    <a:pt x="71" y="1407"/>
                    <a:pt x="71" y="1407"/>
                    <a:pt x="71" y="1407"/>
                  </a:cubicBezTo>
                  <a:cubicBezTo>
                    <a:pt x="0" y="1857"/>
                    <a:pt x="0" y="1857"/>
                    <a:pt x="0" y="1857"/>
                  </a:cubicBezTo>
                  <a:cubicBezTo>
                    <a:pt x="696" y="1944"/>
                    <a:pt x="696" y="1944"/>
                    <a:pt x="696" y="1944"/>
                  </a:cubicBezTo>
                  <a:cubicBezTo>
                    <a:pt x="719" y="1968"/>
                    <a:pt x="719" y="1968"/>
                    <a:pt x="719" y="1968"/>
                  </a:cubicBezTo>
                  <a:cubicBezTo>
                    <a:pt x="719" y="1944"/>
                    <a:pt x="719" y="1944"/>
                    <a:pt x="719" y="1944"/>
                  </a:cubicBezTo>
                  <a:cubicBezTo>
                    <a:pt x="719" y="1944"/>
                    <a:pt x="1771" y="2087"/>
                    <a:pt x="2498" y="2142"/>
                  </a:cubicBezTo>
                  <a:cubicBezTo>
                    <a:pt x="2625" y="245"/>
                    <a:pt x="2625" y="245"/>
                    <a:pt x="2625" y="245"/>
                  </a:cubicBezTo>
                  <a:cubicBezTo>
                    <a:pt x="2411" y="276"/>
                    <a:pt x="340" y="0"/>
                    <a:pt x="316" y="0"/>
                  </a:cubicBezTo>
                </a:path>
              </a:pathLst>
            </a:custGeom>
            <a:solidFill>
              <a:schemeClr val="accent3"/>
            </a:solidFill>
            <a:ln>
              <a:solidFill>
                <a:schemeClr val="bg2"/>
              </a:solidFill>
            </a:ln>
            <a:effectLst/>
          </p:spPr>
          <p:txBody>
            <a:bodyPr wrap="none" anchor="ctr"/>
            <a:lstStyle/>
            <a:p>
              <a:endParaRPr lang="en-US"/>
            </a:p>
          </p:txBody>
        </p:sp>
        <p:sp>
          <p:nvSpPr>
            <p:cNvPr id="39" name="Freeform 290"/>
            <p:cNvSpPr>
              <a:spLocks noChangeArrowheads="1"/>
            </p:cNvSpPr>
            <p:nvPr/>
          </p:nvSpPr>
          <p:spPr bwMode="auto">
            <a:xfrm>
              <a:off x="2309129" y="2560711"/>
              <a:ext cx="949375" cy="672032"/>
            </a:xfrm>
            <a:custGeom>
              <a:avLst/>
              <a:gdLst>
                <a:gd name="T0" fmla="*/ 2498 w 2633"/>
                <a:gd name="T1" fmla="*/ 2150 h 2151"/>
                <a:gd name="T2" fmla="*/ 2498 w 2633"/>
                <a:gd name="T3" fmla="*/ 2150 h 2151"/>
                <a:gd name="T4" fmla="*/ 2498 w 2633"/>
                <a:gd name="T5" fmla="*/ 2150 h 2151"/>
                <a:gd name="T6" fmla="*/ 719 w 2633"/>
                <a:gd name="T7" fmla="*/ 1944 h 2151"/>
                <a:gd name="T8" fmla="*/ 719 w 2633"/>
                <a:gd name="T9" fmla="*/ 1976 h 2151"/>
                <a:gd name="T10" fmla="*/ 696 w 2633"/>
                <a:gd name="T11" fmla="*/ 1944 h 2151"/>
                <a:gd name="T12" fmla="*/ 0 w 2633"/>
                <a:gd name="T13" fmla="*/ 1865 h 2151"/>
                <a:gd name="T14" fmla="*/ 63 w 2633"/>
                <a:gd name="T15" fmla="*/ 1407 h 2151"/>
                <a:gd name="T16" fmla="*/ 285 w 2633"/>
                <a:gd name="T17" fmla="*/ 47 h 2151"/>
                <a:gd name="T18" fmla="*/ 316 w 2633"/>
                <a:gd name="T19" fmla="*/ 0 h 2151"/>
                <a:gd name="T20" fmla="*/ 490 w 2633"/>
                <a:gd name="T21" fmla="*/ 15 h 2151"/>
                <a:gd name="T22" fmla="*/ 2569 w 2633"/>
                <a:gd name="T23" fmla="*/ 245 h 2151"/>
                <a:gd name="T24" fmla="*/ 2625 w 2633"/>
                <a:gd name="T25" fmla="*/ 237 h 2151"/>
                <a:gd name="T26" fmla="*/ 2632 w 2633"/>
                <a:gd name="T27" fmla="*/ 237 h 2151"/>
                <a:gd name="T28" fmla="*/ 2632 w 2633"/>
                <a:gd name="T29" fmla="*/ 245 h 2151"/>
                <a:gd name="T30" fmla="*/ 2498 w 2633"/>
                <a:gd name="T31" fmla="*/ 2150 h 2151"/>
                <a:gd name="T32" fmla="*/ 719 w 2633"/>
                <a:gd name="T33" fmla="*/ 1936 h 2151"/>
                <a:gd name="T34" fmla="*/ 719 w 2633"/>
                <a:gd name="T35" fmla="*/ 1936 h 2151"/>
                <a:gd name="T36" fmla="*/ 719 w 2633"/>
                <a:gd name="T37" fmla="*/ 1936 h 2151"/>
                <a:gd name="T38" fmla="*/ 2490 w 2633"/>
                <a:gd name="T39" fmla="*/ 2142 h 2151"/>
                <a:gd name="T40" fmla="*/ 2625 w 2633"/>
                <a:gd name="T41" fmla="*/ 245 h 2151"/>
                <a:gd name="T42" fmla="*/ 2569 w 2633"/>
                <a:gd name="T43" fmla="*/ 253 h 2151"/>
                <a:gd name="T44" fmla="*/ 490 w 2633"/>
                <a:gd name="T45" fmla="*/ 23 h 2151"/>
                <a:gd name="T46" fmla="*/ 316 w 2633"/>
                <a:gd name="T47" fmla="*/ 7 h 2151"/>
                <a:gd name="T48" fmla="*/ 292 w 2633"/>
                <a:gd name="T49" fmla="*/ 47 h 2151"/>
                <a:gd name="T50" fmla="*/ 71 w 2633"/>
                <a:gd name="T51" fmla="*/ 1407 h 2151"/>
                <a:gd name="T52" fmla="*/ 8 w 2633"/>
                <a:gd name="T53" fmla="*/ 1857 h 2151"/>
                <a:gd name="T54" fmla="*/ 696 w 2633"/>
                <a:gd name="T55" fmla="*/ 1936 h 2151"/>
                <a:gd name="T56" fmla="*/ 712 w 2633"/>
                <a:gd name="T57" fmla="*/ 1960 h 2151"/>
                <a:gd name="T58" fmla="*/ 719 w 2633"/>
                <a:gd name="T59" fmla="*/ 1936 h 2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33" h="2151">
                  <a:moveTo>
                    <a:pt x="2498" y="2150"/>
                  </a:moveTo>
                  <a:lnTo>
                    <a:pt x="2498" y="2150"/>
                  </a:lnTo>
                  <a:lnTo>
                    <a:pt x="2498" y="2150"/>
                  </a:lnTo>
                  <a:cubicBezTo>
                    <a:pt x="1795" y="2087"/>
                    <a:pt x="790" y="1960"/>
                    <a:pt x="719" y="1944"/>
                  </a:cubicBezTo>
                  <a:cubicBezTo>
                    <a:pt x="719" y="1976"/>
                    <a:pt x="719" y="1976"/>
                    <a:pt x="719" y="1976"/>
                  </a:cubicBezTo>
                  <a:cubicBezTo>
                    <a:pt x="696" y="1944"/>
                    <a:pt x="696" y="1944"/>
                    <a:pt x="696" y="1944"/>
                  </a:cubicBezTo>
                  <a:cubicBezTo>
                    <a:pt x="0" y="1865"/>
                    <a:pt x="0" y="1865"/>
                    <a:pt x="0" y="1865"/>
                  </a:cubicBezTo>
                  <a:cubicBezTo>
                    <a:pt x="63" y="1407"/>
                    <a:pt x="63" y="1407"/>
                    <a:pt x="63" y="1407"/>
                  </a:cubicBezTo>
                  <a:cubicBezTo>
                    <a:pt x="285" y="47"/>
                    <a:pt x="285" y="47"/>
                    <a:pt x="285" y="47"/>
                  </a:cubicBezTo>
                  <a:cubicBezTo>
                    <a:pt x="285" y="39"/>
                    <a:pt x="292" y="0"/>
                    <a:pt x="316" y="0"/>
                  </a:cubicBezTo>
                  <a:cubicBezTo>
                    <a:pt x="316" y="0"/>
                    <a:pt x="372" y="7"/>
                    <a:pt x="490" y="15"/>
                  </a:cubicBezTo>
                  <a:cubicBezTo>
                    <a:pt x="972" y="79"/>
                    <a:pt x="2253" y="245"/>
                    <a:pt x="2569" y="245"/>
                  </a:cubicBezTo>
                  <a:cubicBezTo>
                    <a:pt x="2593" y="245"/>
                    <a:pt x="2617" y="237"/>
                    <a:pt x="2625" y="237"/>
                  </a:cubicBezTo>
                  <a:cubicBezTo>
                    <a:pt x="2632" y="237"/>
                    <a:pt x="2632" y="237"/>
                    <a:pt x="2632" y="237"/>
                  </a:cubicBezTo>
                  <a:cubicBezTo>
                    <a:pt x="2632" y="245"/>
                    <a:pt x="2632" y="245"/>
                    <a:pt x="2632" y="245"/>
                  </a:cubicBezTo>
                  <a:lnTo>
                    <a:pt x="2498" y="2150"/>
                  </a:lnTo>
                  <a:close/>
                  <a:moveTo>
                    <a:pt x="719" y="1936"/>
                  </a:moveTo>
                  <a:lnTo>
                    <a:pt x="719" y="1936"/>
                  </a:lnTo>
                  <a:lnTo>
                    <a:pt x="719" y="1936"/>
                  </a:lnTo>
                  <a:cubicBezTo>
                    <a:pt x="727" y="1944"/>
                    <a:pt x="1771" y="2079"/>
                    <a:pt x="2490" y="2142"/>
                  </a:cubicBezTo>
                  <a:cubicBezTo>
                    <a:pt x="2625" y="245"/>
                    <a:pt x="2625" y="245"/>
                    <a:pt x="2625" y="245"/>
                  </a:cubicBezTo>
                  <a:cubicBezTo>
                    <a:pt x="2609" y="245"/>
                    <a:pt x="2593" y="253"/>
                    <a:pt x="2569" y="253"/>
                  </a:cubicBezTo>
                  <a:cubicBezTo>
                    <a:pt x="2253" y="253"/>
                    <a:pt x="972" y="86"/>
                    <a:pt x="490" y="23"/>
                  </a:cubicBezTo>
                  <a:cubicBezTo>
                    <a:pt x="387" y="15"/>
                    <a:pt x="316" y="7"/>
                    <a:pt x="316" y="7"/>
                  </a:cubicBezTo>
                  <a:cubicBezTo>
                    <a:pt x="300" y="7"/>
                    <a:pt x="292" y="39"/>
                    <a:pt x="292" y="47"/>
                  </a:cubicBezTo>
                  <a:cubicBezTo>
                    <a:pt x="71" y="1407"/>
                    <a:pt x="71" y="1407"/>
                    <a:pt x="71" y="1407"/>
                  </a:cubicBezTo>
                  <a:cubicBezTo>
                    <a:pt x="8" y="1857"/>
                    <a:pt x="8" y="1857"/>
                    <a:pt x="8" y="1857"/>
                  </a:cubicBezTo>
                  <a:cubicBezTo>
                    <a:pt x="696" y="1936"/>
                    <a:pt x="696" y="1936"/>
                    <a:pt x="696" y="1936"/>
                  </a:cubicBezTo>
                  <a:cubicBezTo>
                    <a:pt x="712" y="1960"/>
                    <a:pt x="712" y="1960"/>
                    <a:pt x="712" y="1960"/>
                  </a:cubicBezTo>
                  <a:lnTo>
                    <a:pt x="719" y="1936"/>
                  </a:lnTo>
                  <a:close/>
                </a:path>
              </a:pathLst>
            </a:custGeom>
            <a:solidFill>
              <a:schemeClr val="accent6"/>
            </a:solidFill>
            <a:ln>
              <a:solidFill>
                <a:schemeClr val="bg2"/>
              </a:solidFill>
            </a:ln>
            <a:effectLst/>
          </p:spPr>
          <p:txBody>
            <a:bodyPr wrap="none" anchor="ctr"/>
            <a:lstStyle/>
            <a:p>
              <a:endParaRPr lang="en-US"/>
            </a:p>
          </p:txBody>
        </p:sp>
        <p:sp>
          <p:nvSpPr>
            <p:cNvPr id="40" name="Freeform 307"/>
            <p:cNvSpPr>
              <a:spLocks noChangeArrowheads="1"/>
            </p:cNvSpPr>
            <p:nvPr/>
          </p:nvSpPr>
          <p:spPr bwMode="auto">
            <a:xfrm>
              <a:off x="3266455" y="2056687"/>
              <a:ext cx="892126" cy="479236"/>
            </a:xfrm>
            <a:custGeom>
              <a:avLst/>
              <a:gdLst>
                <a:gd name="T0" fmla="*/ 2466 w 2475"/>
                <a:gd name="T1" fmla="*/ 1518 h 1534"/>
                <a:gd name="T2" fmla="*/ 2466 w 2475"/>
                <a:gd name="T3" fmla="*/ 1518 h 1534"/>
                <a:gd name="T4" fmla="*/ 2466 w 2475"/>
                <a:gd name="T5" fmla="*/ 1486 h 1534"/>
                <a:gd name="T6" fmla="*/ 2458 w 2475"/>
                <a:gd name="T7" fmla="*/ 1320 h 1534"/>
                <a:gd name="T8" fmla="*/ 2411 w 2475"/>
                <a:gd name="T9" fmla="*/ 1265 h 1534"/>
                <a:gd name="T10" fmla="*/ 2380 w 2475"/>
                <a:gd name="T11" fmla="*/ 1043 h 1534"/>
                <a:gd name="T12" fmla="*/ 2372 w 2475"/>
                <a:gd name="T13" fmla="*/ 893 h 1534"/>
                <a:gd name="T14" fmla="*/ 2372 w 2475"/>
                <a:gd name="T15" fmla="*/ 711 h 1534"/>
                <a:gd name="T16" fmla="*/ 2285 w 2475"/>
                <a:gd name="T17" fmla="*/ 466 h 1534"/>
                <a:gd name="T18" fmla="*/ 2301 w 2475"/>
                <a:gd name="T19" fmla="*/ 253 h 1534"/>
                <a:gd name="T20" fmla="*/ 2285 w 2475"/>
                <a:gd name="T21" fmla="*/ 174 h 1534"/>
                <a:gd name="T22" fmla="*/ 2253 w 2475"/>
                <a:gd name="T23" fmla="*/ 63 h 1534"/>
                <a:gd name="T24" fmla="*/ 111 w 2475"/>
                <a:gd name="T25" fmla="*/ 0 h 1534"/>
                <a:gd name="T26" fmla="*/ 0 w 2475"/>
                <a:gd name="T27" fmla="*/ 1423 h 1534"/>
                <a:gd name="T28" fmla="*/ 2466 w 2475"/>
                <a:gd name="T29" fmla="*/ 1518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75" h="1534">
                  <a:moveTo>
                    <a:pt x="2466" y="1518"/>
                  </a:moveTo>
                  <a:lnTo>
                    <a:pt x="2466" y="1518"/>
                  </a:lnTo>
                  <a:cubicBezTo>
                    <a:pt x="2466" y="1502"/>
                    <a:pt x="2474" y="1494"/>
                    <a:pt x="2466" y="1486"/>
                  </a:cubicBezTo>
                  <a:cubicBezTo>
                    <a:pt x="2458" y="1439"/>
                    <a:pt x="2474" y="1336"/>
                    <a:pt x="2458" y="1320"/>
                  </a:cubicBezTo>
                  <a:cubicBezTo>
                    <a:pt x="2443" y="1296"/>
                    <a:pt x="2411" y="1296"/>
                    <a:pt x="2411" y="1265"/>
                  </a:cubicBezTo>
                  <a:cubicBezTo>
                    <a:pt x="2411" y="1225"/>
                    <a:pt x="2380" y="1099"/>
                    <a:pt x="2380" y="1043"/>
                  </a:cubicBezTo>
                  <a:cubicBezTo>
                    <a:pt x="2380" y="996"/>
                    <a:pt x="2364" y="964"/>
                    <a:pt x="2372" y="893"/>
                  </a:cubicBezTo>
                  <a:cubicBezTo>
                    <a:pt x="2380" y="822"/>
                    <a:pt x="2396" y="743"/>
                    <a:pt x="2372" y="711"/>
                  </a:cubicBezTo>
                  <a:cubicBezTo>
                    <a:pt x="2356" y="680"/>
                    <a:pt x="2316" y="561"/>
                    <a:pt x="2285" y="466"/>
                  </a:cubicBezTo>
                  <a:cubicBezTo>
                    <a:pt x="2253" y="371"/>
                    <a:pt x="2293" y="269"/>
                    <a:pt x="2301" y="253"/>
                  </a:cubicBezTo>
                  <a:cubicBezTo>
                    <a:pt x="2309" y="229"/>
                    <a:pt x="2309" y="205"/>
                    <a:pt x="2285" y="174"/>
                  </a:cubicBezTo>
                  <a:cubicBezTo>
                    <a:pt x="2269" y="158"/>
                    <a:pt x="2253" y="103"/>
                    <a:pt x="2253" y="63"/>
                  </a:cubicBezTo>
                  <a:cubicBezTo>
                    <a:pt x="1542" y="79"/>
                    <a:pt x="814" y="55"/>
                    <a:pt x="111" y="0"/>
                  </a:cubicBezTo>
                  <a:cubicBezTo>
                    <a:pt x="0" y="1423"/>
                    <a:pt x="0" y="1423"/>
                    <a:pt x="0" y="1423"/>
                  </a:cubicBezTo>
                  <a:cubicBezTo>
                    <a:pt x="222" y="1439"/>
                    <a:pt x="1850" y="1533"/>
                    <a:pt x="2466" y="1518"/>
                  </a:cubicBezTo>
                </a:path>
              </a:pathLst>
            </a:custGeom>
            <a:solidFill>
              <a:schemeClr val="accent6"/>
            </a:solidFill>
            <a:ln>
              <a:solidFill>
                <a:schemeClr val="bg2"/>
              </a:solidFill>
            </a:ln>
            <a:effectLst/>
          </p:spPr>
          <p:txBody>
            <a:bodyPr wrap="none" anchor="ctr"/>
            <a:lstStyle/>
            <a:p>
              <a:endParaRPr lang="en-US"/>
            </a:p>
          </p:txBody>
        </p:sp>
        <p:sp>
          <p:nvSpPr>
            <p:cNvPr id="41" name="Freeform 308"/>
            <p:cNvSpPr>
              <a:spLocks noChangeArrowheads="1"/>
            </p:cNvSpPr>
            <p:nvPr/>
          </p:nvSpPr>
          <p:spPr bwMode="auto">
            <a:xfrm>
              <a:off x="3266455" y="2056687"/>
              <a:ext cx="892126" cy="476482"/>
            </a:xfrm>
            <a:custGeom>
              <a:avLst/>
              <a:gdLst>
                <a:gd name="T0" fmla="*/ 2340 w 2475"/>
                <a:gd name="T1" fmla="*/ 1526 h 1527"/>
                <a:gd name="T2" fmla="*/ 2340 w 2475"/>
                <a:gd name="T3" fmla="*/ 1526 h 1527"/>
                <a:gd name="T4" fmla="*/ 2340 w 2475"/>
                <a:gd name="T5" fmla="*/ 1526 h 1527"/>
                <a:gd name="T6" fmla="*/ 0 w 2475"/>
                <a:gd name="T7" fmla="*/ 1431 h 1527"/>
                <a:gd name="T8" fmla="*/ 0 w 2475"/>
                <a:gd name="T9" fmla="*/ 1431 h 1527"/>
                <a:gd name="T10" fmla="*/ 111 w 2475"/>
                <a:gd name="T11" fmla="*/ 0 h 1527"/>
                <a:gd name="T12" fmla="*/ 111 w 2475"/>
                <a:gd name="T13" fmla="*/ 0 h 1527"/>
                <a:gd name="T14" fmla="*/ 1771 w 2475"/>
                <a:gd name="T15" fmla="*/ 63 h 1527"/>
                <a:gd name="T16" fmla="*/ 2253 w 2475"/>
                <a:gd name="T17" fmla="*/ 55 h 1527"/>
                <a:gd name="T18" fmla="*/ 2261 w 2475"/>
                <a:gd name="T19" fmla="*/ 55 h 1527"/>
                <a:gd name="T20" fmla="*/ 2261 w 2475"/>
                <a:gd name="T21" fmla="*/ 63 h 1527"/>
                <a:gd name="T22" fmla="*/ 2285 w 2475"/>
                <a:gd name="T23" fmla="*/ 174 h 1527"/>
                <a:gd name="T24" fmla="*/ 2301 w 2475"/>
                <a:gd name="T25" fmla="*/ 253 h 1527"/>
                <a:gd name="T26" fmla="*/ 2293 w 2475"/>
                <a:gd name="T27" fmla="*/ 466 h 1527"/>
                <a:gd name="T28" fmla="*/ 2380 w 2475"/>
                <a:gd name="T29" fmla="*/ 711 h 1527"/>
                <a:gd name="T30" fmla="*/ 2380 w 2475"/>
                <a:gd name="T31" fmla="*/ 893 h 1527"/>
                <a:gd name="T32" fmla="*/ 2380 w 2475"/>
                <a:gd name="T33" fmla="*/ 988 h 1527"/>
                <a:gd name="T34" fmla="*/ 2388 w 2475"/>
                <a:gd name="T35" fmla="*/ 1043 h 1527"/>
                <a:gd name="T36" fmla="*/ 2403 w 2475"/>
                <a:gd name="T37" fmla="*/ 1170 h 1527"/>
                <a:gd name="T38" fmla="*/ 2419 w 2475"/>
                <a:gd name="T39" fmla="*/ 1265 h 1527"/>
                <a:gd name="T40" fmla="*/ 2443 w 2475"/>
                <a:gd name="T41" fmla="*/ 1304 h 1527"/>
                <a:gd name="T42" fmla="*/ 2458 w 2475"/>
                <a:gd name="T43" fmla="*/ 1312 h 1527"/>
                <a:gd name="T44" fmla="*/ 2474 w 2475"/>
                <a:gd name="T45" fmla="*/ 1407 h 1527"/>
                <a:gd name="T46" fmla="*/ 2474 w 2475"/>
                <a:gd name="T47" fmla="*/ 1478 h 1527"/>
                <a:gd name="T48" fmla="*/ 2474 w 2475"/>
                <a:gd name="T49" fmla="*/ 1518 h 1527"/>
                <a:gd name="T50" fmla="*/ 2466 w 2475"/>
                <a:gd name="T51" fmla="*/ 1518 h 1527"/>
                <a:gd name="T52" fmla="*/ 2466 w 2475"/>
                <a:gd name="T53" fmla="*/ 1518 h 1527"/>
                <a:gd name="T54" fmla="*/ 2340 w 2475"/>
                <a:gd name="T55" fmla="*/ 1526 h 1527"/>
                <a:gd name="T56" fmla="*/ 8 w 2475"/>
                <a:gd name="T57" fmla="*/ 1423 h 1527"/>
                <a:gd name="T58" fmla="*/ 8 w 2475"/>
                <a:gd name="T59" fmla="*/ 1423 h 1527"/>
                <a:gd name="T60" fmla="*/ 2340 w 2475"/>
                <a:gd name="T61" fmla="*/ 1518 h 1527"/>
                <a:gd name="T62" fmla="*/ 2340 w 2475"/>
                <a:gd name="T63" fmla="*/ 1518 h 1527"/>
                <a:gd name="T64" fmla="*/ 2466 w 2475"/>
                <a:gd name="T65" fmla="*/ 1518 h 1527"/>
                <a:gd name="T66" fmla="*/ 2466 w 2475"/>
                <a:gd name="T67" fmla="*/ 1486 h 1527"/>
                <a:gd name="T68" fmla="*/ 2466 w 2475"/>
                <a:gd name="T69" fmla="*/ 1407 h 1527"/>
                <a:gd name="T70" fmla="*/ 2458 w 2475"/>
                <a:gd name="T71" fmla="*/ 1320 h 1527"/>
                <a:gd name="T72" fmla="*/ 2443 w 2475"/>
                <a:gd name="T73" fmla="*/ 1304 h 1527"/>
                <a:gd name="T74" fmla="*/ 2411 w 2475"/>
                <a:gd name="T75" fmla="*/ 1265 h 1527"/>
                <a:gd name="T76" fmla="*/ 2396 w 2475"/>
                <a:gd name="T77" fmla="*/ 1170 h 1527"/>
                <a:gd name="T78" fmla="*/ 2380 w 2475"/>
                <a:gd name="T79" fmla="*/ 1043 h 1527"/>
                <a:gd name="T80" fmla="*/ 2372 w 2475"/>
                <a:gd name="T81" fmla="*/ 996 h 1527"/>
                <a:gd name="T82" fmla="*/ 2372 w 2475"/>
                <a:gd name="T83" fmla="*/ 893 h 1527"/>
                <a:gd name="T84" fmla="*/ 2372 w 2475"/>
                <a:gd name="T85" fmla="*/ 711 h 1527"/>
                <a:gd name="T86" fmla="*/ 2285 w 2475"/>
                <a:gd name="T87" fmla="*/ 466 h 1527"/>
                <a:gd name="T88" fmla="*/ 2293 w 2475"/>
                <a:gd name="T89" fmla="*/ 245 h 1527"/>
                <a:gd name="T90" fmla="*/ 2285 w 2475"/>
                <a:gd name="T91" fmla="*/ 182 h 1527"/>
                <a:gd name="T92" fmla="*/ 2253 w 2475"/>
                <a:gd name="T93" fmla="*/ 63 h 1527"/>
                <a:gd name="T94" fmla="*/ 1771 w 2475"/>
                <a:gd name="T95" fmla="*/ 71 h 1527"/>
                <a:gd name="T96" fmla="*/ 119 w 2475"/>
                <a:gd name="T97" fmla="*/ 8 h 1527"/>
                <a:gd name="T98" fmla="*/ 8 w 2475"/>
                <a:gd name="T99" fmla="*/ 1423 h 1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75" h="1527">
                  <a:moveTo>
                    <a:pt x="2340" y="1526"/>
                  </a:moveTo>
                  <a:lnTo>
                    <a:pt x="2340" y="1526"/>
                  </a:lnTo>
                  <a:lnTo>
                    <a:pt x="2340" y="1526"/>
                  </a:lnTo>
                  <a:cubicBezTo>
                    <a:pt x="1652" y="1526"/>
                    <a:pt x="174" y="1439"/>
                    <a:pt x="0" y="1431"/>
                  </a:cubicBezTo>
                  <a:lnTo>
                    <a:pt x="0" y="1431"/>
                  </a:lnTo>
                  <a:cubicBezTo>
                    <a:pt x="111" y="0"/>
                    <a:pt x="111" y="0"/>
                    <a:pt x="111" y="0"/>
                  </a:cubicBezTo>
                  <a:lnTo>
                    <a:pt x="111" y="0"/>
                  </a:lnTo>
                  <a:cubicBezTo>
                    <a:pt x="688" y="39"/>
                    <a:pt x="1249" y="63"/>
                    <a:pt x="1771" y="63"/>
                  </a:cubicBezTo>
                  <a:cubicBezTo>
                    <a:pt x="1937" y="63"/>
                    <a:pt x="2095" y="63"/>
                    <a:pt x="2253" y="55"/>
                  </a:cubicBezTo>
                  <a:cubicBezTo>
                    <a:pt x="2261" y="55"/>
                    <a:pt x="2261" y="55"/>
                    <a:pt x="2261" y="55"/>
                  </a:cubicBezTo>
                  <a:cubicBezTo>
                    <a:pt x="2261" y="63"/>
                    <a:pt x="2261" y="63"/>
                    <a:pt x="2261" y="63"/>
                  </a:cubicBezTo>
                  <a:cubicBezTo>
                    <a:pt x="2261" y="103"/>
                    <a:pt x="2269" y="158"/>
                    <a:pt x="2285" y="174"/>
                  </a:cubicBezTo>
                  <a:cubicBezTo>
                    <a:pt x="2316" y="205"/>
                    <a:pt x="2309" y="229"/>
                    <a:pt x="2301" y="253"/>
                  </a:cubicBezTo>
                  <a:cubicBezTo>
                    <a:pt x="2301" y="253"/>
                    <a:pt x="2253" y="363"/>
                    <a:pt x="2293" y="466"/>
                  </a:cubicBezTo>
                  <a:cubicBezTo>
                    <a:pt x="2316" y="553"/>
                    <a:pt x="2364" y="672"/>
                    <a:pt x="2380" y="711"/>
                  </a:cubicBezTo>
                  <a:cubicBezTo>
                    <a:pt x="2396" y="743"/>
                    <a:pt x="2388" y="822"/>
                    <a:pt x="2380" y="893"/>
                  </a:cubicBezTo>
                  <a:cubicBezTo>
                    <a:pt x="2372" y="941"/>
                    <a:pt x="2380" y="964"/>
                    <a:pt x="2380" y="988"/>
                  </a:cubicBezTo>
                  <a:cubicBezTo>
                    <a:pt x="2388" y="1012"/>
                    <a:pt x="2388" y="1028"/>
                    <a:pt x="2388" y="1043"/>
                  </a:cubicBezTo>
                  <a:cubicBezTo>
                    <a:pt x="2388" y="1075"/>
                    <a:pt x="2396" y="1122"/>
                    <a:pt x="2403" y="1170"/>
                  </a:cubicBezTo>
                  <a:cubicBezTo>
                    <a:pt x="2411" y="1209"/>
                    <a:pt x="2419" y="1241"/>
                    <a:pt x="2419" y="1265"/>
                  </a:cubicBezTo>
                  <a:cubicBezTo>
                    <a:pt x="2419" y="1288"/>
                    <a:pt x="2427" y="1296"/>
                    <a:pt x="2443" y="1304"/>
                  </a:cubicBezTo>
                  <a:cubicBezTo>
                    <a:pt x="2451" y="1304"/>
                    <a:pt x="2458" y="1312"/>
                    <a:pt x="2458" y="1312"/>
                  </a:cubicBezTo>
                  <a:cubicBezTo>
                    <a:pt x="2474" y="1328"/>
                    <a:pt x="2474" y="1359"/>
                    <a:pt x="2474" y="1407"/>
                  </a:cubicBezTo>
                  <a:cubicBezTo>
                    <a:pt x="2466" y="1431"/>
                    <a:pt x="2466" y="1462"/>
                    <a:pt x="2474" y="1478"/>
                  </a:cubicBezTo>
                  <a:cubicBezTo>
                    <a:pt x="2474" y="1494"/>
                    <a:pt x="2474" y="1502"/>
                    <a:pt x="2474" y="1518"/>
                  </a:cubicBezTo>
                  <a:cubicBezTo>
                    <a:pt x="2466" y="1518"/>
                    <a:pt x="2466" y="1518"/>
                    <a:pt x="2466" y="1518"/>
                  </a:cubicBezTo>
                  <a:lnTo>
                    <a:pt x="2466" y="1518"/>
                  </a:lnTo>
                  <a:cubicBezTo>
                    <a:pt x="2427" y="1526"/>
                    <a:pt x="2388" y="1526"/>
                    <a:pt x="2340" y="1526"/>
                  </a:cubicBezTo>
                  <a:close/>
                  <a:moveTo>
                    <a:pt x="8" y="1423"/>
                  </a:moveTo>
                  <a:lnTo>
                    <a:pt x="8" y="1423"/>
                  </a:lnTo>
                  <a:cubicBezTo>
                    <a:pt x="190" y="1431"/>
                    <a:pt x="1660" y="1518"/>
                    <a:pt x="2340" y="1518"/>
                  </a:cubicBezTo>
                  <a:lnTo>
                    <a:pt x="2340" y="1518"/>
                  </a:lnTo>
                  <a:cubicBezTo>
                    <a:pt x="2388" y="1518"/>
                    <a:pt x="2427" y="1518"/>
                    <a:pt x="2466" y="1518"/>
                  </a:cubicBezTo>
                  <a:cubicBezTo>
                    <a:pt x="2466" y="1502"/>
                    <a:pt x="2466" y="1494"/>
                    <a:pt x="2466" y="1486"/>
                  </a:cubicBezTo>
                  <a:cubicBezTo>
                    <a:pt x="2458" y="1462"/>
                    <a:pt x="2458" y="1431"/>
                    <a:pt x="2466" y="1407"/>
                  </a:cubicBezTo>
                  <a:cubicBezTo>
                    <a:pt x="2466" y="1368"/>
                    <a:pt x="2466" y="1328"/>
                    <a:pt x="2458" y="1320"/>
                  </a:cubicBezTo>
                  <a:cubicBezTo>
                    <a:pt x="2450" y="1312"/>
                    <a:pt x="2443" y="1312"/>
                    <a:pt x="2443" y="1304"/>
                  </a:cubicBezTo>
                  <a:cubicBezTo>
                    <a:pt x="2427" y="1296"/>
                    <a:pt x="2411" y="1288"/>
                    <a:pt x="2411" y="1265"/>
                  </a:cubicBezTo>
                  <a:cubicBezTo>
                    <a:pt x="2411" y="1241"/>
                    <a:pt x="2403" y="1209"/>
                    <a:pt x="2396" y="1170"/>
                  </a:cubicBezTo>
                  <a:cubicBezTo>
                    <a:pt x="2388" y="1122"/>
                    <a:pt x="2380" y="1075"/>
                    <a:pt x="2380" y="1043"/>
                  </a:cubicBezTo>
                  <a:cubicBezTo>
                    <a:pt x="2380" y="1028"/>
                    <a:pt x="2380" y="1012"/>
                    <a:pt x="2372" y="996"/>
                  </a:cubicBezTo>
                  <a:cubicBezTo>
                    <a:pt x="2372" y="964"/>
                    <a:pt x="2364" y="941"/>
                    <a:pt x="2372" y="893"/>
                  </a:cubicBezTo>
                  <a:cubicBezTo>
                    <a:pt x="2380" y="830"/>
                    <a:pt x="2388" y="743"/>
                    <a:pt x="2372" y="711"/>
                  </a:cubicBezTo>
                  <a:cubicBezTo>
                    <a:pt x="2356" y="680"/>
                    <a:pt x="2309" y="553"/>
                    <a:pt x="2285" y="466"/>
                  </a:cubicBezTo>
                  <a:cubicBezTo>
                    <a:pt x="2245" y="363"/>
                    <a:pt x="2293" y="253"/>
                    <a:pt x="2293" y="245"/>
                  </a:cubicBezTo>
                  <a:cubicBezTo>
                    <a:pt x="2309" y="221"/>
                    <a:pt x="2301" y="198"/>
                    <a:pt x="2285" y="182"/>
                  </a:cubicBezTo>
                  <a:cubicBezTo>
                    <a:pt x="2269" y="158"/>
                    <a:pt x="2253" y="103"/>
                    <a:pt x="2253" y="63"/>
                  </a:cubicBezTo>
                  <a:cubicBezTo>
                    <a:pt x="2095" y="71"/>
                    <a:pt x="1937" y="71"/>
                    <a:pt x="1771" y="71"/>
                  </a:cubicBezTo>
                  <a:cubicBezTo>
                    <a:pt x="1249" y="71"/>
                    <a:pt x="688" y="47"/>
                    <a:pt x="119" y="8"/>
                  </a:cubicBezTo>
                  <a:lnTo>
                    <a:pt x="8" y="1423"/>
                  </a:lnTo>
                  <a:close/>
                </a:path>
              </a:pathLst>
            </a:custGeom>
            <a:solidFill>
              <a:schemeClr val="accent6"/>
            </a:solidFill>
            <a:ln>
              <a:solidFill>
                <a:schemeClr val="bg2"/>
              </a:solidFill>
            </a:ln>
            <a:effectLst/>
          </p:spPr>
          <p:txBody>
            <a:bodyPr wrap="none" anchor="ctr"/>
            <a:lstStyle/>
            <a:p>
              <a:endParaRPr lang="en-US"/>
            </a:p>
          </p:txBody>
        </p:sp>
        <p:sp>
          <p:nvSpPr>
            <p:cNvPr id="42" name="Freeform 330"/>
            <p:cNvSpPr>
              <a:spLocks noChangeArrowheads="1"/>
            </p:cNvSpPr>
            <p:nvPr/>
          </p:nvSpPr>
          <p:spPr bwMode="auto">
            <a:xfrm>
              <a:off x="3233060" y="2501494"/>
              <a:ext cx="949374" cy="541207"/>
            </a:xfrm>
            <a:custGeom>
              <a:avLst/>
              <a:gdLst>
                <a:gd name="T0" fmla="*/ 1921 w 2633"/>
                <a:gd name="T1" fmla="*/ 1470 h 1732"/>
                <a:gd name="T2" fmla="*/ 1921 w 2633"/>
                <a:gd name="T3" fmla="*/ 1470 h 1732"/>
                <a:gd name="T4" fmla="*/ 1977 w 2633"/>
                <a:gd name="T5" fmla="*/ 1518 h 1732"/>
                <a:gd name="T6" fmla="*/ 2024 w 2633"/>
                <a:gd name="T7" fmla="*/ 1549 h 1732"/>
                <a:gd name="T8" fmla="*/ 2080 w 2633"/>
                <a:gd name="T9" fmla="*/ 1581 h 1732"/>
                <a:gd name="T10" fmla="*/ 2111 w 2633"/>
                <a:gd name="T11" fmla="*/ 1565 h 1732"/>
                <a:gd name="T12" fmla="*/ 2151 w 2633"/>
                <a:gd name="T13" fmla="*/ 1533 h 1732"/>
                <a:gd name="T14" fmla="*/ 2332 w 2633"/>
                <a:gd name="T15" fmla="*/ 1541 h 1732"/>
                <a:gd name="T16" fmla="*/ 2372 w 2633"/>
                <a:gd name="T17" fmla="*/ 1573 h 1732"/>
                <a:gd name="T18" fmla="*/ 2483 w 2633"/>
                <a:gd name="T19" fmla="*/ 1620 h 1732"/>
                <a:gd name="T20" fmla="*/ 2538 w 2633"/>
                <a:gd name="T21" fmla="*/ 1668 h 1732"/>
                <a:gd name="T22" fmla="*/ 2600 w 2633"/>
                <a:gd name="T23" fmla="*/ 1723 h 1732"/>
                <a:gd name="T24" fmla="*/ 2624 w 2633"/>
                <a:gd name="T25" fmla="*/ 1723 h 1732"/>
                <a:gd name="T26" fmla="*/ 2600 w 2633"/>
                <a:gd name="T27" fmla="*/ 1652 h 1732"/>
                <a:gd name="T28" fmla="*/ 2546 w 2633"/>
                <a:gd name="T29" fmla="*/ 1565 h 1732"/>
                <a:gd name="T30" fmla="*/ 2600 w 2633"/>
                <a:gd name="T31" fmla="*/ 1486 h 1732"/>
                <a:gd name="T32" fmla="*/ 2616 w 2633"/>
                <a:gd name="T33" fmla="*/ 1415 h 1732"/>
                <a:gd name="T34" fmla="*/ 2584 w 2633"/>
                <a:gd name="T35" fmla="*/ 1367 h 1732"/>
                <a:gd name="T36" fmla="*/ 2569 w 2633"/>
                <a:gd name="T37" fmla="*/ 1320 h 1732"/>
                <a:gd name="T38" fmla="*/ 2569 w 2633"/>
                <a:gd name="T39" fmla="*/ 1241 h 1732"/>
                <a:gd name="T40" fmla="*/ 2608 w 2633"/>
                <a:gd name="T41" fmla="*/ 1225 h 1732"/>
                <a:gd name="T42" fmla="*/ 2608 w 2633"/>
                <a:gd name="T43" fmla="*/ 371 h 1732"/>
                <a:gd name="T44" fmla="*/ 2553 w 2633"/>
                <a:gd name="T45" fmla="*/ 356 h 1732"/>
                <a:gd name="T46" fmla="*/ 2506 w 2633"/>
                <a:gd name="T47" fmla="*/ 316 h 1732"/>
                <a:gd name="T48" fmla="*/ 2483 w 2633"/>
                <a:gd name="T49" fmla="*/ 261 h 1732"/>
                <a:gd name="T50" fmla="*/ 2506 w 2633"/>
                <a:gd name="T51" fmla="*/ 197 h 1732"/>
                <a:gd name="T52" fmla="*/ 2561 w 2633"/>
                <a:gd name="T53" fmla="*/ 95 h 1732"/>
                <a:gd name="T54" fmla="*/ 95 w 2633"/>
                <a:gd name="T55" fmla="*/ 0 h 1732"/>
                <a:gd name="T56" fmla="*/ 64 w 2633"/>
                <a:gd name="T57" fmla="*/ 435 h 1732"/>
                <a:gd name="T58" fmla="*/ 0 w 2633"/>
                <a:gd name="T59" fmla="*/ 1375 h 1732"/>
                <a:gd name="T60" fmla="*/ 1921 w 2633"/>
                <a:gd name="T61" fmla="*/ 1470 h 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33" h="1732">
                  <a:moveTo>
                    <a:pt x="1921" y="1470"/>
                  </a:moveTo>
                  <a:lnTo>
                    <a:pt x="1921" y="1470"/>
                  </a:lnTo>
                  <a:cubicBezTo>
                    <a:pt x="1921" y="1470"/>
                    <a:pt x="1969" y="1494"/>
                    <a:pt x="1977" y="1518"/>
                  </a:cubicBezTo>
                  <a:cubicBezTo>
                    <a:pt x="1985" y="1533"/>
                    <a:pt x="1985" y="1549"/>
                    <a:pt x="2024" y="1549"/>
                  </a:cubicBezTo>
                  <a:cubicBezTo>
                    <a:pt x="2056" y="1557"/>
                    <a:pt x="2072" y="1573"/>
                    <a:pt x="2080" y="1581"/>
                  </a:cubicBezTo>
                  <a:cubicBezTo>
                    <a:pt x="2087" y="1597"/>
                    <a:pt x="2087" y="1589"/>
                    <a:pt x="2111" y="1565"/>
                  </a:cubicBezTo>
                  <a:cubicBezTo>
                    <a:pt x="2127" y="1541"/>
                    <a:pt x="2127" y="1526"/>
                    <a:pt x="2151" y="1533"/>
                  </a:cubicBezTo>
                  <a:cubicBezTo>
                    <a:pt x="2182" y="1533"/>
                    <a:pt x="2309" y="1518"/>
                    <a:pt x="2332" y="1541"/>
                  </a:cubicBezTo>
                  <a:cubicBezTo>
                    <a:pt x="2348" y="1557"/>
                    <a:pt x="2340" y="1573"/>
                    <a:pt x="2372" y="1573"/>
                  </a:cubicBezTo>
                  <a:cubicBezTo>
                    <a:pt x="2404" y="1573"/>
                    <a:pt x="2467" y="1597"/>
                    <a:pt x="2483" y="1620"/>
                  </a:cubicBezTo>
                  <a:cubicBezTo>
                    <a:pt x="2498" y="1644"/>
                    <a:pt x="2530" y="1668"/>
                    <a:pt x="2538" y="1668"/>
                  </a:cubicBezTo>
                  <a:cubicBezTo>
                    <a:pt x="2546" y="1668"/>
                    <a:pt x="2561" y="1731"/>
                    <a:pt x="2600" y="1723"/>
                  </a:cubicBezTo>
                  <a:cubicBezTo>
                    <a:pt x="2608" y="1723"/>
                    <a:pt x="2616" y="1723"/>
                    <a:pt x="2624" y="1723"/>
                  </a:cubicBezTo>
                  <a:cubicBezTo>
                    <a:pt x="2616" y="1707"/>
                    <a:pt x="2608" y="1684"/>
                    <a:pt x="2600" y="1652"/>
                  </a:cubicBezTo>
                  <a:cubicBezTo>
                    <a:pt x="2569" y="1597"/>
                    <a:pt x="2522" y="1613"/>
                    <a:pt x="2546" y="1565"/>
                  </a:cubicBezTo>
                  <a:cubicBezTo>
                    <a:pt x="2561" y="1526"/>
                    <a:pt x="2592" y="1541"/>
                    <a:pt x="2600" y="1486"/>
                  </a:cubicBezTo>
                  <a:cubicBezTo>
                    <a:pt x="2608" y="1439"/>
                    <a:pt x="2600" y="1439"/>
                    <a:pt x="2616" y="1415"/>
                  </a:cubicBezTo>
                  <a:cubicBezTo>
                    <a:pt x="2632" y="1391"/>
                    <a:pt x="2616" y="1383"/>
                    <a:pt x="2584" y="1367"/>
                  </a:cubicBezTo>
                  <a:cubicBezTo>
                    <a:pt x="2561" y="1352"/>
                    <a:pt x="2538" y="1336"/>
                    <a:pt x="2569" y="1320"/>
                  </a:cubicBezTo>
                  <a:cubicBezTo>
                    <a:pt x="2600" y="1304"/>
                    <a:pt x="2553" y="1265"/>
                    <a:pt x="2569" y="1241"/>
                  </a:cubicBezTo>
                  <a:cubicBezTo>
                    <a:pt x="2584" y="1217"/>
                    <a:pt x="2608" y="1225"/>
                    <a:pt x="2608" y="1225"/>
                  </a:cubicBezTo>
                  <a:cubicBezTo>
                    <a:pt x="2608" y="371"/>
                    <a:pt x="2608" y="371"/>
                    <a:pt x="2608" y="371"/>
                  </a:cubicBezTo>
                  <a:cubicBezTo>
                    <a:pt x="2608" y="371"/>
                    <a:pt x="2577" y="356"/>
                    <a:pt x="2553" y="356"/>
                  </a:cubicBezTo>
                  <a:cubicBezTo>
                    <a:pt x="2530" y="356"/>
                    <a:pt x="2506" y="347"/>
                    <a:pt x="2506" y="316"/>
                  </a:cubicBezTo>
                  <a:cubicBezTo>
                    <a:pt x="2506" y="276"/>
                    <a:pt x="2498" y="276"/>
                    <a:pt x="2483" y="261"/>
                  </a:cubicBezTo>
                  <a:cubicBezTo>
                    <a:pt x="2467" y="245"/>
                    <a:pt x="2475" y="213"/>
                    <a:pt x="2506" y="197"/>
                  </a:cubicBezTo>
                  <a:cubicBezTo>
                    <a:pt x="2530" y="190"/>
                    <a:pt x="2553" y="134"/>
                    <a:pt x="2561" y="95"/>
                  </a:cubicBezTo>
                  <a:cubicBezTo>
                    <a:pt x="1945" y="110"/>
                    <a:pt x="317" y="16"/>
                    <a:pt x="95" y="0"/>
                  </a:cubicBezTo>
                  <a:cubicBezTo>
                    <a:pt x="64" y="435"/>
                    <a:pt x="64" y="435"/>
                    <a:pt x="64" y="435"/>
                  </a:cubicBezTo>
                  <a:cubicBezTo>
                    <a:pt x="0" y="1375"/>
                    <a:pt x="0" y="1375"/>
                    <a:pt x="0" y="1375"/>
                  </a:cubicBezTo>
                  <a:cubicBezTo>
                    <a:pt x="222" y="1391"/>
                    <a:pt x="1542" y="1486"/>
                    <a:pt x="1921" y="1470"/>
                  </a:cubicBezTo>
                </a:path>
              </a:pathLst>
            </a:custGeom>
            <a:solidFill>
              <a:schemeClr val="accent6"/>
            </a:solidFill>
            <a:ln>
              <a:solidFill>
                <a:schemeClr val="bg2"/>
              </a:solidFill>
            </a:ln>
            <a:effectLst/>
          </p:spPr>
          <p:txBody>
            <a:bodyPr wrap="none" anchor="ctr"/>
            <a:lstStyle/>
            <a:p>
              <a:endParaRPr lang="en-US"/>
            </a:p>
          </p:txBody>
        </p:sp>
        <p:sp>
          <p:nvSpPr>
            <p:cNvPr id="43" name="Freeform 331"/>
            <p:cNvSpPr>
              <a:spLocks noChangeArrowheads="1"/>
            </p:cNvSpPr>
            <p:nvPr/>
          </p:nvSpPr>
          <p:spPr bwMode="auto">
            <a:xfrm>
              <a:off x="3233060" y="2501494"/>
              <a:ext cx="949374" cy="541207"/>
            </a:xfrm>
            <a:custGeom>
              <a:avLst/>
              <a:gdLst>
                <a:gd name="T0" fmla="*/ 2592 w 2633"/>
                <a:gd name="T1" fmla="*/ 1731 h 1732"/>
                <a:gd name="T2" fmla="*/ 2538 w 2633"/>
                <a:gd name="T3" fmla="*/ 1668 h 1732"/>
                <a:gd name="T4" fmla="*/ 2372 w 2633"/>
                <a:gd name="T5" fmla="*/ 1581 h 1732"/>
                <a:gd name="T6" fmla="*/ 2324 w 2633"/>
                <a:gd name="T7" fmla="*/ 1541 h 1732"/>
                <a:gd name="T8" fmla="*/ 2206 w 2633"/>
                <a:gd name="T9" fmla="*/ 1533 h 1732"/>
                <a:gd name="T10" fmla="*/ 2119 w 2633"/>
                <a:gd name="T11" fmla="*/ 1557 h 1732"/>
                <a:gd name="T12" fmla="*/ 2087 w 2633"/>
                <a:gd name="T13" fmla="*/ 1597 h 1732"/>
                <a:gd name="T14" fmla="*/ 2072 w 2633"/>
                <a:gd name="T15" fmla="*/ 1581 h 1732"/>
                <a:gd name="T16" fmla="*/ 1977 w 2633"/>
                <a:gd name="T17" fmla="*/ 1526 h 1732"/>
                <a:gd name="T18" fmla="*/ 1913 w 2633"/>
                <a:gd name="T19" fmla="*/ 1470 h 1732"/>
                <a:gd name="T20" fmla="*/ 1803 w 2633"/>
                <a:gd name="T21" fmla="*/ 1470 h 1732"/>
                <a:gd name="T22" fmla="*/ 0 w 2633"/>
                <a:gd name="T23" fmla="*/ 1375 h 1732"/>
                <a:gd name="T24" fmla="*/ 95 w 2633"/>
                <a:gd name="T25" fmla="*/ 0 h 1732"/>
                <a:gd name="T26" fmla="*/ 2435 w 2633"/>
                <a:gd name="T27" fmla="*/ 95 h 1732"/>
                <a:gd name="T28" fmla="*/ 2569 w 2633"/>
                <a:gd name="T29" fmla="*/ 95 h 1732"/>
                <a:gd name="T30" fmla="*/ 2506 w 2633"/>
                <a:gd name="T31" fmla="*/ 205 h 1732"/>
                <a:gd name="T32" fmla="*/ 2483 w 2633"/>
                <a:gd name="T33" fmla="*/ 261 h 1732"/>
                <a:gd name="T34" fmla="*/ 2514 w 2633"/>
                <a:gd name="T35" fmla="*/ 316 h 1732"/>
                <a:gd name="T36" fmla="*/ 2608 w 2633"/>
                <a:gd name="T37" fmla="*/ 371 h 1732"/>
                <a:gd name="T38" fmla="*/ 2608 w 2633"/>
                <a:gd name="T39" fmla="*/ 1233 h 1732"/>
                <a:gd name="T40" fmla="*/ 2600 w 2633"/>
                <a:gd name="T41" fmla="*/ 1225 h 1732"/>
                <a:gd name="T42" fmla="*/ 2577 w 2633"/>
                <a:gd name="T43" fmla="*/ 1280 h 1732"/>
                <a:gd name="T44" fmla="*/ 2561 w 2633"/>
                <a:gd name="T45" fmla="*/ 1336 h 1732"/>
                <a:gd name="T46" fmla="*/ 2592 w 2633"/>
                <a:gd name="T47" fmla="*/ 1367 h 1732"/>
                <a:gd name="T48" fmla="*/ 2624 w 2633"/>
                <a:gd name="T49" fmla="*/ 1399 h 1732"/>
                <a:gd name="T50" fmla="*/ 2608 w 2633"/>
                <a:gd name="T51" fmla="*/ 1446 h 1732"/>
                <a:gd name="T52" fmla="*/ 2577 w 2633"/>
                <a:gd name="T53" fmla="*/ 1533 h 1732"/>
                <a:gd name="T54" fmla="*/ 2561 w 2633"/>
                <a:gd name="T55" fmla="*/ 1604 h 1732"/>
                <a:gd name="T56" fmla="*/ 2632 w 2633"/>
                <a:gd name="T57" fmla="*/ 1723 h 1732"/>
                <a:gd name="T58" fmla="*/ 2624 w 2633"/>
                <a:gd name="T59" fmla="*/ 1731 h 1732"/>
                <a:gd name="T60" fmla="*/ 2592 w 2633"/>
                <a:gd name="T61" fmla="*/ 1731 h 1732"/>
                <a:gd name="T62" fmla="*/ 2261 w 2633"/>
                <a:gd name="T63" fmla="*/ 1526 h 1732"/>
                <a:gd name="T64" fmla="*/ 2340 w 2633"/>
                <a:gd name="T65" fmla="*/ 1557 h 1732"/>
                <a:gd name="T66" fmla="*/ 2483 w 2633"/>
                <a:gd name="T67" fmla="*/ 1620 h 1732"/>
                <a:gd name="T68" fmla="*/ 2553 w 2633"/>
                <a:gd name="T69" fmla="*/ 1676 h 1732"/>
                <a:gd name="T70" fmla="*/ 2600 w 2633"/>
                <a:gd name="T71" fmla="*/ 1723 h 1732"/>
                <a:gd name="T72" fmla="*/ 2592 w 2633"/>
                <a:gd name="T73" fmla="*/ 1652 h 1732"/>
                <a:gd name="T74" fmla="*/ 2538 w 2633"/>
                <a:gd name="T75" fmla="*/ 1565 h 1732"/>
                <a:gd name="T76" fmla="*/ 2600 w 2633"/>
                <a:gd name="T77" fmla="*/ 1486 h 1732"/>
                <a:gd name="T78" fmla="*/ 2608 w 2633"/>
                <a:gd name="T79" fmla="*/ 1415 h 1732"/>
                <a:gd name="T80" fmla="*/ 2592 w 2633"/>
                <a:gd name="T81" fmla="*/ 1375 h 1732"/>
                <a:gd name="T82" fmla="*/ 2577 w 2633"/>
                <a:gd name="T83" fmla="*/ 1367 h 1732"/>
                <a:gd name="T84" fmla="*/ 2569 w 2633"/>
                <a:gd name="T85" fmla="*/ 1320 h 1732"/>
                <a:gd name="T86" fmla="*/ 2569 w 2633"/>
                <a:gd name="T87" fmla="*/ 1241 h 1732"/>
                <a:gd name="T88" fmla="*/ 2600 w 2633"/>
                <a:gd name="T89" fmla="*/ 371 h 1732"/>
                <a:gd name="T90" fmla="*/ 2506 w 2633"/>
                <a:gd name="T91" fmla="*/ 316 h 1732"/>
                <a:gd name="T92" fmla="*/ 2483 w 2633"/>
                <a:gd name="T93" fmla="*/ 269 h 1732"/>
                <a:gd name="T94" fmla="*/ 2498 w 2633"/>
                <a:gd name="T95" fmla="*/ 197 h 1732"/>
                <a:gd name="T96" fmla="*/ 2435 w 2633"/>
                <a:gd name="T97" fmla="*/ 103 h 1732"/>
                <a:gd name="T98" fmla="*/ 71 w 2633"/>
                <a:gd name="T99" fmla="*/ 435 h 1732"/>
                <a:gd name="T100" fmla="*/ 1803 w 2633"/>
                <a:gd name="T101" fmla="*/ 1462 h 1732"/>
                <a:gd name="T102" fmla="*/ 1921 w 2633"/>
                <a:gd name="T103" fmla="*/ 1462 h 1732"/>
                <a:gd name="T104" fmla="*/ 1921 w 2633"/>
                <a:gd name="T105" fmla="*/ 1462 h 1732"/>
                <a:gd name="T106" fmla="*/ 1977 w 2633"/>
                <a:gd name="T107" fmla="*/ 1518 h 1732"/>
                <a:gd name="T108" fmla="*/ 2080 w 2633"/>
                <a:gd name="T109" fmla="*/ 1581 h 1732"/>
                <a:gd name="T110" fmla="*/ 2087 w 2633"/>
                <a:gd name="T111" fmla="*/ 1589 h 1732"/>
                <a:gd name="T112" fmla="*/ 2111 w 2633"/>
                <a:gd name="T113" fmla="*/ 1549 h 1732"/>
                <a:gd name="T114" fmla="*/ 2198 w 2633"/>
                <a:gd name="T115" fmla="*/ 1526 h 1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33" h="1732">
                  <a:moveTo>
                    <a:pt x="2592" y="1731"/>
                  </a:moveTo>
                  <a:lnTo>
                    <a:pt x="2592" y="1731"/>
                  </a:lnTo>
                  <a:cubicBezTo>
                    <a:pt x="2569" y="1731"/>
                    <a:pt x="2553" y="1699"/>
                    <a:pt x="2546" y="1684"/>
                  </a:cubicBezTo>
                  <a:cubicBezTo>
                    <a:pt x="2546" y="1676"/>
                    <a:pt x="2538" y="1668"/>
                    <a:pt x="2538" y="1668"/>
                  </a:cubicBezTo>
                  <a:cubicBezTo>
                    <a:pt x="2530" y="1668"/>
                    <a:pt x="2498" y="1644"/>
                    <a:pt x="2483" y="1620"/>
                  </a:cubicBezTo>
                  <a:cubicBezTo>
                    <a:pt x="2467" y="1597"/>
                    <a:pt x="2404" y="1581"/>
                    <a:pt x="2372" y="1581"/>
                  </a:cubicBezTo>
                  <a:cubicBezTo>
                    <a:pt x="2348" y="1581"/>
                    <a:pt x="2348" y="1573"/>
                    <a:pt x="2340" y="1557"/>
                  </a:cubicBezTo>
                  <a:cubicBezTo>
                    <a:pt x="2332" y="1557"/>
                    <a:pt x="2332" y="1549"/>
                    <a:pt x="2324" y="1541"/>
                  </a:cubicBezTo>
                  <a:cubicBezTo>
                    <a:pt x="2324" y="1541"/>
                    <a:pt x="2309" y="1533"/>
                    <a:pt x="2261" y="1533"/>
                  </a:cubicBezTo>
                  <a:cubicBezTo>
                    <a:pt x="2245" y="1533"/>
                    <a:pt x="2222" y="1533"/>
                    <a:pt x="2206" y="1533"/>
                  </a:cubicBezTo>
                  <a:cubicBezTo>
                    <a:pt x="2182" y="1533"/>
                    <a:pt x="2158" y="1533"/>
                    <a:pt x="2151" y="1533"/>
                  </a:cubicBezTo>
                  <a:cubicBezTo>
                    <a:pt x="2135" y="1533"/>
                    <a:pt x="2127" y="1541"/>
                    <a:pt x="2119" y="1557"/>
                  </a:cubicBezTo>
                  <a:lnTo>
                    <a:pt x="2111" y="1565"/>
                  </a:lnTo>
                  <a:cubicBezTo>
                    <a:pt x="2095" y="1589"/>
                    <a:pt x="2095" y="1597"/>
                    <a:pt x="2087" y="1597"/>
                  </a:cubicBezTo>
                  <a:cubicBezTo>
                    <a:pt x="2080" y="1597"/>
                    <a:pt x="2080" y="1589"/>
                    <a:pt x="2080" y="1589"/>
                  </a:cubicBezTo>
                  <a:cubicBezTo>
                    <a:pt x="2080" y="1589"/>
                    <a:pt x="2072" y="1589"/>
                    <a:pt x="2072" y="1581"/>
                  </a:cubicBezTo>
                  <a:cubicBezTo>
                    <a:pt x="2064" y="1573"/>
                    <a:pt x="2048" y="1557"/>
                    <a:pt x="2016" y="1557"/>
                  </a:cubicBezTo>
                  <a:cubicBezTo>
                    <a:pt x="1985" y="1549"/>
                    <a:pt x="1977" y="1541"/>
                    <a:pt x="1977" y="1526"/>
                  </a:cubicBezTo>
                  <a:cubicBezTo>
                    <a:pt x="1969" y="1518"/>
                    <a:pt x="1969" y="1518"/>
                    <a:pt x="1969" y="1518"/>
                  </a:cubicBezTo>
                  <a:cubicBezTo>
                    <a:pt x="1961" y="1502"/>
                    <a:pt x="1921" y="1478"/>
                    <a:pt x="1913" y="1470"/>
                  </a:cubicBezTo>
                  <a:cubicBezTo>
                    <a:pt x="1890" y="1470"/>
                    <a:pt x="1850" y="1470"/>
                    <a:pt x="1803" y="1470"/>
                  </a:cubicBezTo>
                  <a:lnTo>
                    <a:pt x="1803" y="1470"/>
                  </a:lnTo>
                  <a:cubicBezTo>
                    <a:pt x="1328" y="1470"/>
                    <a:pt x="222" y="1391"/>
                    <a:pt x="0" y="1375"/>
                  </a:cubicBezTo>
                  <a:lnTo>
                    <a:pt x="0" y="1375"/>
                  </a:lnTo>
                  <a:cubicBezTo>
                    <a:pt x="64" y="435"/>
                    <a:pt x="64" y="435"/>
                    <a:pt x="64" y="435"/>
                  </a:cubicBezTo>
                  <a:cubicBezTo>
                    <a:pt x="95" y="0"/>
                    <a:pt x="95" y="0"/>
                    <a:pt x="95" y="0"/>
                  </a:cubicBezTo>
                  <a:lnTo>
                    <a:pt x="95" y="0"/>
                  </a:lnTo>
                  <a:cubicBezTo>
                    <a:pt x="269" y="8"/>
                    <a:pt x="1747" y="95"/>
                    <a:pt x="2435" y="95"/>
                  </a:cubicBezTo>
                  <a:cubicBezTo>
                    <a:pt x="2483" y="95"/>
                    <a:pt x="2522" y="95"/>
                    <a:pt x="2561" y="95"/>
                  </a:cubicBezTo>
                  <a:cubicBezTo>
                    <a:pt x="2569" y="95"/>
                    <a:pt x="2569" y="95"/>
                    <a:pt x="2569" y="95"/>
                  </a:cubicBezTo>
                  <a:lnTo>
                    <a:pt x="2569" y="95"/>
                  </a:lnTo>
                  <a:cubicBezTo>
                    <a:pt x="2553" y="142"/>
                    <a:pt x="2530" y="190"/>
                    <a:pt x="2506" y="205"/>
                  </a:cubicBezTo>
                  <a:cubicBezTo>
                    <a:pt x="2491" y="213"/>
                    <a:pt x="2483" y="221"/>
                    <a:pt x="2483" y="237"/>
                  </a:cubicBezTo>
                  <a:cubicBezTo>
                    <a:pt x="2475" y="245"/>
                    <a:pt x="2483" y="253"/>
                    <a:pt x="2483" y="261"/>
                  </a:cubicBezTo>
                  <a:cubicBezTo>
                    <a:pt x="2491" y="269"/>
                    <a:pt x="2491" y="269"/>
                    <a:pt x="2498" y="269"/>
                  </a:cubicBezTo>
                  <a:cubicBezTo>
                    <a:pt x="2506" y="276"/>
                    <a:pt x="2514" y="284"/>
                    <a:pt x="2514" y="316"/>
                  </a:cubicBezTo>
                  <a:cubicBezTo>
                    <a:pt x="2514" y="347"/>
                    <a:pt x="2530" y="347"/>
                    <a:pt x="2553" y="347"/>
                  </a:cubicBezTo>
                  <a:cubicBezTo>
                    <a:pt x="2577" y="347"/>
                    <a:pt x="2608" y="371"/>
                    <a:pt x="2608" y="371"/>
                  </a:cubicBezTo>
                  <a:lnTo>
                    <a:pt x="2608" y="371"/>
                  </a:lnTo>
                  <a:cubicBezTo>
                    <a:pt x="2608" y="1233"/>
                    <a:pt x="2608" y="1233"/>
                    <a:pt x="2608" y="1233"/>
                  </a:cubicBezTo>
                  <a:cubicBezTo>
                    <a:pt x="2600" y="1225"/>
                    <a:pt x="2600" y="1225"/>
                    <a:pt x="2600" y="1225"/>
                  </a:cubicBezTo>
                  <a:lnTo>
                    <a:pt x="2600" y="1225"/>
                  </a:lnTo>
                  <a:cubicBezTo>
                    <a:pt x="2592" y="1225"/>
                    <a:pt x="2584" y="1233"/>
                    <a:pt x="2577" y="1241"/>
                  </a:cubicBezTo>
                  <a:cubicBezTo>
                    <a:pt x="2569" y="1257"/>
                    <a:pt x="2569" y="1265"/>
                    <a:pt x="2577" y="1280"/>
                  </a:cubicBezTo>
                  <a:cubicBezTo>
                    <a:pt x="2584" y="1296"/>
                    <a:pt x="2584" y="1312"/>
                    <a:pt x="2569" y="1328"/>
                  </a:cubicBezTo>
                  <a:cubicBezTo>
                    <a:pt x="2561" y="1328"/>
                    <a:pt x="2561" y="1336"/>
                    <a:pt x="2561" y="1336"/>
                  </a:cubicBezTo>
                  <a:cubicBezTo>
                    <a:pt x="2561" y="1344"/>
                    <a:pt x="2569" y="1352"/>
                    <a:pt x="2584" y="1360"/>
                  </a:cubicBezTo>
                  <a:cubicBezTo>
                    <a:pt x="2584" y="1360"/>
                    <a:pt x="2584" y="1367"/>
                    <a:pt x="2592" y="1367"/>
                  </a:cubicBezTo>
                  <a:lnTo>
                    <a:pt x="2592" y="1367"/>
                  </a:lnTo>
                  <a:cubicBezTo>
                    <a:pt x="2608" y="1383"/>
                    <a:pt x="2624" y="1383"/>
                    <a:pt x="2624" y="1399"/>
                  </a:cubicBezTo>
                  <a:cubicBezTo>
                    <a:pt x="2624" y="1407"/>
                    <a:pt x="2624" y="1407"/>
                    <a:pt x="2616" y="1415"/>
                  </a:cubicBezTo>
                  <a:cubicBezTo>
                    <a:pt x="2608" y="1431"/>
                    <a:pt x="2608" y="1431"/>
                    <a:pt x="2608" y="1446"/>
                  </a:cubicBezTo>
                  <a:cubicBezTo>
                    <a:pt x="2608" y="1454"/>
                    <a:pt x="2608" y="1462"/>
                    <a:pt x="2608" y="1486"/>
                  </a:cubicBezTo>
                  <a:cubicBezTo>
                    <a:pt x="2600" y="1518"/>
                    <a:pt x="2584" y="1526"/>
                    <a:pt x="2577" y="1533"/>
                  </a:cubicBezTo>
                  <a:cubicBezTo>
                    <a:pt x="2561" y="1541"/>
                    <a:pt x="2553" y="1549"/>
                    <a:pt x="2546" y="1573"/>
                  </a:cubicBezTo>
                  <a:cubicBezTo>
                    <a:pt x="2538" y="1589"/>
                    <a:pt x="2546" y="1597"/>
                    <a:pt x="2561" y="1604"/>
                  </a:cubicBezTo>
                  <a:cubicBezTo>
                    <a:pt x="2569" y="1613"/>
                    <a:pt x="2584" y="1620"/>
                    <a:pt x="2600" y="1644"/>
                  </a:cubicBezTo>
                  <a:cubicBezTo>
                    <a:pt x="2616" y="1676"/>
                    <a:pt x="2624" y="1699"/>
                    <a:pt x="2632" y="1723"/>
                  </a:cubicBezTo>
                  <a:cubicBezTo>
                    <a:pt x="2632" y="1731"/>
                    <a:pt x="2632" y="1731"/>
                    <a:pt x="2632" y="1731"/>
                  </a:cubicBezTo>
                  <a:cubicBezTo>
                    <a:pt x="2624" y="1731"/>
                    <a:pt x="2624" y="1731"/>
                    <a:pt x="2624" y="1731"/>
                  </a:cubicBezTo>
                  <a:cubicBezTo>
                    <a:pt x="2616" y="1731"/>
                    <a:pt x="2608" y="1731"/>
                    <a:pt x="2600" y="1731"/>
                  </a:cubicBezTo>
                  <a:cubicBezTo>
                    <a:pt x="2600" y="1731"/>
                    <a:pt x="2600" y="1731"/>
                    <a:pt x="2592" y="1731"/>
                  </a:cubicBezTo>
                  <a:close/>
                  <a:moveTo>
                    <a:pt x="2261" y="1526"/>
                  </a:moveTo>
                  <a:lnTo>
                    <a:pt x="2261" y="1526"/>
                  </a:lnTo>
                  <a:cubicBezTo>
                    <a:pt x="2301" y="1526"/>
                    <a:pt x="2324" y="1526"/>
                    <a:pt x="2332" y="1533"/>
                  </a:cubicBezTo>
                  <a:cubicBezTo>
                    <a:pt x="2340" y="1541"/>
                    <a:pt x="2340" y="1549"/>
                    <a:pt x="2340" y="1557"/>
                  </a:cubicBezTo>
                  <a:cubicBezTo>
                    <a:pt x="2348" y="1565"/>
                    <a:pt x="2356" y="1573"/>
                    <a:pt x="2372" y="1573"/>
                  </a:cubicBezTo>
                  <a:cubicBezTo>
                    <a:pt x="2404" y="1573"/>
                    <a:pt x="2467" y="1589"/>
                    <a:pt x="2483" y="1620"/>
                  </a:cubicBezTo>
                  <a:cubicBezTo>
                    <a:pt x="2506" y="1644"/>
                    <a:pt x="2530" y="1660"/>
                    <a:pt x="2538" y="1660"/>
                  </a:cubicBezTo>
                  <a:cubicBezTo>
                    <a:pt x="2546" y="1660"/>
                    <a:pt x="2545" y="1668"/>
                    <a:pt x="2553" y="1676"/>
                  </a:cubicBezTo>
                  <a:cubicBezTo>
                    <a:pt x="2561" y="1699"/>
                    <a:pt x="2577" y="1723"/>
                    <a:pt x="2592" y="1723"/>
                  </a:cubicBezTo>
                  <a:cubicBezTo>
                    <a:pt x="2600" y="1723"/>
                    <a:pt x="2600" y="1723"/>
                    <a:pt x="2600" y="1723"/>
                  </a:cubicBezTo>
                  <a:cubicBezTo>
                    <a:pt x="2608" y="1723"/>
                    <a:pt x="2616" y="1723"/>
                    <a:pt x="2624" y="1723"/>
                  </a:cubicBezTo>
                  <a:cubicBezTo>
                    <a:pt x="2616" y="1699"/>
                    <a:pt x="2608" y="1676"/>
                    <a:pt x="2592" y="1652"/>
                  </a:cubicBezTo>
                  <a:cubicBezTo>
                    <a:pt x="2584" y="1628"/>
                    <a:pt x="2569" y="1613"/>
                    <a:pt x="2553" y="1604"/>
                  </a:cubicBezTo>
                  <a:cubicBezTo>
                    <a:pt x="2538" y="1597"/>
                    <a:pt x="2530" y="1589"/>
                    <a:pt x="2538" y="1565"/>
                  </a:cubicBezTo>
                  <a:cubicBezTo>
                    <a:pt x="2546" y="1549"/>
                    <a:pt x="2561" y="1541"/>
                    <a:pt x="2569" y="1533"/>
                  </a:cubicBezTo>
                  <a:cubicBezTo>
                    <a:pt x="2584" y="1518"/>
                    <a:pt x="2592" y="1510"/>
                    <a:pt x="2600" y="1486"/>
                  </a:cubicBezTo>
                  <a:cubicBezTo>
                    <a:pt x="2600" y="1462"/>
                    <a:pt x="2600" y="1454"/>
                    <a:pt x="2600" y="1446"/>
                  </a:cubicBezTo>
                  <a:cubicBezTo>
                    <a:pt x="2600" y="1431"/>
                    <a:pt x="2600" y="1423"/>
                    <a:pt x="2608" y="1415"/>
                  </a:cubicBezTo>
                  <a:cubicBezTo>
                    <a:pt x="2616" y="1407"/>
                    <a:pt x="2616" y="1399"/>
                    <a:pt x="2616" y="1399"/>
                  </a:cubicBezTo>
                  <a:cubicBezTo>
                    <a:pt x="2616" y="1391"/>
                    <a:pt x="2608" y="1383"/>
                    <a:pt x="2592" y="1375"/>
                  </a:cubicBezTo>
                  <a:cubicBezTo>
                    <a:pt x="2584" y="1375"/>
                    <a:pt x="2584" y="1375"/>
                    <a:pt x="2584" y="1375"/>
                  </a:cubicBezTo>
                  <a:cubicBezTo>
                    <a:pt x="2584" y="1367"/>
                    <a:pt x="2584" y="1367"/>
                    <a:pt x="2577" y="1367"/>
                  </a:cubicBezTo>
                  <a:cubicBezTo>
                    <a:pt x="2561" y="1360"/>
                    <a:pt x="2553" y="1352"/>
                    <a:pt x="2553" y="1336"/>
                  </a:cubicBezTo>
                  <a:cubicBezTo>
                    <a:pt x="2553" y="1328"/>
                    <a:pt x="2553" y="1328"/>
                    <a:pt x="2569" y="1320"/>
                  </a:cubicBezTo>
                  <a:cubicBezTo>
                    <a:pt x="2577" y="1312"/>
                    <a:pt x="2577" y="1304"/>
                    <a:pt x="2569" y="1280"/>
                  </a:cubicBezTo>
                  <a:cubicBezTo>
                    <a:pt x="2561" y="1265"/>
                    <a:pt x="2561" y="1249"/>
                    <a:pt x="2569" y="1241"/>
                  </a:cubicBezTo>
                  <a:cubicBezTo>
                    <a:pt x="2584" y="1217"/>
                    <a:pt x="2592" y="1217"/>
                    <a:pt x="2600" y="1217"/>
                  </a:cubicBezTo>
                  <a:cubicBezTo>
                    <a:pt x="2600" y="371"/>
                    <a:pt x="2600" y="371"/>
                    <a:pt x="2600" y="371"/>
                  </a:cubicBezTo>
                  <a:cubicBezTo>
                    <a:pt x="2592" y="371"/>
                    <a:pt x="2569" y="356"/>
                    <a:pt x="2553" y="356"/>
                  </a:cubicBezTo>
                  <a:cubicBezTo>
                    <a:pt x="2530" y="356"/>
                    <a:pt x="2506" y="347"/>
                    <a:pt x="2506" y="316"/>
                  </a:cubicBezTo>
                  <a:cubicBezTo>
                    <a:pt x="2506" y="292"/>
                    <a:pt x="2498" y="284"/>
                    <a:pt x="2491" y="276"/>
                  </a:cubicBezTo>
                  <a:lnTo>
                    <a:pt x="2483" y="269"/>
                  </a:lnTo>
                  <a:cubicBezTo>
                    <a:pt x="2475" y="253"/>
                    <a:pt x="2475" y="245"/>
                    <a:pt x="2475" y="229"/>
                  </a:cubicBezTo>
                  <a:cubicBezTo>
                    <a:pt x="2475" y="221"/>
                    <a:pt x="2491" y="205"/>
                    <a:pt x="2498" y="197"/>
                  </a:cubicBezTo>
                  <a:cubicBezTo>
                    <a:pt x="2522" y="182"/>
                    <a:pt x="2546" y="142"/>
                    <a:pt x="2561" y="95"/>
                  </a:cubicBezTo>
                  <a:cubicBezTo>
                    <a:pt x="2522" y="103"/>
                    <a:pt x="2483" y="103"/>
                    <a:pt x="2435" y="103"/>
                  </a:cubicBezTo>
                  <a:cubicBezTo>
                    <a:pt x="1755" y="103"/>
                    <a:pt x="285" y="16"/>
                    <a:pt x="103" y="8"/>
                  </a:cubicBezTo>
                  <a:cubicBezTo>
                    <a:pt x="71" y="435"/>
                    <a:pt x="71" y="435"/>
                    <a:pt x="71" y="435"/>
                  </a:cubicBezTo>
                  <a:cubicBezTo>
                    <a:pt x="8" y="1367"/>
                    <a:pt x="8" y="1367"/>
                    <a:pt x="8" y="1367"/>
                  </a:cubicBezTo>
                  <a:cubicBezTo>
                    <a:pt x="229" y="1383"/>
                    <a:pt x="1328" y="1462"/>
                    <a:pt x="1803" y="1462"/>
                  </a:cubicBezTo>
                  <a:lnTo>
                    <a:pt x="1803" y="1462"/>
                  </a:lnTo>
                  <a:cubicBezTo>
                    <a:pt x="1850" y="1462"/>
                    <a:pt x="1890" y="1462"/>
                    <a:pt x="1921" y="1462"/>
                  </a:cubicBezTo>
                  <a:lnTo>
                    <a:pt x="1921" y="1462"/>
                  </a:lnTo>
                  <a:lnTo>
                    <a:pt x="1921" y="1462"/>
                  </a:lnTo>
                  <a:cubicBezTo>
                    <a:pt x="1921" y="1462"/>
                    <a:pt x="1969" y="1494"/>
                    <a:pt x="1977" y="1518"/>
                  </a:cubicBezTo>
                  <a:lnTo>
                    <a:pt x="1977" y="1518"/>
                  </a:lnTo>
                  <a:cubicBezTo>
                    <a:pt x="1985" y="1533"/>
                    <a:pt x="1992" y="1541"/>
                    <a:pt x="2024" y="1549"/>
                  </a:cubicBezTo>
                  <a:cubicBezTo>
                    <a:pt x="2056" y="1549"/>
                    <a:pt x="2072" y="1565"/>
                    <a:pt x="2080" y="1581"/>
                  </a:cubicBezTo>
                  <a:lnTo>
                    <a:pt x="2080" y="1581"/>
                  </a:lnTo>
                  <a:lnTo>
                    <a:pt x="2087" y="1589"/>
                  </a:lnTo>
                  <a:cubicBezTo>
                    <a:pt x="2087" y="1589"/>
                    <a:pt x="2095" y="1573"/>
                    <a:pt x="2103" y="1565"/>
                  </a:cubicBezTo>
                  <a:cubicBezTo>
                    <a:pt x="2111" y="1557"/>
                    <a:pt x="2111" y="1557"/>
                    <a:pt x="2111" y="1549"/>
                  </a:cubicBezTo>
                  <a:cubicBezTo>
                    <a:pt x="2127" y="1533"/>
                    <a:pt x="2127" y="1526"/>
                    <a:pt x="2151" y="1526"/>
                  </a:cubicBezTo>
                  <a:cubicBezTo>
                    <a:pt x="2158" y="1526"/>
                    <a:pt x="2182" y="1526"/>
                    <a:pt x="2198" y="1526"/>
                  </a:cubicBezTo>
                  <a:cubicBezTo>
                    <a:pt x="2222" y="1526"/>
                    <a:pt x="2245" y="1526"/>
                    <a:pt x="2261" y="1526"/>
                  </a:cubicBezTo>
                  <a:close/>
                </a:path>
              </a:pathLst>
            </a:custGeom>
            <a:solidFill>
              <a:schemeClr val="accent6"/>
            </a:solidFill>
            <a:ln>
              <a:solidFill>
                <a:schemeClr val="bg2"/>
              </a:solidFill>
            </a:ln>
            <a:effectLst/>
          </p:spPr>
          <p:txBody>
            <a:bodyPr wrap="none" anchor="ctr"/>
            <a:lstStyle/>
            <a:p>
              <a:endParaRPr lang="en-US"/>
            </a:p>
          </p:txBody>
        </p:sp>
        <p:sp>
          <p:nvSpPr>
            <p:cNvPr id="44" name="Freeform 350"/>
            <p:cNvSpPr>
              <a:spLocks noChangeArrowheads="1"/>
            </p:cNvSpPr>
            <p:nvPr/>
          </p:nvSpPr>
          <p:spPr bwMode="auto">
            <a:xfrm>
              <a:off x="3210797" y="2931155"/>
              <a:ext cx="1117940" cy="484745"/>
            </a:xfrm>
            <a:custGeom>
              <a:avLst/>
              <a:gdLst>
                <a:gd name="T0" fmla="*/ 3098 w 3099"/>
                <a:gd name="T1" fmla="*/ 1510 h 1551"/>
                <a:gd name="T2" fmla="*/ 3098 w 3099"/>
                <a:gd name="T3" fmla="*/ 1510 h 1551"/>
                <a:gd name="T4" fmla="*/ 3082 w 3099"/>
                <a:gd name="T5" fmla="*/ 1494 h 1551"/>
                <a:gd name="T6" fmla="*/ 3035 w 3099"/>
                <a:gd name="T7" fmla="*/ 1463 h 1551"/>
                <a:gd name="T8" fmla="*/ 3027 w 3099"/>
                <a:gd name="T9" fmla="*/ 1384 h 1551"/>
                <a:gd name="T10" fmla="*/ 2948 w 3099"/>
                <a:gd name="T11" fmla="*/ 1305 h 1551"/>
                <a:gd name="T12" fmla="*/ 2940 w 3099"/>
                <a:gd name="T13" fmla="*/ 1265 h 1551"/>
                <a:gd name="T14" fmla="*/ 2916 w 3099"/>
                <a:gd name="T15" fmla="*/ 1194 h 1551"/>
                <a:gd name="T16" fmla="*/ 2885 w 3099"/>
                <a:gd name="T17" fmla="*/ 1186 h 1551"/>
                <a:gd name="T18" fmla="*/ 2900 w 3099"/>
                <a:gd name="T19" fmla="*/ 1044 h 1551"/>
                <a:gd name="T20" fmla="*/ 2885 w 3099"/>
                <a:gd name="T21" fmla="*/ 988 h 1551"/>
                <a:gd name="T22" fmla="*/ 2885 w 3099"/>
                <a:gd name="T23" fmla="*/ 925 h 1551"/>
                <a:gd name="T24" fmla="*/ 2877 w 3099"/>
                <a:gd name="T25" fmla="*/ 878 h 1551"/>
                <a:gd name="T26" fmla="*/ 2853 w 3099"/>
                <a:gd name="T27" fmla="*/ 846 h 1551"/>
                <a:gd name="T28" fmla="*/ 2853 w 3099"/>
                <a:gd name="T29" fmla="*/ 807 h 1551"/>
                <a:gd name="T30" fmla="*/ 2821 w 3099"/>
                <a:gd name="T31" fmla="*/ 783 h 1551"/>
                <a:gd name="T32" fmla="*/ 2806 w 3099"/>
                <a:gd name="T33" fmla="*/ 767 h 1551"/>
                <a:gd name="T34" fmla="*/ 2790 w 3099"/>
                <a:gd name="T35" fmla="*/ 617 h 1551"/>
                <a:gd name="T36" fmla="*/ 2750 w 3099"/>
                <a:gd name="T37" fmla="*/ 530 h 1551"/>
                <a:gd name="T38" fmla="*/ 2719 w 3099"/>
                <a:gd name="T39" fmla="*/ 459 h 1551"/>
                <a:gd name="T40" fmla="*/ 2703 w 3099"/>
                <a:gd name="T41" fmla="*/ 380 h 1551"/>
                <a:gd name="T42" fmla="*/ 2687 w 3099"/>
                <a:gd name="T43" fmla="*/ 348 h 1551"/>
                <a:gd name="T44" fmla="*/ 2663 w 3099"/>
                <a:gd name="T45" fmla="*/ 348 h 1551"/>
                <a:gd name="T46" fmla="*/ 2601 w 3099"/>
                <a:gd name="T47" fmla="*/ 293 h 1551"/>
                <a:gd name="T48" fmla="*/ 2546 w 3099"/>
                <a:gd name="T49" fmla="*/ 245 h 1551"/>
                <a:gd name="T50" fmla="*/ 2435 w 3099"/>
                <a:gd name="T51" fmla="*/ 198 h 1551"/>
                <a:gd name="T52" fmla="*/ 2395 w 3099"/>
                <a:gd name="T53" fmla="*/ 166 h 1551"/>
                <a:gd name="T54" fmla="*/ 2214 w 3099"/>
                <a:gd name="T55" fmla="*/ 158 h 1551"/>
                <a:gd name="T56" fmla="*/ 2174 w 3099"/>
                <a:gd name="T57" fmla="*/ 190 h 1551"/>
                <a:gd name="T58" fmla="*/ 2143 w 3099"/>
                <a:gd name="T59" fmla="*/ 206 h 1551"/>
                <a:gd name="T60" fmla="*/ 2087 w 3099"/>
                <a:gd name="T61" fmla="*/ 174 h 1551"/>
                <a:gd name="T62" fmla="*/ 2040 w 3099"/>
                <a:gd name="T63" fmla="*/ 143 h 1551"/>
                <a:gd name="T64" fmla="*/ 1984 w 3099"/>
                <a:gd name="T65" fmla="*/ 95 h 1551"/>
                <a:gd name="T66" fmla="*/ 63 w 3099"/>
                <a:gd name="T67" fmla="*/ 0 h 1551"/>
                <a:gd name="T68" fmla="*/ 0 w 3099"/>
                <a:gd name="T69" fmla="*/ 957 h 1551"/>
                <a:gd name="T70" fmla="*/ 625 w 3099"/>
                <a:gd name="T71" fmla="*/ 981 h 1551"/>
                <a:gd name="T72" fmla="*/ 696 w 3099"/>
                <a:gd name="T73" fmla="*/ 1028 h 1551"/>
                <a:gd name="T74" fmla="*/ 680 w 3099"/>
                <a:gd name="T75" fmla="*/ 1463 h 1551"/>
                <a:gd name="T76" fmla="*/ 3098 w 3099"/>
                <a:gd name="T77" fmla="*/ 1510 h 1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99" h="1551">
                  <a:moveTo>
                    <a:pt x="3098" y="1510"/>
                  </a:moveTo>
                  <a:lnTo>
                    <a:pt x="3098" y="1510"/>
                  </a:lnTo>
                  <a:cubicBezTo>
                    <a:pt x="3090" y="1502"/>
                    <a:pt x="3082" y="1502"/>
                    <a:pt x="3082" y="1494"/>
                  </a:cubicBezTo>
                  <a:cubicBezTo>
                    <a:pt x="3066" y="1486"/>
                    <a:pt x="3035" y="1494"/>
                    <a:pt x="3035" y="1463"/>
                  </a:cubicBezTo>
                  <a:cubicBezTo>
                    <a:pt x="3035" y="1431"/>
                    <a:pt x="3059" y="1415"/>
                    <a:pt x="3027" y="1384"/>
                  </a:cubicBezTo>
                  <a:cubicBezTo>
                    <a:pt x="2987" y="1352"/>
                    <a:pt x="2956" y="1336"/>
                    <a:pt x="2948" y="1305"/>
                  </a:cubicBezTo>
                  <a:cubicBezTo>
                    <a:pt x="2940" y="1265"/>
                    <a:pt x="2964" y="1297"/>
                    <a:pt x="2940" y="1265"/>
                  </a:cubicBezTo>
                  <a:cubicBezTo>
                    <a:pt x="2924" y="1241"/>
                    <a:pt x="2932" y="1194"/>
                    <a:pt x="2916" y="1194"/>
                  </a:cubicBezTo>
                  <a:cubicBezTo>
                    <a:pt x="2900" y="1194"/>
                    <a:pt x="2885" y="1210"/>
                    <a:pt x="2885" y="1186"/>
                  </a:cubicBezTo>
                  <a:cubicBezTo>
                    <a:pt x="2885" y="1162"/>
                    <a:pt x="2932" y="1083"/>
                    <a:pt x="2900" y="1044"/>
                  </a:cubicBezTo>
                  <a:cubicBezTo>
                    <a:pt x="2877" y="1012"/>
                    <a:pt x="2869" y="1012"/>
                    <a:pt x="2885" y="988"/>
                  </a:cubicBezTo>
                  <a:cubicBezTo>
                    <a:pt x="2900" y="965"/>
                    <a:pt x="2900" y="933"/>
                    <a:pt x="2885" y="925"/>
                  </a:cubicBezTo>
                  <a:cubicBezTo>
                    <a:pt x="2877" y="917"/>
                    <a:pt x="2877" y="902"/>
                    <a:pt x="2877" y="878"/>
                  </a:cubicBezTo>
                  <a:cubicBezTo>
                    <a:pt x="2885" y="862"/>
                    <a:pt x="2853" y="870"/>
                    <a:pt x="2853" y="846"/>
                  </a:cubicBezTo>
                  <a:cubicBezTo>
                    <a:pt x="2861" y="830"/>
                    <a:pt x="2853" y="807"/>
                    <a:pt x="2853" y="807"/>
                  </a:cubicBezTo>
                  <a:cubicBezTo>
                    <a:pt x="2853" y="807"/>
                    <a:pt x="2845" y="775"/>
                    <a:pt x="2821" y="783"/>
                  </a:cubicBezTo>
                  <a:cubicBezTo>
                    <a:pt x="2806" y="783"/>
                    <a:pt x="2806" y="783"/>
                    <a:pt x="2806" y="767"/>
                  </a:cubicBezTo>
                  <a:cubicBezTo>
                    <a:pt x="2806" y="744"/>
                    <a:pt x="2813" y="649"/>
                    <a:pt x="2790" y="617"/>
                  </a:cubicBezTo>
                  <a:cubicBezTo>
                    <a:pt x="2758" y="585"/>
                    <a:pt x="2766" y="554"/>
                    <a:pt x="2750" y="530"/>
                  </a:cubicBezTo>
                  <a:cubicBezTo>
                    <a:pt x="2726" y="498"/>
                    <a:pt x="2734" y="491"/>
                    <a:pt x="2719" y="459"/>
                  </a:cubicBezTo>
                  <a:cubicBezTo>
                    <a:pt x="2703" y="427"/>
                    <a:pt x="2711" y="396"/>
                    <a:pt x="2703" y="380"/>
                  </a:cubicBezTo>
                  <a:cubicBezTo>
                    <a:pt x="2695" y="372"/>
                    <a:pt x="2695" y="364"/>
                    <a:pt x="2687" y="348"/>
                  </a:cubicBezTo>
                  <a:cubicBezTo>
                    <a:pt x="2679" y="348"/>
                    <a:pt x="2671" y="348"/>
                    <a:pt x="2663" y="348"/>
                  </a:cubicBezTo>
                  <a:cubicBezTo>
                    <a:pt x="2624" y="356"/>
                    <a:pt x="2609" y="293"/>
                    <a:pt x="2601" y="293"/>
                  </a:cubicBezTo>
                  <a:cubicBezTo>
                    <a:pt x="2593" y="293"/>
                    <a:pt x="2561" y="269"/>
                    <a:pt x="2546" y="245"/>
                  </a:cubicBezTo>
                  <a:cubicBezTo>
                    <a:pt x="2530" y="222"/>
                    <a:pt x="2467" y="198"/>
                    <a:pt x="2435" y="198"/>
                  </a:cubicBezTo>
                  <a:cubicBezTo>
                    <a:pt x="2403" y="198"/>
                    <a:pt x="2411" y="182"/>
                    <a:pt x="2395" y="166"/>
                  </a:cubicBezTo>
                  <a:cubicBezTo>
                    <a:pt x="2372" y="143"/>
                    <a:pt x="2245" y="158"/>
                    <a:pt x="2214" y="158"/>
                  </a:cubicBezTo>
                  <a:cubicBezTo>
                    <a:pt x="2190" y="151"/>
                    <a:pt x="2190" y="166"/>
                    <a:pt x="2174" y="190"/>
                  </a:cubicBezTo>
                  <a:cubicBezTo>
                    <a:pt x="2150" y="214"/>
                    <a:pt x="2150" y="222"/>
                    <a:pt x="2143" y="206"/>
                  </a:cubicBezTo>
                  <a:cubicBezTo>
                    <a:pt x="2135" y="198"/>
                    <a:pt x="2119" y="182"/>
                    <a:pt x="2087" y="174"/>
                  </a:cubicBezTo>
                  <a:cubicBezTo>
                    <a:pt x="2048" y="174"/>
                    <a:pt x="2048" y="158"/>
                    <a:pt x="2040" y="143"/>
                  </a:cubicBezTo>
                  <a:cubicBezTo>
                    <a:pt x="2032" y="119"/>
                    <a:pt x="1984" y="95"/>
                    <a:pt x="1984" y="95"/>
                  </a:cubicBezTo>
                  <a:cubicBezTo>
                    <a:pt x="1605" y="111"/>
                    <a:pt x="285" y="16"/>
                    <a:pt x="63" y="0"/>
                  </a:cubicBezTo>
                  <a:cubicBezTo>
                    <a:pt x="0" y="957"/>
                    <a:pt x="0" y="957"/>
                    <a:pt x="0" y="957"/>
                  </a:cubicBezTo>
                  <a:cubicBezTo>
                    <a:pt x="285" y="981"/>
                    <a:pt x="514" y="996"/>
                    <a:pt x="625" y="981"/>
                  </a:cubicBezTo>
                  <a:cubicBezTo>
                    <a:pt x="625" y="981"/>
                    <a:pt x="688" y="965"/>
                    <a:pt x="696" y="1028"/>
                  </a:cubicBezTo>
                  <a:cubicBezTo>
                    <a:pt x="704" y="1044"/>
                    <a:pt x="696" y="1218"/>
                    <a:pt x="680" y="1463"/>
                  </a:cubicBezTo>
                  <a:cubicBezTo>
                    <a:pt x="909" y="1471"/>
                    <a:pt x="2474" y="1550"/>
                    <a:pt x="3098" y="1510"/>
                  </a:cubicBezTo>
                </a:path>
              </a:pathLst>
            </a:custGeom>
            <a:solidFill>
              <a:schemeClr val="accent6"/>
            </a:solidFill>
            <a:ln>
              <a:solidFill>
                <a:schemeClr val="bg2"/>
              </a:solidFill>
            </a:ln>
            <a:effectLst/>
          </p:spPr>
          <p:txBody>
            <a:bodyPr wrap="none" anchor="ctr"/>
            <a:lstStyle/>
            <a:p>
              <a:endParaRPr lang="en-US"/>
            </a:p>
          </p:txBody>
        </p:sp>
        <p:sp>
          <p:nvSpPr>
            <p:cNvPr id="45" name="Freeform 351"/>
            <p:cNvSpPr>
              <a:spLocks noChangeArrowheads="1"/>
            </p:cNvSpPr>
            <p:nvPr/>
          </p:nvSpPr>
          <p:spPr bwMode="auto">
            <a:xfrm>
              <a:off x="3207616" y="2928400"/>
              <a:ext cx="1122711" cy="479236"/>
            </a:xfrm>
            <a:custGeom>
              <a:avLst/>
              <a:gdLst>
                <a:gd name="T0" fmla="*/ 2648 w 3115"/>
                <a:gd name="T1" fmla="*/ 1534 h 1535"/>
                <a:gd name="T2" fmla="*/ 688 w 3115"/>
                <a:gd name="T3" fmla="*/ 1471 h 1535"/>
                <a:gd name="T4" fmla="*/ 633 w 3115"/>
                <a:gd name="T5" fmla="*/ 989 h 1535"/>
                <a:gd name="T6" fmla="*/ 0 w 3115"/>
                <a:gd name="T7" fmla="*/ 973 h 1535"/>
                <a:gd name="T8" fmla="*/ 71 w 3115"/>
                <a:gd name="T9" fmla="*/ 0 h 1535"/>
                <a:gd name="T10" fmla="*/ 1992 w 3115"/>
                <a:gd name="T11" fmla="*/ 95 h 1535"/>
                <a:gd name="T12" fmla="*/ 2048 w 3115"/>
                <a:gd name="T13" fmla="*/ 151 h 1535"/>
                <a:gd name="T14" fmla="*/ 2151 w 3115"/>
                <a:gd name="T15" fmla="*/ 214 h 1535"/>
                <a:gd name="T16" fmla="*/ 2182 w 3115"/>
                <a:gd name="T17" fmla="*/ 182 h 1535"/>
                <a:gd name="T18" fmla="*/ 2332 w 3115"/>
                <a:gd name="T19" fmla="*/ 159 h 1535"/>
                <a:gd name="T20" fmla="*/ 2443 w 3115"/>
                <a:gd name="T21" fmla="*/ 206 h 1535"/>
                <a:gd name="T22" fmla="*/ 2624 w 3115"/>
                <a:gd name="T23" fmla="*/ 309 h 1535"/>
                <a:gd name="T24" fmla="*/ 2695 w 3115"/>
                <a:gd name="T25" fmla="*/ 356 h 1535"/>
                <a:gd name="T26" fmla="*/ 2711 w 3115"/>
                <a:gd name="T27" fmla="*/ 388 h 1535"/>
                <a:gd name="T28" fmla="*/ 2742 w 3115"/>
                <a:gd name="T29" fmla="*/ 490 h 1535"/>
                <a:gd name="T30" fmla="*/ 2798 w 3115"/>
                <a:gd name="T31" fmla="*/ 625 h 1535"/>
                <a:gd name="T32" fmla="*/ 2814 w 3115"/>
                <a:gd name="T33" fmla="*/ 783 h 1535"/>
                <a:gd name="T34" fmla="*/ 2837 w 3115"/>
                <a:gd name="T35" fmla="*/ 783 h 1535"/>
                <a:gd name="T36" fmla="*/ 2869 w 3115"/>
                <a:gd name="T37" fmla="*/ 854 h 1535"/>
                <a:gd name="T38" fmla="*/ 2893 w 3115"/>
                <a:gd name="T39" fmla="*/ 933 h 1535"/>
                <a:gd name="T40" fmla="*/ 2916 w 3115"/>
                <a:gd name="T41" fmla="*/ 1052 h 1535"/>
                <a:gd name="T42" fmla="*/ 2901 w 3115"/>
                <a:gd name="T43" fmla="*/ 1202 h 1535"/>
                <a:gd name="T44" fmla="*/ 2924 w 3115"/>
                <a:gd name="T45" fmla="*/ 1202 h 1535"/>
                <a:gd name="T46" fmla="*/ 2964 w 3115"/>
                <a:gd name="T47" fmla="*/ 1289 h 1535"/>
                <a:gd name="T48" fmla="*/ 3003 w 3115"/>
                <a:gd name="T49" fmla="*/ 1360 h 1535"/>
                <a:gd name="T50" fmla="*/ 3051 w 3115"/>
                <a:gd name="T51" fmla="*/ 1471 h 1535"/>
                <a:gd name="T52" fmla="*/ 3114 w 3115"/>
                <a:gd name="T53" fmla="*/ 1526 h 1535"/>
                <a:gd name="T54" fmla="*/ 696 w 3115"/>
                <a:gd name="T55" fmla="*/ 1463 h 1535"/>
                <a:gd name="T56" fmla="*/ 2648 w 3115"/>
                <a:gd name="T57" fmla="*/ 1526 h 1535"/>
                <a:gd name="T58" fmla="*/ 3074 w 3115"/>
                <a:gd name="T59" fmla="*/ 1502 h 1535"/>
                <a:gd name="T60" fmla="*/ 3027 w 3115"/>
                <a:gd name="T61" fmla="*/ 1400 h 1535"/>
                <a:gd name="T62" fmla="*/ 2956 w 3115"/>
                <a:gd name="T63" fmla="*/ 1289 h 1535"/>
                <a:gd name="T64" fmla="*/ 2924 w 3115"/>
                <a:gd name="T65" fmla="*/ 1210 h 1535"/>
                <a:gd name="T66" fmla="*/ 2893 w 3115"/>
                <a:gd name="T67" fmla="*/ 1210 h 1535"/>
                <a:gd name="T68" fmla="*/ 2908 w 3115"/>
                <a:gd name="T69" fmla="*/ 1060 h 1535"/>
                <a:gd name="T70" fmla="*/ 2893 w 3115"/>
                <a:gd name="T71" fmla="*/ 941 h 1535"/>
                <a:gd name="T72" fmla="*/ 2861 w 3115"/>
                <a:gd name="T73" fmla="*/ 854 h 1535"/>
                <a:gd name="T74" fmla="*/ 2829 w 3115"/>
                <a:gd name="T75" fmla="*/ 791 h 1535"/>
                <a:gd name="T76" fmla="*/ 2805 w 3115"/>
                <a:gd name="T77" fmla="*/ 775 h 1535"/>
                <a:gd name="T78" fmla="*/ 2766 w 3115"/>
                <a:gd name="T79" fmla="*/ 570 h 1535"/>
                <a:gd name="T80" fmla="*/ 2719 w 3115"/>
                <a:gd name="T81" fmla="*/ 467 h 1535"/>
                <a:gd name="T82" fmla="*/ 2695 w 3115"/>
                <a:gd name="T83" fmla="*/ 364 h 1535"/>
                <a:gd name="T84" fmla="*/ 2663 w 3115"/>
                <a:gd name="T85" fmla="*/ 364 h 1535"/>
                <a:gd name="T86" fmla="*/ 2554 w 3115"/>
                <a:gd name="T87" fmla="*/ 253 h 1535"/>
                <a:gd name="T88" fmla="*/ 2395 w 3115"/>
                <a:gd name="T89" fmla="*/ 174 h 1535"/>
                <a:gd name="T90" fmla="*/ 2222 w 3115"/>
                <a:gd name="T91" fmla="*/ 166 h 1535"/>
                <a:gd name="T92" fmla="*/ 2158 w 3115"/>
                <a:gd name="T93" fmla="*/ 230 h 1535"/>
                <a:gd name="T94" fmla="*/ 2087 w 3115"/>
                <a:gd name="T95" fmla="*/ 190 h 1535"/>
                <a:gd name="T96" fmla="*/ 1984 w 3115"/>
                <a:gd name="T97" fmla="*/ 103 h 1535"/>
                <a:gd name="T98" fmla="*/ 8 w 3115"/>
                <a:gd name="T99" fmla="*/ 965 h 1535"/>
                <a:gd name="T100" fmla="*/ 648 w 3115"/>
                <a:gd name="T101" fmla="*/ 981 h 1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5" h="1535">
                  <a:moveTo>
                    <a:pt x="2648" y="1534"/>
                  </a:moveTo>
                  <a:lnTo>
                    <a:pt x="2648" y="1534"/>
                  </a:lnTo>
                  <a:lnTo>
                    <a:pt x="2648" y="1534"/>
                  </a:lnTo>
                  <a:cubicBezTo>
                    <a:pt x="1921" y="1534"/>
                    <a:pt x="886" y="1487"/>
                    <a:pt x="688" y="1471"/>
                  </a:cubicBezTo>
                  <a:lnTo>
                    <a:pt x="688" y="1471"/>
                  </a:lnTo>
                  <a:lnTo>
                    <a:pt x="688" y="1471"/>
                  </a:lnTo>
                  <a:cubicBezTo>
                    <a:pt x="696" y="1202"/>
                    <a:pt x="704" y="1052"/>
                    <a:pt x="704" y="1036"/>
                  </a:cubicBezTo>
                  <a:cubicBezTo>
                    <a:pt x="696" y="996"/>
                    <a:pt x="672" y="989"/>
                    <a:pt x="648" y="989"/>
                  </a:cubicBezTo>
                  <a:cubicBezTo>
                    <a:pt x="640" y="989"/>
                    <a:pt x="633" y="989"/>
                    <a:pt x="633" y="989"/>
                  </a:cubicBezTo>
                  <a:cubicBezTo>
                    <a:pt x="601" y="996"/>
                    <a:pt x="553" y="996"/>
                    <a:pt x="498" y="996"/>
                  </a:cubicBezTo>
                  <a:cubicBezTo>
                    <a:pt x="388" y="996"/>
                    <a:pt x="222" y="989"/>
                    <a:pt x="8" y="973"/>
                  </a:cubicBezTo>
                  <a:cubicBezTo>
                    <a:pt x="0" y="973"/>
                    <a:pt x="0" y="973"/>
                    <a:pt x="0" y="973"/>
                  </a:cubicBezTo>
                  <a:cubicBezTo>
                    <a:pt x="0" y="965"/>
                    <a:pt x="0" y="965"/>
                    <a:pt x="0" y="965"/>
                  </a:cubicBezTo>
                  <a:cubicBezTo>
                    <a:pt x="71" y="0"/>
                    <a:pt x="71" y="0"/>
                    <a:pt x="71" y="0"/>
                  </a:cubicBezTo>
                  <a:lnTo>
                    <a:pt x="71" y="0"/>
                  </a:lnTo>
                  <a:cubicBezTo>
                    <a:pt x="293" y="16"/>
                    <a:pt x="1399" y="95"/>
                    <a:pt x="1874" y="95"/>
                  </a:cubicBezTo>
                  <a:cubicBezTo>
                    <a:pt x="1921" y="95"/>
                    <a:pt x="1961" y="95"/>
                    <a:pt x="1992" y="95"/>
                  </a:cubicBezTo>
                  <a:lnTo>
                    <a:pt x="1992" y="95"/>
                  </a:lnTo>
                  <a:lnTo>
                    <a:pt x="1992" y="95"/>
                  </a:lnTo>
                  <a:cubicBezTo>
                    <a:pt x="1992" y="95"/>
                    <a:pt x="2040" y="127"/>
                    <a:pt x="2048" y="151"/>
                  </a:cubicBezTo>
                  <a:lnTo>
                    <a:pt x="2048" y="151"/>
                  </a:lnTo>
                  <a:cubicBezTo>
                    <a:pt x="2056" y="166"/>
                    <a:pt x="2063" y="174"/>
                    <a:pt x="2095" y="182"/>
                  </a:cubicBezTo>
                  <a:cubicBezTo>
                    <a:pt x="2127" y="182"/>
                    <a:pt x="2143" y="198"/>
                    <a:pt x="2151" y="214"/>
                  </a:cubicBezTo>
                  <a:lnTo>
                    <a:pt x="2151" y="214"/>
                  </a:lnTo>
                  <a:lnTo>
                    <a:pt x="2158" y="222"/>
                  </a:lnTo>
                  <a:cubicBezTo>
                    <a:pt x="2158" y="222"/>
                    <a:pt x="2166" y="206"/>
                    <a:pt x="2174" y="198"/>
                  </a:cubicBezTo>
                  <a:cubicBezTo>
                    <a:pt x="2182" y="190"/>
                    <a:pt x="2182" y="190"/>
                    <a:pt x="2182" y="182"/>
                  </a:cubicBezTo>
                  <a:cubicBezTo>
                    <a:pt x="2198" y="166"/>
                    <a:pt x="2198" y="159"/>
                    <a:pt x="2222" y="159"/>
                  </a:cubicBezTo>
                  <a:cubicBezTo>
                    <a:pt x="2229" y="159"/>
                    <a:pt x="2253" y="159"/>
                    <a:pt x="2269" y="159"/>
                  </a:cubicBezTo>
                  <a:cubicBezTo>
                    <a:pt x="2293" y="159"/>
                    <a:pt x="2316" y="159"/>
                    <a:pt x="2332" y="159"/>
                  </a:cubicBezTo>
                  <a:cubicBezTo>
                    <a:pt x="2372" y="159"/>
                    <a:pt x="2395" y="159"/>
                    <a:pt x="2403" y="166"/>
                  </a:cubicBezTo>
                  <a:cubicBezTo>
                    <a:pt x="2411" y="174"/>
                    <a:pt x="2411" y="182"/>
                    <a:pt x="2411" y="190"/>
                  </a:cubicBezTo>
                  <a:cubicBezTo>
                    <a:pt x="2419" y="198"/>
                    <a:pt x="2427" y="206"/>
                    <a:pt x="2443" y="206"/>
                  </a:cubicBezTo>
                  <a:cubicBezTo>
                    <a:pt x="2475" y="206"/>
                    <a:pt x="2538" y="222"/>
                    <a:pt x="2554" y="253"/>
                  </a:cubicBezTo>
                  <a:cubicBezTo>
                    <a:pt x="2577" y="277"/>
                    <a:pt x="2601" y="293"/>
                    <a:pt x="2609" y="293"/>
                  </a:cubicBezTo>
                  <a:cubicBezTo>
                    <a:pt x="2617" y="293"/>
                    <a:pt x="2616" y="301"/>
                    <a:pt x="2624" y="309"/>
                  </a:cubicBezTo>
                  <a:cubicBezTo>
                    <a:pt x="2632" y="332"/>
                    <a:pt x="2648" y="356"/>
                    <a:pt x="2663" y="356"/>
                  </a:cubicBezTo>
                  <a:cubicBezTo>
                    <a:pt x="2671" y="356"/>
                    <a:pt x="2671" y="356"/>
                    <a:pt x="2671" y="356"/>
                  </a:cubicBezTo>
                  <a:cubicBezTo>
                    <a:pt x="2679" y="356"/>
                    <a:pt x="2687" y="356"/>
                    <a:pt x="2695" y="356"/>
                  </a:cubicBezTo>
                  <a:cubicBezTo>
                    <a:pt x="2703" y="356"/>
                    <a:pt x="2703" y="356"/>
                    <a:pt x="2703" y="356"/>
                  </a:cubicBezTo>
                  <a:cubicBezTo>
                    <a:pt x="2703" y="364"/>
                    <a:pt x="2703" y="364"/>
                    <a:pt x="2703" y="364"/>
                  </a:cubicBezTo>
                  <a:cubicBezTo>
                    <a:pt x="2703" y="372"/>
                    <a:pt x="2711" y="380"/>
                    <a:pt x="2711" y="388"/>
                  </a:cubicBezTo>
                  <a:cubicBezTo>
                    <a:pt x="2719" y="396"/>
                    <a:pt x="2719" y="404"/>
                    <a:pt x="2719" y="419"/>
                  </a:cubicBezTo>
                  <a:cubicBezTo>
                    <a:pt x="2719" y="427"/>
                    <a:pt x="2719" y="443"/>
                    <a:pt x="2727" y="467"/>
                  </a:cubicBezTo>
                  <a:cubicBezTo>
                    <a:pt x="2734" y="475"/>
                    <a:pt x="2734" y="483"/>
                    <a:pt x="2742" y="490"/>
                  </a:cubicBezTo>
                  <a:cubicBezTo>
                    <a:pt x="2742" y="506"/>
                    <a:pt x="2750" y="514"/>
                    <a:pt x="2758" y="530"/>
                  </a:cubicBezTo>
                  <a:cubicBezTo>
                    <a:pt x="2766" y="546"/>
                    <a:pt x="2774" y="562"/>
                    <a:pt x="2774" y="570"/>
                  </a:cubicBezTo>
                  <a:cubicBezTo>
                    <a:pt x="2782" y="585"/>
                    <a:pt x="2782" y="601"/>
                    <a:pt x="2798" y="625"/>
                  </a:cubicBezTo>
                  <a:cubicBezTo>
                    <a:pt x="2821" y="649"/>
                    <a:pt x="2814" y="720"/>
                    <a:pt x="2814" y="759"/>
                  </a:cubicBezTo>
                  <a:cubicBezTo>
                    <a:pt x="2814" y="767"/>
                    <a:pt x="2814" y="767"/>
                    <a:pt x="2814" y="775"/>
                  </a:cubicBezTo>
                  <a:lnTo>
                    <a:pt x="2814" y="783"/>
                  </a:lnTo>
                  <a:cubicBezTo>
                    <a:pt x="2814" y="791"/>
                    <a:pt x="2814" y="791"/>
                    <a:pt x="2821" y="791"/>
                  </a:cubicBezTo>
                  <a:lnTo>
                    <a:pt x="2829" y="783"/>
                  </a:lnTo>
                  <a:lnTo>
                    <a:pt x="2837" y="783"/>
                  </a:lnTo>
                  <a:cubicBezTo>
                    <a:pt x="2853" y="783"/>
                    <a:pt x="2869" y="815"/>
                    <a:pt x="2869" y="815"/>
                  </a:cubicBezTo>
                  <a:lnTo>
                    <a:pt x="2869" y="815"/>
                  </a:lnTo>
                  <a:cubicBezTo>
                    <a:pt x="2869" y="815"/>
                    <a:pt x="2869" y="838"/>
                    <a:pt x="2869" y="854"/>
                  </a:cubicBezTo>
                  <a:cubicBezTo>
                    <a:pt x="2861" y="862"/>
                    <a:pt x="2869" y="862"/>
                    <a:pt x="2877" y="870"/>
                  </a:cubicBezTo>
                  <a:cubicBezTo>
                    <a:pt x="2885" y="870"/>
                    <a:pt x="2893" y="878"/>
                    <a:pt x="2893" y="886"/>
                  </a:cubicBezTo>
                  <a:cubicBezTo>
                    <a:pt x="2885" y="910"/>
                    <a:pt x="2885" y="925"/>
                    <a:pt x="2893" y="933"/>
                  </a:cubicBezTo>
                  <a:cubicBezTo>
                    <a:pt x="2908" y="941"/>
                    <a:pt x="2908" y="973"/>
                    <a:pt x="2893" y="996"/>
                  </a:cubicBezTo>
                  <a:cubicBezTo>
                    <a:pt x="2885" y="1020"/>
                    <a:pt x="2885" y="1020"/>
                    <a:pt x="2901" y="1036"/>
                  </a:cubicBezTo>
                  <a:cubicBezTo>
                    <a:pt x="2908" y="1044"/>
                    <a:pt x="2908" y="1044"/>
                    <a:pt x="2916" y="1052"/>
                  </a:cubicBezTo>
                  <a:cubicBezTo>
                    <a:pt x="2932" y="1076"/>
                    <a:pt x="2916" y="1123"/>
                    <a:pt x="2908" y="1154"/>
                  </a:cubicBezTo>
                  <a:cubicBezTo>
                    <a:pt x="2901" y="1170"/>
                    <a:pt x="2901" y="1186"/>
                    <a:pt x="2901" y="1194"/>
                  </a:cubicBezTo>
                  <a:cubicBezTo>
                    <a:pt x="2901" y="1202"/>
                    <a:pt x="2901" y="1202"/>
                    <a:pt x="2901" y="1202"/>
                  </a:cubicBezTo>
                  <a:lnTo>
                    <a:pt x="2901" y="1202"/>
                  </a:lnTo>
                  <a:cubicBezTo>
                    <a:pt x="2908" y="1202"/>
                    <a:pt x="2908" y="1202"/>
                    <a:pt x="2908" y="1202"/>
                  </a:cubicBezTo>
                  <a:cubicBezTo>
                    <a:pt x="2916" y="1202"/>
                    <a:pt x="2916" y="1202"/>
                    <a:pt x="2924" y="1202"/>
                  </a:cubicBezTo>
                  <a:cubicBezTo>
                    <a:pt x="2932" y="1202"/>
                    <a:pt x="2940" y="1210"/>
                    <a:pt x="2940" y="1226"/>
                  </a:cubicBezTo>
                  <a:cubicBezTo>
                    <a:pt x="2940" y="1242"/>
                    <a:pt x="2940" y="1257"/>
                    <a:pt x="2956" y="1273"/>
                  </a:cubicBezTo>
                  <a:cubicBezTo>
                    <a:pt x="2964" y="1289"/>
                    <a:pt x="2964" y="1289"/>
                    <a:pt x="2964" y="1289"/>
                  </a:cubicBezTo>
                  <a:lnTo>
                    <a:pt x="2964" y="1289"/>
                  </a:lnTo>
                  <a:cubicBezTo>
                    <a:pt x="2956" y="1297"/>
                    <a:pt x="2956" y="1305"/>
                    <a:pt x="2956" y="1313"/>
                  </a:cubicBezTo>
                  <a:cubicBezTo>
                    <a:pt x="2964" y="1336"/>
                    <a:pt x="2980" y="1344"/>
                    <a:pt x="3003" y="1360"/>
                  </a:cubicBezTo>
                  <a:cubicBezTo>
                    <a:pt x="3011" y="1368"/>
                    <a:pt x="3027" y="1376"/>
                    <a:pt x="3035" y="1392"/>
                  </a:cubicBezTo>
                  <a:cubicBezTo>
                    <a:pt x="3059" y="1416"/>
                    <a:pt x="3059" y="1431"/>
                    <a:pt x="3051" y="1447"/>
                  </a:cubicBezTo>
                  <a:cubicBezTo>
                    <a:pt x="3051" y="1455"/>
                    <a:pt x="3051" y="1463"/>
                    <a:pt x="3051" y="1471"/>
                  </a:cubicBezTo>
                  <a:cubicBezTo>
                    <a:pt x="3051" y="1487"/>
                    <a:pt x="3059" y="1494"/>
                    <a:pt x="3074" y="1494"/>
                  </a:cubicBezTo>
                  <a:cubicBezTo>
                    <a:pt x="3082" y="1494"/>
                    <a:pt x="3090" y="1502"/>
                    <a:pt x="3090" y="1502"/>
                  </a:cubicBezTo>
                  <a:cubicBezTo>
                    <a:pt x="3114" y="1526"/>
                    <a:pt x="3114" y="1526"/>
                    <a:pt x="3114" y="1526"/>
                  </a:cubicBezTo>
                  <a:cubicBezTo>
                    <a:pt x="3106" y="1526"/>
                    <a:pt x="3106" y="1526"/>
                    <a:pt x="3106" y="1526"/>
                  </a:cubicBezTo>
                  <a:cubicBezTo>
                    <a:pt x="2987" y="1526"/>
                    <a:pt x="2837" y="1534"/>
                    <a:pt x="2648" y="1534"/>
                  </a:cubicBezTo>
                  <a:close/>
                  <a:moveTo>
                    <a:pt x="696" y="1463"/>
                  </a:moveTo>
                  <a:lnTo>
                    <a:pt x="696" y="1463"/>
                  </a:lnTo>
                  <a:cubicBezTo>
                    <a:pt x="901" y="1479"/>
                    <a:pt x="1929" y="1526"/>
                    <a:pt x="2648" y="1526"/>
                  </a:cubicBezTo>
                  <a:lnTo>
                    <a:pt x="2648" y="1526"/>
                  </a:lnTo>
                  <a:cubicBezTo>
                    <a:pt x="2829" y="1526"/>
                    <a:pt x="2980" y="1526"/>
                    <a:pt x="3090" y="1518"/>
                  </a:cubicBezTo>
                  <a:cubicBezTo>
                    <a:pt x="3090" y="1510"/>
                    <a:pt x="3090" y="1510"/>
                    <a:pt x="3090" y="1510"/>
                  </a:cubicBezTo>
                  <a:cubicBezTo>
                    <a:pt x="3082" y="1502"/>
                    <a:pt x="3074" y="1502"/>
                    <a:pt x="3074" y="1502"/>
                  </a:cubicBezTo>
                  <a:cubicBezTo>
                    <a:pt x="3059" y="1502"/>
                    <a:pt x="3043" y="1494"/>
                    <a:pt x="3043" y="1471"/>
                  </a:cubicBezTo>
                  <a:cubicBezTo>
                    <a:pt x="3043" y="1463"/>
                    <a:pt x="3043" y="1455"/>
                    <a:pt x="3043" y="1447"/>
                  </a:cubicBezTo>
                  <a:cubicBezTo>
                    <a:pt x="3051" y="1431"/>
                    <a:pt x="3051" y="1416"/>
                    <a:pt x="3027" y="1400"/>
                  </a:cubicBezTo>
                  <a:cubicBezTo>
                    <a:pt x="3019" y="1384"/>
                    <a:pt x="3003" y="1376"/>
                    <a:pt x="2995" y="1368"/>
                  </a:cubicBezTo>
                  <a:cubicBezTo>
                    <a:pt x="2972" y="1352"/>
                    <a:pt x="2956" y="1336"/>
                    <a:pt x="2956" y="1313"/>
                  </a:cubicBezTo>
                  <a:cubicBezTo>
                    <a:pt x="2948" y="1297"/>
                    <a:pt x="2948" y="1289"/>
                    <a:pt x="2956" y="1289"/>
                  </a:cubicBezTo>
                  <a:cubicBezTo>
                    <a:pt x="2956" y="1289"/>
                    <a:pt x="2948" y="1281"/>
                    <a:pt x="2948" y="1273"/>
                  </a:cubicBezTo>
                  <a:cubicBezTo>
                    <a:pt x="2940" y="1265"/>
                    <a:pt x="2932" y="1242"/>
                    <a:pt x="2932" y="1226"/>
                  </a:cubicBezTo>
                  <a:cubicBezTo>
                    <a:pt x="2932" y="1218"/>
                    <a:pt x="2932" y="1210"/>
                    <a:pt x="2924" y="1210"/>
                  </a:cubicBezTo>
                  <a:lnTo>
                    <a:pt x="2916" y="1210"/>
                  </a:lnTo>
                  <a:cubicBezTo>
                    <a:pt x="2908" y="1210"/>
                    <a:pt x="2908" y="1210"/>
                    <a:pt x="2901" y="1210"/>
                  </a:cubicBezTo>
                  <a:cubicBezTo>
                    <a:pt x="2901" y="1210"/>
                    <a:pt x="2901" y="1210"/>
                    <a:pt x="2893" y="1210"/>
                  </a:cubicBezTo>
                  <a:cubicBezTo>
                    <a:pt x="2893" y="1202"/>
                    <a:pt x="2893" y="1202"/>
                    <a:pt x="2893" y="1194"/>
                  </a:cubicBezTo>
                  <a:cubicBezTo>
                    <a:pt x="2893" y="1186"/>
                    <a:pt x="2901" y="1170"/>
                    <a:pt x="2901" y="1154"/>
                  </a:cubicBezTo>
                  <a:cubicBezTo>
                    <a:pt x="2908" y="1123"/>
                    <a:pt x="2924" y="1083"/>
                    <a:pt x="2908" y="1060"/>
                  </a:cubicBezTo>
                  <a:cubicBezTo>
                    <a:pt x="2901" y="1052"/>
                    <a:pt x="2901" y="1044"/>
                    <a:pt x="2901" y="1044"/>
                  </a:cubicBezTo>
                  <a:cubicBezTo>
                    <a:pt x="2877" y="1020"/>
                    <a:pt x="2877" y="1020"/>
                    <a:pt x="2893" y="996"/>
                  </a:cubicBezTo>
                  <a:cubicBezTo>
                    <a:pt x="2901" y="973"/>
                    <a:pt x="2901" y="949"/>
                    <a:pt x="2893" y="941"/>
                  </a:cubicBezTo>
                  <a:cubicBezTo>
                    <a:pt x="2877" y="933"/>
                    <a:pt x="2877" y="910"/>
                    <a:pt x="2885" y="886"/>
                  </a:cubicBezTo>
                  <a:cubicBezTo>
                    <a:pt x="2885" y="878"/>
                    <a:pt x="2885" y="878"/>
                    <a:pt x="2877" y="878"/>
                  </a:cubicBezTo>
                  <a:cubicBezTo>
                    <a:pt x="2869" y="870"/>
                    <a:pt x="2853" y="870"/>
                    <a:pt x="2861" y="854"/>
                  </a:cubicBezTo>
                  <a:cubicBezTo>
                    <a:pt x="2861" y="838"/>
                    <a:pt x="2861" y="815"/>
                    <a:pt x="2861" y="815"/>
                  </a:cubicBezTo>
                  <a:cubicBezTo>
                    <a:pt x="2853" y="807"/>
                    <a:pt x="2845" y="791"/>
                    <a:pt x="2837" y="791"/>
                  </a:cubicBezTo>
                  <a:lnTo>
                    <a:pt x="2829" y="791"/>
                  </a:lnTo>
                  <a:cubicBezTo>
                    <a:pt x="2821" y="791"/>
                    <a:pt x="2821" y="791"/>
                    <a:pt x="2821" y="791"/>
                  </a:cubicBezTo>
                  <a:cubicBezTo>
                    <a:pt x="2814" y="791"/>
                    <a:pt x="2814" y="791"/>
                    <a:pt x="2805" y="791"/>
                  </a:cubicBezTo>
                  <a:cubicBezTo>
                    <a:pt x="2805" y="783"/>
                    <a:pt x="2805" y="775"/>
                    <a:pt x="2805" y="775"/>
                  </a:cubicBezTo>
                  <a:cubicBezTo>
                    <a:pt x="2805" y="767"/>
                    <a:pt x="2805" y="759"/>
                    <a:pt x="2805" y="759"/>
                  </a:cubicBezTo>
                  <a:cubicBezTo>
                    <a:pt x="2814" y="720"/>
                    <a:pt x="2814" y="657"/>
                    <a:pt x="2790" y="625"/>
                  </a:cubicBezTo>
                  <a:cubicBezTo>
                    <a:pt x="2774" y="609"/>
                    <a:pt x="2774" y="593"/>
                    <a:pt x="2766" y="570"/>
                  </a:cubicBezTo>
                  <a:cubicBezTo>
                    <a:pt x="2766" y="562"/>
                    <a:pt x="2766" y="546"/>
                    <a:pt x="2750" y="538"/>
                  </a:cubicBezTo>
                  <a:cubicBezTo>
                    <a:pt x="2742" y="514"/>
                    <a:pt x="2734" y="506"/>
                    <a:pt x="2734" y="490"/>
                  </a:cubicBezTo>
                  <a:cubicBezTo>
                    <a:pt x="2727" y="490"/>
                    <a:pt x="2727" y="483"/>
                    <a:pt x="2719" y="467"/>
                  </a:cubicBezTo>
                  <a:cubicBezTo>
                    <a:pt x="2711" y="451"/>
                    <a:pt x="2711" y="435"/>
                    <a:pt x="2711" y="419"/>
                  </a:cubicBezTo>
                  <a:cubicBezTo>
                    <a:pt x="2711" y="412"/>
                    <a:pt x="2711" y="396"/>
                    <a:pt x="2703" y="396"/>
                  </a:cubicBezTo>
                  <a:cubicBezTo>
                    <a:pt x="2703" y="388"/>
                    <a:pt x="2703" y="372"/>
                    <a:pt x="2695" y="364"/>
                  </a:cubicBezTo>
                  <a:lnTo>
                    <a:pt x="2695" y="364"/>
                  </a:lnTo>
                  <a:cubicBezTo>
                    <a:pt x="2687" y="364"/>
                    <a:pt x="2679" y="364"/>
                    <a:pt x="2671" y="364"/>
                  </a:cubicBezTo>
                  <a:cubicBezTo>
                    <a:pt x="2671" y="364"/>
                    <a:pt x="2671" y="364"/>
                    <a:pt x="2663" y="364"/>
                  </a:cubicBezTo>
                  <a:cubicBezTo>
                    <a:pt x="2640" y="364"/>
                    <a:pt x="2624" y="332"/>
                    <a:pt x="2617" y="317"/>
                  </a:cubicBezTo>
                  <a:cubicBezTo>
                    <a:pt x="2617" y="309"/>
                    <a:pt x="2609" y="301"/>
                    <a:pt x="2609" y="301"/>
                  </a:cubicBezTo>
                  <a:cubicBezTo>
                    <a:pt x="2601" y="301"/>
                    <a:pt x="2569" y="277"/>
                    <a:pt x="2554" y="253"/>
                  </a:cubicBezTo>
                  <a:cubicBezTo>
                    <a:pt x="2538" y="230"/>
                    <a:pt x="2475" y="214"/>
                    <a:pt x="2443" y="214"/>
                  </a:cubicBezTo>
                  <a:cubicBezTo>
                    <a:pt x="2419" y="214"/>
                    <a:pt x="2419" y="206"/>
                    <a:pt x="2411" y="190"/>
                  </a:cubicBezTo>
                  <a:cubicBezTo>
                    <a:pt x="2403" y="190"/>
                    <a:pt x="2403" y="182"/>
                    <a:pt x="2395" y="174"/>
                  </a:cubicBezTo>
                  <a:cubicBezTo>
                    <a:pt x="2395" y="174"/>
                    <a:pt x="2380" y="166"/>
                    <a:pt x="2332" y="166"/>
                  </a:cubicBezTo>
                  <a:cubicBezTo>
                    <a:pt x="2316" y="166"/>
                    <a:pt x="2293" y="166"/>
                    <a:pt x="2277" y="166"/>
                  </a:cubicBezTo>
                  <a:cubicBezTo>
                    <a:pt x="2253" y="166"/>
                    <a:pt x="2229" y="166"/>
                    <a:pt x="2222" y="166"/>
                  </a:cubicBezTo>
                  <a:cubicBezTo>
                    <a:pt x="2206" y="166"/>
                    <a:pt x="2198" y="174"/>
                    <a:pt x="2190" y="190"/>
                  </a:cubicBezTo>
                  <a:lnTo>
                    <a:pt x="2182" y="198"/>
                  </a:lnTo>
                  <a:cubicBezTo>
                    <a:pt x="2166" y="222"/>
                    <a:pt x="2166" y="230"/>
                    <a:pt x="2158" y="230"/>
                  </a:cubicBezTo>
                  <a:cubicBezTo>
                    <a:pt x="2151" y="230"/>
                    <a:pt x="2151" y="222"/>
                    <a:pt x="2151" y="222"/>
                  </a:cubicBezTo>
                  <a:cubicBezTo>
                    <a:pt x="2151" y="222"/>
                    <a:pt x="2143" y="222"/>
                    <a:pt x="2143" y="214"/>
                  </a:cubicBezTo>
                  <a:cubicBezTo>
                    <a:pt x="2135" y="206"/>
                    <a:pt x="2119" y="190"/>
                    <a:pt x="2087" y="190"/>
                  </a:cubicBezTo>
                  <a:cubicBezTo>
                    <a:pt x="2056" y="182"/>
                    <a:pt x="2048" y="174"/>
                    <a:pt x="2048" y="159"/>
                  </a:cubicBezTo>
                  <a:cubicBezTo>
                    <a:pt x="2040" y="151"/>
                    <a:pt x="2040" y="151"/>
                    <a:pt x="2040" y="151"/>
                  </a:cubicBezTo>
                  <a:cubicBezTo>
                    <a:pt x="2032" y="135"/>
                    <a:pt x="1992" y="111"/>
                    <a:pt x="1984" y="103"/>
                  </a:cubicBezTo>
                  <a:cubicBezTo>
                    <a:pt x="1961" y="103"/>
                    <a:pt x="1921" y="103"/>
                    <a:pt x="1874" y="103"/>
                  </a:cubicBezTo>
                  <a:cubicBezTo>
                    <a:pt x="1399" y="103"/>
                    <a:pt x="300" y="24"/>
                    <a:pt x="71" y="8"/>
                  </a:cubicBezTo>
                  <a:cubicBezTo>
                    <a:pt x="8" y="965"/>
                    <a:pt x="8" y="965"/>
                    <a:pt x="8" y="965"/>
                  </a:cubicBezTo>
                  <a:cubicBezTo>
                    <a:pt x="222" y="981"/>
                    <a:pt x="388" y="989"/>
                    <a:pt x="498" y="989"/>
                  </a:cubicBezTo>
                  <a:cubicBezTo>
                    <a:pt x="553" y="989"/>
                    <a:pt x="601" y="989"/>
                    <a:pt x="633" y="981"/>
                  </a:cubicBezTo>
                  <a:cubicBezTo>
                    <a:pt x="633" y="981"/>
                    <a:pt x="640" y="981"/>
                    <a:pt x="648" y="981"/>
                  </a:cubicBezTo>
                  <a:cubicBezTo>
                    <a:pt x="672" y="981"/>
                    <a:pt x="704" y="989"/>
                    <a:pt x="712" y="1036"/>
                  </a:cubicBezTo>
                  <a:cubicBezTo>
                    <a:pt x="712" y="1052"/>
                    <a:pt x="704" y="1194"/>
                    <a:pt x="696" y="1463"/>
                  </a:cubicBezTo>
                  <a:close/>
                </a:path>
              </a:pathLst>
            </a:custGeom>
            <a:solidFill>
              <a:schemeClr val="accent6"/>
            </a:solidFill>
            <a:ln>
              <a:solidFill>
                <a:schemeClr val="bg2"/>
              </a:solidFill>
            </a:ln>
            <a:effectLst/>
          </p:spPr>
          <p:txBody>
            <a:bodyPr wrap="none" anchor="ctr"/>
            <a:lstStyle/>
            <a:p>
              <a:endParaRPr lang="en-US"/>
            </a:p>
          </p:txBody>
        </p:sp>
        <p:sp>
          <p:nvSpPr>
            <p:cNvPr id="46" name="Freeform 352"/>
            <p:cNvSpPr>
              <a:spLocks noChangeArrowheads="1"/>
            </p:cNvSpPr>
            <p:nvPr/>
          </p:nvSpPr>
          <p:spPr bwMode="auto">
            <a:xfrm>
              <a:off x="3427070" y="3388356"/>
              <a:ext cx="997081" cy="461334"/>
            </a:xfrm>
            <a:custGeom>
              <a:avLst/>
              <a:gdLst>
                <a:gd name="T0" fmla="*/ 2758 w 2767"/>
                <a:gd name="T1" fmla="*/ 529 h 1478"/>
                <a:gd name="T2" fmla="*/ 2758 w 2767"/>
                <a:gd name="T3" fmla="*/ 529 h 1478"/>
                <a:gd name="T4" fmla="*/ 2711 w 2767"/>
                <a:gd name="T5" fmla="*/ 419 h 1478"/>
                <a:gd name="T6" fmla="*/ 2655 w 2767"/>
                <a:gd name="T7" fmla="*/ 356 h 1478"/>
                <a:gd name="T8" fmla="*/ 2624 w 2767"/>
                <a:gd name="T9" fmla="*/ 300 h 1478"/>
                <a:gd name="T10" fmla="*/ 2560 w 2767"/>
                <a:gd name="T11" fmla="*/ 245 h 1478"/>
                <a:gd name="T12" fmla="*/ 2631 w 2767"/>
                <a:gd name="T13" fmla="*/ 182 h 1478"/>
                <a:gd name="T14" fmla="*/ 2655 w 2767"/>
                <a:gd name="T15" fmla="*/ 150 h 1478"/>
                <a:gd name="T16" fmla="*/ 2624 w 2767"/>
                <a:gd name="T17" fmla="*/ 103 h 1478"/>
                <a:gd name="T18" fmla="*/ 2584 w 2767"/>
                <a:gd name="T19" fmla="*/ 95 h 1478"/>
                <a:gd name="T20" fmla="*/ 2560 w 2767"/>
                <a:gd name="T21" fmla="*/ 118 h 1478"/>
                <a:gd name="T22" fmla="*/ 2497 w 2767"/>
                <a:gd name="T23" fmla="*/ 47 h 1478"/>
                <a:gd name="T24" fmla="*/ 79 w 2767"/>
                <a:gd name="T25" fmla="*/ 0 h 1478"/>
                <a:gd name="T26" fmla="*/ 0 w 2767"/>
                <a:gd name="T27" fmla="*/ 1414 h 1478"/>
                <a:gd name="T28" fmla="*/ 2758 w 2767"/>
                <a:gd name="T29" fmla="*/ 1469 h 1478"/>
                <a:gd name="T30" fmla="*/ 2758 w 2767"/>
                <a:gd name="T31" fmla="*/ 529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67" h="1478">
                  <a:moveTo>
                    <a:pt x="2758" y="529"/>
                  </a:moveTo>
                  <a:lnTo>
                    <a:pt x="2758" y="529"/>
                  </a:lnTo>
                  <a:cubicBezTo>
                    <a:pt x="2766" y="403"/>
                    <a:pt x="2726" y="442"/>
                    <a:pt x="2711" y="419"/>
                  </a:cubicBezTo>
                  <a:cubicBezTo>
                    <a:pt x="2687" y="395"/>
                    <a:pt x="2655" y="387"/>
                    <a:pt x="2655" y="356"/>
                  </a:cubicBezTo>
                  <a:cubicBezTo>
                    <a:pt x="2655" y="324"/>
                    <a:pt x="2655" y="324"/>
                    <a:pt x="2624" y="300"/>
                  </a:cubicBezTo>
                  <a:cubicBezTo>
                    <a:pt x="2584" y="276"/>
                    <a:pt x="2536" y="269"/>
                    <a:pt x="2560" y="245"/>
                  </a:cubicBezTo>
                  <a:cubicBezTo>
                    <a:pt x="2592" y="213"/>
                    <a:pt x="2608" y="189"/>
                    <a:pt x="2631" y="182"/>
                  </a:cubicBezTo>
                  <a:cubicBezTo>
                    <a:pt x="2655" y="174"/>
                    <a:pt x="2671" y="174"/>
                    <a:pt x="2655" y="150"/>
                  </a:cubicBezTo>
                  <a:cubicBezTo>
                    <a:pt x="2647" y="126"/>
                    <a:pt x="2624" y="126"/>
                    <a:pt x="2624" y="103"/>
                  </a:cubicBezTo>
                  <a:cubicBezTo>
                    <a:pt x="2624" y="79"/>
                    <a:pt x="2584" y="71"/>
                    <a:pt x="2584" y="95"/>
                  </a:cubicBezTo>
                  <a:cubicBezTo>
                    <a:pt x="2584" y="118"/>
                    <a:pt x="2584" y="134"/>
                    <a:pt x="2560" y="118"/>
                  </a:cubicBezTo>
                  <a:cubicBezTo>
                    <a:pt x="2545" y="103"/>
                    <a:pt x="2513" y="71"/>
                    <a:pt x="2497" y="47"/>
                  </a:cubicBezTo>
                  <a:cubicBezTo>
                    <a:pt x="1873" y="87"/>
                    <a:pt x="308" y="8"/>
                    <a:pt x="79" y="0"/>
                  </a:cubicBezTo>
                  <a:cubicBezTo>
                    <a:pt x="55" y="411"/>
                    <a:pt x="24" y="1019"/>
                    <a:pt x="0" y="1414"/>
                  </a:cubicBezTo>
                  <a:cubicBezTo>
                    <a:pt x="814" y="1461"/>
                    <a:pt x="1739" y="1477"/>
                    <a:pt x="2758" y="1469"/>
                  </a:cubicBezTo>
                  <a:cubicBezTo>
                    <a:pt x="2758" y="1469"/>
                    <a:pt x="2750" y="656"/>
                    <a:pt x="2758" y="529"/>
                  </a:cubicBezTo>
                </a:path>
              </a:pathLst>
            </a:custGeom>
            <a:solidFill>
              <a:schemeClr val="accent6"/>
            </a:solidFill>
            <a:ln>
              <a:solidFill>
                <a:schemeClr val="bg2"/>
              </a:solidFill>
            </a:ln>
            <a:effectLst/>
          </p:spPr>
          <p:txBody>
            <a:bodyPr wrap="none" anchor="ctr"/>
            <a:lstStyle/>
            <a:p>
              <a:endParaRPr lang="en-US"/>
            </a:p>
          </p:txBody>
        </p:sp>
        <p:sp>
          <p:nvSpPr>
            <p:cNvPr id="47" name="Freeform 353"/>
            <p:cNvSpPr>
              <a:spLocks noChangeArrowheads="1"/>
            </p:cNvSpPr>
            <p:nvPr/>
          </p:nvSpPr>
          <p:spPr bwMode="auto">
            <a:xfrm>
              <a:off x="3427070" y="3385602"/>
              <a:ext cx="997081" cy="464088"/>
            </a:xfrm>
            <a:custGeom>
              <a:avLst/>
              <a:gdLst>
                <a:gd name="T0" fmla="*/ 2181 w 2767"/>
                <a:gd name="T1" fmla="*/ 1485 h 1486"/>
                <a:gd name="T2" fmla="*/ 0 w 2767"/>
                <a:gd name="T3" fmla="*/ 1430 h 1486"/>
                <a:gd name="T4" fmla="*/ 0 w 2767"/>
                <a:gd name="T5" fmla="*/ 1422 h 1486"/>
                <a:gd name="T6" fmla="*/ 79 w 2767"/>
                <a:gd name="T7" fmla="*/ 0 h 1486"/>
                <a:gd name="T8" fmla="*/ 2039 w 2767"/>
                <a:gd name="T9" fmla="*/ 63 h 1486"/>
                <a:gd name="T10" fmla="*/ 2497 w 2767"/>
                <a:gd name="T11" fmla="*/ 55 h 1486"/>
                <a:gd name="T12" fmla="*/ 2576 w 2767"/>
                <a:gd name="T13" fmla="*/ 126 h 1486"/>
                <a:gd name="T14" fmla="*/ 2600 w 2767"/>
                <a:gd name="T15" fmla="*/ 87 h 1486"/>
                <a:gd name="T16" fmla="*/ 2639 w 2767"/>
                <a:gd name="T17" fmla="*/ 134 h 1486"/>
                <a:gd name="T18" fmla="*/ 2663 w 2767"/>
                <a:gd name="T19" fmla="*/ 182 h 1486"/>
                <a:gd name="T20" fmla="*/ 2631 w 2767"/>
                <a:gd name="T21" fmla="*/ 197 h 1486"/>
                <a:gd name="T22" fmla="*/ 2568 w 2767"/>
                <a:gd name="T23" fmla="*/ 253 h 1486"/>
                <a:gd name="T24" fmla="*/ 2584 w 2767"/>
                <a:gd name="T25" fmla="*/ 284 h 1486"/>
                <a:gd name="T26" fmla="*/ 2631 w 2767"/>
                <a:gd name="T27" fmla="*/ 308 h 1486"/>
                <a:gd name="T28" fmla="*/ 2687 w 2767"/>
                <a:gd name="T29" fmla="*/ 403 h 1486"/>
                <a:gd name="T30" fmla="*/ 2726 w 2767"/>
                <a:gd name="T31" fmla="*/ 435 h 1486"/>
                <a:gd name="T32" fmla="*/ 2766 w 2767"/>
                <a:gd name="T33" fmla="*/ 1477 h 1486"/>
                <a:gd name="T34" fmla="*/ 2758 w 2767"/>
                <a:gd name="T35" fmla="*/ 1477 h 1486"/>
                <a:gd name="T36" fmla="*/ 8 w 2767"/>
                <a:gd name="T37" fmla="*/ 1422 h 1486"/>
                <a:gd name="T38" fmla="*/ 2181 w 2767"/>
                <a:gd name="T39" fmla="*/ 1477 h 1486"/>
                <a:gd name="T40" fmla="*/ 2758 w 2767"/>
                <a:gd name="T41" fmla="*/ 1469 h 1486"/>
                <a:gd name="T42" fmla="*/ 2726 w 2767"/>
                <a:gd name="T43" fmla="*/ 443 h 1486"/>
                <a:gd name="T44" fmla="*/ 2687 w 2767"/>
                <a:gd name="T45" fmla="*/ 411 h 1486"/>
                <a:gd name="T46" fmla="*/ 2631 w 2767"/>
                <a:gd name="T47" fmla="*/ 316 h 1486"/>
                <a:gd name="T48" fmla="*/ 2584 w 2767"/>
                <a:gd name="T49" fmla="*/ 292 h 1486"/>
                <a:gd name="T50" fmla="*/ 2560 w 2767"/>
                <a:gd name="T51" fmla="*/ 245 h 1486"/>
                <a:gd name="T52" fmla="*/ 2631 w 2767"/>
                <a:gd name="T53" fmla="*/ 190 h 1486"/>
                <a:gd name="T54" fmla="*/ 2663 w 2767"/>
                <a:gd name="T55" fmla="*/ 174 h 1486"/>
                <a:gd name="T56" fmla="*/ 2639 w 2767"/>
                <a:gd name="T57" fmla="*/ 134 h 1486"/>
                <a:gd name="T58" fmla="*/ 2600 w 2767"/>
                <a:gd name="T59" fmla="*/ 95 h 1486"/>
                <a:gd name="T60" fmla="*/ 2576 w 2767"/>
                <a:gd name="T61" fmla="*/ 134 h 1486"/>
                <a:gd name="T62" fmla="*/ 2489 w 2767"/>
                <a:gd name="T63" fmla="*/ 63 h 1486"/>
                <a:gd name="T64" fmla="*/ 87 w 2767"/>
                <a:gd name="T65" fmla="*/ 8 h 1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67" h="1486">
                  <a:moveTo>
                    <a:pt x="2181" y="1485"/>
                  </a:moveTo>
                  <a:lnTo>
                    <a:pt x="2181" y="1485"/>
                  </a:lnTo>
                  <a:lnTo>
                    <a:pt x="2181" y="1485"/>
                  </a:lnTo>
                  <a:cubicBezTo>
                    <a:pt x="1447" y="1485"/>
                    <a:pt x="711" y="1461"/>
                    <a:pt x="0" y="1430"/>
                  </a:cubicBezTo>
                  <a:lnTo>
                    <a:pt x="0" y="1430"/>
                  </a:lnTo>
                  <a:cubicBezTo>
                    <a:pt x="0" y="1422"/>
                    <a:pt x="0" y="1422"/>
                    <a:pt x="0" y="1422"/>
                  </a:cubicBezTo>
                  <a:cubicBezTo>
                    <a:pt x="24" y="1003"/>
                    <a:pt x="55" y="411"/>
                    <a:pt x="79" y="8"/>
                  </a:cubicBezTo>
                  <a:cubicBezTo>
                    <a:pt x="79" y="0"/>
                    <a:pt x="79" y="0"/>
                    <a:pt x="79" y="0"/>
                  </a:cubicBezTo>
                  <a:lnTo>
                    <a:pt x="79" y="0"/>
                  </a:lnTo>
                  <a:cubicBezTo>
                    <a:pt x="277" y="16"/>
                    <a:pt x="1312" y="63"/>
                    <a:pt x="2039" y="63"/>
                  </a:cubicBezTo>
                  <a:cubicBezTo>
                    <a:pt x="2228" y="63"/>
                    <a:pt x="2378" y="63"/>
                    <a:pt x="2497" y="55"/>
                  </a:cubicBezTo>
                  <a:lnTo>
                    <a:pt x="2497" y="55"/>
                  </a:lnTo>
                  <a:cubicBezTo>
                    <a:pt x="2568" y="126"/>
                    <a:pt x="2568" y="126"/>
                    <a:pt x="2568" y="126"/>
                  </a:cubicBezTo>
                  <a:lnTo>
                    <a:pt x="2576" y="126"/>
                  </a:lnTo>
                  <a:cubicBezTo>
                    <a:pt x="2576" y="126"/>
                    <a:pt x="2576" y="111"/>
                    <a:pt x="2576" y="103"/>
                  </a:cubicBezTo>
                  <a:cubicBezTo>
                    <a:pt x="2576" y="95"/>
                    <a:pt x="2584" y="87"/>
                    <a:pt x="2600" y="87"/>
                  </a:cubicBezTo>
                  <a:cubicBezTo>
                    <a:pt x="2608" y="87"/>
                    <a:pt x="2624" y="95"/>
                    <a:pt x="2624" y="111"/>
                  </a:cubicBezTo>
                  <a:cubicBezTo>
                    <a:pt x="2624" y="119"/>
                    <a:pt x="2631" y="126"/>
                    <a:pt x="2639" y="134"/>
                  </a:cubicBezTo>
                  <a:cubicBezTo>
                    <a:pt x="2647" y="142"/>
                    <a:pt x="2655" y="142"/>
                    <a:pt x="2663" y="158"/>
                  </a:cubicBezTo>
                  <a:cubicBezTo>
                    <a:pt x="2671" y="166"/>
                    <a:pt x="2671" y="174"/>
                    <a:pt x="2663" y="182"/>
                  </a:cubicBezTo>
                  <a:cubicBezTo>
                    <a:pt x="2663" y="190"/>
                    <a:pt x="2655" y="190"/>
                    <a:pt x="2639" y="190"/>
                  </a:cubicBezTo>
                  <a:cubicBezTo>
                    <a:pt x="2639" y="190"/>
                    <a:pt x="2639" y="190"/>
                    <a:pt x="2631" y="197"/>
                  </a:cubicBezTo>
                  <a:cubicBezTo>
                    <a:pt x="2616" y="197"/>
                    <a:pt x="2592" y="221"/>
                    <a:pt x="2568" y="245"/>
                  </a:cubicBezTo>
                  <a:cubicBezTo>
                    <a:pt x="2568" y="253"/>
                    <a:pt x="2568" y="253"/>
                    <a:pt x="2568" y="253"/>
                  </a:cubicBezTo>
                  <a:cubicBezTo>
                    <a:pt x="2560" y="261"/>
                    <a:pt x="2560" y="261"/>
                    <a:pt x="2560" y="269"/>
                  </a:cubicBezTo>
                  <a:cubicBezTo>
                    <a:pt x="2560" y="277"/>
                    <a:pt x="2576" y="277"/>
                    <a:pt x="2584" y="284"/>
                  </a:cubicBezTo>
                  <a:cubicBezTo>
                    <a:pt x="2600" y="292"/>
                    <a:pt x="2616" y="300"/>
                    <a:pt x="2624" y="308"/>
                  </a:cubicBezTo>
                  <a:cubicBezTo>
                    <a:pt x="2631" y="308"/>
                    <a:pt x="2631" y="308"/>
                    <a:pt x="2631" y="308"/>
                  </a:cubicBezTo>
                  <a:cubicBezTo>
                    <a:pt x="2663" y="332"/>
                    <a:pt x="2663" y="332"/>
                    <a:pt x="2663" y="364"/>
                  </a:cubicBezTo>
                  <a:cubicBezTo>
                    <a:pt x="2655" y="379"/>
                    <a:pt x="2671" y="395"/>
                    <a:pt x="2687" y="403"/>
                  </a:cubicBezTo>
                  <a:cubicBezTo>
                    <a:pt x="2695" y="411"/>
                    <a:pt x="2703" y="419"/>
                    <a:pt x="2711" y="427"/>
                  </a:cubicBezTo>
                  <a:cubicBezTo>
                    <a:pt x="2711" y="427"/>
                    <a:pt x="2718" y="435"/>
                    <a:pt x="2726" y="435"/>
                  </a:cubicBezTo>
                  <a:cubicBezTo>
                    <a:pt x="2750" y="443"/>
                    <a:pt x="2766" y="450"/>
                    <a:pt x="2758" y="537"/>
                  </a:cubicBezTo>
                  <a:cubicBezTo>
                    <a:pt x="2750" y="664"/>
                    <a:pt x="2766" y="1469"/>
                    <a:pt x="2766" y="1477"/>
                  </a:cubicBezTo>
                  <a:lnTo>
                    <a:pt x="2766" y="1477"/>
                  </a:lnTo>
                  <a:cubicBezTo>
                    <a:pt x="2758" y="1477"/>
                    <a:pt x="2758" y="1477"/>
                    <a:pt x="2758" y="1477"/>
                  </a:cubicBezTo>
                  <a:cubicBezTo>
                    <a:pt x="2568" y="1477"/>
                    <a:pt x="2378" y="1485"/>
                    <a:pt x="2181" y="1485"/>
                  </a:cubicBezTo>
                  <a:close/>
                  <a:moveTo>
                    <a:pt x="8" y="1422"/>
                  </a:moveTo>
                  <a:lnTo>
                    <a:pt x="8" y="1422"/>
                  </a:lnTo>
                  <a:cubicBezTo>
                    <a:pt x="711" y="1453"/>
                    <a:pt x="1447" y="1477"/>
                    <a:pt x="2181" y="1477"/>
                  </a:cubicBezTo>
                  <a:lnTo>
                    <a:pt x="2181" y="1477"/>
                  </a:lnTo>
                  <a:cubicBezTo>
                    <a:pt x="2371" y="1477"/>
                    <a:pt x="2568" y="1477"/>
                    <a:pt x="2758" y="1469"/>
                  </a:cubicBezTo>
                  <a:cubicBezTo>
                    <a:pt x="2758" y="1414"/>
                    <a:pt x="2750" y="664"/>
                    <a:pt x="2758" y="537"/>
                  </a:cubicBezTo>
                  <a:cubicBezTo>
                    <a:pt x="2758" y="450"/>
                    <a:pt x="2742" y="443"/>
                    <a:pt x="2726" y="443"/>
                  </a:cubicBezTo>
                  <a:cubicBezTo>
                    <a:pt x="2718" y="435"/>
                    <a:pt x="2711" y="435"/>
                    <a:pt x="2703" y="427"/>
                  </a:cubicBezTo>
                  <a:cubicBezTo>
                    <a:pt x="2695" y="427"/>
                    <a:pt x="2695" y="419"/>
                    <a:pt x="2687" y="411"/>
                  </a:cubicBezTo>
                  <a:cubicBezTo>
                    <a:pt x="2671" y="395"/>
                    <a:pt x="2647" y="387"/>
                    <a:pt x="2655" y="364"/>
                  </a:cubicBezTo>
                  <a:cubicBezTo>
                    <a:pt x="2655" y="332"/>
                    <a:pt x="2655" y="332"/>
                    <a:pt x="2631" y="316"/>
                  </a:cubicBezTo>
                  <a:cubicBezTo>
                    <a:pt x="2624" y="308"/>
                    <a:pt x="2624" y="308"/>
                    <a:pt x="2624" y="308"/>
                  </a:cubicBezTo>
                  <a:cubicBezTo>
                    <a:pt x="2608" y="300"/>
                    <a:pt x="2592" y="300"/>
                    <a:pt x="2584" y="292"/>
                  </a:cubicBezTo>
                  <a:cubicBezTo>
                    <a:pt x="2568" y="284"/>
                    <a:pt x="2552" y="277"/>
                    <a:pt x="2552" y="269"/>
                  </a:cubicBezTo>
                  <a:cubicBezTo>
                    <a:pt x="2552" y="261"/>
                    <a:pt x="2552" y="253"/>
                    <a:pt x="2560" y="245"/>
                  </a:cubicBezTo>
                  <a:lnTo>
                    <a:pt x="2560" y="245"/>
                  </a:lnTo>
                  <a:cubicBezTo>
                    <a:pt x="2592" y="213"/>
                    <a:pt x="2608" y="190"/>
                    <a:pt x="2631" y="190"/>
                  </a:cubicBezTo>
                  <a:lnTo>
                    <a:pt x="2639" y="182"/>
                  </a:lnTo>
                  <a:cubicBezTo>
                    <a:pt x="2647" y="182"/>
                    <a:pt x="2655" y="182"/>
                    <a:pt x="2663" y="174"/>
                  </a:cubicBezTo>
                  <a:cubicBezTo>
                    <a:pt x="2663" y="174"/>
                    <a:pt x="2663" y="166"/>
                    <a:pt x="2655" y="158"/>
                  </a:cubicBezTo>
                  <a:cubicBezTo>
                    <a:pt x="2647" y="150"/>
                    <a:pt x="2639" y="142"/>
                    <a:pt x="2639" y="134"/>
                  </a:cubicBezTo>
                  <a:cubicBezTo>
                    <a:pt x="2624" y="126"/>
                    <a:pt x="2616" y="126"/>
                    <a:pt x="2616" y="111"/>
                  </a:cubicBezTo>
                  <a:cubicBezTo>
                    <a:pt x="2616" y="95"/>
                    <a:pt x="2608" y="95"/>
                    <a:pt x="2600" y="95"/>
                  </a:cubicBezTo>
                  <a:cubicBezTo>
                    <a:pt x="2592" y="95"/>
                    <a:pt x="2584" y="95"/>
                    <a:pt x="2584" y="103"/>
                  </a:cubicBezTo>
                  <a:cubicBezTo>
                    <a:pt x="2584" y="119"/>
                    <a:pt x="2584" y="134"/>
                    <a:pt x="2576" y="134"/>
                  </a:cubicBezTo>
                  <a:cubicBezTo>
                    <a:pt x="2568" y="134"/>
                    <a:pt x="2568" y="134"/>
                    <a:pt x="2560" y="126"/>
                  </a:cubicBezTo>
                  <a:cubicBezTo>
                    <a:pt x="2489" y="63"/>
                    <a:pt x="2489" y="63"/>
                    <a:pt x="2489" y="63"/>
                  </a:cubicBezTo>
                  <a:cubicBezTo>
                    <a:pt x="2378" y="63"/>
                    <a:pt x="2220" y="71"/>
                    <a:pt x="2039" y="71"/>
                  </a:cubicBezTo>
                  <a:cubicBezTo>
                    <a:pt x="1320" y="71"/>
                    <a:pt x="292" y="24"/>
                    <a:pt x="87" y="8"/>
                  </a:cubicBezTo>
                  <a:cubicBezTo>
                    <a:pt x="63" y="411"/>
                    <a:pt x="31" y="995"/>
                    <a:pt x="8" y="1422"/>
                  </a:cubicBezTo>
                  <a:close/>
                </a:path>
              </a:pathLst>
            </a:custGeom>
            <a:solidFill>
              <a:schemeClr val="accent6"/>
            </a:solidFill>
            <a:ln>
              <a:solidFill>
                <a:schemeClr val="bg2"/>
              </a:solidFill>
            </a:ln>
            <a:effectLst/>
          </p:spPr>
          <p:txBody>
            <a:bodyPr wrap="none" anchor="ctr"/>
            <a:lstStyle/>
            <a:p>
              <a:endParaRPr lang="en-US"/>
            </a:p>
          </p:txBody>
        </p:sp>
        <p:sp>
          <p:nvSpPr>
            <p:cNvPr id="48" name="Freeform 384"/>
            <p:cNvSpPr>
              <a:spLocks noChangeArrowheads="1"/>
            </p:cNvSpPr>
            <p:nvPr/>
          </p:nvSpPr>
          <p:spPr bwMode="auto">
            <a:xfrm>
              <a:off x="5464169" y="4616743"/>
              <a:ext cx="1240388" cy="827647"/>
            </a:xfrm>
            <a:custGeom>
              <a:avLst/>
              <a:gdLst>
                <a:gd name="T0" fmla="*/ 3392 w 3440"/>
                <a:gd name="T1" fmla="*/ 2403 h 2649"/>
                <a:gd name="T2" fmla="*/ 3431 w 3440"/>
                <a:gd name="T3" fmla="*/ 2063 h 2649"/>
                <a:gd name="T4" fmla="*/ 3052 w 3440"/>
                <a:gd name="T5" fmla="*/ 1146 h 2649"/>
                <a:gd name="T6" fmla="*/ 2981 w 3440"/>
                <a:gd name="T7" fmla="*/ 1027 h 2649"/>
                <a:gd name="T8" fmla="*/ 2965 w 3440"/>
                <a:gd name="T9" fmla="*/ 948 h 2649"/>
                <a:gd name="T10" fmla="*/ 3052 w 3440"/>
                <a:gd name="T11" fmla="*/ 1035 h 2649"/>
                <a:gd name="T12" fmla="*/ 2680 w 3440"/>
                <a:gd name="T13" fmla="*/ 458 h 2649"/>
                <a:gd name="T14" fmla="*/ 2514 w 3440"/>
                <a:gd name="T15" fmla="*/ 63 h 2649"/>
                <a:gd name="T16" fmla="*/ 2491 w 3440"/>
                <a:gd name="T17" fmla="*/ 15 h 2649"/>
                <a:gd name="T18" fmla="*/ 2285 w 3440"/>
                <a:gd name="T19" fmla="*/ 197 h 2649"/>
                <a:gd name="T20" fmla="*/ 2190 w 3440"/>
                <a:gd name="T21" fmla="*/ 134 h 2649"/>
                <a:gd name="T22" fmla="*/ 24 w 3440"/>
                <a:gd name="T23" fmla="*/ 237 h 2649"/>
                <a:gd name="T24" fmla="*/ 127 w 3440"/>
                <a:gd name="T25" fmla="*/ 458 h 2649"/>
                <a:gd name="T26" fmla="*/ 198 w 3440"/>
                <a:gd name="T27" fmla="*/ 474 h 2649"/>
                <a:gd name="T28" fmla="*/ 285 w 3440"/>
                <a:gd name="T29" fmla="*/ 403 h 2649"/>
                <a:gd name="T30" fmla="*/ 214 w 3440"/>
                <a:gd name="T31" fmla="*/ 506 h 2649"/>
                <a:gd name="T32" fmla="*/ 514 w 3440"/>
                <a:gd name="T33" fmla="*/ 395 h 2649"/>
                <a:gd name="T34" fmla="*/ 546 w 3440"/>
                <a:gd name="T35" fmla="*/ 419 h 2649"/>
                <a:gd name="T36" fmla="*/ 815 w 3440"/>
                <a:gd name="T37" fmla="*/ 521 h 2649"/>
                <a:gd name="T38" fmla="*/ 830 w 3440"/>
                <a:gd name="T39" fmla="*/ 450 h 2649"/>
                <a:gd name="T40" fmla="*/ 862 w 3440"/>
                <a:gd name="T41" fmla="*/ 513 h 2649"/>
                <a:gd name="T42" fmla="*/ 965 w 3440"/>
                <a:gd name="T43" fmla="*/ 672 h 2649"/>
                <a:gd name="T44" fmla="*/ 1241 w 3440"/>
                <a:gd name="T45" fmla="*/ 640 h 2649"/>
                <a:gd name="T46" fmla="*/ 1170 w 3440"/>
                <a:gd name="T47" fmla="*/ 735 h 2649"/>
                <a:gd name="T48" fmla="*/ 1352 w 3440"/>
                <a:gd name="T49" fmla="*/ 561 h 2649"/>
                <a:gd name="T50" fmla="*/ 1471 w 3440"/>
                <a:gd name="T51" fmla="*/ 458 h 2649"/>
                <a:gd name="T52" fmla="*/ 1811 w 3440"/>
                <a:gd name="T53" fmla="*/ 664 h 2649"/>
                <a:gd name="T54" fmla="*/ 2087 w 3440"/>
                <a:gd name="T55" fmla="*/ 853 h 2649"/>
                <a:gd name="T56" fmla="*/ 2174 w 3440"/>
                <a:gd name="T57" fmla="*/ 1106 h 2649"/>
                <a:gd name="T58" fmla="*/ 2159 w 3440"/>
                <a:gd name="T59" fmla="*/ 1415 h 2649"/>
                <a:gd name="T60" fmla="*/ 2214 w 3440"/>
                <a:gd name="T61" fmla="*/ 1367 h 2649"/>
                <a:gd name="T62" fmla="*/ 2324 w 3440"/>
                <a:gd name="T63" fmla="*/ 1423 h 2649"/>
                <a:gd name="T64" fmla="*/ 2222 w 3440"/>
                <a:gd name="T65" fmla="*/ 1589 h 2649"/>
                <a:gd name="T66" fmla="*/ 2451 w 3440"/>
                <a:gd name="T67" fmla="*/ 1865 h 2649"/>
                <a:gd name="T68" fmla="*/ 2530 w 3440"/>
                <a:gd name="T69" fmla="*/ 1818 h 2649"/>
                <a:gd name="T70" fmla="*/ 2609 w 3440"/>
                <a:gd name="T71" fmla="*/ 1992 h 2649"/>
                <a:gd name="T72" fmla="*/ 2672 w 3440"/>
                <a:gd name="T73" fmla="*/ 2071 h 2649"/>
                <a:gd name="T74" fmla="*/ 2902 w 3440"/>
                <a:gd name="T75" fmla="*/ 2276 h 2649"/>
                <a:gd name="T76" fmla="*/ 3123 w 3440"/>
                <a:gd name="T77" fmla="*/ 2474 h 2649"/>
                <a:gd name="T78" fmla="*/ 3052 w 3440"/>
                <a:gd name="T79" fmla="*/ 2490 h 2649"/>
                <a:gd name="T80" fmla="*/ 3194 w 3440"/>
                <a:gd name="T81" fmla="*/ 2537 h 2649"/>
                <a:gd name="T82" fmla="*/ 3360 w 3440"/>
                <a:gd name="T83" fmla="*/ 2506 h 2649"/>
                <a:gd name="T84" fmla="*/ 3352 w 3440"/>
                <a:gd name="T85" fmla="*/ 2593 h 2649"/>
                <a:gd name="T86" fmla="*/ 3321 w 3440"/>
                <a:gd name="T87" fmla="*/ 1849 h 2649"/>
                <a:gd name="T88" fmla="*/ 3242 w 3440"/>
                <a:gd name="T89" fmla="*/ 1929 h 2649"/>
                <a:gd name="T90" fmla="*/ 3131 w 3440"/>
                <a:gd name="T91" fmla="*/ 1810 h 2649"/>
                <a:gd name="T92" fmla="*/ 3234 w 3440"/>
                <a:gd name="T93" fmla="*/ 1683 h 2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40" h="2649">
                  <a:moveTo>
                    <a:pt x="3400" y="2434"/>
                  </a:moveTo>
                  <a:lnTo>
                    <a:pt x="3400" y="2434"/>
                  </a:lnTo>
                  <a:cubicBezTo>
                    <a:pt x="3384" y="2434"/>
                    <a:pt x="3384" y="2427"/>
                    <a:pt x="3392" y="2403"/>
                  </a:cubicBezTo>
                  <a:cubicBezTo>
                    <a:pt x="3408" y="2371"/>
                    <a:pt x="3392" y="2387"/>
                    <a:pt x="3384" y="2355"/>
                  </a:cubicBezTo>
                  <a:cubicBezTo>
                    <a:pt x="3384" y="2324"/>
                    <a:pt x="3360" y="2316"/>
                    <a:pt x="3384" y="2284"/>
                  </a:cubicBezTo>
                  <a:cubicBezTo>
                    <a:pt x="3408" y="2253"/>
                    <a:pt x="3431" y="2102"/>
                    <a:pt x="3431" y="2063"/>
                  </a:cubicBezTo>
                  <a:cubicBezTo>
                    <a:pt x="3423" y="2023"/>
                    <a:pt x="3416" y="2000"/>
                    <a:pt x="3423" y="1905"/>
                  </a:cubicBezTo>
                  <a:cubicBezTo>
                    <a:pt x="3439" y="1810"/>
                    <a:pt x="3392" y="1620"/>
                    <a:pt x="3305" y="1549"/>
                  </a:cubicBezTo>
                  <a:cubicBezTo>
                    <a:pt x="3210" y="1486"/>
                    <a:pt x="3202" y="1320"/>
                    <a:pt x="3052" y="1146"/>
                  </a:cubicBezTo>
                  <a:cubicBezTo>
                    <a:pt x="3052" y="1146"/>
                    <a:pt x="3044" y="1075"/>
                    <a:pt x="3036" y="1083"/>
                  </a:cubicBezTo>
                  <a:cubicBezTo>
                    <a:pt x="3020" y="1083"/>
                    <a:pt x="3012" y="1099"/>
                    <a:pt x="3012" y="1083"/>
                  </a:cubicBezTo>
                  <a:cubicBezTo>
                    <a:pt x="3004" y="1067"/>
                    <a:pt x="2997" y="1059"/>
                    <a:pt x="2981" y="1027"/>
                  </a:cubicBezTo>
                  <a:cubicBezTo>
                    <a:pt x="2965" y="996"/>
                    <a:pt x="2910" y="901"/>
                    <a:pt x="2917" y="893"/>
                  </a:cubicBezTo>
                  <a:cubicBezTo>
                    <a:pt x="2925" y="885"/>
                    <a:pt x="2925" y="909"/>
                    <a:pt x="2941" y="917"/>
                  </a:cubicBezTo>
                  <a:cubicBezTo>
                    <a:pt x="2957" y="932"/>
                    <a:pt x="2957" y="948"/>
                    <a:pt x="2965" y="948"/>
                  </a:cubicBezTo>
                  <a:cubicBezTo>
                    <a:pt x="2981" y="948"/>
                    <a:pt x="2981" y="932"/>
                    <a:pt x="2989" y="940"/>
                  </a:cubicBezTo>
                  <a:cubicBezTo>
                    <a:pt x="2997" y="940"/>
                    <a:pt x="3020" y="964"/>
                    <a:pt x="3028" y="996"/>
                  </a:cubicBezTo>
                  <a:cubicBezTo>
                    <a:pt x="3036" y="1027"/>
                    <a:pt x="3044" y="1051"/>
                    <a:pt x="3052" y="1035"/>
                  </a:cubicBezTo>
                  <a:cubicBezTo>
                    <a:pt x="3060" y="1012"/>
                    <a:pt x="3060" y="996"/>
                    <a:pt x="3020" y="924"/>
                  </a:cubicBezTo>
                  <a:cubicBezTo>
                    <a:pt x="2973" y="853"/>
                    <a:pt x="2957" y="853"/>
                    <a:pt x="2941" y="846"/>
                  </a:cubicBezTo>
                  <a:cubicBezTo>
                    <a:pt x="2925" y="830"/>
                    <a:pt x="2704" y="506"/>
                    <a:pt x="2680" y="458"/>
                  </a:cubicBezTo>
                  <a:cubicBezTo>
                    <a:pt x="2680" y="458"/>
                    <a:pt x="2593" y="268"/>
                    <a:pt x="2570" y="229"/>
                  </a:cubicBezTo>
                  <a:cubicBezTo>
                    <a:pt x="2554" y="181"/>
                    <a:pt x="2562" y="158"/>
                    <a:pt x="2538" y="126"/>
                  </a:cubicBezTo>
                  <a:cubicBezTo>
                    <a:pt x="2514" y="95"/>
                    <a:pt x="2506" y="102"/>
                    <a:pt x="2514" y="63"/>
                  </a:cubicBezTo>
                  <a:cubicBezTo>
                    <a:pt x="2522" y="23"/>
                    <a:pt x="2522" y="23"/>
                    <a:pt x="2499" y="7"/>
                  </a:cubicBezTo>
                  <a:lnTo>
                    <a:pt x="2499" y="7"/>
                  </a:lnTo>
                  <a:cubicBezTo>
                    <a:pt x="2491" y="7"/>
                    <a:pt x="2491" y="7"/>
                    <a:pt x="2491" y="15"/>
                  </a:cubicBezTo>
                  <a:cubicBezTo>
                    <a:pt x="2475" y="55"/>
                    <a:pt x="2301" y="0"/>
                    <a:pt x="2277" y="15"/>
                  </a:cubicBezTo>
                  <a:cubicBezTo>
                    <a:pt x="2253" y="23"/>
                    <a:pt x="2261" y="47"/>
                    <a:pt x="2285" y="79"/>
                  </a:cubicBezTo>
                  <a:cubicBezTo>
                    <a:pt x="2301" y="110"/>
                    <a:pt x="2285" y="158"/>
                    <a:pt x="2285" y="197"/>
                  </a:cubicBezTo>
                  <a:cubicBezTo>
                    <a:pt x="2285" y="237"/>
                    <a:pt x="2269" y="229"/>
                    <a:pt x="2238" y="221"/>
                  </a:cubicBezTo>
                  <a:cubicBezTo>
                    <a:pt x="2206" y="221"/>
                    <a:pt x="2214" y="181"/>
                    <a:pt x="2206" y="158"/>
                  </a:cubicBezTo>
                  <a:cubicBezTo>
                    <a:pt x="2198" y="134"/>
                    <a:pt x="2190" y="134"/>
                    <a:pt x="2190" y="134"/>
                  </a:cubicBezTo>
                  <a:cubicBezTo>
                    <a:pt x="2190" y="134"/>
                    <a:pt x="1154" y="213"/>
                    <a:pt x="1139" y="213"/>
                  </a:cubicBezTo>
                  <a:cubicBezTo>
                    <a:pt x="1131" y="213"/>
                    <a:pt x="1052" y="87"/>
                    <a:pt x="1052" y="87"/>
                  </a:cubicBezTo>
                  <a:cubicBezTo>
                    <a:pt x="1052" y="87"/>
                    <a:pt x="40" y="205"/>
                    <a:pt x="24" y="237"/>
                  </a:cubicBezTo>
                  <a:cubicBezTo>
                    <a:pt x="0" y="260"/>
                    <a:pt x="64" y="300"/>
                    <a:pt x="95" y="324"/>
                  </a:cubicBezTo>
                  <a:cubicBezTo>
                    <a:pt x="127" y="347"/>
                    <a:pt x="111" y="363"/>
                    <a:pt x="103" y="387"/>
                  </a:cubicBezTo>
                  <a:cubicBezTo>
                    <a:pt x="95" y="411"/>
                    <a:pt x="127" y="442"/>
                    <a:pt x="127" y="458"/>
                  </a:cubicBezTo>
                  <a:cubicBezTo>
                    <a:pt x="135" y="466"/>
                    <a:pt x="119" y="498"/>
                    <a:pt x="103" y="521"/>
                  </a:cubicBezTo>
                  <a:cubicBezTo>
                    <a:pt x="119" y="529"/>
                    <a:pt x="127" y="537"/>
                    <a:pt x="143" y="521"/>
                  </a:cubicBezTo>
                  <a:cubicBezTo>
                    <a:pt x="166" y="506"/>
                    <a:pt x="182" y="506"/>
                    <a:pt x="198" y="474"/>
                  </a:cubicBezTo>
                  <a:cubicBezTo>
                    <a:pt x="214" y="442"/>
                    <a:pt x="198" y="419"/>
                    <a:pt x="222" y="411"/>
                  </a:cubicBezTo>
                  <a:cubicBezTo>
                    <a:pt x="237" y="403"/>
                    <a:pt x="253" y="426"/>
                    <a:pt x="261" y="426"/>
                  </a:cubicBezTo>
                  <a:cubicBezTo>
                    <a:pt x="269" y="419"/>
                    <a:pt x="261" y="387"/>
                    <a:pt x="285" y="403"/>
                  </a:cubicBezTo>
                  <a:cubicBezTo>
                    <a:pt x="317" y="419"/>
                    <a:pt x="340" y="442"/>
                    <a:pt x="309" y="450"/>
                  </a:cubicBezTo>
                  <a:cubicBezTo>
                    <a:pt x="277" y="450"/>
                    <a:pt x="269" y="466"/>
                    <a:pt x="253" y="474"/>
                  </a:cubicBezTo>
                  <a:cubicBezTo>
                    <a:pt x="237" y="490"/>
                    <a:pt x="182" y="498"/>
                    <a:pt x="214" y="506"/>
                  </a:cubicBezTo>
                  <a:cubicBezTo>
                    <a:pt x="246" y="513"/>
                    <a:pt x="261" y="490"/>
                    <a:pt x="317" y="482"/>
                  </a:cubicBezTo>
                  <a:cubicBezTo>
                    <a:pt x="364" y="474"/>
                    <a:pt x="451" y="458"/>
                    <a:pt x="467" y="434"/>
                  </a:cubicBezTo>
                  <a:cubicBezTo>
                    <a:pt x="483" y="403"/>
                    <a:pt x="475" y="395"/>
                    <a:pt x="514" y="395"/>
                  </a:cubicBezTo>
                  <a:cubicBezTo>
                    <a:pt x="546" y="395"/>
                    <a:pt x="562" y="379"/>
                    <a:pt x="593" y="387"/>
                  </a:cubicBezTo>
                  <a:cubicBezTo>
                    <a:pt x="625" y="387"/>
                    <a:pt x="641" y="411"/>
                    <a:pt x="609" y="411"/>
                  </a:cubicBezTo>
                  <a:cubicBezTo>
                    <a:pt x="577" y="411"/>
                    <a:pt x="562" y="403"/>
                    <a:pt x="546" y="419"/>
                  </a:cubicBezTo>
                  <a:cubicBezTo>
                    <a:pt x="522" y="426"/>
                    <a:pt x="475" y="419"/>
                    <a:pt x="490" y="434"/>
                  </a:cubicBezTo>
                  <a:cubicBezTo>
                    <a:pt x="506" y="450"/>
                    <a:pt x="514" y="442"/>
                    <a:pt x="562" y="442"/>
                  </a:cubicBezTo>
                  <a:cubicBezTo>
                    <a:pt x="601" y="442"/>
                    <a:pt x="791" y="498"/>
                    <a:pt x="815" y="521"/>
                  </a:cubicBezTo>
                  <a:cubicBezTo>
                    <a:pt x="830" y="545"/>
                    <a:pt x="830" y="529"/>
                    <a:pt x="823" y="506"/>
                  </a:cubicBezTo>
                  <a:cubicBezTo>
                    <a:pt x="815" y="482"/>
                    <a:pt x="775" y="490"/>
                    <a:pt x="791" y="466"/>
                  </a:cubicBezTo>
                  <a:cubicBezTo>
                    <a:pt x="807" y="434"/>
                    <a:pt x="807" y="450"/>
                    <a:pt x="830" y="450"/>
                  </a:cubicBezTo>
                  <a:cubicBezTo>
                    <a:pt x="854" y="450"/>
                    <a:pt x="870" y="426"/>
                    <a:pt x="870" y="442"/>
                  </a:cubicBezTo>
                  <a:cubicBezTo>
                    <a:pt x="870" y="458"/>
                    <a:pt x="830" y="458"/>
                    <a:pt x="846" y="482"/>
                  </a:cubicBezTo>
                  <a:cubicBezTo>
                    <a:pt x="854" y="506"/>
                    <a:pt x="854" y="506"/>
                    <a:pt x="862" y="513"/>
                  </a:cubicBezTo>
                  <a:cubicBezTo>
                    <a:pt x="870" y="529"/>
                    <a:pt x="838" y="537"/>
                    <a:pt x="846" y="545"/>
                  </a:cubicBezTo>
                  <a:cubicBezTo>
                    <a:pt x="854" y="553"/>
                    <a:pt x="989" y="616"/>
                    <a:pt x="989" y="640"/>
                  </a:cubicBezTo>
                  <a:cubicBezTo>
                    <a:pt x="989" y="664"/>
                    <a:pt x="957" y="656"/>
                    <a:pt x="965" y="672"/>
                  </a:cubicBezTo>
                  <a:cubicBezTo>
                    <a:pt x="973" y="695"/>
                    <a:pt x="989" y="711"/>
                    <a:pt x="1012" y="719"/>
                  </a:cubicBezTo>
                  <a:cubicBezTo>
                    <a:pt x="1028" y="727"/>
                    <a:pt x="1068" y="711"/>
                    <a:pt x="1123" y="695"/>
                  </a:cubicBezTo>
                  <a:cubicBezTo>
                    <a:pt x="1178" y="679"/>
                    <a:pt x="1226" y="640"/>
                    <a:pt x="1241" y="640"/>
                  </a:cubicBezTo>
                  <a:cubicBezTo>
                    <a:pt x="1249" y="648"/>
                    <a:pt x="1241" y="664"/>
                    <a:pt x="1210" y="679"/>
                  </a:cubicBezTo>
                  <a:cubicBezTo>
                    <a:pt x="1178" y="695"/>
                    <a:pt x="1163" y="711"/>
                    <a:pt x="1147" y="727"/>
                  </a:cubicBezTo>
                  <a:cubicBezTo>
                    <a:pt x="1123" y="735"/>
                    <a:pt x="1147" y="750"/>
                    <a:pt x="1170" y="735"/>
                  </a:cubicBezTo>
                  <a:cubicBezTo>
                    <a:pt x="1194" y="719"/>
                    <a:pt x="1257" y="679"/>
                    <a:pt x="1257" y="640"/>
                  </a:cubicBezTo>
                  <a:cubicBezTo>
                    <a:pt x="1265" y="600"/>
                    <a:pt x="1273" y="608"/>
                    <a:pt x="1289" y="600"/>
                  </a:cubicBezTo>
                  <a:cubicBezTo>
                    <a:pt x="1305" y="585"/>
                    <a:pt x="1321" y="561"/>
                    <a:pt x="1352" y="561"/>
                  </a:cubicBezTo>
                  <a:cubicBezTo>
                    <a:pt x="1392" y="561"/>
                    <a:pt x="1407" y="569"/>
                    <a:pt x="1400" y="545"/>
                  </a:cubicBezTo>
                  <a:cubicBezTo>
                    <a:pt x="1392" y="529"/>
                    <a:pt x="1360" y="521"/>
                    <a:pt x="1392" y="498"/>
                  </a:cubicBezTo>
                  <a:cubicBezTo>
                    <a:pt x="1431" y="474"/>
                    <a:pt x="1400" y="458"/>
                    <a:pt x="1471" y="458"/>
                  </a:cubicBezTo>
                  <a:cubicBezTo>
                    <a:pt x="1542" y="466"/>
                    <a:pt x="1574" y="482"/>
                    <a:pt x="1613" y="506"/>
                  </a:cubicBezTo>
                  <a:cubicBezTo>
                    <a:pt x="1653" y="521"/>
                    <a:pt x="1740" y="608"/>
                    <a:pt x="1771" y="624"/>
                  </a:cubicBezTo>
                  <a:cubicBezTo>
                    <a:pt x="1795" y="632"/>
                    <a:pt x="1787" y="632"/>
                    <a:pt x="1811" y="664"/>
                  </a:cubicBezTo>
                  <a:cubicBezTo>
                    <a:pt x="1827" y="695"/>
                    <a:pt x="1850" y="711"/>
                    <a:pt x="1898" y="735"/>
                  </a:cubicBezTo>
                  <a:cubicBezTo>
                    <a:pt x="1937" y="766"/>
                    <a:pt x="1937" y="822"/>
                    <a:pt x="2000" y="822"/>
                  </a:cubicBezTo>
                  <a:cubicBezTo>
                    <a:pt x="2071" y="822"/>
                    <a:pt x="2080" y="822"/>
                    <a:pt x="2087" y="853"/>
                  </a:cubicBezTo>
                  <a:cubicBezTo>
                    <a:pt x="2103" y="893"/>
                    <a:pt x="2111" y="924"/>
                    <a:pt x="2135" y="932"/>
                  </a:cubicBezTo>
                  <a:cubicBezTo>
                    <a:pt x="2159" y="940"/>
                    <a:pt x="2159" y="948"/>
                    <a:pt x="2166" y="988"/>
                  </a:cubicBezTo>
                  <a:cubicBezTo>
                    <a:pt x="2174" y="1027"/>
                    <a:pt x="2190" y="1059"/>
                    <a:pt x="2174" y="1106"/>
                  </a:cubicBezTo>
                  <a:cubicBezTo>
                    <a:pt x="2166" y="1154"/>
                    <a:pt x="2166" y="1201"/>
                    <a:pt x="2166" y="1241"/>
                  </a:cubicBezTo>
                  <a:cubicBezTo>
                    <a:pt x="2159" y="1280"/>
                    <a:pt x="2135" y="1296"/>
                    <a:pt x="2143" y="1336"/>
                  </a:cubicBezTo>
                  <a:cubicBezTo>
                    <a:pt x="2151" y="1367"/>
                    <a:pt x="2166" y="1375"/>
                    <a:pt x="2159" y="1415"/>
                  </a:cubicBezTo>
                  <a:cubicBezTo>
                    <a:pt x="2159" y="1454"/>
                    <a:pt x="2174" y="1486"/>
                    <a:pt x="2198" y="1486"/>
                  </a:cubicBezTo>
                  <a:cubicBezTo>
                    <a:pt x="2230" y="1486"/>
                    <a:pt x="2253" y="1486"/>
                    <a:pt x="2246" y="1454"/>
                  </a:cubicBezTo>
                  <a:cubicBezTo>
                    <a:pt x="2238" y="1423"/>
                    <a:pt x="2214" y="1399"/>
                    <a:pt x="2214" y="1367"/>
                  </a:cubicBezTo>
                  <a:cubicBezTo>
                    <a:pt x="2214" y="1336"/>
                    <a:pt x="2230" y="1328"/>
                    <a:pt x="2253" y="1359"/>
                  </a:cubicBezTo>
                  <a:cubicBezTo>
                    <a:pt x="2269" y="1391"/>
                    <a:pt x="2269" y="1383"/>
                    <a:pt x="2293" y="1391"/>
                  </a:cubicBezTo>
                  <a:cubicBezTo>
                    <a:pt x="2317" y="1391"/>
                    <a:pt x="2324" y="1383"/>
                    <a:pt x="2324" y="1423"/>
                  </a:cubicBezTo>
                  <a:cubicBezTo>
                    <a:pt x="2317" y="1454"/>
                    <a:pt x="2277" y="1510"/>
                    <a:pt x="2277" y="1533"/>
                  </a:cubicBezTo>
                  <a:cubicBezTo>
                    <a:pt x="2277" y="1549"/>
                    <a:pt x="2269" y="1565"/>
                    <a:pt x="2246" y="1565"/>
                  </a:cubicBezTo>
                  <a:cubicBezTo>
                    <a:pt x="2230" y="1573"/>
                    <a:pt x="2198" y="1573"/>
                    <a:pt x="2222" y="1589"/>
                  </a:cubicBezTo>
                  <a:cubicBezTo>
                    <a:pt x="2246" y="1604"/>
                    <a:pt x="2246" y="1557"/>
                    <a:pt x="2277" y="1612"/>
                  </a:cubicBezTo>
                  <a:cubicBezTo>
                    <a:pt x="2301" y="1668"/>
                    <a:pt x="2293" y="1683"/>
                    <a:pt x="2333" y="1739"/>
                  </a:cubicBezTo>
                  <a:cubicBezTo>
                    <a:pt x="2364" y="1802"/>
                    <a:pt x="2419" y="1857"/>
                    <a:pt x="2451" y="1865"/>
                  </a:cubicBezTo>
                  <a:cubicBezTo>
                    <a:pt x="2475" y="1881"/>
                    <a:pt x="2514" y="1881"/>
                    <a:pt x="2499" y="1849"/>
                  </a:cubicBezTo>
                  <a:cubicBezTo>
                    <a:pt x="2483" y="1818"/>
                    <a:pt x="2451" y="1794"/>
                    <a:pt x="2483" y="1802"/>
                  </a:cubicBezTo>
                  <a:cubicBezTo>
                    <a:pt x="2514" y="1810"/>
                    <a:pt x="2514" y="1834"/>
                    <a:pt x="2530" y="1818"/>
                  </a:cubicBezTo>
                  <a:cubicBezTo>
                    <a:pt x="2554" y="1810"/>
                    <a:pt x="2570" y="1818"/>
                    <a:pt x="2554" y="1849"/>
                  </a:cubicBezTo>
                  <a:cubicBezTo>
                    <a:pt x="2546" y="1873"/>
                    <a:pt x="2538" y="1913"/>
                    <a:pt x="2554" y="1936"/>
                  </a:cubicBezTo>
                  <a:cubicBezTo>
                    <a:pt x="2562" y="1968"/>
                    <a:pt x="2601" y="2007"/>
                    <a:pt x="2609" y="1992"/>
                  </a:cubicBezTo>
                  <a:cubicBezTo>
                    <a:pt x="2617" y="1984"/>
                    <a:pt x="2625" y="1992"/>
                    <a:pt x="2625" y="2007"/>
                  </a:cubicBezTo>
                  <a:cubicBezTo>
                    <a:pt x="2625" y="2031"/>
                    <a:pt x="2625" y="2031"/>
                    <a:pt x="2649" y="2031"/>
                  </a:cubicBezTo>
                  <a:cubicBezTo>
                    <a:pt x="2664" y="2039"/>
                    <a:pt x="2664" y="2047"/>
                    <a:pt x="2672" y="2071"/>
                  </a:cubicBezTo>
                  <a:cubicBezTo>
                    <a:pt x="2672" y="2102"/>
                    <a:pt x="2696" y="2150"/>
                    <a:pt x="2728" y="2189"/>
                  </a:cubicBezTo>
                  <a:cubicBezTo>
                    <a:pt x="2752" y="2229"/>
                    <a:pt x="2752" y="2276"/>
                    <a:pt x="2783" y="2276"/>
                  </a:cubicBezTo>
                  <a:cubicBezTo>
                    <a:pt x="2815" y="2269"/>
                    <a:pt x="2862" y="2237"/>
                    <a:pt x="2902" y="2276"/>
                  </a:cubicBezTo>
                  <a:cubicBezTo>
                    <a:pt x="2941" y="2324"/>
                    <a:pt x="2981" y="2355"/>
                    <a:pt x="2997" y="2387"/>
                  </a:cubicBezTo>
                  <a:cubicBezTo>
                    <a:pt x="3012" y="2419"/>
                    <a:pt x="3036" y="2442"/>
                    <a:pt x="3052" y="2450"/>
                  </a:cubicBezTo>
                  <a:cubicBezTo>
                    <a:pt x="3068" y="2466"/>
                    <a:pt x="3107" y="2482"/>
                    <a:pt x="3123" y="2474"/>
                  </a:cubicBezTo>
                  <a:cubicBezTo>
                    <a:pt x="3139" y="2466"/>
                    <a:pt x="3147" y="2474"/>
                    <a:pt x="3131" y="2490"/>
                  </a:cubicBezTo>
                  <a:cubicBezTo>
                    <a:pt x="3123" y="2513"/>
                    <a:pt x="3123" y="2521"/>
                    <a:pt x="3099" y="2506"/>
                  </a:cubicBezTo>
                  <a:cubicBezTo>
                    <a:pt x="3083" y="2490"/>
                    <a:pt x="3060" y="2474"/>
                    <a:pt x="3052" y="2490"/>
                  </a:cubicBezTo>
                  <a:cubicBezTo>
                    <a:pt x="3036" y="2513"/>
                    <a:pt x="2997" y="2537"/>
                    <a:pt x="3060" y="2561"/>
                  </a:cubicBezTo>
                  <a:cubicBezTo>
                    <a:pt x="3123" y="2577"/>
                    <a:pt x="3099" y="2569"/>
                    <a:pt x="3131" y="2553"/>
                  </a:cubicBezTo>
                  <a:cubicBezTo>
                    <a:pt x="3163" y="2545"/>
                    <a:pt x="3147" y="2529"/>
                    <a:pt x="3194" y="2537"/>
                  </a:cubicBezTo>
                  <a:cubicBezTo>
                    <a:pt x="3242" y="2545"/>
                    <a:pt x="3250" y="2553"/>
                    <a:pt x="3257" y="2529"/>
                  </a:cubicBezTo>
                  <a:cubicBezTo>
                    <a:pt x="3265" y="2506"/>
                    <a:pt x="3281" y="2474"/>
                    <a:pt x="3313" y="2482"/>
                  </a:cubicBezTo>
                  <a:cubicBezTo>
                    <a:pt x="3344" y="2490"/>
                    <a:pt x="3368" y="2482"/>
                    <a:pt x="3360" y="2506"/>
                  </a:cubicBezTo>
                  <a:cubicBezTo>
                    <a:pt x="3352" y="2529"/>
                    <a:pt x="3336" y="2569"/>
                    <a:pt x="3313" y="2593"/>
                  </a:cubicBezTo>
                  <a:cubicBezTo>
                    <a:pt x="3297" y="2616"/>
                    <a:pt x="3281" y="2648"/>
                    <a:pt x="3297" y="2640"/>
                  </a:cubicBezTo>
                  <a:cubicBezTo>
                    <a:pt x="3321" y="2632"/>
                    <a:pt x="3329" y="2624"/>
                    <a:pt x="3352" y="2593"/>
                  </a:cubicBezTo>
                  <a:cubicBezTo>
                    <a:pt x="3368" y="2561"/>
                    <a:pt x="3423" y="2411"/>
                    <a:pt x="3416" y="2411"/>
                  </a:cubicBezTo>
                  <a:cubicBezTo>
                    <a:pt x="3408" y="2419"/>
                    <a:pt x="3408" y="2427"/>
                    <a:pt x="3400" y="2434"/>
                  </a:cubicBezTo>
                  <a:close/>
                  <a:moveTo>
                    <a:pt x="3321" y="1849"/>
                  </a:moveTo>
                  <a:lnTo>
                    <a:pt x="3321" y="1849"/>
                  </a:lnTo>
                  <a:cubicBezTo>
                    <a:pt x="3305" y="1865"/>
                    <a:pt x="3289" y="1873"/>
                    <a:pt x="3289" y="1913"/>
                  </a:cubicBezTo>
                  <a:cubicBezTo>
                    <a:pt x="3289" y="1952"/>
                    <a:pt x="3281" y="1936"/>
                    <a:pt x="3242" y="1929"/>
                  </a:cubicBezTo>
                  <a:cubicBezTo>
                    <a:pt x="3202" y="1929"/>
                    <a:pt x="3210" y="1913"/>
                    <a:pt x="3194" y="1881"/>
                  </a:cubicBezTo>
                  <a:cubicBezTo>
                    <a:pt x="3178" y="1857"/>
                    <a:pt x="3170" y="1865"/>
                    <a:pt x="3139" y="1849"/>
                  </a:cubicBezTo>
                  <a:cubicBezTo>
                    <a:pt x="3107" y="1841"/>
                    <a:pt x="3131" y="1826"/>
                    <a:pt x="3131" y="1810"/>
                  </a:cubicBezTo>
                  <a:cubicBezTo>
                    <a:pt x="3139" y="1794"/>
                    <a:pt x="3178" y="1754"/>
                    <a:pt x="3194" y="1747"/>
                  </a:cubicBezTo>
                  <a:cubicBezTo>
                    <a:pt x="3210" y="1739"/>
                    <a:pt x="3218" y="1723"/>
                    <a:pt x="3218" y="1707"/>
                  </a:cubicBezTo>
                  <a:cubicBezTo>
                    <a:pt x="3218" y="1699"/>
                    <a:pt x="3234" y="1683"/>
                    <a:pt x="3234" y="1683"/>
                  </a:cubicBezTo>
                  <a:cubicBezTo>
                    <a:pt x="3257" y="1676"/>
                    <a:pt x="3297" y="1747"/>
                    <a:pt x="3313" y="1778"/>
                  </a:cubicBezTo>
                  <a:cubicBezTo>
                    <a:pt x="3321" y="1802"/>
                    <a:pt x="3329" y="1841"/>
                    <a:pt x="3321" y="1849"/>
                  </a:cubicBezTo>
                  <a:close/>
                </a:path>
              </a:pathLst>
            </a:custGeom>
            <a:solidFill>
              <a:schemeClr val="accent6"/>
            </a:solidFill>
            <a:ln>
              <a:solidFill>
                <a:schemeClr val="bg2"/>
              </a:solidFill>
            </a:ln>
            <a:effectLst/>
          </p:spPr>
          <p:txBody>
            <a:bodyPr wrap="none" anchor="ctr"/>
            <a:lstStyle/>
            <a:p>
              <a:endParaRPr lang="en-US"/>
            </a:p>
          </p:txBody>
        </p:sp>
        <p:sp>
          <p:nvSpPr>
            <p:cNvPr id="49" name="Freeform 385"/>
            <p:cNvSpPr>
              <a:spLocks noChangeArrowheads="1"/>
            </p:cNvSpPr>
            <p:nvPr/>
          </p:nvSpPr>
          <p:spPr bwMode="auto">
            <a:xfrm>
              <a:off x="5470530" y="4616743"/>
              <a:ext cx="1234028" cy="824892"/>
            </a:xfrm>
            <a:custGeom>
              <a:avLst/>
              <a:gdLst>
                <a:gd name="T0" fmla="*/ 3249 w 3424"/>
                <a:gd name="T1" fmla="*/ 2529 h 2641"/>
                <a:gd name="T2" fmla="*/ 3004 w 3424"/>
                <a:gd name="T3" fmla="*/ 2537 h 2641"/>
                <a:gd name="T4" fmla="*/ 3107 w 3424"/>
                <a:gd name="T5" fmla="*/ 2474 h 2641"/>
                <a:gd name="T6" fmla="*/ 2704 w 3424"/>
                <a:gd name="T7" fmla="*/ 2189 h 2641"/>
                <a:gd name="T8" fmla="*/ 2538 w 3424"/>
                <a:gd name="T9" fmla="*/ 1841 h 2641"/>
                <a:gd name="T10" fmla="*/ 2467 w 3424"/>
                <a:gd name="T11" fmla="*/ 1881 h 2641"/>
                <a:gd name="T12" fmla="*/ 2222 w 3424"/>
                <a:gd name="T13" fmla="*/ 1565 h 2641"/>
                <a:gd name="T14" fmla="*/ 2214 w 3424"/>
                <a:gd name="T15" fmla="*/ 1343 h 2641"/>
                <a:gd name="T16" fmla="*/ 2119 w 3424"/>
                <a:gd name="T17" fmla="*/ 1336 h 2641"/>
                <a:gd name="T18" fmla="*/ 1992 w 3424"/>
                <a:gd name="T19" fmla="*/ 822 h 2641"/>
                <a:gd name="T20" fmla="*/ 1455 w 3424"/>
                <a:gd name="T21" fmla="*/ 466 h 2641"/>
                <a:gd name="T22" fmla="*/ 1289 w 3424"/>
                <a:gd name="T23" fmla="*/ 593 h 2641"/>
                <a:gd name="T24" fmla="*/ 1218 w 3424"/>
                <a:gd name="T25" fmla="*/ 648 h 2641"/>
                <a:gd name="T26" fmla="*/ 838 w 3424"/>
                <a:gd name="T27" fmla="*/ 545 h 2641"/>
                <a:gd name="T28" fmla="*/ 846 w 3424"/>
                <a:gd name="T29" fmla="*/ 442 h 2641"/>
                <a:gd name="T30" fmla="*/ 546 w 3424"/>
                <a:gd name="T31" fmla="*/ 450 h 2641"/>
                <a:gd name="T32" fmla="*/ 609 w 3424"/>
                <a:gd name="T33" fmla="*/ 403 h 2641"/>
                <a:gd name="T34" fmla="*/ 206 w 3424"/>
                <a:gd name="T35" fmla="*/ 513 h 2641"/>
                <a:gd name="T36" fmla="*/ 253 w 3424"/>
                <a:gd name="T37" fmla="*/ 411 h 2641"/>
                <a:gd name="T38" fmla="*/ 87 w 3424"/>
                <a:gd name="T39" fmla="*/ 521 h 2641"/>
                <a:gd name="T40" fmla="*/ 0 w 3424"/>
                <a:gd name="T41" fmla="*/ 237 h 2641"/>
                <a:gd name="T42" fmla="*/ 2222 w 3424"/>
                <a:gd name="T43" fmla="*/ 221 h 2641"/>
                <a:gd name="T44" fmla="*/ 2427 w 3424"/>
                <a:gd name="T45" fmla="*/ 23 h 2641"/>
                <a:gd name="T46" fmla="*/ 2546 w 3424"/>
                <a:gd name="T47" fmla="*/ 173 h 2641"/>
                <a:gd name="T48" fmla="*/ 3012 w 3424"/>
                <a:gd name="T49" fmla="*/ 996 h 2641"/>
                <a:gd name="T50" fmla="*/ 2949 w 3424"/>
                <a:gd name="T51" fmla="*/ 980 h 2641"/>
                <a:gd name="T52" fmla="*/ 3289 w 3424"/>
                <a:gd name="T53" fmla="*/ 1549 h 2641"/>
                <a:gd name="T54" fmla="*/ 3376 w 3424"/>
                <a:gd name="T55" fmla="*/ 2427 h 2641"/>
                <a:gd name="T56" fmla="*/ 3289 w 3424"/>
                <a:gd name="T57" fmla="*/ 2474 h 2641"/>
                <a:gd name="T58" fmla="*/ 3392 w 3424"/>
                <a:gd name="T59" fmla="*/ 2427 h 2641"/>
                <a:gd name="T60" fmla="*/ 3407 w 3424"/>
                <a:gd name="T61" fmla="*/ 1905 h 2641"/>
                <a:gd name="T62" fmla="*/ 2981 w 3424"/>
                <a:gd name="T63" fmla="*/ 1067 h 2641"/>
                <a:gd name="T64" fmla="*/ 2965 w 3424"/>
                <a:gd name="T65" fmla="*/ 940 h 2641"/>
                <a:gd name="T66" fmla="*/ 2925 w 3424"/>
                <a:gd name="T67" fmla="*/ 846 h 2641"/>
                <a:gd name="T68" fmla="*/ 2483 w 3424"/>
                <a:gd name="T69" fmla="*/ 15 h 2641"/>
                <a:gd name="T70" fmla="*/ 2230 w 3424"/>
                <a:gd name="T71" fmla="*/ 229 h 2641"/>
                <a:gd name="T72" fmla="*/ 79 w 3424"/>
                <a:gd name="T73" fmla="*/ 324 h 2641"/>
                <a:gd name="T74" fmla="*/ 190 w 3424"/>
                <a:gd name="T75" fmla="*/ 434 h 2641"/>
                <a:gd name="T76" fmla="*/ 253 w 3424"/>
                <a:gd name="T77" fmla="*/ 474 h 2641"/>
                <a:gd name="T78" fmla="*/ 498 w 3424"/>
                <a:gd name="T79" fmla="*/ 387 h 2641"/>
                <a:gd name="T80" fmla="*/ 474 w 3424"/>
                <a:gd name="T81" fmla="*/ 434 h 2641"/>
                <a:gd name="T82" fmla="*/ 791 w 3424"/>
                <a:gd name="T83" fmla="*/ 442 h 2641"/>
                <a:gd name="T84" fmla="*/ 838 w 3424"/>
                <a:gd name="T85" fmla="*/ 537 h 2641"/>
                <a:gd name="T86" fmla="*/ 1107 w 3424"/>
                <a:gd name="T87" fmla="*/ 687 h 2641"/>
                <a:gd name="T88" fmla="*/ 1265 w 3424"/>
                <a:gd name="T89" fmla="*/ 600 h 2641"/>
                <a:gd name="T90" fmla="*/ 1376 w 3424"/>
                <a:gd name="T91" fmla="*/ 498 h 2641"/>
                <a:gd name="T92" fmla="*/ 1921 w 3424"/>
                <a:gd name="T93" fmla="*/ 774 h 2641"/>
                <a:gd name="T94" fmla="*/ 2150 w 3424"/>
                <a:gd name="T95" fmla="*/ 1241 h 2641"/>
                <a:gd name="T96" fmla="*/ 2214 w 3424"/>
                <a:gd name="T97" fmla="*/ 1423 h 2641"/>
                <a:gd name="T98" fmla="*/ 2261 w 3424"/>
                <a:gd name="T99" fmla="*/ 1533 h 2641"/>
                <a:gd name="T100" fmla="*/ 2435 w 3424"/>
                <a:gd name="T101" fmla="*/ 1865 h 2641"/>
                <a:gd name="T102" fmla="*/ 2546 w 3424"/>
                <a:gd name="T103" fmla="*/ 1849 h 2641"/>
                <a:gd name="T104" fmla="*/ 2712 w 3424"/>
                <a:gd name="T105" fmla="*/ 2189 h 2641"/>
                <a:gd name="T106" fmla="*/ 3107 w 3424"/>
                <a:gd name="T107" fmla="*/ 2466 h 2641"/>
                <a:gd name="T108" fmla="*/ 3044 w 3424"/>
                <a:gd name="T109" fmla="*/ 2553 h 2641"/>
                <a:gd name="T110" fmla="*/ 3265 w 3424"/>
                <a:gd name="T111" fmla="*/ 1944 h 2641"/>
                <a:gd name="T112" fmla="*/ 3115 w 3424"/>
                <a:gd name="T113" fmla="*/ 1810 h 2641"/>
                <a:gd name="T114" fmla="*/ 3226 w 3424"/>
                <a:gd name="T115" fmla="*/ 1691 h 2641"/>
                <a:gd name="T116" fmla="*/ 3178 w 3424"/>
                <a:gd name="T117" fmla="*/ 1881 h 2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24" h="2641">
                  <a:moveTo>
                    <a:pt x="3281" y="2640"/>
                  </a:moveTo>
                  <a:lnTo>
                    <a:pt x="3281" y="2640"/>
                  </a:lnTo>
                  <a:cubicBezTo>
                    <a:pt x="3273" y="2640"/>
                    <a:pt x="3273" y="2640"/>
                    <a:pt x="3273" y="2640"/>
                  </a:cubicBezTo>
                  <a:cubicBezTo>
                    <a:pt x="3273" y="2640"/>
                    <a:pt x="3265" y="2632"/>
                    <a:pt x="3297" y="2593"/>
                  </a:cubicBezTo>
                  <a:cubicBezTo>
                    <a:pt x="3313" y="2569"/>
                    <a:pt x="3336" y="2529"/>
                    <a:pt x="3344" y="2506"/>
                  </a:cubicBezTo>
                  <a:cubicBezTo>
                    <a:pt x="3344" y="2498"/>
                    <a:pt x="3344" y="2498"/>
                    <a:pt x="3344" y="2498"/>
                  </a:cubicBezTo>
                  <a:cubicBezTo>
                    <a:pt x="3336" y="2490"/>
                    <a:pt x="3328" y="2490"/>
                    <a:pt x="3320" y="2490"/>
                  </a:cubicBezTo>
                  <a:cubicBezTo>
                    <a:pt x="3313" y="2482"/>
                    <a:pt x="3305" y="2482"/>
                    <a:pt x="3297" y="2482"/>
                  </a:cubicBezTo>
                  <a:lnTo>
                    <a:pt x="3289" y="2482"/>
                  </a:lnTo>
                  <a:cubicBezTo>
                    <a:pt x="3265" y="2482"/>
                    <a:pt x="3257" y="2513"/>
                    <a:pt x="3249" y="2529"/>
                  </a:cubicBezTo>
                  <a:cubicBezTo>
                    <a:pt x="3241" y="2545"/>
                    <a:pt x="3234" y="2553"/>
                    <a:pt x="3218" y="2553"/>
                  </a:cubicBezTo>
                  <a:cubicBezTo>
                    <a:pt x="3210" y="2553"/>
                    <a:pt x="3202" y="2545"/>
                    <a:pt x="3178" y="2545"/>
                  </a:cubicBezTo>
                  <a:lnTo>
                    <a:pt x="3178" y="2545"/>
                  </a:lnTo>
                  <a:cubicBezTo>
                    <a:pt x="3170" y="2545"/>
                    <a:pt x="3162" y="2537"/>
                    <a:pt x="3154" y="2537"/>
                  </a:cubicBezTo>
                  <a:cubicBezTo>
                    <a:pt x="3147" y="2537"/>
                    <a:pt x="3139" y="2545"/>
                    <a:pt x="3139" y="2545"/>
                  </a:cubicBezTo>
                  <a:cubicBezTo>
                    <a:pt x="3131" y="2553"/>
                    <a:pt x="3123" y="2553"/>
                    <a:pt x="3115" y="2561"/>
                  </a:cubicBezTo>
                  <a:cubicBezTo>
                    <a:pt x="3107" y="2561"/>
                    <a:pt x="3099" y="2569"/>
                    <a:pt x="3099" y="2569"/>
                  </a:cubicBezTo>
                  <a:cubicBezTo>
                    <a:pt x="3099" y="2569"/>
                    <a:pt x="3091" y="2577"/>
                    <a:pt x="3083" y="2577"/>
                  </a:cubicBezTo>
                  <a:cubicBezTo>
                    <a:pt x="3083" y="2577"/>
                    <a:pt x="3067" y="2569"/>
                    <a:pt x="3044" y="2561"/>
                  </a:cubicBezTo>
                  <a:cubicBezTo>
                    <a:pt x="3020" y="2553"/>
                    <a:pt x="3004" y="2545"/>
                    <a:pt x="3004" y="2537"/>
                  </a:cubicBezTo>
                  <a:cubicBezTo>
                    <a:pt x="3004" y="2521"/>
                    <a:pt x="3012" y="2513"/>
                    <a:pt x="3020" y="2506"/>
                  </a:cubicBezTo>
                  <a:cubicBezTo>
                    <a:pt x="3020" y="2498"/>
                    <a:pt x="3028" y="2498"/>
                    <a:pt x="3028" y="2490"/>
                  </a:cubicBezTo>
                  <a:cubicBezTo>
                    <a:pt x="3036" y="2482"/>
                    <a:pt x="3044" y="2482"/>
                    <a:pt x="3052" y="2482"/>
                  </a:cubicBezTo>
                  <a:cubicBezTo>
                    <a:pt x="3060" y="2482"/>
                    <a:pt x="3076" y="2490"/>
                    <a:pt x="3091" y="2498"/>
                  </a:cubicBezTo>
                  <a:cubicBezTo>
                    <a:pt x="3099" y="2506"/>
                    <a:pt x="3099" y="2513"/>
                    <a:pt x="3099" y="2513"/>
                  </a:cubicBezTo>
                  <a:cubicBezTo>
                    <a:pt x="3107" y="2513"/>
                    <a:pt x="3107" y="2506"/>
                    <a:pt x="3107" y="2506"/>
                  </a:cubicBezTo>
                  <a:cubicBezTo>
                    <a:pt x="3107" y="2498"/>
                    <a:pt x="3115" y="2498"/>
                    <a:pt x="3115" y="2490"/>
                  </a:cubicBezTo>
                  <a:cubicBezTo>
                    <a:pt x="3123" y="2482"/>
                    <a:pt x="3123" y="2482"/>
                    <a:pt x="3123" y="2474"/>
                  </a:cubicBezTo>
                  <a:lnTo>
                    <a:pt x="3115" y="2474"/>
                  </a:lnTo>
                  <a:cubicBezTo>
                    <a:pt x="3115" y="2474"/>
                    <a:pt x="3115" y="2474"/>
                    <a:pt x="3107" y="2474"/>
                  </a:cubicBezTo>
                  <a:cubicBezTo>
                    <a:pt x="3107" y="2482"/>
                    <a:pt x="3099" y="2482"/>
                    <a:pt x="3091" y="2482"/>
                  </a:cubicBezTo>
                  <a:cubicBezTo>
                    <a:pt x="3076" y="2482"/>
                    <a:pt x="3052" y="2466"/>
                    <a:pt x="3036" y="2458"/>
                  </a:cubicBezTo>
                  <a:cubicBezTo>
                    <a:pt x="3036" y="2450"/>
                    <a:pt x="3028" y="2450"/>
                    <a:pt x="3028" y="2450"/>
                  </a:cubicBezTo>
                  <a:cubicBezTo>
                    <a:pt x="3012" y="2434"/>
                    <a:pt x="2988" y="2419"/>
                    <a:pt x="2973" y="2395"/>
                  </a:cubicBezTo>
                  <a:cubicBezTo>
                    <a:pt x="2957" y="2355"/>
                    <a:pt x="2925" y="2324"/>
                    <a:pt x="2886" y="2284"/>
                  </a:cubicBezTo>
                  <a:cubicBezTo>
                    <a:pt x="2870" y="2269"/>
                    <a:pt x="2854" y="2260"/>
                    <a:pt x="2838" y="2260"/>
                  </a:cubicBezTo>
                  <a:cubicBezTo>
                    <a:pt x="2823" y="2260"/>
                    <a:pt x="2807" y="2269"/>
                    <a:pt x="2799" y="2269"/>
                  </a:cubicBezTo>
                  <a:cubicBezTo>
                    <a:pt x="2783" y="2269"/>
                    <a:pt x="2775" y="2276"/>
                    <a:pt x="2767" y="2276"/>
                  </a:cubicBezTo>
                  <a:cubicBezTo>
                    <a:pt x="2743" y="2276"/>
                    <a:pt x="2736" y="2260"/>
                    <a:pt x="2728" y="2237"/>
                  </a:cubicBezTo>
                  <a:cubicBezTo>
                    <a:pt x="2720" y="2221"/>
                    <a:pt x="2720" y="2205"/>
                    <a:pt x="2704" y="2189"/>
                  </a:cubicBezTo>
                  <a:cubicBezTo>
                    <a:pt x="2680" y="2158"/>
                    <a:pt x="2656" y="2102"/>
                    <a:pt x="2648" y="2071"/>
                  </a:cubicBezTo>
                  <a:lnTo>
                    <a:pt x="2648" y="2071"/>
                  </a:lnTo>
                  <a:cubicBezTo>
                    <a:pt x="2648" y="2047"/>
                    <a:pt x="2648" y="2047"/>
                    <a:pt x="2633" y="2039"/>
                  </a:cubicBezTo>
                  <a:cubicBezTo>
                    <a:pt x="2625" y="2039"/>
                    <a:pt x="2625" y="2039"/>
                    <a:pt x="2625" y="2039"/>
                  </a:cubicBezTo>
                  <a:cubicBezTo>
                    <a:pt x="2609" y="2031"/>
                    <a:pt x="2601" y="2031"/>
                    <a:pt x="2601" y="2007"/>
                  </a:cubicBezTo>
                  <a:cubicBezTo>
                    <a:pt x="2601" y="2000"/>
                    <a:pt x="2601" y="1992"/>
                    <a:pt x="2601" y="1992"/>
                  </a:cubicBezTo>
                  <a:cubicBezTo>
                    <a:pt x="2601" y="1992"/>
                    <a:pt x="2601" y="1992"/>
                    <a:pt x="2593" y="2000"/>
                  </a:cubicBezTo>
                  <a:cubicBezTo>
                    <a:pt x="2593" y="2000"/>
                    <a:pt x="2593" y="2000"/>
                    <a:pt x="2585" y="2000"/>
                  </a:cubicBezTo>
                  <a:cubicBezTo>
                    <a:pt x="2570" y="2000"/>
                    <a:pt x="2538" y="1960"/>
                    <a:pt x="2530" y="1936"/>
                  </a:cubicBezTo>
                  <a:cubicBezTo>
                    <a:pt x="2522" y="1913"/>
                    <a:pt x="2522" y="1873"/>
                    <a:pt x="2538" y="1841"/>
                  </a:cubicBezTo>
                  <a:cubicBezTo>
                    <a:pt x="2538" y="1834"/>
                    <a:pt x="2538" y="1826"/>
                    <a:pt x="2538" y="1826"/>
                  </a:cubicBezTo>
                  <a:cubicBezTo>
                    <a:pt x="2538" y="1818"/>
                    <a:pt x="2530" y="1818"/>
                    <a:pt x="2514" y="1826"/>
                  </a:cubicBezTo>
                  <a:cubicBezTo>
                    <a:pt x="2514" y="1826"/>
                    <a:pt x="2514" y="1826"/>
                    <a:pt x="2506" y="1826"/>
                  </a:cubicBezTo>
                  <a:cubicBezTo>
                    <a:pt x="2498" y="1826"/>
                    <a:pt x="2498" y="1826"/>
                    <a:pt x="2490" y="1818"/>
                  </a:cubicBezTo>
                  <a:cubicBezTo>
                    <a:pt x="2483" y="1818"/>
                    <a:pt x="2475" y="1810"/>
                    <a:pt x="2467" y="1802"/>
                  </a:cubicBezTo>
                  <a:cubicBezTo>
                    <a:pt x="2459" y="1802"/>
                    <a:pt x="2459" y="1802"/>
                    <a:pt x="2459" y="1802"/>
                  </a:cubicBezTo>
                  <a:cubicBezTo>
                    <a:pt x="2459" y="1810"/>
                    <a:pt x="2467" y="1810"/>
                    <a:pt x="2467" y="1818"/>
                  </a:cubicBezTo>
                  <a:cubicBezTo>
                    <a:pt x="2475" y="1826"/>
                    <a:pt x="2483" y="1834"/>
                    <a:pt x="2483" y="1849"/>
                  </a:cubicBezTo>
                  <a:cubicBezTo>
                    <a:pt x="2490" y="1857"/>
                    <a:pt x="2490" y="1865"/>
                    <a:pt x="2490" y="1873"/>
                  </a:cubicBezTo>
                  <a:cubicBezTo>
                    <a:pt x="2483" y="1873"/>
                    <a:pt x="2475" y="1881"/>
                    <a:pt x="2467" y="1881"/>
                  </a:cubicBezTo>
                  <a:cubicBezTo>
                    <a:pt x="2459" y="1881"/>
                    <a:pt x="2443" y="1873"/>
                    <a:pt x="2427" y="1873"/>
                  </a:cubicBezTo>
                  <a:cubicBezTo>
                    <a:pt x="2403" y="1857"/>
                    <a:pt x="2348" y="1802"/>
                    <a:pt x="2308" y="1747"/>
                  </a:cubicBezTo>
                  <a:cubicBezTo>
                    <a:pt x="2293" y="1707"/>
                    <a:pt x="2285" y="1691"/>
                    <a:pt x="2277" y="1668"/>
                  </a:cubicBezTo>
                  <a:cubicBezTo>
                    <a:pt x="2269" y="1652"/>
                    <a:pt x="2269" y="1636"/>
                    <a:pt x="2253" y="1612"/>
                  </a:cubicBezTo>
                  <a:cubicBezTo>
                    <a:pt x="2245" y="1596"/>
                    <a:pt x="2245" y="1589"/>
                    <a:pt x="2237" y="1589"/>
                  </a:cubicBezTo>
                  <a:lnTo>
                    <a:pt x="2230" y="1589"/>
                  </a:lnTo>
                  <a:cubicBezTo>
                    <a:pt x="2230" y="1596"/>
                    <a:pt x="2222" y="1596"/>
                    <a:pt x="2214" y="1596"/>
                  </a:cubicBezTo>
                  <a:cubicBezTo>
                    <a:pt x="2214" y="1596"/>
                    <a:pt x="2206" y="1596"/>
                    <a:pt x="2206" y="1589"/>
                  </a:cubicBezTo>
                  <a:cubicBezTo>
                    <a:pt x="2198" y="1589"/>
                    <a:pt x="2190" y="1581"/>
                    <a:pt x="2198" y="1581"/>
                  </a:cubicBezTo>
                  <a:cubicBezTo>
                    <a:pt x="2198" y="1573"/>
                    <a:pt x="2206" y="1565"/>
                    <a:pt x="2222" y="1565"/>
                  </a:cubicBezTo>
                  <a:lnTo>
                    <a:pt x="2230" y="1565"/>
                  </a:lnTo>
                  <a:cubicBezTo>
                    <a:pt x="2245" y="1557"/>
                    <a:pt x="2253" y="1549"/>
                    <a:pt x="2253" y="1533"/>
                  </a:cubicBezTo>
                  <a:cubicBezTo>
                    <a:pt x="2253" y="1517"/>
                    <a:pt x="2269" y="1502"/>
                    <a:pt x="2277" y="1478"/>
                  </a:cubicBezTo>
                  <a:cubicBezTo>
                    <a:pt x="2285" y="1462"/>
                    <a:pt x="2301" y="1438"/>
                    <a:pt x="2301" y="1423"/>
                  </a:cubicBezTo>
                  <a:cubicBezTo>
                    <a:pt x="2301" y="1415"/>
                    <a:pt x="2308" y="1399"/>
                    <a:pt x="2301" y="1399"/>
                  </a:cubicBezTo>
                  <a:cubicBezTo>
                    <a:pt x="2301" y="1391"/>
                    <a:pt x="2293" y="1391"/>
                    <a:pt x="2293" y="1391"/>
                  </a:cubicBezTo>
                  <a:cubicBezTo>
                    <a:pt x="2285" y="1391"/>
                    <a:pt x="2285" y="1391"/>
                    <a:pt x="2277" y="1391"/>
                  </a:cubicBezTo>
                  <a:cubicBezTo>
                    <a:pt x="2269" y="1391"/>
                    <a:pt x="2269" y="1391"/>
                    <a:pt x="2269" y="1391"/>
                  </a:cubicBezTo>
                  <a:cubicBezTo>
                    <a:pt x="2253" y="1391"/>
                    <a:pt x="2245" y="1391"/>
                    <a:pt x="2230" y="1359"/>
                  </a:cubicBezTo>
                  <a:cubicBezTo>
                    <a:pt x="2222" y="1351"/>
                    <a:pt x="2214" y="1343"/>
                    <a:pt x="2214" y="1343"/>
                  </a:cubicBezTo>
                  <a:cubicBezTo>
                    <a:pt x="2206" y="1343"/>
                    <a:pt x="2206" y="1351"/>
                    <a:pt x="2206" y="1367"/>
                  </a:cubicBezTo>
                  <a:cubicBezTo>
                    <a:pt x="2206" y="1383"/>
                    <a:pt x="2214" y="1399"/>
                    <a:pt x="2222" y="1423"/>
                  </a:cubicBezTo>
                  <a:cubicBezTo>
                    <a:pt x="2222" y="1430"/>
                    <a:pt x="2230" y="1438"/>
                    <a:pt x="2237" y="1454"/>
                  </a:cubicBezTo>
                  <a:cubicBezTo>
                    <a:pt x="2237" y="1462"/>
                    <a:pt x="2237" y="1470"/>
                    <a:pt x="2230" y="1478"/>
                  </a:cubicBezTo>
                  <a:cubicBezTo>
                    <a:pt x="2222" y="1486"/>
                    <a:pt x="2206" y="1486"/>
                    <a:pt x="2190" y="1486"/>
                  </a:cubicBezTo>
                  <a:cubicBezTo>
                    <a:pt x="2182" y="1486"/>
                    <a:pt x="2182" y="1486"/>
                    <a:pt x="2182" y="1486"/>
                  </a:cubicBezTo>
                  <a:cubicBezTo>
                    <a:pt x="2174" y="1494"/>
                    <a:pt x="2166" y="1486"/>
                    <a:pt x="2158" y="1478"/>
                  </a:cubicBezTo>
                  <a:cubicBezTo>
                    <a:pt x="2150" y="1470"/>
                    <a:pt x="2143" y="1446"/>
                    <a:pt x="2143" y="1415"/>
                  </a:cubicBezTo>
                  <a:cubicBezTo>
                    <a:pt x="2143" y="1391"/>
                    <a:pt x="2135" y="1383"/>
                    <a:pt x="2135" y="1367"/>
                  </a:cubicBezTo>
                  <a:cubicBezTo>
                    <a:pt x="2127" y="1359"/>
                    <a:pt x="2127" y="1351"/>
                    <a:pt x="2119" y="1336"/>
                  </a:cubicBezTo>
                  <a:cubicBezTo>
                    <a:pt x="2119" y="1312"/>
                    <a:pt x="2127" y="1296"/>
                    <a:pt x="2135" y="1280"/>
                  </a:cubicBezTo>
                  <a:cubicBezTo>
                    <a:pt x="2135" y="1264"/>
                    <a:pt x="2143" y="1256"/>
                    <a:pt x="2143" y="1241"/>
                  </a:cubicBezTo>
                  <a:cubicBezTo>
                    <a:pt x="2143" y="1225"/>
                    <a:pt x="2143" y="1209"/>
                    <a:pt x="2150" y="1201"/>
                  </a:cubicBezTo>
                  <a:cubicBezTo>
                    <a:pt x="2150" y="1170"/>
                    <a:pt x="2150" y="1138"/>
                    <a:pt x="2158" y="1106"/>
                  </a:cubicBezTo>
                  <a:cubicBezTo>
                    <a:pt x="2166" y="1067"/>
                    <a:pt x="2158" y="1035"/>
                    <a:pt x="2150" y="1003"/>
                  </a:cubicBezTo>
                  <a:cubicBezTo>
                    <a:pt x="2150" y="1003"/>
                    <a:pt x="2150" y="996"/>
                    <a:pt x="2150" y="988"/>
                  </a:cubicBezTo>
                  <a:cubicBezTo>
                    <a:pt x="2150" y="988"/>
                    <a:pt x="2150" y="980"/>
                    <a:pt x="2143" y="972"/>
                  </a:cubicBezTo>
                  <a:cubicBezTo>
                    <a:pt x="2143" y="948"/>
                    <a:pt x="2143" y="940"/>
                    <a:pt x="2119" y="932"/>
                  </a:cubicBezTo>
                  <a:cubicBezTo>
                    <a:pt x="2095" y="924"/>
                    <a:pt x="2079" y="893"/>
                    <a:pt x="2071" y="861"/>
                  </a:cubicBezTo>
                  <a:cubicBezTo>
                    <a:pt x="2064" y="822"/>
                    <a:pt x="2055" y="822"/>
                    <a:pt x="1992" y="822"/>
                  </a:cubicBezTo>
                  <a:cubicBezTo>
                    <a:pt x="1984" y="822"/>
                    <a:pt x="1984" y="822"/>
                    <a:pt x="1984" y="822"/>
                  </a:cubicBezTo>
                  <a:cubicBezTo>
                    <a:pt x="1945" y="822"/>
                    <a:pt x="1929" y="798"/>
                    <a:pt x="1913" y="782"/>
                  </a:cubicBezTo>
                  <a:cubicBezTo>
                    <a:pt x="1905" y="766"/>
                    <a:pt x="1890" y="750"/>
                    <a:pt x="1874" y="743"/>
                  </a:cubicBezTo>
                  <a:cubicBezTo>
                    <a:pt x="1826" y="711"/>
                    <a:pt x="1811" y="695"/>
                    <a:pt x="1787" y="664"/>
                  </a:cubicBezTo>
                  <a:cubicBezTo>
                    <a:pt x="1787" y="656"/>
                    <a:pt x="1779" y="648"/>
                    <a:pt x="1779" y="648"/>
                  </a:cubicBezTo>
                  <a:cubicBezTo>
                    <a:pt x="1771" y="632"/>
                    <a:pt x="1771" y="632"/>
                    <a:pt x="1747" y="624"/>
                  </a:cubicBezTo>
                  <a:cubicBezTo>
                    <a:pt x="1739" y="616"/>
                    <a:pt x="1708" y="600"/>
                    <a:pt x="1684" y="569"/>
                  </a:cubicBezTo>
                  <a:cubicBezTo>
                    <a:pt x="1653" y="545"/>
                    <a:pt x="1621" y="513"/>
                    <a:pt x="1597" y="506"/>
                  </a:cubicBezTo>
                  <a:cubicBezTo>
                    <a:pt x="1589" y="506"/>
                    <a:pt x="1589" y="506"/>
                    <a:pt x="1581" y="506"/>
                  </a:cubicBezTo>
                  <a:cubicBezTo>
                    <a:pt x="1550" y="482"/>
                    <a:pt x="1518" y="474"/>
                    <a:pt x="1455" y="466"/>
                  </a:cubicBezTo>
                  <a:cubicBezTo>
                    <a:pt x="1447" y="466"/>
                    <a:pt x="1439" y="466"/>
                    <a:pt x="1431" y="466"/>
                  </a:cubicBezTo>
                  <a:cubicBezTo>
                    <a:pt x="1407" y="466"/>
                    <a:pt x="1407" y="466"/>
                    <a:pt x="1400" y="474"/>
                  </a:cubicBezTo>
                  <a:cubicBezTo>
                    <a:pt x="1400" y="482"/>
                    <a:pt x="1391" y="490"/>
                    <a:pt x="1384" y="498"/>
                  </a:cubicBezTo>
                  <a:cubicBezTo>
                    <a:pt x="1368" y="506"/>
                    <a:pt x="1368" y="513"/>
                    <a:pt x="1368" y="521"/>
                  </a:cubicBezTo>
                  <a:cubicBezTo>
                    <a:pt x="1368" y="521"/>
                    <a:pt x="1368" y="529"/>
                    <a:pt x="1376" y="529"/>
                  </a:cubicBezTo>
                  <a:cubicBezTo>
                    <a:pt x="1384" y="537"/>
                    <a:pt x="1384" y="537"/>
                    <a:pt x="1391" y="545"/>
                  </a:cubicBezTo>
                  <a:cubicBezTo>
                    <a:pt x="1391" y="553"/>
                    <a:pt x="1391" y="553"/>
                    <a:pt x="1391" y="561"/>
                  </a:cubicBezTo>
                  <a:cubicBezTo>
                    <a:pt x="1384" y="569"/>
                    <a:pt x="1376" y="569"/>
                    <a:pt x="1360" y="569"/>
                  </a:cubicBezTo>
                  <a:cubicBezTo>
                    <a:pt x="1352" y="569"/>
                    <a:pt x="1344" y="569"/>
                    <a:pt x="1336" y="569"/>
                  </a:cubicBezTo>
                  <a:cubicBezTo>
                    <a:pt x="1313" y="569"/>
                    <a:pt x="1297" y="577"/>
                    <a:pt x="1289" y="593"/>
                  </a:cubicBezTo>
                  <a:cubicBezTo>
                    <a:pt x="1281" y="593"/>
                    <a:pt x="1281" y="600"/>
                    <a:pt x="1273" y="600"/>
                  </a:cubicBezTo>
                  <a:cubicBezTo>
                    <a:pt x="1273" y="600"/>
                    <a:pt x="1265" y="600"/>
                    <a:pt x="1265" y="608"/>
                  </a:cubicBezTo>
                  <a:cubicBezTo>
                    <a:pt x="1257" y="608"/>
                    <a:pt x="1249" y="616"/>
                    <a:pt x="1249" y="640"/>
                  </a:cubicBezTo>
                  <a:cubicBezTo>
                    <a:pt x="1249" y="687"/>
                    <a:pt x="1170" y="727"/>
                    <a:pt x="1154" y="743"/>
                  </a:cubicBezTo>
                  <a:cubicBezTo>
                    <a:pt x="1147" y="743"/>
                    <a:pt x="1138" y="743"/>
                    <a:pt x="1131" y="743"/>
                  </a:cubicBezTo>
                  <a:cubicBezTo>
                    <a:pt x="1123" y="743"/>
                    <a:pt x="1123" y="743"/>
                    <a:pt x="1115" y="735"/>
                  </a:cubicBezTo>
                  <a:cubicBezTo>
                    <a:pt x="1115" y="735"/>
                    <a:pt x="1115" y="727"/>
                    <a:pt x="1123" y="719"/>
                  </a:cubicBezTo>
                  <a:cubicBezTo>
                    <a:pt x="1147" y="703"/>
                    <a:pt x="1170" y="695"/>
                    <a:pt x="1194" y="679"/>
                  </a:cubicBezTo>
                  <a:cubicBezTo>
                    <a:pt x="1218" y="672"/>
                    <a:pt x="1225" y="656"/>
                    <a:pt x="1225" y="656"/>
                  </a:cubicBezTo>
                  <a:cubicBezTo>
                    <a:pt x="1225" y="648"/>
                    <a:pt x="1225" y="648"/>
                    <a:pt x="1218" y="648"/>
                  </a:cubicBezTo>
                  <a:lnTo>
                    <a:pt x="1218" y="648"/>
                  </a:lnTo>
                  <a:cubicBezTo>
                    <a:pt x="1210" y="648"/>
                    <a:pt x="1202" y="656"/>
                    <a:pt x="1186" y="664"/>
                  </a:cubicBezTo>
                  <a:cubicBezTo>
                    <a:pt x="1162" y="672"/>
                    <a:pt x="1131" y="687"/>
                    <a:pt x="1107" y="695"/>
                  </a:cubicBezTo>
                  <a:cubicBezTo>
                    <a:pt x="1091" y="703"/>
                    <a:pt x="1075" y="703"/>
                    <a:pt x="1060" y="711"/>
                  </a:cubicBezTo>
                  <a:cubicBezTo>
                    <a:pt x="1028" y="719"/>
                    <a:pt x="1004" y="727"/>
                    <a:pt x="988" y="719"/>
                  </a:cubicBezTo>
                  <a:cubicBezTo>
                    <a:pt x="973" y="711"/>
                    <a:pt x="949" y="687"/>
                    <a:pt x="949" y="672"/>
                  </a:cubicBezTo>
                  <a:cubicBezTo>
                    <a:pt x="941" y="672"/>
                    <a:pt x="941" y="664"/>
                    <a:pt x="941" y="664"/>
                  </a:cubicBezTo>
                  <a:cubicBezTo>
                    <a:pt x="949" y="656"/>
                    <a:pt x="949" y="656"/>
                    <a:pt x="957" y="656"/>
                  </a:cubicBezTo>
                  <a:cubicBezTo>
                    <a:pt x="965" y="648"/>
                    <a:pt x="965" y="648"/>
                    <a:pt x="965" y="640"/>
                  </a:cubicBezTo>
                  <a:cubicBezTo>
                    <a:pt x="965" y="640"/>
                    <a:pt x="957" y="616"/>
                    <a:pt x="838" y="545"/>
                  </a:cubicBezTo>
                  <a:cubicBezTo>
                    <a:pt x="830" y="545"/>
                    <a:pt x="830" y="545"/>
                    <a:pt x="830" y="545"/>
                  </a:cubicBezTo>
                  <a:lnTo>
                    <a:pt x="830" y="545"/>
                  </a:lnTo>
                  <a:cubicBezTo>
                    <a:pt x="822" y="537"/>
                    <a:pt x="830" y="537"/>
                    <a:pt x="838" y="529"/>
                  </a:cubicBezTo>
                  <a:cubicBezTo>
                    <a:pt x="838" y="521"/>
                    <a:pt x="846" y="521"/>
                    <a:pt x="838" y="513"/>
                  </a:cubicBezTo>
                  <a:lnTo>
                    <a:pt x="838" y="513"/>
                  </a:lnTo>
                  <a:cubicBezTo>
                    <a:pt x="830" y="506"/>
                    <a:pt x="830" y="498"/>
                    <a:pt x="822" y="482"/>
                  </a:cubicBezTo>
                  <a:cubicBezTo>
                    <a:pt x="814" y="466"/>
                    <a:pt x="830" y="458"/>
                    <a:pt x="838" y="458"/>
                  </a:cubicBezTo>
                  <a:cubicBezTo>
                    <a:pt x="846" y="450"/>
                    <a:pt x="854" y="450"/>
                    <a:pt x="854" y="442"/>
                  </a:cubicBezTo>
                  <a:lnTo>
                    <a:pt x="854" y="442"/>
                  </a:lnTo>
                  <a:cubicBezTo>
                    <a:pt x="846" y="442"/>
                    <a:pt x="846" y="442"/>
                    <a:pt x="846" y="442"/>
                  </a:cubicBezTo>
                  <a:cubicBezTo>
                    <a:pt x="838" y="450"/>
                    <a:pt x="822" y="458"/>
                    <a:pt x="814" y="450"/>
                  </a:cubicBezTo>
                  <a:cubicBezTo>
                    <a:pt x="807" y="450"/>
                    <a:pt x="799" y="450"/>
                    <a:pt x="799" y="450"/>
                  </a:cubicBezTo>
                  <a:cubicBezTo>
                    <a:pt x="791" y="450"/>
                    <a:pt x="791" y="450"/>
                    <a:pt x="775" y="466"/>
                  </a:cubicBezTo>
                  <a:cubicBezTo>
                    <a:pt x="775" y="474"/>
                    <a:pt x="775" y="474"/>
                    <a:pt x="775" y="474"/>
                  </a:cubicBezTo>
                  <a:cubicBezTo>
                    <a:pt x="775" y="482"/>
                    <a:pt x="783" y="482"/>
                    <a:pt x="783" y="490"/>
                  </a:cubicBezTo>
                  <a:cubicBezTo>
                    <a:pt x="799" y="490"/>
                    <a:pt x="807" y="498"/>
                    <a:pt x="814" y="506"/>
                  </a:cubicBezTo>
                  <a:cubicBezTo>
                    <a:pt x="822" y="529"/>
                    <a:pt x="814" y="537"/>
                    <a:pt x="814" y="537"/>
                  </a:cubicBezTo>
                  <a:lnTo>
                    <a:pt x="814" y="537"/>
                  </a:lnTo>
                  <a:cubicBezTo>
                    <a:pt x="807" y="537"/>
                    <a:pt x="807" y="537"/>
                    <a:pt x="799" y="529"/>
                  </a:cubicBezTo>
                  <a:cubicBezTo>
                    <a:pt x="775" y="506"/>
                    <a:pt x="585" y="450"/>
                    <a:pt x="546" y="450"/>
                  </a:cubicBezTo>
                  <a:cubicBezTo>
                    <a:pt x="538" y="450"/>
                    <a:pt x="530" y="450"/>
                    <a:pt x="522" y="450"/>
                  </a:cubicBezTo>
                  <a:cubicBezTo>
                    <a:pt x="514" y="450"/>
                    <a:pt x="514" y="450"/>
                    <a:pt x="506" y="450"/>
                  </a:cubicBezTo>
                  <a:cubicBezTo>
                    <a:pt x="490" y="450"/>
                    <a:pt x="482" y="450"/>
                    <a:pt x="474" y="442"/>
                  </a:cubicBezTo>
                  <a:cubicBezTo>
                    <a:pt x="474" y="434"/>
                    <a:pt x="467" y="434"/>
                    <a:pt x="467" y="426"/>
                  </a:cubicBezTo>
                  <a:cubicBezTo>
                    <a:pt x="467" y="426"/>
                    <a:pt x="474" y="426"/>
                    <a:pt x="490" y="419"/>
                  </a:cubicBezTo>
                  <a:cubicBezTo>
                    <a:pt x="506" y="419"/>
                    <a:pt x="522" y="419"/>
                    <a:pt x="530" y="411"/>
                  </a:cubicBezTo>
                  <a:cubicBezTo>
                    <a:pt x="538" y="403"/>
                    <a:pt x="546" y="403"/>
                    <a:pt x="554" y="403"/>
                  </a:cubicBezTo>
                  <a:cubicBezTo>
                    <a:pt x="561" y="403"/>
                    <a:pt x="561" y="403"/>
                    <a:pt x="569" y="403"/>
                  </a:cubicBezTo>
                  <a:cubicBezTo>
                    <a:pt x="577" y="403"/>
                    <a:pt x="585" y="403"/>
                    <a:pt x="593" y="403"/>
                  </a:cubicBezTo>
                  <a:cubicBezTo>
                    <a:pt x="601" y="403"/>
                    <a:pt x="609" y="403"/>
                    <a:pt x="609" y="403"/>
                  </a:cubicBezTo>
                  <a:cubicBezTo>
                    <a:pt x="609" y="403"/>
                    <a:pt x="593" y="395"/>
                    <a:pt x="577" y="387"/>
                  </a:cubicBezTo>
                  <a:cubicBezTo>
                    <a:pt x="569" y="387"/>
                    <a:pt x="569" y="387"/>
                    <a:pt x="561" y="387"/>
                  </a:cubicBezTo>
                  <a:cubicBezTo>
                    <a:pt x="554" y="387"/>
                    <a:pt x="546" y="387"/>
                    <a:pt x="538" y="395"/>
                  </a:cubicBezTo>
                  <a:cubicBezTo>
                    <a:pt x="522" y="395"/>
                    <a:pt x="514" y="395"/>
                    <a:pt x="498" y="395"/>
                  </a:cubicBezTo>
                  <a:cubicBezTo>
                    <a:pt x="467" y="395"/>
                    <a:pt x="467" y="403"/>
                    <a:pt x="467" y="411"/>
                  </a:cubicBezTo>
                  <a:cubicBezTo>
                    <a:pt x="459" y="419"/>
                    <a:pt x="459" y="426"/>
                    <a:pt x="451" y="434"/>
                  </a:cubicBezTo>
                  <a:cubicBezTo>
                    <a:pt x="435" y="458"/>
                    <a:pt x="380" y="466"/>
                    <a:pt x="324" y="482"/>
                  </a:cubicBezTo>
                  <a:cubicBezTo>
                    <a:pt x="316" y="482"/>
                    <a:pt x="308" y="482"/>
                    <a:pt x="301" y="482"/>
                  </a:cubicBezTo>
                  <a:cubicBezTo>
                    <a:pt x="277" y="490"/>
                    <a:pt x="261" y="498"/>
                    <a:pt x="245" y="498"/>
                  </a:cubicBezTo>
                  <a:cubicBezTo>
                    <a:pt x="230" y="506"/>
                    <a:pt x="221" y="513"/>
                    <a:pt x="206" y="513"/>
                  </a:cubicBezTo>
                  <a:lnTo>
                    <a:pt x="198" y="513"/>
                  </a:lnTo>
                  <a:cubicBezTo>
                    <a:pt x="190" y="506"/>
                    <a:pt x="182" y="506"/>
                    <a:pt x="182" y="506"/>
                  </a:cubicBezTo>
                  <a:cubicBezTo>
                    <a:pt x="182" y="498"/>
                    <a:pt x="190" y="498"/>
                    <a:pt x="206" y="490"/>
                  </a:cubicBezTo>
                  <a:cubicBezTo>
                    <a:pt x="221" y="482"/>
                    <a:pt x="230" y="482"/>
                    <a:pt x="237" y="474"/>
                  </a:cubicBezTo>
                  <a:cubicBezTo>
                    <a:pt x="245" y="474"/>
                    <a:pt x="245" y="466"/>
                    <a:pt x="245" y="466"/>
                  </a:cubicBezTo>
                  <a:cubicBezTo>
                    <a:pt x="253" y="458"/>
                    <a:pt x="261" y="450"/>
                    <a:pt x="293" y="442"/>
                  </a:cubicBezTo>
                  <a:lnTo>
                    <a:pt x="301" y="442"/>
                  </a:lnTo>
                  <a:cubicBezTo>
                    <a:pt x="301" y="434"/>
                    <a:pt x="293" y="419"/>
                    <a:pt x="269" y="403"/>
                  </a:cubicBezTo>
                  <a:cubicBezTo>
                    <a:pt x="261" y="403"/>
                    <a:pt x="261" y="403"/>
                    <a:pt x="261" y="403"/>
                  </a:cubicBezTo>
                  <a:cubicBezTo>
                    <a:pt x="253" y="403"/>
                    <a:pt x="253" y="403"/>
                    <a:pt x="253" y="411"/>
                  </a:cubicBezTo>
                  <a:cubicBezTo>
                    <a:pt x="253" y="419"/>
                    <a:pt x="253" y="426"/>
                    <a:pt x="245" y="426"/>
                  </a:cubicBezTo>
                  <a:lnTo>
                    <a:pt x="245" y="426"/>
                  </a:lnTo>
                  <a:cubicBezTo>
                    <a:pt x="237" y="426"/>
                    <a:pt x="230" y="426"/>
                    <a:pt x="230" y="419"/>
                  </a:cubicBezTo>
                  <a:cubicBezTo>
                    <a:pt x="221" y="419"/>
                    <a:pt x="214" y="411"/>
                    <a:pt x="206" y="411"/>
                  </a:cubicBezTo>
                  <a:cubicBezTo>
                    <a:pt x="198" y="419"/>
                    <a:pt x="198" y="419"/>
                    <a:pt x="198" y="434"/>
                  </a:cubicBezTo>
                  <a:cubicBezTo>
                    <a:pt x="198" y="442"/>
                    <a:pt x="198" y="458"/>
                    <a:pt x="182" y="474"/>
                  </a:cubicBezTo>
                  <a:cubicBezTo>
                    <a:pt x="174" y="498"/>
                    <a:pt x="166" y="498"/>
                    <a:pt x="150" y="506"/>
                  </a:cubicBezTo>
                  <a:cubicBezTo>
                    <a:pt x="142" y="513"/>
                    <a:pt x="142" y="521"/>
                    <a:pt x="135" y="529"/>
                  </a:cubicBezTo>
                  <a:cubicBezTo>
                    <a:pt x="127" y="529"/>
                    <a:pt x="119" y="537"/>
                    <a:pt x="111" y="537"/>
                  </a:cubicBezTo>
                  <a:cubicBezTo>
                    <a:pt x="103" y="537"/>
                    <a:pt x="95" y="529"/>
                    <a:pt x="87" y="521"/>
                  </a:cubicBezTo>
                  <a:lnTo>
                    <a:pt x="87" y="521"/>
                  </a:lnTo>
                  <a:cubicBezTo>
                    <a:pt x="87" y="513"/>
                    <a:pt x="87" y="513"/>
                    <a:pt x="87" y="513"/>
                  </a:cubicBezTo>
                  <a:cubicBezTo>
                    <a:pt x="95" y="498"/>
                    <a:pt x="111" y="466"/>
                    <a:pt x="111" y="458"/>
                  </a:cubicBezTo>
                  <a:cubicBezTo>
                    <a:pt x="111" y="450"/>
                    <a:pt x="103" y="442"/>
                    <a:pt x="95" y="434"/>
                  </a:cubicBezTo>
                  <a:cubicBezTo>
                    <a:pt x="87" y="419"/>
                    <a:pt x="79" y="403"/>
                    <a:pt x="79" y="387"/>
                  </a:cubicBezTo>
                  <a:cubicBezTo>
                    <a:pt x="87" y="379"/>
                    <a:pt x="87" y="379"/>
                    <a:pt x="87" y="371"/>
                  </a:cubicBezTo>
                  <a:cubicBezTo>
                    <a:pt x="95" y="355"/>
                    <a:pt x="95" y="347"/>
                    <a:pt x="71" y="324"/>
                  </a:cubicBezTo>
                  <a:cubicBezTo>
                    <a:pt x="71" y="324"/>
                    <a:pt x="63" y="316"/>
                    <a:pt x="48" y="308"/>
                  </a:cubicBezTo>
                  <a:cubicBezTo>
                    <a:pt x="24" y="292"/>
                    <a:pt x="0" y="268"/>
                    <a:pt x="0" y="253"/>
                  </a:cubicBezTo>
                  <a:cubicBezTo>
                    <a:pt x="0" y="245"/>
                    <a:pt x="0" y="237"/>
                    <a:pt x="0" y="237"/>
                  </a:cubicBezTo>
                  <a:cubicBezTo>
                    <a:pt x="24" y="205"/>
                    <a:pt x="933" y="95"/>
                    <a:pt x="1036" y="79"/>
                  </a:cubicBezTo>
                  <a:lnTo>
                    <a:pt x="1036" y="79"/>
                  </a:lnTo>
                  <a:lnTo>
                    <a:pt x="1036" y="79"/>
                  </a:lnTo>
                  <a:cubicBezTo>
                    <a:pt x="1075" y="142"/>
                    <a:pt x="1115" y="205"/>
                    <a:pt x="1123" y="213"/>
                  </a:cubicBezTo>
                  <a:cubicBezTo>
                    <a:pt x="1138" y="213"/>
                    <a:pt x="2158" y="126"/>
                    <a:pt x="2174" y="126"/>
                  </a:cubicBezTo>
                  <a:lnTo>
                    <a:pt x="2174" y="126"/>
                  </a:lnTo>
                  <a:lnTo>
                    <a:pt x="2174" y="126"/>
                  </a:lnTo>
                  <a:cubicBezTo>
                    <a:pt x="2174" y="126"/>
                    <a:pt x="2182" y="134"/>
                    <a:pt x="2198" y="158"/>
                  </a:cubicBezTo>
                  <a:cubicBezTo>
                    <a:pt x="2198" y="166"/>
                    <a:pt x="2198" y="173"/>
                    <a:pt x="2198" y="181"/>
                  </a:cubicBezTo>
                  <a:cubicBezTo>
                    <a:pt x="2198" y="205"/>
                    <a:pt x="2198" y="221"/>
                    <a:pt x="2222" y="221"/>
                  </a:cubicBezTo>
                  <a:cubicBezTo>
                    <a:pt x="2222" y="221"/>
                    <a:pt x="2230" y="221"/>
                    <a:pt x="2237" y="221"/>
                  </a:cubicBezTo>
                  <a:cubicBezTo>
                    <a:pt x="2237" y="221"/>
                    <a:pt x="2245" y="221"/>
                    <a:pt x="2253" y="221"/>
                  </a:cubicBezTo>
                  <a:cubicBezTo>
                    <a:pt x="2261" y="221"/>
                    <a:pt x="2269" y="221"/>
                    <a:pt x="2269" y="197"/>
                  </a:cubicBezTo>
                  <a:cubicBezTo>
                    <a:pt x="2269" y="189"/>
                    <a:pt x="2269" y="173"/>
                    <a:pt x="2269" y="158"/>
                  </a:cubicBezTo>
                  <a:cubicBezTo>
                    <a:pt x="2277" y="134"/>
                    <a:pt x="2277" y="102"/>
                    <a:pt x="2261" y="79"/>
                  </a:cubicBezTo>
                  <a:cubicBezTo>
                    <a:pt x="2245" y="55"/>
                    <a:pt x="2245" y="39"/>
                    <a:pt x="2245" y="31"/>
                  </a:cubicBezTo>
                  <a:cubicBezTo>
                    <a:pt x="2245" y="23"/>
                    <a:pt x="2253" y="15"/>
                    <a:pt x="2261" y="7"/>
                  </a:cubicBezTo>
                  <a:cubicBezTo>
                    <a:pt x="2261" y="7"/>
                    <a:pt x="2269" y="7"/>
                    <a:pt x="2277" y="7"/>
                  </a:cubicBezTo>
                  <a:cubicBezTo>
                    <a:pt x="2285" y="7"/>
                    <a:pt x="2308" y="7"/>
                    <a:pt x="2332" y="15"/>
                  </a:cubicBezTo>
                  <a:cubicBezTo>
                    <a:pt x="2364" y="23"/>
                    <a:pt x="2403" y="23"/>
                    <a:pt x="2427" y="23"/>
                  </a:cubicBezTo>
                  <a:cubicBezTo>
                    <a:pt x="2451" y="23"/>
                    <a:pt x="2467" y="23"/>
                    <a:pt x="2475" y="15"/>
                  </a:cubicBezTo>
                  <a:cubicBezTo>
                    <a:pt x="2475" y="7"/>
                    <a:pt x="2475" y="7"/>
                    <a:pt x="2475" y="7"/>
                  </a:cubicBezTo>
                  <a:cubicBezTo>
                    <a:pt x="2483" y="0"/>
                    <a:pt x="2483" y="0"/>
                    <a:pt x="2483" y="0"/>
                  </a:cubicBezTo>
                  <a:cubicBezTo>
                    <a:pt x="2483" y="7"/>
                    <a:pt x="2483" y="7"/>
                    <a:pt x="2483" y="7"/>
                  </a:cubicBezTo>
                  <a:lnTo>
                    <a:pt x="2483" y="7"/>
                  </a:lnTo>
                  <a:cubicBezTo>
                    <a:pt x="2506" y="23"/>
                    <a:pt x="2506" y="23"/>
                    <a:pt x="2506" y="47"/>
                  </a:cubicBezTo>
                  <a:cubicBezTo>
                    <a:pt x="2506" y="55"/>
                    <a:pt x="2506" y="63"/>
                    <a:pt x="2506" y="63"/>
                  </a:cubicBezTo>
                  <a:cubicBezTo>
                    <a:pt x="2498" y="95"/>
                    <a:pt x="2498" y="95"/>
                    <a:pt x="2514" y="102"/>
                  </a:cubicBezTo>
                  <a:cubicBezTo>
                    <a:pt x="2514" y="110"/>
                    <a:pt x="2522" y="118"/>
                    <a:pt x="2522" y="126"/>
                  </a:cubicBezTo>
                  <a:cubicBezTo>
                    <a:pt x="2538" y="142"/>
                    <a:pt x="2546" y="158"/>
                    <a:pt x="2546" y="173"/>
                  </a:cubicBezTo>
                  <a:cubicBezTo>
                    <a:pt x="2546" y="189"/>
                    <a:pt x="2554" y="205"/>
                    <a:pt x="2561" y="221"/>
                  </a:cubicBezTo>
                  <a:cubicBezTo>
                    <a:pt x="2577" y="268"/>
                    <a:pt x="2664" y="458"/>
                    <a:pt x="2672" y="458"/>
                  </a:cubicBezTo>
                  <a:cubicBezTo>
                    <a:pt x="2688" y="513"/>
                    <a:pt x="2909" y="830"/>
                    <a:pt x="2925" y="837"/>
                  </a:cubicBezTo>
                  <a:lnTo>
                    <a:pt x="2933" y="837"/>
                  </a:lnTo>
                  <a:cubicBezTo>
                    <a:pt x="2949" y="846"/>
                    <a:pt x="2965" y="853"/>
                    <a:pt x="3004" y="924"/>
                  </a:cubicBezTo>
                  <a:cubicBezTo>
                    <a:pt x="3052" y="996"/>
                    <a:pt x="3044" y="1012"/>
                    <a:pt x="3036" y="1035"/>
                  </a:cubicBezTo>
                  <a:lnTo>
                    <a:pt x="3036" y="1035"/>
                  </a:lnTo>
                  <a:cubicBezTo>
                    <a:pt x="3036" y="1035"/>
                    <a:pt x="3036" y="1043"/>
                    <a:pt x="3028" y="1043"/>
                  </a:cubicBezTo>
                  <a:cubicBezTo>
                    <a:pt x="3028" y="1043"/>
                    <a:pt x="3020" y="1035"/>
                    <a:pt x="3012" y="1012"/>
                  </a:cubicBezTo>
                  <a:cubicBezTo>
                    <a:pt x="3012" y="1003"/>
                    <a:pt x="3012" y="1003"/>
                    <a:pt x="3012" y="996"/>
                  </a:cubicBezTo>
                  <a:cubicBezTo>
                    <a:pt x="2996" y="964"/>
                    <a:pt x="2973" y="940"/>
                    <a:pt x="2973" y="940"/>
                  </a:cubicBezTo>
                  <a:lnTo>
                    <a:pt x="2973" y="940"/>
                  </a:lnTo>
                  <a:lnTo>
                    <a:pt x="2973" y="940"/>
                  </a:lnTo>
                  <a:cubicBezTo>
                    <a:pt x="2965" y="948"/>
                    <a:pt x="2965" y="956"/>
                    <a:pt x="2949" y="956"/>
                  </a:cubicBezTo>
                  <a:cubicBezTo>
                    <a:pt x="2941" y="948"/>
                    <a:pt x="2941" y="948"/>
                    <a:pt x="2933" y="940"/>
                  </a:cubicBezTo>
                  <a:cubicBezTo>
                    <a:pt x="2933" y="932"/>
                    <a:pt x="2933" y="924"/>
                    <a:pt x="2925" y="924"/>
                  </a:cubicBezTo>
                  <a:cubicBezTo>
                    <a:pt x="2917" y="917"/>
                    <a:pt x="2909" y="909"/>
                    <a:pt x="2909" y="901"/>
                  </a:cubicBezTo>
                  <a:lnTo>
                    <a:pt x="2909" y="893"/>
                  </a:lnTo>
                  <a:lnTo>
                    <a:pt x="2909" y="893"/>
                  </a:lnTo>
                  <a:cubicBezTo>
                    <a:pt x="2901" y="901"/>
                    <a:pt x="2933" y="956"/>
                    <a:pt x="2949" y="980"/>
                  </a:cubicBezTo>
                  <a:cubicBezTo>
                    <a:pt x="2957" y="1003"/>
                    <a:pt x="2965" y="1019"/>
                    <a:pt x="2965" y="1027"/>
                  </a:cubicBezTo>
                  <a:cubicBezTo>
                    <a:pt x="2973" y="1043"/>
                    <a:pt x="2981" y="1051"/>
                    <a:pt x="2988" y="1059"/>
                  </a:cubicBezTo>
                  <a:cubicBezTo>
                    <a:pt x="2988" y="1067"/>
                    <a:pt x="2996" y="1075"/>
                    <a:pt x="2996" y="1083"/>
                  </a:cubicBezTo>
                  <a:lnTo>
                    <a:pt x="2996" y="1090"/>
                  </a:lnTo>
                  <a:cubicBezTo>
                    <a:pt x="3004" y="1090"/>
                    <a:pt x="3004" y="1090"/>
                    <a:pt x="3004" y="1090"/>
                  </a:cubicBezTo>
                  <a:cubicBezTo>
                    <a:pt x="3004" y="1083"/>
                    <a:pt x="3012" y="1083"/>
                    <a:pt x="3012" y="1075"/>
                  </a:cubicBezTo>
                  <a:cubicBezTo>
                    <a:pt x="3020" y="1075"/>
                    <a:pt x="3020" y="1075"/>
                    <a:pt x="3020" y="1075"/>
                  </a:cubicBezTo>
                  <a:cubicBezTo>
                    <a:pt x="3036" y="1075"/>
                    <a:pt x="3036" y="1122"/>
                    <a:pt x="3044" y="1146"/>
                  </a:cubicBezTo>
                  <a:cubicBezTo>
                    <a:pt x="3115" y="1233"/>
                    <a:pt x="3154" y="1328"/>
                    <a:pt x="3194" y="1399"/>
                  </a:cubicBezTo>
                  <a:cubicBezTo>
                    <a:pt x="3226" y="1462"/>
                    <a:pt x="3249" y="1517"/>
                    <a:pt x="3289" y="1549"/>
                  </a:cubicBezTo>
                  <a:cubicBezTo>
                    <a:pt x="3376" y="1620"/>
                    <a:pt x="3423" y="1810"/>
                    <a:pt x="3415" y="1905"/>
                  </a:cubicBezTo>
                  <a:cubicBezTo>
                    <a:pt x="3407" y="1976"/>
                    <a:pt x="3407" y="2000"/>
                    <a:pt x="3415" y="2031"/>
                  </a:cubicBezTo>
                  <a:cubicBezTo>
                    <a:pt x="3415" y="2039"/>
                    <a:pt x="3415" y="2047"/>
                    <a:pt x="3415" y="2063"/>
                  </a:cubicBezTo>
                  <a:cubicBezTo>
                    <a:pt x="3415" y="2102"/>
                    <a:pt x="3400" y="2253"/>
                    <a:pt x="3368" y="2284"/>
                  </a:cubicBezTo>
                  <a:cubicBezTo>
                    <a:pt x="3360" y="2308"/>
                    <a:pt x="3360" y="2316"/>
                    <a:pt x="3368" y="2332"/>
                  </a:cubicBezTo>
                  <a:cubicBezTo>
                    <a:pt x="3368" y="2340"/>
                    <a:pt x="3368" y="2347"/>
                    <a:pt x="3376" y="2355"/>
                  </a:cubicBezTo>
                  <a:cubicBezTo>
                    <a:pt x="3376" y="2371"/>
                    <a:pt x="3376" y="2371"/>
                    <a:pt x="3384" y="2379"/>
                  </a:cubicBezTo>
                  <a:cubicBezTo>
                    <a:pt x="3384" y="2387"/>
                    <a:pt x="3384" y="2387"/>
                    <a:pt x="3384" y="2403"/>
                  </a:cubicBezTo>
                  <a:cubicBezTo>
                    <a:pt x="3376" y="2419"/>
                    <a:pt x="3376" y="2427"/>
                    <a:pt x="3376" y="2427"/>
                  </a:cubicBezTo>
                  <a:lnTo>
                    <a:pt x="3376" y="2427"/>
                  </a:lnTo>
                  <a:cubicBezTo>
                    <a:pt x="3384" y="2427"/>
                    <a:pt x="3384" y="2427"/>
                    <a:pt x="3392" y="2419"/>
                  </a:cubicBezTo>
                  <a:cubicBezTo>
                    <a:pt x="3392" y="2419"/>
                    <a:pt x="3392" y="2411"/>
                    <a:pt x="3400" y="2411"/>
                  </a:cubicBezTo>
                  <a:lnTo>
                    <a:pt x="3400" y="2411"/>
                  </a:lnTo>
                  <a:cubicBezTo>
                    <a:pt x="3407" y="2411"/>
                    <a:pt x="3407" y="2411"/>
                    <a:pt x="3407" y="2411"/>
                  </a:cubicBezTo>
                  <a:lnTo>
                    <a:pt x="3407" y="2411"/>
                  </a:lnTo>
                  <a:cubicBezTo>
                    <a:pt x="3407" y="2419"/>
                    <a:pt x="3352" y="2569"/>
                    <a:pt x="3336" y="2593"/>
                  </a:cubicBezTo>
                  <a:cubicBezTo>
                    <a:pt x="3320" y="2624"/>
                    <a:pt x="3305" y="2632"/>
                    <a:pt x="3289" y="2640"/>
                  </a:cubicBezTo>
                  <a:cubicBezTo>
                    <a:pt x="3281" y="2640"/>
                    <a:pt x="3281" y="2640"/>
                    <a:pt x="3281" y="2640"/>
                  </a:cubicBezTo>
                  <a:close/>
                  <a:moveTo>
                    <a:pt x="3289" y="2474"/>
                  </a:moveTo>
                  <a:lnTo>
                    <a:pt x="3289" y="2474"/>
                  </a:lnTo>
                  <a:cubicBezTo>
                    <a:pt x="3297" y="2474"/>
                    <a:pt x="3297" y="2474"/>
                    <a:pt x="3297" y="2474"/>
                  </a:cubicBezTo>
                  <a:cubicBezTo>
                    <a:pt x="3305" y="2474"/>
                    <a:pt x="3313" y="2482"/>
                    <a:pt x="3320" y="2482"/>
                  </a:cubicBezTo>
                  <a:cubicBezTo>
                    <a:pt x="3336" y="2482"/>
                    <a:pt x="3344" y="2482"/>
                    <a:pt x="3344" y="2490"/>
                  </a:cubicBezTo>
                  <a:cubicBezTo>
                    <a:pt x="3352" y="2498"/>
                    <a:pt x="3352" y="2498"/>
                    <a:pt x="3352" y="2506"/>
                  </a:cubicBezTo>
                  <a:cubicBezTo>
                    <a:pt x="3344" y="2529"/>
                    <a:pt x="3320" y="2577"/>
                    <a:pt x="3305" y="2600"/>
                  </a:cubicBezTo>
                  <a:cubicBezTo>
                    <a:pt x="3281" y="2624"/>
                    <a:pt x="3281" y="2632"/>
                    <a:pt x="3281" y="2640"/>
                  </a:cubicBezTo>
                  <a:cubicBezTo>
                    <a:pt x="3281" y="2640"/>
                    <a:pt x="3281" y="2640"/>
                    <a:pt x="3281" y="2632"/>
                  </a:cubicBezTo>
                  <a:cubicBezTo>
                    <a:pt x="3305" y="2624"/>
                    <a:pt x="3313" y="2616"/>
                    <a:pt x="3328" y="2593"/>
                  </a:cubicBezTo>
                  <a:cubicBezTo>
                    <a:pt x="3352" y="2561"/>
                    <a:pt x="3392" y="2450"/>
                    <a:pt x="3400" y="2419"/>
                  </a:cubicBezTo>
                  <a:cubicBezTo>
                    <a:pt x="3400" y="2419"/>
                    <a:pt x="3392" y="2419"/>
                    <a:pt x="3392" y="2427"/>
                  </a:cubicBezTo>
                  <a:lnTo>
                    <a:pt x="3384" y="2434"/>
                  </a:lnTo>
                  <a:cubicBezTo>
                    <a:pt x="3376" y="2434"/>
                    <a:pt x="3368" y="2434"/>
                    <a:pt x="3368" y="2434"/>
                  </a:cubicBezTo>
                  <a:cubicBezTo>
                    <a:pt x="3368" y="2427"/>
                    <a:pt x="3368" y="2411"/>
                    <a:pt x="3376" y="2403"/>
                  </a:cubicBezTo>
                  <a:cubicBezTo>
                    <a:pt x="3376" y="2387"/>
                    <a:pt x="3376" y="2387"/>
                    <a:pt x="3376" y="2379"/>
                  </a:cubicBezTo>
                  <a:cubicBezTo>
                    <a:pt x="3376" y="2379"/>
                    <a:pt x="3368" y="2371"/>
                    <a:pt x="3368" y="2355"/>
                  </a:cubicBezTo>
                  <a:cubicBezTo>
                    <a:pt x="3360" y="2347"/>
                    <a:pt x="3360" y="2340"/>
                    <a:pt x="3360" y="2332"/>
                  </a:cubicBezTo>
                  <a:cubicBezTo>
                    <a:pt x="3352" y="2316"/>
                    <a:pt x="3344" y="2308"/>
                    <a:pt x="3368" y="2284"/>
                  </a:cubicBezTo>
                  <a:cubicBezTo>
                    <a:pt x="3392" y="2253"/>
                    <a:pt x="3407" y="2102"/>
                    <a:pt x="3407" y="2063"/>
                  </a:cubicBezTo>
                  <a:cubicBezTo>
                    <a:pt x="3407" y="2047"/>
                    <a:pt x="3407" y="2039"/>
                    <a:pt x="3407" y="2031"/>
                  </a:cubicBezTo>
                  <a:cubicBezTo>
                    <a:pt x="3400" y="2007"/>
                    <a:pt x="3400" y="1976"/>
                    <a:pt x="3407" y="1905"/>
                  </a:cubicBezTo>
                  <a:cubicBezTo>
                    <a:pt x="3415" y="1818"/>
                    <a:pt x="3368" y="1620"/>
                    <a:pt x="3281" y="1557"/>
                  </a:cubicBezTo>
                  <a:cubicBezTo>
                    <a:pt x="3241" y="1525"/>
                    <a:pt x="3218" y="1462"/>
                    <a:pt x="3186" y="1399"/>
                  </a:cubicBezTo>
                  <a:cubicBezTo>
                    <a:pt x="3154" y="1328"/>
                    <a:pt x="3115" y="1241"/>
                    <a:pt x="3036" y="1154"/>
                  </a:cubicBezTo>
                  <a:lnTo>
                    <a:pt x="3036" y="1154"/>
                  </a:lnTo>
                  <a:lnTo>
                    <a:pt x="3036" y="1154"/>
                  </a:lnTo>
                  <a:cubicBezTo>
                    <a:pt x="3028" y="1114"/>
                    <a:pt x="3020" y="1083"/>
                    <a:pt x="3020" y="1083"/>
                  </a:cubicBezTo>
                  <a:cubicBezTo>
                    <a:pt x="3012" y="1083"/>
                    <a:pt x="3012" y="1090"/>
                    <a:pt x="3004" y="1090"/>
                  </a:cubicBezTo>
                  <a:cubicBezTo>
                    <a:pt x="3004" y="1090"/>
                    <a:pt x="3004" y="1099"/>
                    <a:pt x="2996" y="1099"/>
                  </a:cubicBezTo>
                  <a:cubicBezTo>
                    <a:pt x="2996" y="1099"/>
                    <a:pt x="2996" y="1090"/>
                    <a:pt x="2988" y="1083"/>
                  </a:cubicBezTo>
                  <a:cubicBezTo>
                    <a:pt x="2988" y="1075"/>
                    <a:pt x="2988" y="1075"/>
                    <a:pt x="2981" y="1067"/>
                  </a:cubicBezTo>
                  <a:cubicBezTo>
                    <a:pt x="2973" y="1059"/>
                    <a:pt x="2973" y="1051"/>
                    <a:pt x="2965" y="1027"/>
                  </a:cubicBezTo>
                  <a:cubicBezTo>
                    <a:pt x="2957" y="1019"/>
                    <a:pt x="2949" y="1003"/>
                    <a:pt x="2941" y="988"/>
                  </a:cubicBezTo>
                  <a:cubicBezTo>
                    <a:pt x="2909" y="924"/>
                    <a:pt x="2894" y="901"/>
                    <a:pt x="2901" y="893"/>
                  </a:cubicBezTo>
                  <a:cubicBezTo>
                    <a:pt x="2901" y="893"/>
                    <a:pt x="2901" y="885"/>
                    <a:pt x="2909" y="885"/>
                  </a:cubicBezTo>
                  <a:cubicBezTo>
                    <a:pt x="2909" y="885"/>
                    <a:pt x="2909" y="893"/>
                    <a:pt x="2917" y="901"/>
                  </a:cubicBezTo>
                  <a:cubicBezTo>
                    <a:pt x="2917" y="901"/>
                    <a:pt x="2917" y="909"/>
                    <a:pt x="2925" y="917"/>
                  </a:cubicBezTo>
                  <a:cubicBezTo>
                    <a:pt x="2933" y="924"/>
                    <a:pt x="2941" y="932"/>
                    <a:pt x="2941" y="932"/>
                  </a:cubicBezTo>
                  <a:cubicBezTo>
                    <a:pt x="2949" y="940"/>
                    <a:pt x="2949" y="948"/>
                    <a:pt x="2949" y="948"/>
                  </a:cubicBezTo>
                  <a:cubicBezTo>
                    <a:pt x="2957" y="948"/>
                    <a:pt x="2957" y="948"/>
                    <a:pt x="2957" y="948"/>
                  </a:cubicBezTo>
                  <a:cubicBezTo>
                    <a:pt x="2957" y="948"/>
                    <a:pt x="2957" y="940"/>
                    <a:pt x="2965" y="940"/>
                  </a:cubicBezTo>
                  <a:cubicBezTo>
                    <a:pt x="2965" y="932"/>
                    <a:pt x="2965" y="932"/>
                    <a:pt x="2973" y="932"/>
                  </a:cubicBezTo>
                  <a:lnTo>
                    <a:pt x="2973" y="932"/>
                  </a:lnTo>
                  <a:cubicBezTo>
                    <a:pt x="2981" y="940"/>
                    <a:pt x="3004" y="964"/>
                    <a:pt x="3020" y="996"/>
                  </a:cubicBezTo>
                  <a:lnTo>
                    <a:pt x="3020" y="1003"/>
                  </a:lnTo>
                  <a:cubicBezTo>
                    <a:pt x="3020" y="1019"/>
                    <a:pt x="3028" y="1027"/>
                    <a:pt x="3028" y="1035"/>
                  </a:cubicBezTo>
                  <a:lnTo>
                    <a:pt x="3028" y="1035"/>
                  </a:lnTo>
                  <a:cubicBezTo>
                    <a:pt x="3036" y="1035"/>
                    <a:pt x="3036" y="1035"/>
                    <a:pt x="3036" y="1035"/>
                  </a:cubicBezTo>
                  <a:cubicBezTo>
                    <a:pt x="3036" y="1012"/>
                    <a:pt x="3044" y="996"/>
                    <a:pt x="2996" y="924"/>
                  </a:cubicBezTo>
                  <a:cubicBezTo>
                    <a:pt x="2957" y="861"/>
                    <a:pt x="2941" y="853"/>
                    <a:pt x="2925" y="846"/>
                  </a:cubicBezTo>
                  <a:lnTo>
                    <a:pt x="2925" y="846"/>
                  </a:lnTo>
                  <a:cubicBezTo>
                    <a:pt x="2901" y="837"/>
                    <a:pt x="2680" y="506"/>
                    <a:pt x="2664" y="458"/>
                  </a:cubicBezTo>
                  <a:cubicBezTo>
                    <a:pt x="2664" y="458"/>
                    <a:pt x="2577" y="268"/>
                    <a:pt x="2554" y="229"/>
                  </a:cubicBezTo>
                  <a:cubicBezTo>
                    <a:pt x="2546" y="205"/>
                    <a:pt x="2538" y="189"/>
                    <a:pt x="2538" y="173"/>
                  </a:cubicBezTo>
                  <a:cubicBezTo>
                    <a:pt x="2538" y="158"/>
                    <a:pt x="2530" y="142"/>
                    <a:pt x="2522" y="126"/>
                  </a:cubicBezTo>
                  <a:cubicBezTo>
                    <a:pt x="2514" y="118"/>
                    <a:pt x="2506" y="118"/>
                    <a:pt x="2506" y="110"/>
                  </a:cubicBezTo>
                  <a:cubicBezTo>
                    <a:pt x="2490" y="95"/>
                    <a:pt x="2490" y="95"/>
                    <a:pt x="2498" y="63"/>
                  </a:cubicBezTo>
                  <a:cubicBezTo>
                    <a:pt x="2498" y="55"/>
                    <a:pt x="2498" y="55"/>
                    <a:pt x="2498" y="47"/>
                  </a:cubicBezTo>
                  <a:cubicBezTo>
                    <a:pt x="2506" y="23"/>
                    <a:pt x="2506" y="23"/>
                    <a:pt x="2483" y="15"/>
                  </a:cubicBezTo>
                  <a:cubicBezTo>
                    <a:pt x="2483" y="7"/>
                    <a:pt x="2483" y="7"/>
                    <a:pt x="2483" y="7"/>
                  </a:cubicBezTo>
                  <a:cubicBezTo>
                    <a:pt x="2483" y="15"/>
                    <a:pt x="2483" y="15"/>
                    <a:pt x="2483" y="15"/>
                  </a:cubicBezTo>
                  <a:cubicBezTo>
                    <a:pt x="2475" y="23"/>
                    <a:pt x="2459" y="31"/>
                    <a:pt x="2427" y="31"/>
                  </a:cubicBezTo>
                  <a:cubicBezTo>
                    <a:pt x="2403" y="31"/>
                    <a:pt x="2364" y="23"/>
                    <a:pt x="2332" y="23"/>
                  </a:cubicBezTo>
                  <a:cubicBezTo>
                    <a:pt x="2308" y="15"/>
                    <a:pt x="2285" y="15"/>
                    <a:pt x="2277" y="15"/>
                  </a:cubicBezTo>
                  <a:cubicBezTo>
                    <a:pt x="2269" y="15"/>
                    <a:pt x="2261" y="15"/>
                    <a:pt x="2261" y="15"/>
                  </a:cubicBezTo>
                  <a:cubicBezTo>
                    <a:pt x="2253" y="23"/>
                    <a:pt x="2253" y="23"/>
                    <a:pt x="2253" y="31"/>
                  </a:cubicBezTo>
                  <a:cubicBezTo>
                    <a:pt x="2253" y="39"/>
                    <a:pt x="2253" y="55"/>
                    <a:pt x="2269" y="79"/>
                  </a:cubicBezTo>
                  <a:cubicBezTo>
                    <a:pt x="2285" y="102"/>
                    <a:pt x="2285" y="134"/>
                    <a:pt x="2277" y="166"/>
                  </a:cubicBezTo>
                  <a:cubicBezTo>
                    <a:pt x="2277" y="173"/>
                    <a:pt x="2277" y="189"/>
                    <a:pt x="2277" y="197"/>
                  </a:cubicBezTo>
                  <a:cubicBezTo>
                    <a:pt x="2277" y="221"/>
                    <a:pt x="2269" y="229"/>
                    <a:pt x="2253" y="229"/>
                  </a:cubicBezTo>
                  <a:cubicBezTo>
                    <a:pt x="2245" y="229"/>
                    <a:pt x="2237" y="229"/>
                    <a:pt x="2230" y="229"/>
                  </a:cubicBezTo>
                  <a:lnTo>
                    <a:pt x="2222" y="229"/>
                  </a:lnTo>
                  <a:cubicBezTo>
                    <a:pt x="2190" y="229"/>
                    <a:pt x="2190" y="205"/>
                    <a:pt x="2190" y="181"/>
                  </a:cubicBezTo>
                  <a:cubicBezTo>
                    <a:pt x="2190" y="173"/>
                    <a:pt x="2190" y="166"/>
                    <a:pt x="2190" y="158"/>
                  </a:cubicBezTo>
                  <a:cubicBezTo>
                    <a:pt x="2182" y="142"/>
                    <a:pt x="2174" y="134"/>
                    <a:pt x="2174" y="134"/>
                  </a:cubicBezTo>
                  <a:cubicBezTo>
                    <a:pt x="2119" y="142"/>
                    <a:pt x="1138" y="221"/>
                    <a:pt x="1123" y="221"/>
                  </a:cubicBezTo>
                  <a:cubicBezTo>
                    <a:pt x="1115" y="221"/>
                    <a:pt x="1060" y="126"/>
                    <a:pt x="1036" y="87"/>
                  </a:cubicBezTo>
                  <a:cubicBezTo>
                    <a:pt x="633" y="134"/>
                    <a:pt x="24" y="221"/>
                    <a:pt x="8" y="237"/>
                  </a:cubicBezTo>
                  <a:cubicBezTo>
                    <a:pt x="8" y="245"/>
                    <a:pt x="0" y="245"/>
                    <a:pt x="8" y="253"/>
                  </a:cubicBezTo>
                  <a:cubicBezTo>
                    <a:pt x="8" y="268"/>
                    <a:pt x="32" y="284"/>
                    <a:pt x="55" y="300"/>
                  </a:cubicBezTo>
                  <a:cubicBezTo>
                    <a:pt x="63" y="308"/>
                    <a:pt x="71" y="316"/>
                    <a:pt x="79" y="324"/>
                  </a:cubicBezTo>
                  <a:cubicBezTo>
                    <a:pt x="103" y="340"/>
                    <a:pt x="103" y="355"/>
                    <a:pt x="95" y="379"/>
                  </a:cubicBezTo>
                  <a:lnTo>
                    <a:pt x="87" y="387"/>
                  </a:lnTo>
                  <a:cubicBezTo>
                    <a:pt x="87" y="403"/>
                    <a:pt x="95" y="419"/>
                    <a:pt x="103" y="426"/>
                  </a:cubicBezTo>
                  <a:cubicBezTo>
                    <a:pt x="111" y="442"/>
                    <a:pt x="119" y="450"/>
                    <a:pt x="119" y="458"/>
                  </a:cubicBezTo>
                  <a:cubicBezTo>
                    <a:pt x="119" y="466"/>
                    <a:pt x="111" y="490"/>
                    <a:pt x="95" y="513"/>
                  </a:cubicBezTo>
                  <a:cubicBezTo>
                    <a:pt x="103" y="521"/>
                    <a:pt x="103" y="529"/>
                    <a:pt x="111" y="529"/>
                  </a:cubicBezTo>
                  <a:cubicBezTo>
                    <a:pt x="119" y="529"/>
                    <a:pt x="119" y="529"/>
                    <a:pt x="127" y="521"/>
                  </a:cubicBezTo>
                  <a:cubicBezTo>
                    <a:pt x="135" y="513"/>
                    <a:pt x="142" y="506"/>
                    <a:pt x="150" y="506"/>
                  </a:cubicBezTo>
                  <a:cubicBezTo>
                    <a:pt x="158" y="498"/>
                    <a:pt x="166" y="490"/>
                    <a:pt x="182" y="474"/>
                  </a:cubicBezTo>
                  <a:cubicBezTo>
                    <a:pt x="190" y="458"/>
                    <a:pt x="190" y="442"/>
                    <a:pt x="190" y="434"/>
                  </a:cubicBezTo>
                  <a:cubicBezTo>
                    <a:pt x="190" y="419"/>
                    <a:pt x="190" y="411"/>
                    <a:pt x="198" y="403"/>
                  </a:cubicBezTo>
                  <a:cubicBezTo>
                    <a:pt x="206" y="403"/>
                    <a:pt x="206" y="403"/>
                    <a:pt x="206" y="403"/>
                  </a:cubicBezTo>
                  <a:cubicBezTo>
                    <a:pt x="214" y="403"/>
                    <a:pt x="221" y="411"/>
                    <a:pt x="230" y="419"/>
                  </a:cubicBezTo>
                  <a:cubicBezTo>
                    <a:pt x="237" y="419"/>
                    <a:pt x="237" y="419"/>
                    <a:pt x="245" y="419"/>
                  </a:cubicBezTo>
                  <a:lnTo>
                    <a:pt x="245" y="411"/>
                  </a:lnTo>
                  <a:cubicBezTo>
                    <a:pt x="245" y="403"/>
                    <a:pt x="245" y="395"/>
                    <a:pt x="261" y="395"/>
                  </a:cubicBezTo>
                  <a:lnTo>
                    <a:pt x="269" y="395"/>
                  </a:lnTo>
                  <a:cubicBezTo>
                    <a:pt x="293" y="411"/>
                    <a:pt x="308" y="426"/>
                    <a:pt x="308" y="442"/>
                  </a:cubicBezTo>
                  <a:cubicBezTo>
                    <a:pt x="308" y="450"/>
                    <a:pt x="301" y="450"/>
                    <a:pt x="293" y="450"/>
                  </a:cubicBezTo>
                  <a:cubicBezTo>
                    <a:pt x="269" y="458"/>
                    <a:pt x="261" y="458"/>
                    <a:pt x="253" y="474"/>
                  </a:cubicBezTo>
                  <a:cubicBezTo>
                    <a:pt x="253" y="474"/>
                    <a:pt x="245" y="474"/>
                    <a:pt x="245" y="482"/>
                  </a:cubicBezTo>
                  <a:cubicBezTo>
                    <a:pt x="237" y="490"/>
                    <a:pt x="221" y="490"/>
                    <a:pt x="206" y="498"/>
                  </a:cubicBezTo>
                  <a:cubicBezTo>
                    <a:pt x="206" y="498"/>
                    <a:pt x="198" y="498"/>
                    <a:pt x="190" y="506"/>
                  </a:cubicBezTo>
                  <a:lnTo>
                    <a:pt x="198" y="506"/>
                  </a:lnTo>
                  <a:cubicBezTo>
                    <a:pt x="214" y="506"/>
                    <a:pt x="230" y="506"/>
                    <a:pt x="245" y="498"/>
                  </a:cubicBezTo>
                  <a:cubicBezTo>
                    <a:pt x="261" y="490"/>
                    <a:pt x="277" y="482"/>
                    <a:pt x="293" y="474"/>
                  </a:cubicBezTo>
                  <a:cubicBezTo>
                    <a:pt x="308" y="474"/>
                    <a:pt x="316" y="474"/>
                    <a:pt x="324" y="474"/>
                  </a:cubicBezTo>
                  <a:cubicBezTo>
                    <a:pt x="372" y="466"/>
                    <a:pt x="435" y="450"/>
                    <a:pt x="451" y="426"/>
                  </a:cubicBezTo>
                  <a:cubicBezTo>
                    <a:pt x="451" y="419"/>
                    <a:pt x="459" y="419"/>
                    <a:pt x="459" y="411"/>
                  </a:cubicBezTo>
                  <a:cubicBezTo>
                    <a:pt x="459" y="395"/>
                    <a:pt x="467" y="387"/>
                    <a:pt x="498" y="387"/>
                  </a:cubicBezTo>
                  <a:cubicBezTo>
                    <a:pt x="514" y="387"/>
                    <a:pt x="522" y="387"/>
                    <a:pt x="530" y="387"/>
                  </a:cubicBezTo>
                  <a:cubicBezTo>
                    <a:pt x="546" y="379"/>
                    <a:pt x="554" y="379"/>
                    <a:pt x="561" y="379"/>
                  </a:cubicBezTo>
                  <a:cubicBezTo>
                    <a:pt x="569" y="379"/>
                    <a:pt x="569" y="379"/>
                    <a:pt x="577" y="379"/>
                  </a:cubicBezTo>
                  <a:cubicBezTo>
                    <a:pt x="601" y="387"/>
                    <a:pt x="617" y="395"/>
                    <a:pt x="609" y="403"/>
                  </a:cubicBezTo>
                  <a:cubicBezTo>
                    <a:pt x="609" y="411"/>
                    <a:pt x="609" y="411"/>
                    <a:pt x="593" y="411"/>
                  </a:cubicBezTo>
                  <a:cubicBezTo>
                    <a:pt x="585" y="411"/>
                    <a:pt x="577" y="411"/>
                    <a:pt x="569" y="411"/>
                  </a:cubicBezTo>
                  <a:cubicBezTo>
                    <a:pt x="561" y="411"/>
                    <a:pt x="561" y="411"/>
                    <a:pt x="554" y="411"/>
                  </a:cubicBezTo>
                  <a:cubicBezTo>
                    <a:pt x="546" y="411"/>
                    <a:pt x="538" y="411"/>
                    <a:pt x="530" y="419"/>
                  </a:cubicBezTo>
                  <a:cubicBezTo>
                    <a:pt x="522" y="426"/>
                    <a:pt x="506" y="426"/>
                    <a:pt x="490" y="426"/>
                  </a:cubicBezTo>
                  <a:cubicBezTo>
                    <a:pt x="482" y="426"/>
                    <a:pt x="474" y="434"/>
                    <a:pt x="474" y="434"/>
                  </a:cubicBezTo>
                  <a:lnTo>
                    <a:pt x="474" y="434"/>
                  </a:lnTo>
                  <a:cubicBezTo>
                    <a:pt x="490" y="442"/>
                    <a:pt x="498" y="442"/>
                    <a:pt x="522" y="442"/>
                  </a:cubicBezTo>
                  <a:cubicBezTo>
                    <a:pt x="530" y="442"/>
                    <a:pt x="538" y="442"/>
                    <a:pt x="546" y="442"/>
                  </a:cubicBezTo>
                  <a:cubicBezTo>
                    <a:pt x="585" y="442"/>
                    <a:pt x="783" y="498"/>
                    <a:pt x="799" y="521"/>
                  </a:cubicBezTo>
                  <a:cubicBezTo>
                    <a:pt x="807" y="529"/>
                    <a:pt x="807" y="529"/>
                    <a:pt x="807" y="529"/>
                  </a:cubicBezTo>
                  <a:cubicBezTo>
                    <a:pt x="807" y="529"/>
                    <a:pt x="807" y="521"/>
                    <a:pt x="807" y="506"/>
                  </a:cubicBezTo>
                  <a:cubicBezTo>
                    <a:pt x="799" y="498"/>
                    <a:pt x="791" y="498"/>
                    <a:pt x="783" y="490"/>
                  </a:cubicBezTo>
                  <a:cubicBezTo>
                    <a:pt x="775" y="490"/>
                    <a:pt x="767" y="482"/>
                    <a:pt x="767" y="482"/>
                  </a:cubicBezTo>
                  <a:cubicBezTo>
                    <a:pt x="767" y="474"/>
                    <a:pt x="767" y="466"/>
                    <a:pt x="775" y="466"/>
                  </a:cubicBezTo>
                  <a:cubicBezTo>
                    <a:pt x="783" y="450"/>
                    <a:pt x="783" y="442"/>
                    <a:pt x="791" y="442"/>
                  </a:cubicBezTo>
                  <a:lnTo>
                    <a:pt x="799" y="442"/>
                  </a:lnTo>
                  <a:cubicBezTo>
                    <a:pt x="807" y="442"/>
                    <a:pt x="807" y="442"/>
                    <a:pt x="814" y="450"/>
                  </a:cubicBezTo>
                  <a:cubicBezTo>
                    <a:pt x="822" y="450"/>
                    <a:pt x="830" y="442"/>
                    <a:pt x="838" y="434"/>
                  </a:cubicBezTo>
                  <a:cubicBezTo>
                    <a:pt x="846" y="434"/>
                    <a:pt x="846" y="434"/>
                    <a:pt x="854" y="434"/>
                  </a:cubicBezTo>
                  <a:cubicBezTo>
                    <a:pt x="854" y="434"/>
                    <a:pt x="862" y="434"/>
                    <a:pt x="862" y="442"/>
                  </a:cubicBezTo>
                  <a:cubicBezTo>
                    <a:pt x="862" y="450"/>
                    <a:pt x="846" y="458"/>
                    <a:pt x="838" y="466"/>
                  </a:cubicBezTo>
                  <a:cubicBezTo>
                    <a:pt x="830" y="466"/>
                    <a:pt x="830" y="466"/>
                    <a:pt x="830" y="482"/>
                  </a:cubicBezTo>
                  <a:cubicBezTo>
                    <a:pt x="838" y="498"/>
                    <a:pt x="838" y="498"/>
                    <a:pt x="846" y="506"/>
                  </a:cubicBezTo>
                  <a:lnTo>
                    <a:pt x="846" y="513"/>
                  </a:lnTo>
                  <a:cubicBezTo>
                    <a:pt x="854" y="521"/>
                    <a:pt x="846" y="529"/>
                    <a:pt x="838" y="537"/>
                  </a:cubicBezTo>
                  <a:cubicBezTo>
                    <a:pt x="838" y="537"/>
                    <a:pt x="838" y="537"/>
                    <a:pt x="830" y="537"/>
                  </a:cubicBezTo>
                  <a:cubicBezTo>
                    <a:pt x="838" y="545"/>
                    <a:pt x="838" y="545"/>
                    <a:pt x="838" y="545"/>
                  </a:cubicBezTo>
                  <a:cubicBezTo>
                    <a:pt x="973" y="616"/>
                    <a:pt x="973" y="632"/>
                    <a:pt x="973" y="640"/>
                  </a:cubicBezTo>
                  <a:cubicBezTo>
                    <a:pt x="973" y="656"/>
                    <a:pt x="965" y="656"/>
                    <a:pt x="957" y="664"/>
                  </a:cubicBezTo>
                  <a:lnTo>
                    <a:pt x="949" y="664"/>
                  </a:lnTo>
                  <a:cubicBezTo>
                    <a:pt x="949" y="664"/>
                    <a:pt x="949" y="664"/>
                    <a:pt x="957" y="672"/>
                  </a:cubicBezTo>
                  <a:cubicBezTo>
                    <a:pt x="965" y="695"/>
                    <a:pt x="980" y="711"/>
                    <a:pt x="996" y="719"/>
                  </a:cubicBezTo>
                  <a:cubicBezTo>
                    <a:pt x="996" y="719"/>
                    <a:pt x="996" y="719"/>
                    <a:pt x="1004" y="719"/>
                  </a:cubicBezTo>
                  <a:cubicBezTo>
                    <a:pt x="1012" y="719"/>
                    <a:pt x="1036" y="711"/>
                    <a:pt x="1060" y="703"/>
                  </a:cubicBezTo>
                  <a:cubicBezTo>
                    <a:pt x="1075" y="695"/>
                    <a:pt x="1091" y="695"/>
                    <a:pt x="1107" y="687"/>
                  </a:cubicBezTo>
                  <a:cubicBezTo>
                    <a:pt x="1131" y="679"/>
                    <a:pt x="1162" y="664"/>
                    <a:pt x="1178" y="656"/>
                  </a:cubicBezTo>
                  <a:cubicBezTo>
                    <a:pt x="1202" y="648"/>
                    <a:pt x="1218" y="640"/>
                    <a:pt x="1225" y="640"/>
                  </a:cubicBezTo>
                  <a:cubicBezTo>
                    <a:pt x="1225" y="640"/>
                    <a:pt x="1233" y="648"/>
                    <a:pt x="1233" y="656"/>
                  </a:cubicBezTo>
                  <a:cubicBezTo>
                    <a:pt x="1233" y="664"/>
                    <a:pt x="1218" y="672"/>
                    <a:pt x="1202" y="687"/>
                  </a:cubicBezTo>
                  <a:cubicBezTo>
                    <a:pt x="1170" y="703"/>
                    <a:pt x="1147" y="711"/>
                    <a:pt x="1131" y="727"/>
                  </a:cubicBezTo>
                  <a:cubicBezTo>
                    <a:pt x="1123" y="727"/>
                    <a:pt x="1123" y="735"/>
                    <a:pt x="1123" y="735"/>
                  </a:cubicBezTo>
                  <a:lnTo>
                    <a:pt x="1131" y="735"/>
                  </a:lnTo>
                  <a:cubicBezTo>
                    <a:pt x="1138" y="735"/>
                    <a:pt x="1147" y="735"/>
                    <a:pt x="1154" y="735"/>
                  </a:cubicBezTo>
                  <a:cubicBezTo>
                    <a:pt x="1162" y="727"/>
                    <a:pt x="1241" y="679"/>
                    <a:pt x="1241" y="640"/>
                  </a:cubicBezTo>
                  <a:cubicBezTo>
                    <a:pt x="1241" y="608"/>
                    <a:pt x="1249" y="608"/>
                    <a:pt x="1265" y="600"/>
                  </a:cubicBezTo>
                  <a:cubicBezTo>
                    <a:pt x="1265" y="600"/>
                    <a:pt x="1265" y="593"/>
                    <a:pt x="1273" y="593"/>
                  </a:cubicBezTo>
                  <a:lnTo>
                    <a:pt x="1281" y="585"/>
                  </a:lnTo>
                  <a:cubicBezTo>
                    <a:pt x="1297" y="569"/>
                    <a:pt x="1313" y="561"/>
                    <a:pt x="1336" y="561"/>
                  </a:cubicBezTo>
                  <a:cubicBezTo>
                    <a:pt x="1344" y="561"/>
                    <a:pt x="1352" y="561"/>
                    <a:pt x="1360" y="561"/>
                  </a:cubicBezTo>
                  <a:lnTo>
                    <a:pt x="1368" y="561"/>
                  </a:lnTo>
                  <a:cubicBezTo>
                    <a:pt x="1368" y="561"/>
                    <a:pt x="1384" y="561"/>
                    <a:pt x="1384" y="553"/>
                  </a:cubicBezTo>
                  <a:lnTo>
                    <a:pt x="1384" y="553"/>
                  </a:lnTo>
                  <a:cubicBezTo>
                    <a:pt x="1384" y="545"/>
                    <a:pt x="1376" y="537"/>
                    <a:pt x="1368" y="537"/>
                  </a:cubicBezTo>
                  <a:cubicBezTo>
                    <a:pt x="1368" y="529"/>
                    <a:pt x="1360" y="521"/>
                    <a:pt x="1360" y="513"/>
                  </a:cubicBezTo>
                  <a:cubicBezTo>
                    <a:pt x="1360" y="513"/>
                    <a:pt x="1368" y="506"/>
                    <a:pt x="1376" y="498"/>
                  </a:cubicBezTo>
                  <a:cubicBezTo>
                    <a:pt x="1391" y="490"/>
                    <a:pt x="1391" y="482"/>
                    <a:pt x="1400" y="474"/>
                  </a:cubicBezTo>
                  <a:cubicBezTo>
                    <a:pt x="1407" y="458"/>
                    <a:pt x="1407" y="450"/>
                    <a:pt x="1455" y="458"/>
                  </a:cubicBezTo>
                  <a:cubicBezTo>
                    <a:pt x="1518" y="466"/>
                    <a:pt x="1550" y="482"/>
                    <a:pt x="1589" y="498"/>
                  </a:cubicBezTo>
                  <a:lnTo>
                    <a:pt x="1597" y="498"/>
                  </a:lnTo>
                  <a:cubicBezTo>
                    <a:pt x="1621" y="513"/>
                    <a:pt x="1653" y="537"/>
                    <a:pt x="1684" y="569"/>
                  </a:cubicBezTo>
                  <a:cubicBezTo>
                    <a:pt x="1716" y="593"/>
                    <a:pt x="1739" y="616"/>
                    <a:pt x="1755" y="616"/>
                  </a:cubicBezTo>
                  <a:cubicBezTo>
                    <a:pt x="1771" y="624"/>
                    <a:pt x="1779" y="624"/>
                    <a:pt x="1787" y="640"/>
                  </a:cubicBezTo>
                  <a:cubicBezTo>
                    <a:pt x="1787" y="648"/>
                    <a:pt x="1787" y="648"/>
                    <a:pt x="1795" y="664"/>
                  </a:cubicBezTo>
                  <a:cubicBezTo>
                    <a:pt x="1818" y="687"/>
                    <a:pt x="1834" y="711"/>
                    <a:pt x="1882" y="735"/>
                  </a:cubicBezTo>
                  <a:cubicBezTo>
                    <a:pt x="1897" y="743"/>
                    <a:pt x="1905" y="759"/>
                    <a:pt x="1921" y="774"/>
                  </a:cubicBezTo>
                  <a:cubicBezTo>
                    <a:pt x="1937" y="798"/>
                    <a:pt x="1953" y="814"/>
                    <a:pt x="1992" y="814"/>
                  </a:cubicBezTo>
                  <a:lnTo>
                    <a:pt x="1992" y="814"/>
                  </a:lnTo>
                  <a:cubicBezTo>
                    <a:pt x="2055" y="822"/>
                    <a:pt x="2064" y="822"/>
                    <a:pt x="2079" y="853"/>
                  </a:cubicBezTo>
                  <a:cubicBezTo>
                    <a:pt x="2087" y="893"/>
                    <a:pt x="2095" y="917"/>
                    <a:pt x="2119" y="924"/>
                  </a:cubicBezTo>
                  <a:cubicBezTo>
                    <a:pt x="2143" y="932"/>
                    <a:pt x="2150" y="948"/>
                    <a:pt x="2150" y="972"/>
                  </a:cubicBezTo>
                  <a:cubicBezTo>
                    <a:pt x="2158" y="980"/>
                    <a:pt x="2158" y="980"/>
                    <a:pt x="2158" y="988"/>
                  </a:cubicBezTo>
                  <a:cubicBezTo>
                    <a:pt x="2158" y="996"/>
                    <a:pt x="2158" y="996"/>
                    <a:pt x="2158" y="1003"/>
                  </a:cubicBezTo>
                  <a:cubicBezTo>
                    <a:pt x="2166" y="1035"/>
                    <a:pt x="2174" y="1067"/>
                    <a:pt x="2166" y="1106"/>
                  </a:cubicBezTo>
                  <a:cubicBezTo>
                    <a:pt x="2158" y="1138"/>
                    <a:pt x="2158" y="1170"/>
                    <a:pt x="2150" y="1201"/>
                  </a:cubicBezTo>
                  <a:cubicBezTo>
                    <a:pt x="2150" y="1217"/>
                    <a:pt x="2150" y="1225"/>
                    <a:pt x="2150" y="1241"/>
                  </a:cubicBezTo>
                  <a:cubicBezTo>
                    <a:pt x="2150" y="1256"/>
                    <a:pt x="2143" y="1272"/>
                    <a:pt x="2135" y="1280"/>
                  </a:cubicBezTo>
                  <a:cubicBezTo>
                    <a:pt x="2135" y="1304"/>
                    <a:pt x="2127" y="1312"/>
                    <a:pt x="2127" y="1336"/>
                  </a:cubicBezTo>
                  <a:cubicBezTo>
                    <a:pt x="2135" y="1343"/>
                    <a:pt x="2135" y="1359"/>
                    <a:pt x="2143" y="1367"/>
                  </a:cubicBezTo>
                  <a:cubicBezTo>
                    <a:pt x="2143" y="1375"/>
                    <a:pt x="2150" y="1391"/>
                    <a:pt x="2150" y="1415"/>
                  </a:cubicBezTo>
                  <a:cubicBezTo>
                    <a:pt x="2150" y="1438"/>
                    <a:pt x="2158" y="1462"/>
                    <a:pt x="2166" y="1478"/>
                  </a:cubicBezTo>
                  <a:cubicBezTo>
                    <a:pt x="2174" y="1478"/>
                    <a:pt x="2174" y="1486"/>
                    <a:pt x="2182" y="1486"/>
                  </a:cubicBezTo>
                  <a:cubicBezTo>
                    <a:pt x="2190" y="1478"/>
                    <a:pt x="2190" y="1478"/>
                    <a:pt x="2190" y="1478"/>
                  </a:cubicBezTo>
                  <a:cubicBezTo>
                    <a:pt x="2206" y="1478"/>
                    <a:pt x="2222" y="1478"/>
                    <a:pt x="2230" y="1470"/>
                  </a:cubicBezTo>
                  <a:cubicBezTo>
                    <a:pt x="2230" y="1470"/>
                    <a:pt x="2230" y="1462"/>
                    <a:pt x="2230" y="1454"/>
                  </a:cubicBezTo>
                  <a:cubicBezTo>
                    <a:pt x="2222" y="1446"/>
                    <a:pt x="2222" y="1430"/>
                    <a:pt x="2214" y="1423"/>
                  </a:cubicBezTo>
                  <a:cubicBezTo>
                    <a:pt x="2206" y="1407"/>
                    <a:pt x="2198" y="1391"/>
                    <a:pt x="2198" y="1367"/>
                  </a:cubicBezTo>
                  <a:cubicBezTo>
                    <a:pt x="2198" y="1336"/>
                    <a:pt x="2206" y="1336"/>
                    <a:pt x="2214" y="1336"/>
                  </a:cubicBezTo>
                  <a:cubicBezTo>
                    <a:pt x="2222" y="1336"/>
                    <a:pt x="2230" y="1343"/>
                    <a:pt x="2237" y="1359"/>
                  </a:cubicBezTo>
                  <a:cubicBezTo>
                    <a:pt x="2253" y="1383"/>
                    <a:pt x="2253" y="1383"/>
                    <a:pt x="2269" y="1383"/>
                  </a:cubicBezTo>
                  <a:cubicBezTo>
                    <a:pt x="2277" y="1383"/>
                    <a:pt x="2277" y="1383"/>
                    <a:pt x="2277" y="1383"/>
                  </a:cubicBezTo>
                  <a:cubicBezTo>
                    <a:pt x="2285" y="1383"/>
                    <a:pt x="2285" y="1383"/>
                    <a:pt x="2293" y="1383"/>
                  </a:cubicBezTo>
                  <a:cubicBezTo>
                    <a:pt x="2301" y="1383"/>
                    <a:pt x="2301" y="1383"/>
                    <a:pt x="2308" y="1391"/>
                  </a:cubicBezTo>
                  <a:cubicBezTo>
                    <a:pt x="2308" y="1399"/>
                    <a:pt x="2308" y="1407"/>
                    <a:pt x="2308" y="1423"/>
                  </a:cubicBezTo>
                  <a:cubicBezTo>
                    <a:pt x="2308" y="1438"/>
                    <a:pt x="2293" y="1462"/>
                    <a:pt x="2285" y="1486"/>
                  </a:cubicBezTo>
                  <a:cubicBezTo>
                    <a:pt x="2277" y="1502"/>
                    <a:pt x="2261" y="1517"/>
                    <a:pt x="2261" y="1533"/>
                  </a:cubicBezTo>
                  <a:cubicBezTo>
                    <a:pt x="2261" y="1549"/>
                    <a:pt x="2253" y="1565"/>
                    <a:pt x="2230" y="1573"/>
                  </a:cubicBezTo>
                  <a:cubicBezTo>
                    <a:pt x="2230" y="1573"/>
                    <a:pt x="2230" y="1573"/>
                    <a:pt x="2222" y="1573"/>
                  </a:cubicBezTo>
                  <a:cubicBezTo>
                    <a:pt x="2214" y="1573"/>
                    <a:pt x="2198" y="1573"/>
                    <a:pt x="2198" y="1581"/>
                  </a:cubicBezTo>
                  <a:cubicBezTo>
                    <a:pt x="2198" y="1581"/>
                    <a:pt x="2198" y="1581"/>
                    <a:pt x="2206" y="1589"/>
                  </a:cubicBezTo>
                  <a:cubicBezTo>
                    <a:pt x="2214" y="1589"/>
                    <a:pt x="2222" y="1589"/>
                    <a:pt x="2230" y="1589"/>
                  </a:cubicBezTo>
                  <a:cubicBezTo>
                    <a:pt x="2230" y="1581"/>
                    <a:pt x="2230" y="1581"/>
                    <a:pt x="2237" y="1581"/>
                  </a:cubicBezTo>
                  <a:cubicBezTo>
                    <a:pt x="2245" y="1581"/>
                    <a:pt x="2253" y="1589"/>
                    <a:pt x="2261" y="1612"/>
                  </a:cubicBezTo>
                  <a:cubicBezTo>
                    <a:pt x="2277" y="1636"/>
                    <a:pt x="2277" y="1652"/>
                    <a:pt x="2285" y="1668"/>
                  </a:cubicBezTo>
                  <a:cubicBezTo>
                    <a:pt x="2293" y="1691"/>
                    <a:pt x="2301" y="1707"/>
                    <a:pt x="2317" y="1739"/>
                  </a:cubicBezTo>
                  <a:cubicBezTo>
                    <a:pt x="2356" y="1802"/>
                    <a:pt x="2411" y="1857"/>
                    <a:pt x="2435" y="1865"/>
                  </a:cubicBezTo>
                  <a:cubicBezTo>
                    <a:pt x="2443" y="1865"/>
                    <a:pt x="2459" y="1873"/>
                    <a:pt x="2467" y="1873"/>
                  </a:cubicBezTo>
                  <a:cubicBezTo>
                    <a:pt x="2475" y="1873"/>
                    <a:pt x="2475" y="1873"/>
                    <a:pt x="2483" y="1865"/>
                  </a:cubicBezTo>
                  <a:cubicBezTo>
                    <a:pt x="2483" y="1865"/>
                    <a:pt x="2483" y="1857"/>
                    <a:pt x="2483" y="1849"/>
                  </a:cubicBezTo>
                  <a:cubicBezTo>
                    <a:pt x="2475" y="1841"/>
                    <a:pt x="2467" y="1826"/>
                    <a:pt x="2459" y="1818"/>
                  </a:cubicBezTo>
                  <a:cubicBezTo>
                    <a:pt x="2451" y="1810"/>
                    <a:pt x="2451" y="1802"/>
                    <a:pt x="2451" y="1802"/>
                  </a:cubicBezTo>
                  <a:cubicBezTo>
                    <a:pt x="2451" y="1794"/>
                    <a:pt x="2459" y="1794"/>
                    <a:pt x="2467" y="1802"/>
                  </a:cubicBezTo>
                  <a:cubicBezTo>
                    <a:pt x="2483" y="1802"/>
                    <a:pt x="2490" y="1810"/>
                    <a:pt x="2498" y="1810"/>
                  </a:cubicBezTo>
                  <a:cubicBezTo>
                    <a:pt x="2506" y="1818"/>
                    <a:pt x="2506" y="1826"/>
                    <a:pt x="2514" y="1818"/>
                  </a:cubicBezTo>
                  <a:cubicBezTo>
                    <a:pt x="2530" y="1810"/>
                    <a:pt x="2538" y="1810"/>
                    <a:pt x="2546" y="1818"/>
                  </a:cubicBezTo>
                  <a:cubicBezTo>
                    <a:pt x="2546" y="1826"/>
                    <a:pt x="2546" y="1834"/>
                    <a:pt x="2546" y="1849"/>
                  </a:cubicBezTo>
                  <a:cubicBezTo>
                    <a:pt x="2530" y="1881"/>
                    <a:pt x="2530" y="1913"/>
                    <a:pt x="2538" y="1936"/>
                  </a:cubicBezTo>
                  <a:cubicBezTo>
                    <a:pt x="2546" y="1960"/>
                    <a:pt x="2577" y="1992"/>
                    <a:pt x="2585" y="1992"/>
                  </a:cubicBezTo>
                  <a:lnTo>
                    <a:pt x="2585" y="1992"/>
                  </a:lnTo>
                  <a:cubicBezTo>
                    <a:pt x="2593" y="1992"/>
                    <a:pt x="2593" y="1984"/>
                    <a:pt x="2601" y="1984"/>
                  </a:cubicBezTo>
                  <a:cubicBezTo>
                    <a:pt x="2609" y="1984"/>
                    <a:pt x="2609" y="2000"/>
                    <a:pt x="2609" y="2007"/>
                  </a:cubicBezTo>
                  <a:cubicBezTo>
                    <a:pt x="2609" y="2023"/>
                    <a:pt x="2609" y="2023"/>
                    <a:pt x="2625" y="2031"/>
                  </a:cubicBezTo>
                  <a:lnTo>
                    <a:pt x="2633" y="2031"/>
                  </a:lnTo>
                  <a:cubicBezTo>
                    <a:pt x="2656" y="2039"/>
                    <a:pt x="2656" y="2047"/>
                    <a:pt x="2656" y="2071"/>
                  </a:cubicBezTo>
                  <a:lnTo>
                    <a:pt x="2656" y="2071"/>
                  </a:lnTo>
                  <a:cubicBezTo>
                    <a:pt x="2664" y="2102"/>
                    <a:pt x="2688" y="2150"/>
                    <a:pt x="2712" y="2189"/>
                  </a:cubicBezTo>
                  <a:cubicBezTo>
                    <a:pt x="2728" y="2205"/>
                    <a:pt x="2728" y="2221"/>
                    <a:pt x="2736" y="2229"/>
                  </a:cubicBezTo>
                  <a:cubicBezTo>
                    <a:pt x="2743" y="2260"/>
                    <a:pt x="2751" y="2269"/>
                    <a:pt x="2767" y="2269"/>
                  </a:cubicBezTo>
                  <a:cubicBezTo>
                    <a:pt x="2775" y="2269"/>
                    <a:pt x="2783" y="2269"/>
                    <a:pt x="2791" y="2260"/>
                  </a:cubicBezTo>
                  <a:cubicBezTo>
                    <a:pt x="2807" y="2260"/>
                    <a:pt x="2823" y="2253"/>
                    <a:pt x="2838" y="2253"/>
                  </a:cubicBezTo>
                  <a:cubicBezTo>
                    <a:pt x="2862" y="2253"/>
                    <a:pt x="2878" y="2260"/>
                    <a:pt x="2894" y="2276"/>
                  </a:cubicBezTo>
                  <a:cubicBezTo>
                    <a:pt x="2933" y="2316"/>
                    <a:pt x="2965" y="2355"/>
                    <a:pt x="2981" y="2387"/>
                  </a:cubicBezTo>
                  <a:cubicBezTo>
                    <a:pt x="2996" y="2419"/>
                    <a:pt x="3012" y="2434"/>
                    <a:pt x="3036" y="2442"/>
                  </a:cubicBezTo>
                  <a:cubicBezTo>
                    <a:pt x="3036" y="2442"/>
                    <a:pt x="3036" y="2450"/>
                    <a:pt x="3044" y="2450"/>
                  </a:cubicBezTo>
                  <a:cubicBezTo>
                    <a:pt x="3052" y="2458"/>
                    <a:pt x="3076" y="2474"/>
                    <a:pt x="3091" y="2474"/>
                  </a:cubicBezTo>
                  <a:cubicBezTo>
                    <a:pt x="3099" y="2474"/>
                    <a:pt x="3099" y="2474"/>
                    <a:pt x="3107" y="2466"/>
                  </a:cubicBezTo>
                  <a:cubicBezTo>
                    <a:pt x="3115" y="2466"/>
                    <a:pt x="3123" y="2466"/>
                    <a:pt x="3123" y="2474"/>
                  </a:cubicBezTo>
                  <a:cubicBezTo>
                    <a:pt x="3131" y="2482"/>
                    <a:pt x="3131" y="2490"/>
                    <a:pt x="3123" y="2498"/>
                  </a:cubicBezTo>
                  <a:cubicBezTo>
                    <a:pt x="3115" y="2498"/>
                    <a:pt x="3115" y="2506"/>
                    <a:pt x="3115" y="2506"/>
                  </a:cubicBezTo>
                  <a:cubicBezTo>
                    <a:pt x="3107" y="2513"/>
                    <a:pt x="3107" y="2513"/>
                    <a:pt x="3099" y="2513"/>
                  </a:cubicBezTo>
                  <a:cubicBezTo>
                    <a:pt x="3099" y="2513"/>
                    <a:pt x="3091" y="2513"/>
                    <a:pt x="3083" y="2506"/>
                  </a:cubicBezTo>
                  <a:cubicBezTo>
                    <a:pt x="3067" y="2498"/>
                    <a:pt x="3060" y="2490"/>
                    <a:pt x="3052" y="2490"/>
                  </a:cubicBezTo>
                  <a:cubicBezTo>
                    <a:pt x="3044" y="2490"/>
                    <a:pt x="3044" y="2490"/>
                    <a:pt x="3036" y="2498"/>
                  </a:cubicBezTo>
                  <a:lnTo>
                    <a:pt x="3028" y="2506"/>
                  </a:lnTo>
                  <a:cubicBezTo>
                    <a:pt x="3020" y="2513"/>
                    <a:pt x="3012" y="2529"/>
                    <a:pt x="3012" y="2529"/>
                  </a:cubicBezTo>
                  <a:cubicBezTo>
                    <a:pt x="3012" y="2537"/>
                    <a:pt x="3028" y="2545"/>
                    <a:pt x="3044" y="2553"/>
                  </a:cubicBezTo>
                  <a:cubicBezTo>
                    <a:pt x="3067" y="2561"/>
                    <a:pt x="3083" y="2569"/>
                    <a:pt x="3083" y="2569"/>
                  </a:cubicBezTo>
                  <a:cubicBezTo>
                    <a:pt x="3091" y="2569"/>
                    <a:pt x="3091" y="2569"/>
                    <a:pt x="3091" y="2561"/>
                  </a:cubicBezTo>
                  <a:cubicBezTo>
                    <a:pt x="3099" y="2561"/>
                    <a:pt x="3107" y="2553"/>
                    <a:pt x="3115" y="2553"/>
                  </a:cubicBezTo>
                  <a:cubicBezTo>
                    <a:pt x="3123" y="2553"/>
                    <a:pt x="3123" y="2545"/>
                    <a:pt x="3131" y="2545"/>
                  </a:cubicBezTo>
                  <a:cubicBezTo>
                    <a:pt x="3139" y="2537"/>
                    <a:pt x="3147" y="2529"/>
                    <a:pt x="3178" y="2537"/>
                  </a:cubicBezTo>
                  <a:cubicBezTo>
                    <a:pt x="3186" y="2537"/>
                    <a:pt x="3186" y="2537"/>
                    <a:pt x="3186" y="2537"/>
                  </a:cubicBezTo>
                  <a:cubicBezTo>
                    <a:pt x="3202" y="2537"/>
                    <a:pt x="3210" y="2545"/>
                    <a:pt x="3218" y="2545"/>
                  </a:cubicBezTo>
                  <a:cubicBezTo>
                    <a:pt x="3226" y="2545"/>
                    <a:pt x="3234" y="2537"/>
                    <a:pt x="3241" y="2529"/>
                  </a:cubicBezTo>
                  <a:cubicBezTo>
                    <a:pt x="3249" y="2506"/>
                    <a:pt x="3265" y="2474"/>
                    <a:pt x="3289" y="2474"/>
                  </a:cubicBezTo>
                  <a:close/>
                  <a:moveTo>
                    <a:pt x="3265" y="1944"/>
                  </a:moveTo>
                  <a:lnTo>
                    <a:pt x="3265" y="1944"/>
                  </a:lnTo>
                  <a:cubicBezTo>
                    <a:pt x="3265" y="1944"/>
                    <a:pt x="3257" y="1944"/>
                    <a:pt x="3257" y="1936"/>
                  </a:cubicBezTo>
                  <a:cubicBezTo>
                    <a:pt x="3249" y="1936"/>
                    <a:pt x="3241" y="1936"/>
                    <a:pt x="3226" y="1936"/>
                  </a:cubicBezTo>
                  <a:cubicBezTo>
                    <a:pt x="3194" y="1929"/>
                    <a:pt x="3194" y="1921"/>
                    <a:pt x="3186" y="1905"/>
                  </a:cubicBezTo>
                  <a:cubicBezTo>
                    <a:pt x="3186" y="1897"/>
                    <a:pt x="3178" y="1897"/>
                    <a:pt x="3178" y="1889"/>
                  </a:cubicBezTo>
                  <a:cubicBezTo>
                    <a:pt x="3162" y="1865"/>
                    <a:pt x="3154" y="1865"/>
                    <a:pt x="3131" y="1857"/>
                  </a:cubicBezTo>
                  <a:lnTo>
                    <a:pt x="3123" y="1857"/>
                  </a:lnTo>
                  <a:cubicBezTo>
                    <a:pt x="3115" y="1857"/>
                    <a:pt x="3107" y="1849"/>
                    <a:pt x="3107" y="1841"/>
                  </a:cubicBezTo>
                  <a:cubicBezTo>
                    <a:pt x="3099" y="1834"/>
                    <a:pt x="3107" y="1826"/>
                    <a:pt x="3107" y="1818"/>
                  </a:cubicBezTo>
                  <a:cubicBezTo>
                    <a:pt x="3115" y="1818"/>
                    <a:pt x="3115" y="1810"/>
                    <a:pt x="3115" y="1810"/>
                  </a:cubicBezTo>
                  <a:cubicBezTo>
                    <a:pt x="3123" y="1786"/>
                    <a:pt x="3162" y="1754"/>
                    <a:pt x="3170" y="1747"/>
                  </a:cubicBezTo>
                  <a:cubicBezTo>
                    <a:pt x="3186" y="1731"/>
                    <a:pt x="3194" y="1723"/>
                    <a:pt x="3194" y="1707"/>
                  </a:cubicBezTo>
                  <a:cubicBezTo>
                    <a:pt x="3194" y="1691"/>
                    <a:pt x="3218" y="1683"/>
                    <a:pt x="3218" y="1683"/>
                  </a:cubicBezTo>
                  <a:cubicBezTo>
                    <a:pt x="3218" y="1683"/>
                    <a:pt x="3218" y="1683"/>
                    <a:pt x="3226" y="1683"/>
                  </a:cubicBezTo>
                  <a:cubicBezTo>
                    <a:pt x="3241" y="1683"/>
                    <a:pt x="3289" y="1754"/>
                    <a:pt x="3297" y="1770"/>
                  </a:cubicBezTo>
                  <a:cubicBezTo>
                    <a:pt x="3313" y="1794"/>
                    <a:pt x="3320" y="1841"/>
                    <a:pt x="3305" y="1857"/>
                  </a:cubicBezTo>
                  <a:cubicBezTo>
                    <a:pt x="3305" y="1857"/>
                    <a:pt x="3305" y="1857"/>
                    <a:pt x="3297" y="1857"/>
                  </a:cubicBezTo>
                  <a:cubicBezTo>
                    <a:pt x="3289" y="1865"/>
                    <a:pt x="3281" y="1873"/>
                    <a:pt x="3281" y="1913"/>
                  </a:cubicBezTo>
                  <a:cubicBezTo>
                    <a:pt x="3281" y="1929"/>
                    <a:pt x="3281" y="1944"/>
                    <a:pt x="3265" y="1944"/>
                  </a:cubicBezTo>
                  <a:close/>
                  <a:moveTo>
                    <a:pt x="3226" y="1691"/>
                  </a:moveTo>
                  <a:lnTo>
                    <a:pt x="3226" y="1691"/>
                  </a:lnTo>
                  <a:lnTo>
                    <a:pt x="3226" y="1691"/>
                  </a:lnTo>
                  <a:cubicBezTo>
                    <a:pt x="3218" y="1691"/>
                    <a:pt x="3202" y="1699"/>
                    <a:pt x="3202" y="1707"/>
                  </a:cubicBezTo>
                  <a:cubicBezTo>
                    <a:pt x="3202" y="1723"/>
                    <a:pt x="3194" y="1739"/>
                    <a:pt x="3178" y="1747"/>
                  </a:cubicBezTo>
                  <a:cubicBezTo>
                    <a:pt x="3162" y="1763"/>
                    <a:pt x="3123" y="1794"/>
                    <a:pt x="3123" y="1810"/>
                  </a:cubicBezTo>
                  <a:cubicBezTo>
                    <a:pt x="3123" y="1818"/>
                    <a:pt x="3115" y="1818"/>
                    <a:pt x="3115" y="1826"/>
                  </a:cubicBezTo>
                  <a:cubicBezTo>
                    <a:pt x="3115" y="1834"/>
                    <a:pt x="3107" y="1834"/>
                    <a:pt x="3107" y="1841"/>
                  </a:cubicBezTo>
                  <a:cubicBezTo>
                    <a:pt x="3115" y="1841"/>
                    <a:pt x="3115" y="1849"/>
                    <a:pt x="3123" y="1849"/>
                  </a:cubicBezTo>
                  <a:cubicBezTo>
                    <a:pt x="3131" y="1849"/>
                    <a:pt x="3131" y="1849"/>
                    <a:pt x="3139" y="1849"/>
                  </a:cubicBezTo>
                  <a:cubicBezTo>
                    <a:pt x="3154" y="1857"/>
                    <a:pt x="3162" y="1857"/>
                    <a:pt x="3178" y="1881"/>
                  </a:cubicBezTo>
                  <a:cubicBezTo>
                    <a:pt x="3186" y="1889"/>
                    <a:pt x="3186" y="1897"/>
                    <a:pt x="3194" y="1905"/>
                  </a:cubicBezTo>
                  <a:cubicBezTo>
                    <a:pt x="3194" y="1913"/>
                    <a:pt x="3202" y="1921"/>
                    <a:pt x="3226" y="1929"/>
                  </a:cubicBezTo>
                  <a:cubicBezTo>
                    <a:pt x="3241" y="1929"/>
                    <a:pt x="3249" y="1929"/>
                    <a:pt x="3257" y="1929"/>
                  </a:cubicBezTo>
                  <a:cubicBezTo>
                    <a:pt x="3265" y="1936"/>
                    <a:pt x="3265" y="1936"/>
                    <a:pt x="3265" y="1936"/>
                  </a:cubicBezTo>
                  <a:cubicBezTo>
                    <a:pt x="3273" y="1936"/>
                    <a:pt x="3273" y="1936"/>
                    <a:pt x="3273" y="1913"/>
                  </a:cubicBezTo>
                  <a:cubicBezTo>
                    <a:pt x="3273" y="1873"/>
                    <a:pt x="3281" y="1865"/>
                    <a:pt x="3297" y="1857"/>
                  </a:cubicBezTo>
                  <a:cubicBezTo>
                    <a:pt x="3297" y="1849"/>
                    <a:pt x="3297" y="1849"/>
                    <a:pt x="3297" y="1849"/>
                  </a:cubicBezTo>
                  <a:cubicBezTo>
                    <a:pt x="3313" y="1841"/>
                    <a:pt x="3305" y="1802"/>
                    <a:pt x="3289" y="1778"/>
                  </a:cubicBezTo>
                  <a:cubicBezTo>
                    <a:pt x="3273" y="1747"/>
                    <a:pt x="3234" y="1691"/>
                    <a:pt x="3226" y="1691"/>
                  </a:cubicBezTo>
                  <a:close/>
                </a:path>
              </a:pathLst>
            </a:custGeom>
            <a:solidFill>
              <a:schemeClr val="accent6"/>
            </a:solidFill>
            <a:ln>
              <a:solidFill>
                <a:schemeClr val="bg2"/>
              </a:solidFill>
            </a:ln>
            <a:effectLst/>
          </p:spPr>
          <p:txBody>
            <a:bodyPr wrap="none" anchor="ctr"/>
            <a:lstStyle/>
            <a:p>
              <a:endParaRPr lang="en-US"/>
            </a:p>
          </p:txBody>
        </p:sp>
        <p:sp>
          <p:nvSpPr>
            <p:cNvPr id="50" name="Freeform 405"/>
            <p:cNvSpPr>
              <a:spLocks noChangeArrowheads="1"/>
            </p:cNvSpPr>
            <p:nvPr/>
          </p:nvSpPr>
          <p:spPr bwMode="auto">
            <a:xfrm>
              <a:off x="4880551" y="4093439"/>
              <a:ext cx="485023" cy="731248"/>
            </a:xfrm>
            <a:custGeom>
              <a:avLst/>
              <a:gdLst>
                <a:gd name="T0" fmla="*/ 1273 w 1345"/>
                <a:gd name="T1" fmla="*/ 87 h 2341"/>
                <a:gd name="T2" fmla="*/ 1273 w 1345"/>
                <a:gd name="T3" fmla="*/ 87 h 2341"/>
                <a:gd name="T4" fmla="*/ 1257 w 1345"/>
                <a:gd name="T5" fmla="*/ 39 h 2341"/>
                <a:gd name="T6" fmla="*/ 1233 w 1345"/>
                <a:gd name="T7" fmla="*/ 0 h 2341"/>
                <a:gd name="T8" fmla="*/ 450 w 1345"/>
                <a:gd name="T9" fmla="*/ 63 h 2341"/>
                <a:gd name="T10" fmla="*/ 427 w 1345"/>
                <a:gd name="T11" fmla="*/ 110 h 2341"/>
                <a:gd name="T12" fmla="*/ 411 w 1345"/>
                <a:gd name="T13" fmla="*/ 142 h 2341"/>
                <a:gd name="T14" fmla="*/ 363 w 1345"/>
                <a:gd name="T15" fmla="*/ 174 h 2341"/>
                <a:gd name="T16" fmla="*/ 340 w 1345"/>
                <a:gd name="T17" fmla="*/ 276 h 2341"/>
                <a:gd name="T18" fmla="*/ 324 w 1345"/>
                <a:gd name="T19" fmla="*/ 348 h 2341"/>
                <a:gd name="T20" fmla="*/ 284 w 1345"/>
                <a:gd name="T21" fmla="*/ 395 h 2341"/>
                <a:gd name="T22" fmla="*/ 213 w 1345"/>
                <a:gd name="T23" fmla="*/ 458 h 2341"/>
                <a:gd name="T24" fmla="*/ 213 w 1345"/>
                <a:gd name="T25" fmla="*/ 498 h 2341"/>
                <a:gd name="T26" fmla="*/ 213 w 1345"/>
                <a:gd name="T27" fmla="*/ 529 h 2341"/>
                <a:gd name="T28" fmla="*/ 190 w 1345"/>
                <a:gd name="T29" fmla="*/ 561 h 2341"/>
                <a:gd name="T30" fmla="*/ 150 w 1345"/>
                <a:gd name="T31" fmla="*/ 593 h 2341"/>
                <a:gd name="T32" fmla="*/ 150 w 1345"/>
                <a:gd name="T33" fmla="*/ 672 h 2341"/>
                <a:gd name="T34" fmla="*/ 126 w 1345"/>
                <a:gd name="T35" fmla="*/ 735 h 2341"/>
                <a:gd name="T36" fmla="*/ 126 w 1345"/>
                <a:gd name="T37" fmla="*/ 806 h 2341"/>
                <a:gd name="T38" fmla="*/ 142 w 1345"/>
                <a:gd name="T39" fmla="*/ 869 h 2341"/>
                <a:gd name="T40" fmla="*/ 166 w 1345"/>
                <a:gd name="T41" fmla="*/ 932 h 2341"/>
                <a:gd name="T42" fmla="*/ 158 w 1345"/>
                <a:gd name="T43" fmla="*/ 988 h 2341"/>
                <a:gd name="T44" fmla="*/ 158 w 1345"/>
                <a:gd name="T45" fmla="*/ 1043 h 2341"/>
                <a:gd name="T46" fmla="*/ 190 w 1345"/>
                <a:gd name="T47" fmla="*/ 1106 h 2341"/>
                <a:gd name="T48" fmla="*/ 166 w 1345"/>
                <a:gd name="T49" fmla="*/ 1178 h 2341"/>
                <a:gd name="T50" fmla="*/ 205 w 1345"/>
                <a:gd name="T51" fmla="*/ 1257 h 2341"/>
                <a:gd name="T52" fmla="*/ 213 w 1345"/>
                <a:gd name="T53" fmla="*/ 1296 h 2341"/>
                <a:gd name="T54" fmla="*/ 221 w 1345"/>
                <a:gd name="T55" fmla="*/ 1336 h 2341"/>
                <a:gd name="T56" fmla="*/ 253 w 1345"/>
                <a:gd name="T57" fmla="*/ 1383 h 2341"/>
                <a:gd name="T58" fmla="*/ 166 w 1345"/>
                <a:gd name="T59" fmla="*/ 1431 h 2341"/>
                <a:gd name="T60" fmla="*/ 221 w 1345"/>
                <a:gd name="T61" fmla="*/ 1470 h 2341"/>
                <a:gd name="T62" fmla="*/ 174 w 1345"/>
                <a:gd name="T63" fmla="*/ 1565 h 2341"/>
                <a:gd name="T64" fmla="*/ 142 w 1345"/>
                <a:gd name="T65" fmla="*/ 1596 h 2341"/>
                <a:gd name="T66" fmla="*/ 134 w 1345"/>
                <a:gd name="T67" fmla="*/ 1644 h 2341"/>
                <a:gd name="T68" fmla="*/ 103 w 1345"/>
                <a:gd name="T69" fmla="*/ 1660 h 2341"/>
                <a:gd name="T70" fmla="*/ 103 w 1345"/>
                <a:gd name="T71" fmla="*/ 1699 h 2341"/>
                <a:gd name="T72" fmla="*/ 63 w 1345"/>
                <a:gd name="T73" fmla="*/ 1723 h 2341"/>
                <a:gd name="T74" fmla="*/ 55 w 1345"/>
                <a:gd name="T75" fmla="*/ 1786 h 2341"/>
                <a:gd name="T76" fmla="*/ 39 w 1345"/>
                <a:gd name="T77" fmla="*/ 1826 h 2341"/>
                <a:gd name="T78" fmla="*/ 31 w 1345"/>
                <a:gd name="T79" fmla="*/ 1889 h 2341"/>
                <a:gd name="T80" fmla="*/ 15 w 1345"/>
                <a:gd name="T81" fmla="*/ 1929 h 2341"/>
                <a:gd name="T82" fmla="*/ 31 w 1345"/>
                <a:gd name="T83" fmla="*/ 1984 h 2341"/>
                <a:gd name="T84" fmla="*/ 39 w 1345"/>
                <a:gd name="T85" fmla="*/ 2000 h 2341"/>
                <a:gd name="T86" fmla="*/ 774 w 1345"/>
                <a:gd name="T87" fmla="*/ 1968 h 2341"/>
                <a:gd name="T88" fmla="*/ 790 w 1345"/>
                <a:gd name="T89" fmla="*/ 1992 h 2341"/>
                <a:gd name="T90" fmla="*/ 759 w 1345"/>
                <a:gd name="T91" fmla="*/ 2118 h 2341"/>
                <a:gd name="T92" fmla="*/ 830 w 1345"/>
                <a:gd name="T93" fmla="*/ 2205 h 2341"/>
                <a:gd name="T94" fmla="*/ 917 w 1345"/>
                <a:gd name="T95" fmla="*/ 2340 h 2341"/>
                <a:gd name="T96" fmla="*/ 933 w 1345"/>
                <a:gd name="T97" fmla="*/ 2324 h 2341"/>
                <a:gd name="T98" fmla="*/ 988 w 1345"/>
                <a:gd name="T99" fmla="*/ 2261 h 2341"/>
                <a:gd name="T100" fmla="*/ 1059 w 1345"/>
                <a:gd name="T101" fmla="*/ 2245 h 2341"/>
                <a:gd name="T102" fmla="*/ 1154 w 1345"/>
                <a:gd name="T103" fmla="*/ 2205 h 2341"/>
                <a:gd name="T104" fmla="*/ 1265 w 1345"/>
                <a:gd name="T105" fmla="*/ 2213 h 2341"/>
                <a:gd name="T106" fmla="*/ 1328 w 1345"/>
                <a:gd name="T107" fmla="*/ 2213 h 2341"/>
                <a:gd name="T108" fmla="*/ 1344 w 1345"/>
                <a:gd name="T109" fmla="*/ 2205 h 2341"/>
                <a:gd name="T110" fmla="*/ 1257 w 1345"/>
                <a:gd name="T111" fmla="*/ 1541 h 2341"/>
                <a:gd name="T112" fmla="*/ 1273 w 1345"/>
                <a:gd name="T113" fmla="*/ 87 h 2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45" h="2341">
                  <a:moveTo>
                    <a:pt x="1273" y="87"/>
                  </a:moveTo>
                  <a:lnTo>
                    <a:pt x="1273" y="87"/>
                  </a:lnTo>
                  <a:cubicBezTo>
                    <a:pt x="1273" y="71"/>
                    <a:pt x="1288" y="63"/>
                    <a:pt x="1257" y="39"/>
                  </a:cubicBezTo>
                  <a:cubicBezTo>
                    <a:pt x="1249" y="31"/>
                    <a:pt x="1241" y="15"/>
                    <a:pt x="1233" y="0"/>
                  </a:cubicBezTo>
                  <a:cubicBezTo>
                    <a:pt x="940" y="31"/>
                    <a:pt x="664" y="55"/>
                    <a:pt x="450" y="63"/>
                  </a:cubicBezTo>
                  <a:cubicBezTo>
                    <a:pt x="450" y="63"/>
                    <a:pt x="427" y="71"/>
                    <a:pt x="427" y="110"/>
                  </a:cubicBezTo>
                  <a:cubicBezTo>
                    <a:pt x="427" y="142"/>
                    <a:pt x="427" y="134"/>
                    <a:pt x="411" y="142"/>
                  </a:cubicBezTo>
                  <a:cubicBezTo>
                    <a:pt x="395" y="142"/>
                    <a:pt x="371" y="142"/>
                    <a:pt x="363" y="174"/>
                  </a:cubicBezTo>
                  <a:cubicBezTo>
                    <a:pt x="363" y="205"/>
                    <a:pt x="355" y="261"/>
                    <a:pt x="340" y="276"/>
                  </a:cubicBezTo>
                  <a:cubicBezTo>
                    <a:pt x="324" y="292"/>
                    <a:pt x="324" y="316"/>
                    <a:pt x="324" y="348"/>
                  </a:cubicBezTo>
                  <a:cubicBezTo>
                    <a:pt x="324" y="371"/>
                    <a:pt x="316" y="387"/>
                    <a:pt x="284" y="395"/>
                  </a:cubicBezTo>
                  <a:cubicBezTo>
                    <a:pt x="253" y="403"/>
                    <a:pt x="213" y="426"/>
                    <a:pt x="213" y="458"/>
                  </a:cubicBezTo>
                  <a:cubicBezTo>
                    <a:pt x="221" y="482"/>
                    <a:pt x="229" y="490"/>
                    <a:pt x="213" y="498"/>
                  </a:cubicBezTo>
                  <a:cubicBezTo>
                    <a:pt x="205" y="514"/>
                    <a:pt x="205" y="521"/>
                    <a:pt x="213" y="529"/>
                  </a:cubicBezTo>
                  <a:cubicBezTo>
                    <a:pt x="221" y="545"/>
                    <a:pt x="213" y="561"/>
                    <a:pt x="190" y="561"/>
                  </a:cubicBezTo>
                  <a:cubicBezTo>
                    <a:pt x="166" y="561"/>
                    <a:pt x="150" y="561"/>
                    <a:pt x="150" y="593"/>
                  </a:cubicBezTo>
                  <a:cubicBezTo>
                    <a:pt x="158" y="624"/>
                    <a:pt x="181" y="664"/>
                    <a:pt x="150" y="672"/>
                  </a:cubicBezTo>
                  <a:cubicBezTo>
                    <a:pt x="126" y="688"/>
                    <a:pt x="126" y="719"/>
                    <a:pt x="126" y="735"/>
                  </a:cubicBezTo>
                  <a:cubicBezTo>
                    <a:pt x="126" y="759"/>
                    <a:pt x="142" y="790"/>
                    <a:pt x="126" y="806"/>
                  </a:cubicBezTo>
                  <a:cubicBezTo>
                    <a:pt x="110" y="822"/>
                    <a:pt x="118" y="846"/>
                    <a:pt x="142" y="869"/>
                  </a:cubicBezTo>
                  <a:cubicBezTo>
                    <a:pt x="166" y="901"/>
                    <a:pt x="174" y="909"/>
                    <a:pt x="166" y="932"/>
                  </a:cubicBezTo>
                  <a:cubicBezTo>
                    <a:pt x="158" y="956"/>
                    <a:pt x="150" y="972"/>
                    <a:pt x="158" y="988"/>
                  </a:cubicBezTo>
                  <a:cubicBezTo>
                    <a:pt x="174" y="1012"/>
                    <a:pt x="142" y="996"/>
                    <a:pt x="158" y="1043"/>
                  </a:cubicBezTo>
                  <a:cubicBezTo>
                    <a:pt x="166" y="1091"/>
                    <a:pt x="181" y="1091"/>
                    <a:pt x="190" y="1106"/>
                  </a:cubicBezTo>
                  <a:cubicBezTo>
                    <a:pt x="190" y="1130"/>
                    <a:pt x="150" y="1162"/>
                    <a:pt x="166" y="1178"/>
                  </a:cubicBezTo>
                  <a:cubicBezTo>
                    <a:pt x="181" y="1193"/>
                    <a:pt x="158" y="1265"/>
                    <a:pt x="205" y="1257"/>
                  </a:cubicBezTo>
                  <a:cubicBezTo>
                    <a:pt x="205" y="1257"/>
                    <a:pt x="221" y="1280"/>
                    <a:pt x="213" y="1296"/>
                  </a:cubicBezTo>
                  <a:cubicBezTo>
                    <a:pt x="205" y="1320"/>
                    <a:pt x="190" y="1320"/>
                    <a:pt x="221" y="1336"/>
                  </a:cubicBezTo>
                  <a:cubicBezTo>
                    <a:pt x="261" y="1352"/>
                    <a:pt x="276" y="1375"/>
                    <a:pt x="253" y="1383"/>
                  </a:cubicBezTo>
                  <a:cubicBezTo>
                    <a:pt x="237" y="1383"/>
                    <a:pt x="126" y="1407"/>
                    <a:pt x="166" y="1431"/>
                  </a:cubicBezTo>
                  <a:cubicBezTo>
                    <a:pt x="213" y="1454"/>
                    <a:pt x="229" y="1446"/>
                    <a:pt x="221" y="1470"/>
                  </a:cubicBezTo>
                  <a:cubicBezTo>
                    <a:pt x="221" y="1494"/>
                    <a:pt x="181" y="1557"/>
                    <a:pt x="174" y="1565"/>
                  </a:cubicBezTo>
                  <a:cubicBezTo>
                    <a:pt x="158" y="1573"/>
                    <a:pt x="134" y="1565"/>
                    <a:pt x="142" y="1596"/>
                  </a:cubicBezTo>
                  <a:cubicBezTo>
                    <a:pt x="142" y="1628"/>
                    <a:pt x="142" y="1636"/>
                    <a:pt x="134" y="1644"/>
                  </a:cubicBezTo>
                  <a:cubicBezTo>
                    <a:pt x="126" y="1644"/>
                    <a:pt x="95" y="1636"/>
                    <a:pt x="103" y="1660"/>
                  </a:cubicBezTo>
                  <a:cubicBezTo>
                    <a:pt x="103" y="1676"/>
                    <a:pt x="118" y="1699"/>
                    <a:pt x="103" y="1699"/>
                  </a:cubicBezTo>
                  <a:cubicBezTo>
                    <a:pt x="87" y="1707"/>
                    <a:pt x="63" y="1699"/>
                    <a:pt x="63" y="1723"/>
                  </a:cubicBezTo>
                  <a:cubicBezTo>
                    <a:pt x="63" y="1747"/>
                    <a:pt x="63" y="1786"/>
                    <a:pt x="55" y="1786"/>
                  </a:cubicBezTo>
                  <a:cubicBezTo>
                    <a:pt x="47" y="1786"/>
                    <a:pt x="31" y="1810"/>
                    <a:pt x="39" y="1826"/>
                  </a:cubicBezTo>
                  <a:cubicBezTo>
                    <a:pt x="47" y="1842"/>
                    <a:pt x="47" y="1881"/>
                    <a:pt x="31" y="1889"/>
                  </a:cubicBezTo>
                  <a:cubicBezTo>
                    <a:pt x="23" y="1897"/>
                    <a:pt x="0" y="1913"/>
                    <a:pt x="15" y="1929"/>
                  </a:cubicBezTo>
                  <a:cubicBezTo>
                    <a:pt x="31" y="1952"/>
                    <a:pt x="39" y="1976"/>
                    <a:pt x="31" y="1984"/>
                  </a:cubicBezTo>
                  <a:cubicBezTo>
                    <a:pt x="23" y="1992"/>
                    <a:pt x="15" y="2000"/>
                    <a:pt x="39" y="2000"/>
                  </a:cubicBezTo>
                  <a:cubicBezTo>
                    <a:pt x="55" y="2008"/>
                    <a:pt x="774" y="1968"/>
                    <a:pt x="774" y="1968"/>
                  </a:cubicBezTo>
                  <a:cubicBezTo>
                    <a:pt x="774" y="1968"/>
                    <a:pt x="806" y="1976"/>
                    <a:pt x="790" y="1992"/>
                  </a:cubicBezTo>
                  <a:cubicBezTo>
                    <a:pt x="782" y="2008"/>
                    <a:pt x="719" y="2063"/>
                    <a:pt x="759" y="2118"/>
                  </a:cubicBezTo>
                  <a:cubicBezTo>
                    <a:pt x="798" y="2174"/>
                    <a:pt x="822" y="2174"/>
                    <a:pt x="830" y="2205"/>
                  </a:cubicBezTo>
                  <a:cubicBezTo>
                    <a:pt x="846" y="2245"/>
                    <a:pt x="909" y="2332"/>
                    <a:pt x="917" y="2340"/>
                  </a:cubicBezTo>
                  <a:cubicBezTo>
                    <a:pt x="917" y="2340"/>
                    <a:pt x="925" y="2332"/>
                    <a:pt x="933" y="2324"/>
                  </a:cubicBezTo>
                  <a:cubicBezTo>
                    <a:pt x="956" y="2292"/>
                    <a:pt x="964" y="2284"/>
                    <a:pt x="988" y="2261"/>
                  </a:cubicBezTo>
                  <a:cubicBezTo>
                    <a:pt x="1012" y="2237"/>
                    <a:pt x="1035" y="2261"/>
                    <a:pt x="1059" y="2245"/>
                  </a:cubicBezTo>
                  <a:cubicBezTo>
                    <a:pt x="1091" y="2229"/>
                    <a:pt x="1122" y="2189"/>
                    <a:pt x="1154" y="2205"/>
                  </a:cubicBezTo>
                  <a:cubicBezTo>
                    <a:pt x="1193" y="2213"/>
                    <a:pt x="1241" y="2229"/>
                    <a:pt x="1265" y="2213"/>
                  </a:cubicBezTo>
                  <a:cubicBezTo>
                    <a:pt x="1296" y="2197"/>
                    <a:pt x="1304" y="2237"/>
                    <a:pt x="1328" y="2213"/>
                  </a:cubicBezTo>
                  <a:cubicBezTo>
                    <a:pt x="1336" y="2213"/>
                    <a:pt x="1336" y="2213"/>
                    <a:pt x="1344" y="2205"/>
                  </a:cubicBezTo>
                  <a:cubicBezTo>
                    <a:pt x="1257" y="1541"/>
                    <a:pt x="1257" y="1541"/>
                    <a:pt x="1257" y="1541"/>
                  </a:cubicBezTo>
                  <a:cubicBezTo>
                    <a:pt x="1257" y="1541"/>
                    <a:pt x="1273" y="102"/>
                    <a:pt x="1273" y="87"/>
                  </a:cubicBezTo>
                </a:path>
              </a:pathLst>
            </a:custGeom>
            <a:solidFill>
              <a:schemeClr val="accent6"/>
            </a:solidFill>
            <a:ln>
              <a:solidFill>
                <a:schemeClr val="bg2"/>
              </a:solidFill>
            </a:ln>
            <a:effectLst/>
          </p:spPr>
          <p:txBody>
            <a:bodyPr wrap="none" anchor="ctr"/>
            <a:lstStyle/>
            <a:p>
              <a:endParaRPr lang="en-US"/>
            </a:p>
          </p:txBody>
        </p:sp>
        <p:sp>
          <p:nvSpPr>
            <p:cNvPr id="51" name="Freeform 406"/>
            <p:cNvSpPr>
              <a:spLocks noChangeArrowheads="1"/>
            </p:cNvSpPr>
            <p:nvPr/>
          </p:nvSpPr>
          <p:spPr bwMode="auto">
            <a:xfrm>
              <a:off x="4880551" y="4093439"/>
              <a:ext cx="485023" cy="734003"/>
            </a:xfrm>
            <a:custGeom>
              <a:avLst/>
              <a:gdLst>
                <a:gd name="T0" fmla="*/ 893 w 1345"/>
                <a:gd name="T1" fmla="*/ 2324 h 2349"/>
                <a:gd name="T2" fmla="*/ 790 w 1345"/>
                <a:gd name="T3" fmla="*/ 1992 h 2349"/>
                <a:gd name="T4" fmla="*/ 47 w 1345"/>
                <a:gd name="T5" fmla="*/ 2008 h 2349"/>
                <a:gd name="T6" fmla="*/ 23 w 1345"/>
                <a:gd name="T7" fmla="*/ 1984 h 2349"/>
                <a:gd name="T8" fmla="*/ 39 w 1345"/>
                <a:gd name="T9" fmla="*/ 1881 h 2349"/>
                <a:gd name="T10" fmla="*/ 55 w 1345"/>
                <a:gd name="T11" fmla="*/ 1747 h 2349"/>
                <a:gd name="T12" fmla="*/ 103 w 1345"/>
                <a:gd name="T13" fmla="*/ 1683 h 2349"/>
                <a:gd name="T14" fmla="*/ 134 w 1345"/>
                <a:gd name="T15" fmla="*/ 1636 h 2349"/>
                <a:gd name="T16" fmla="*/ 221 w 1345"/>
                <a:gd name="T17" fmla="*/ 1470 h 2349"/>
                <a:gd name="T18" fmla="*/ 237 w 1345"/>
                <a:gd name="T19" fmla="*/ 1383 h 2349"/>
                <a:gd name="T20" fmla="*/ 197 w 1345"/>
                <a:gd name="T21" fmla="*/ 1328 h 2349"/>
                <a:gd name="T22" fmla="*/ 166 w 1345"/>
                <a:gd name="T23" fmla="*/ 1209 h 2349"/>
                <a:gd name="T24" fmla="*/ 174 w 1345"/>
                <a:gd name="T25" fmla="*/ 1099 h 2349"/>
                <a:gd name="T26" fmla="*/ 158 w 1345"/>
                <a:gd name="T27" fmla="*/ 948 h 2349"/>
                <a:gd name="T28" fmla="*/ 126 w 1345"/>
                <a:gd name="T29" fmla="*/ 806 h 2349"/>
                <a:gd name="T30" fmla="*/ 158 w 1345"/>
                <a:gd name="T31" fmla="*/ 624 h 2349"/>
                <a:gd name="T32" fmla="*/ 190 w 1345"/>
                <a:gd name="T33" fmla="*/ 561 h 2349"/>
                <a:gd name="T34" fmla="*/ 213 w 1345"/>
                <a:gd name="T35" fmla="*/ 498 h 2349"/>
                <a:gd name="T36" fmla="*/ 316 w 1345"/>
                <a:gd name="T37" fmla="*/ 348 h 2349"/>
                <a:gd name="T38" fmla="*/ 403 w 1345"/>
                <a:gd name="T39" fmla="*/ 134 h 2349"/>
                <a:gd name="T40" fmla="*/ 450 w 1345"/>
                <a:gd name="T41" fmla="*/ 63 h 2349"/>
                <a:gd name="T42" fmla="*/ 1233 w 1345"/>
                <a:gd name="T43" fmla="*/ 0 h 2349"/>
                <a:gd name="T44" fmla="*/ 1265 w 1345"/>
                <a:gd name="T45" fmla="*/ 1541 h 2349"/>
                <a:gd name="T46" fmla="*/ 1312 w 1345"/>
                <a:gd name="T47" fmla="*/ 2229 h 2349"/>
                <a:gd name="T48" fmla="*/ 1233 w 1345"/>
                <a:gd name="T49" fmla="*/ 2229 h 2349"/>
                <a:gd name="T50" fmla="*/ 1067 w 1345"/>
                <a:gd name="T51" fmla="*/ 2245 h 2349"/>
                <a:gd name="T52" fmla="*/ 964 w 1345"/>
                <a:gd name="T53" fmla="*/ 2292 h 2349"/>
                <a:gd name="T54" fmla="*/ 774 w 1345"/>
                <a:gd name="T55" fmla="*/ 1960 h 2349"/>
                <a:gd name="T56" fmla="*/ 798 w 1345"/>
                <a:gd name="T57" fmla="*/ 1992 h 2349"/>
                <a:gd name="T58" fmla="*/ 838 w 1345"/>
                <a:gd name="T59" fmla="*/ 2205 h 2349"/>
                <a:gd name="T60" fmla="*/ 956 w 1345"/>
                <a:gd name="T61" fmla="*/ 2292 h 2349"/>
                <a:gd name="T62" fmla="*/ 1035 w 1345"/>
                <a:gd name="T63" fmla="*/ 2245 h 2349"/>
                <a:gd name="T64" fmla="*/ 1162 w 1345"/>
                <a:gd name="T65" fmla="*/ 2197 h 2349"/>
                <a:gd name="T66" fmla="*/ 1296 w 1345"/>
                <a:gd name="T67" fmla="*/ 2213 h 2349"/>
                <a:gd name="T68" fmla="*/ 1257 w 1345"/>
                <a:gd name="T69" fmla="*/ 1541 h 2349"/>
                <a:gd name="T70" fmla="*/ 1233 w 1345"/>
                <a:gd name="T71" fmla="*/ 8 h 2349"/>
                <a:gd name="T72" fmla="*/ 411 w 1345"/>
                <a:gd name="T73" fmla="*/ 142 h 2349"/>
                <a:gd name="T74" fmla="*/ 340 w 1345"/>
                <a:gd name="T75" fmla="*/ 276 h 2349"/>
                <a:gd name="T76" fmla="*/ 221 w 1345"/>
                <a:gd name="T77" fmla="*/ 474 h 2349"/>
                <a:gd name="T78" fmla="*/ 221 w 1345"/>
                <a:gd name="T79" fmla="*/ 553 h 2349"/>
                <a:gd name="T80" fmla="*/ 158 w 1345"/>
                <a:gd name="T81" fmla="*/ 593 h 2349"/>
                <a:gd name="T82" fmla="*/ 134 w 1345"/>
                <a:gd name="T83" fmla="*/ 759 h 2349"/>
                <a:gd name="T84" fmla="*/ 174 w 1345"/>
                <a:gd name="T85" fmla="*/ 932 h 2349"/>
                <a:gd name="T86" fmla="*/ 158 w 1345"/>
                <a:gd name="T87" fmla="*/ 1043 h 2349"/>
                <a:gd name="T88" fmla="*/ 166 w 1345"/>
                <a:gd name="T89" fmla="*/ 1178 h 2349"/>
                <a:gd name="T90" fmla="*/ 205 w 1345"/>
                <a:gd name="T91" fmla="*/ 1257 h 2349"/>
                <a:gd name="T92" fmla="*/ 229 w 1345"/>
                <a:gd name="T93" fmla="*/ 1336 h 2349"/>
                <a:gd name="T94" fmla="*/ 158 w 1345"/>
                <a:gd name="T95" fmla="*/ 1415 h 2349"/>
                <a:gd name="T96" fmla="*/ 174 w 1345"/>
                <a:gd name="T97" fmla="*/ 1565 h 2349"/>
                <a:gd name="T98" fmla="*/ 126 w 1345"/>
                <a:gd name="T99" fmla="*/ 1644 h 2349"/>
                <a:gd name="T100" fmla="*/ 103 w 1345"/>
                <a:gd name="T101" fmla="*/ 1707 h 2349"/>
                <a:gd name="T102" fmla="*/ 55 w 1345"/>
                <a:gd name="T103" fmla="*/ 1794 h 2349"/>
                <a:gd name="T104" fmla="*/ 39 w 1345"/>
                <a:gd name="T105" fmla="*/ 1897 h 2349"/>
                <a:gd name="T106" fmla="*/ 31 w 1345"/>
                <a:gd name="T107" fmla="*/ 1984 h 2349"/>
                <a:gd name="T108" fmla="*/ 767 w 1345"/>
                <a:gd name="T109" fmla="*/ 1960 h 2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45" h="2349">
                  <a:moveTo>
                    <a:pt x="909" y="2348"/>
                  </a:moveTo>
                  <a:lnTo>
                    <a:pt x="909" y="2348"/>
                  </a:lnTo>
                  <a:cubicBezTo>
                    <a:pt x="909" y="2340"/>
                    <a:pt x="909" y="2340"/>
                    <a:pt x="909" y="2340"/>
                  </a:cubicBezTo>
                  <a:cubicBezTo>
                    <a:pt x="909" y="2340"/>
                    <a:pt x="901" y="2332"/>
                    <a:pt x="893" y="2324"/>
                  </a:cubicBezTo>
                  <a:cubicBezTo>
                    <a:pt x="877" y="2292"/>
                    <a:pt x="838" y="2237"/>
                    <a:pt x="830" y="2213"/>
                  </a:cubicBezTo>
                  <a:cubicBezTo>
                    <a:pt x="822" y="2189"/>
                    <a:pt x="814" y="2182"/>
                    <a:pt x="798" y="2174"/>
                  </a:cubicBezTo>
                  <a:cubicBezTo>
                    <a:pt x="790" y="2158"/>
                    <a:pt x="774" y="2150"/>
                    <a:pt x="759" y="2118"/>
                  </a:cubicBezTo>
                  <a:cubicBezTo>
                    <a:pt x="711" y="2063"/>
                    <a:pt x="767" y="2008"/>
                    <a:pt x="790" y="1992"/>
                  </a:cubicBezTo>
                  <a:lnTo>
                    <a:pt x="790" y="1992"/>
                  </a:lnTo>
                  <a:cubicBezTo>
                    <a:pt x="798" y="1984"/>
                    <a:pt x="790" y="1984"/>
                    <a:pt x="790" y="1984"/>
                  </a:cubicBezTo>
                  <a:cubicBezTo>
                    <a:pt x="790" y="1976"/>
                    <a:pt x="782" y="1968"/>
                    <a:pt x="767" y="1968"/>
                  </a:cubicBezTo>
                  <a:cubicBezTo>
                    <a:pt x="751" y="1968"/>
                    <a:pt x="118" y="2008"/>
                    <a:pt x="47" y="2008"/>
                  </a:cubicBezTo>
                  <a:cubicBezTo>
                    <a:pt x="39" y="2008"/>
                    <a:pt x="39" y="2008"/>
                    <a:pt x="39" y="2008"/>
                  </a:cubicBezTo>
                  <a:cubicBezTo>
                    <a:pt x="23" y="2008"/>
                    <a:pt x="23" y="2000"/>
                    <a:pt x="23" y="2000"/>
                  </a:cubicBezTo>
                  <a:cubicBezTo>
                    <a:pt x="15" y="1992"/>
                    <a:pt x="23" y="1992"/>
                    <a:pt x="23" y="1984"/>
                  </a:cubicBezTo>
                  <a:lnTo>
                    <a:pt x="23" y="1984"/>
                  </a:lnTo>
                  <a:cubicBezTo>
                    <a:pt x="31" y="1976"/>
                    <a:pt x="23" y="1952"/>
                    <a:pt x="8" y="1936"/>
                  </a:cubicBezTo>
                  <a:cubicBezTo>
                    <a:pt x="8" y="1929"/>
                    <a:pt x="0" y="1921"/>
                    <a:pt x="8" y="1913"/>
                  </a:cubicBezTo>
                  <a:cubicBezTo>
                    <a:pt x="8" y="1897"/>
                    <a:pt x="23" y="1889"/>
                    <a:pt x="31" y="1889"/>
                  </a:cubicBezTo>
                  <a:cubicBezTo>
                    <a:pt x="39" y="1889"/>
                    <a:pt x="39" y="1881"/>
                    <a:pt x="39" y="1881"/>
                  </a:cubicBezTo>
                  <a:cubicBezTo>
                    <a:pt x="47" y="1865"/>
                    <a:pt x="39" y="1834"/>
                    <a:pt x="39" y="1826"/>
                  </a:cubicBezTo>
                  <a:cubicBezTo>
                    <a:pt x="31" y="1818"/>
                    <a:pt x="31" y="1810"/>
                    <a:pt x="39" y="1802"/>
                  </a:cubicBezTo>
                  <a:cubicBezTo>
                    <a:pt x="39" y="1794"/>
                    <a:pt x="47" y="1786"/>
                    <a:pt x="55" y="1786"/>
                  </a:cubicBezTo>
                  <a:cubicBezTo>
                    <a:pt x="63" y="1786"/>
                    <a:pt x="55" y="1763"/>
                    <a:pt x="55" y="1747"/>
                  </a:cubicBezTo>
                  <a:cubicBezTo>
                    <a:pt x="55" y="1739"/>
                    <a:pt x="55" y="1731"/>
                    <a:pt x="55" y="1723"/>
                  </a:cubicBezTo>
                  <a:cubicBezTo>
                    <a:pt x="55" y="1707"/>
                    <a:pt x="79" y="1699"/>
                    <a:pt x="95" y="1699"/>
                  </a:cubicBezTo>
                  <a:lnTo>
                    <a:pt x="103" y="1699"/>
                  </a:lnTo>
                  <a:cubicBezTo>
                    <a:pt x="103" y="1699"/>
                    <a:pt x="103" y="1691"/>
                    <a:pt x="103" y="1683"/>
                  </a:cubicBezTo>
                  <a:cubicBezTo>
                    <a:pt x="103" y="1676"/>
                    <a:pt x="95" y="1668"/>
                    <a:pt x="95" y="1660"/>
                  </a:cubicBezTo>
                  <a:cubicBezTo>
                    <a:pt x="95" y="1652"/>
                    <a:pt x="95" y="1644"/>
                    <a:pt x="103" y="1644"/>
                  </a:cubicBezTo>
                  <a:cubicBezTo>
                    <a:pt x="103" y="1636"/>
                    <a:pt x="118" y="1636"/>
                    <a:pt x="126" y="1636"/>
                  </a:cubicBezTo>
                  <a:cubicBezTo>
                    <a:pt x="126" y="1636"/>
                    <a:pt x="126" y="1636"/>
                    <a:pt x="134" y="1636"/>
                  </a:cubicBezTo>
                  <a:cubicBezTo>
                    <a:pt x="142" y="1636"/>
                    <a:pt x="142" y="1620"/>
                    <a:pt x="134" y="1596"/>
                  </a:cubicBezTo>
                  <a:cubicBezTo>
                    <a:pt x="126" y="1573"/>
                    <a:pt x="142" y="1573"/>
                    <a:pt x="158" y="1565"/>
                  </a:cubicBezTo>
                  <a:lnTo>
                    <a:pt x="166" y="1565"/>
                  </a:lnTo>
                  <a:cubicBezTo>
                    <a:pt x="181" y="1557"/>
                    <a:pt x="213" y="1494"/>
                    <a:pt x="221" y="1470"/>
                  </a:cubicBezTo>
                  <a:cubicBezTo>
                    <a:pt x="221" y="1454"/>
                    <a:pt x="221" y="1454"/>
                    <a:pt x="205" y="1446"/>
                  </a:cubicBezTo>
                  <a:cubicBezTo>
                    <a:pt x="197" y="1446"/>
                    <a:pt x="181" y="1438"/>
                    <a:pt x="166" y="1431"/>
                  </a:cubicBezTo>
                  <a:cubicBezTo>
                    <a:pt x="166" y="1431"/>
                    <a:pt x="150" y="1423"/>
                    <a:pt x="158" y="1415"/>
                  </a:cubicBezTo>
                  <a:cubicBezTo>
                    <a:pt x="158" y="1399"/>
                    <a:pt x="190" y="1391"/>
                    <a:pt x="237" y="1383"/>
                  </a:cubicBezTo>
                  <a:cubicBezTo>
                    <a:pt x="245" y="1383"/>
                    <a:pt x="253" y="1375"/>
                    <a:pt x="253" y="1375"/>
                  </a:cubicBezTo>
                  <a:cubicBezTo>
                    <a:pt x="261" y="1375"/>
                    <a:pt x="261" y="1375"/>
                    <a:pt x="261" y="1375"/>
                  </a:cubicBezTo>
                  <a:cubicBezTo>
                    <a:pt x="261" y="1367"/>
                    <a:pt x="253" y="1352"/>
                    <a:pt x="221" y="1343"/>
                  </a:cubicBezTo>
                  <a:cubicBezTo>
                    <a:pt x="205" y="1336"/>
                    <a:pt x="197" y="1328"/>
                    <a:pt x="197" y="1328"/>
                  </a:cubicBezTo>
                  <a:cubicBezTo>
                    <a:pt x="197" y="1320"/>
                    <a:pt x="197" y="1312"/>
                    <a:pt x="205" y="1312"/>
                  </a:cubicBezTo>
                  <a:cubicBezTo>
                    <a:pt x="205" y="1304"/>
                    <a:pt x="205" y="1304"/>
                    <a:pt x="213" y="1296"/>
                  </a:cubicBezTo>
                  <a:cubicBezTo>
                    <a:pt x="213" y="1280"/>
                    <a:pt x="205" y="1265"/>
                    <a:pt x="197" y="1265"/>
                  </a:cubicBezTo>
                  <a:cubicBezTo>
                    <a:pt x="174" y="1265"/>
                    <a:pt x="166" y="1233"/>
                    <a:pt x="166" y="1209"/>
                  </a:cubicBezTo>
                  <a:cubicBezTo>
                    <a:pt x="166" y="1201"/>
                    <a:pt x="166" y="1185"/>
                    <a:pt x="166" y="1178"/>
                  </a:cubicBezTo>
                  <a:cubicBezTo>
                    <a:pt x="150" y="1170"/>
                    <a:pt x="166" y="1154"/>
                    <a:pt x="174" y="1138"/>
                  </a:cubicBezTo>
                  <a:cubicBezTo>
                    <a:pt x="181" y="1130"/>
                    <a:pt x="181" y="1114"/>
                    <a:pt x="181" y="1106"/>
                  </a:cubicBezTo>
                  <a:lnTo>
                    <a:pt x="174" y="1099"/>
                  </a:lnTo>
                  <a:cubicBezTo>
                    <a:pt x="166" y="1091"/>
                    <a:pt x="158" y="1075"/>
                    <a:pt x="150" y="1043"/>
                  </a:cubicBezTo>
                  <a:cubicBezTo>
                    <a:pt x="142" y="1019"/>
                    <a:pt x="150" y="1012"/>
                    <a:pt x="158" y="1004"/>
                  </a:cubicBezTo>
                  <a:lnTo>
                    <a:pt x="158" y="996"/>
                  </a:lnTo>
                  <a:cubicBezTo>
                    <a:pt x="150" y="972"/>
                    <a:pt x="150" y="964"/>
                    <a:pt x="158" y="948"/>
                  </a:cubicBezTo>
                  <a:cubicBezTo>
                    <a:pt x="158" y="941"/>
                    <a:pt x="166" y="941"/>
                    <a:pt x="166" y="932"/>
                  </a:cubicBezTo>
                  <a:cubicBezTo>
                    <a:pt x="174" y="917"/>
                    <a:pt x="166" y="909"/>
                    <a:pt x="150" y="893"/>
                  </a:cubicBezTo>
                  <a:cubicBezTo>
                    <a:pt x="150" y="885"/>
                    <a:pt x="142" y="877"/>
                    <a:pt x="134" y="877"/>
                  </a:cubicBezTo>
                  <a:cubicBezTo>
                    <a:pt x="103" y="830"/>
                    <a:pt x="110" y="814"/>
                    <a:pt x="126" y="806"/>
                  </a:cubicBezTo>
                  <a:cubicBezTo>
                    <a:pt x="134" y="798"/>
                    <a:pt x="126" y="774"/>
                    <a:pt x="126" y="759"/>
                  </a:cubicBezTo>
                  <a:cubicBezTo>
                    <a:pt x="118" y="751"/>
                    <a:pt x="118" y="743"/>
                    <a:pt x="118" y="735"/>
                  </a:cubicBezTo>
                  <a:cubicBezTo>
                    <a:pt x="118" y="727"/>
                    <a:pt x="118" y="688"/>
                    <a:pt x="150" y="672"/>
                  </a:cubicBezTo>
                  <a:cubicBezTo>
                    <a:pt x="166" y="664"/>
                    <a:pt x="166" y="648"/>
                    <a:pt x="158" y="624"/>
                  </a:cubicBezTo>
                  <a:cubicBezTo>
                    <a:pt x="150" y="616"/>
                    <a:pt x="150" y="601"/>
                    <a:pt x="150" y="593"/>
                  </a:cubicBezTo>
                  <a:cubicBezTo>
                    <a:pt x="150" y="585"/>
                    <a:pt x="150" y="569"/>
                    <a:pt x="150" y="569"/>
                  </a:cubicBezTo>
                  <a:cubicBezTo>
                    <a:pt x="158" y="561"/>
                    <a:pt x="174" y="561"/>
                    <a:pt x="181" y="561"/>
                  </a:cubicBezTo>
                  <a:cubicBezTo>
                    <a:pt x="190" y="561"/>
                    <a:pt x="190" y="561"/>
                    <a:pt x="190" y="561"/>
                  </a:cubicBezTo>
                  <a:cubicBezTo>
                    <a:pt x="205" y="561"/>
                    <a:pt x="205" y="553"/>
                    <a:pt x="213" y="545"/>
                  </a:cubicBezTo>
                  <a:lnTo>
                    <a:pt x="213" y="537"/>
                  </a:lnTo>
                  <a:cubicBezTo>
                    <a:pt x="205" y="529"/>
                    <a:pt x="205" y="521"/>
                    <a:pt x="205" y="521"/>
                  </a:cubicBezTo>
                  <a:cubicBezTo>
                    <a:pt x="205" y="514"/>
                    <a:pt x="205" y="506"/>
                    <a:pt x="213" y="498"/>
                  </a:cubicBezTo>
                  <a:cubicBezTo>
                    <a:pt x="221" y="490"/>
                    <a:pt x="221" y="490"/>
                    <a:pt x="213" y="474"/>
                  </a:cubicBezTo>
                  <a:cubicBezTo>
                    <a:pt x="213" y="466"/>
                    <a:pt x="213" y="466"/>
                    <a:pt x="213" y="458"/>
                  </a:cubicBezTo>
                  <a:cubicBezTo>
                    <a:pt x="205" y="419"/>
                    <a:pt x="276" y="395"/>
                    <a:pt x="284" y="395"/>
                  </a:cubicBezTo>
                  <a:cubicBezTo>
                    <a:pt x="316" y="387"/>
                    <a:pt x="316" y="371"/>
                    <a:pt x="316" y="348"/>
                  </a:cubicBezTo>
                  <a:cubicBezTo>
                    <a:pt x="316" y="316"/>
                    <a:pt x="316" y="284"/>
                    <a:pt x="340" y="276"/>
                  </a:cubicBezTo>
                  <a:cubicBezTo>
                    <a:pt x="355" y="261"/>
                    <a:pt x="355" y="221"/>
                    <a:pt x="363" y="189"/>
                  </a:cubicBezTo>
                  <a:cubicBezTo>
                    <a:pt x="363" y="182"/>
                    <a:pt x="363" y="174"/>
                    <a:pt x="363" y="174"/>
                  </a:cubicBezTo>
                  <a:cubicBezTo>
                    <a:pt x="363" y="142"/>
                    <a:pt x="387" y="134"/>
                    <a:pt x="403" y="134"/>
                  </a:cubicBezTo>
                  <a:cubicBezTo>
                    <a:pt x="403" y="134"/>
                    <a:pt x="403" y="134"/>
                    <a:pt x="411" y="134"/>
                  </a:cubicBezTo>
                  <a:cubicBezTo>
                    <a:pt x="411" y="134"/>
                    <a:pt x="411" y="134"/>
                    <a:pt x="419" y="134"/>
                  </a:cubicBezTo>
                  <a:cubicBezTo>
                    <a:pt x="427" y="134"/>
                    <a:pt x="427" y="134"/>
                    <a:pt x="427" y="110"/>
                  </a:cubicBezTo>
                  <a:cubicBezTo>
                    <a:pt x="427" y="71"/>
                    <a:pt x="450" y="63"/>
                    <a:pt x="450" y="63"/>
                  </a:cubicBezTo>
                  <a:cubicBezTo>
                    <a:pt x="450" y="55"/>
                    <a:pt x="450" y="55"/>
                    <a:pt x="450" y="55"/>
                  </a:cubicBezTo>
                  <a:cubicBezTo>
                    <a:pt x="640" y="47"/>
                    <a:pt x="909" y="31"/>
                    <a:pt x="1233" y="0"/>
                  </a:cubicBezTo>
                  <a:lnTo>
                    <a:pt x="1233" y="0"/>
                  </a:lnTo>
                  <a:lnTo>
                    <a:pt x="1233" y="0"/>
                  </a:lnTo>
                  <a:cubicBezTo>
                    <a:pt x="1241" y="15"/>
                    <a:pt x="1249" y="31"/>
                    <a:pt x="1257" y="31"/>
                  </a:cubicBezTo>
                  <a:cubicBezTo>
                    <a:pt x="1288" y="55"/>
                    <a:pt x="1280" y="71"/>
                    <a:pt x="1280" y="79"/>
                  </a:cubicBezTo>
                  <a:lnTo>
                    <a:pt x="1280" y="87"/>
                  </a:lnTo>
                  <a:cubicBezTo>
                    <a:pt x="1280" y="102"/>
                    <a:pt x="1265" y="1525"/>
                    <a:pt x="1265" y="1541"/>
                  </a:cubicBezTo>
                  <a:cubicBezTo>
                    <a:pt x="1344" y="2213"/>
                    <a:pt x="1344" y="2213"/>
                    <a:pt x="1344" y="2213"/>
                  </a:cubicBezTo>
                  <a:lnTo>
                    <a:pt x="1344" y="2213"/>
                  </a:lnTo>
                  <a:cubicBezTo>
                    <a:pt x="1344" y="2213"/>
                    <a:pt x="1336" y="2213"/>
                    <a:pt x="1336" y="2221"/>
                  </a:cubicBezTo>
                  <a:cubicBezTo>
                    <a:pt x="1328" y="2221"/>
                    <a:pt x="1320" y="2229"/>
                    <a:pt x="1312" y="2229"/>
                  </a:cubicBezTo>
                  <a:cubicBezTo>
                    <a:pt x="1312" y="2229"/>
                    <a:pt x="1304" y="2221"/>
                    <a:pt x="1296" y="2221"/>
                  </a:cubicBezTo>
                  <a:cubicBezTo>
                    <a:pt x="1288" y="2213"/>
                    <a:pt x="1288" y="2213"/>
                    <a:pt x="1280" y="2213"/>
                  </a:cubicBezTo>
                  <a:cubicBezTo>
                    <a:pt x="1273" y="2213"/>
                    <a:pt x="1273" y="2213"/>
                    <a:pt x="1265" y="2213"/>
                  </a:cubicBezTo>
                  <a:cubicBezTo>
                    <a:pt x="1257" y="2221"/>
                    <a:pt x="1249" y="2229"/>
                    <a:pt x="1233" y="2229"/>
                  </a:cubicBezTo>
                  <a:cubicBezTo>
                    <a:pt x="1209" y="2229"/>
                    <a:pt x="1178" y="2213"/>
                    <a:pt x="1154" y="2205"/>
                  </a:cubicBezTo>
                  <a:lnTo>
                    <a:pt x="1146" y="2205"/>
                  </a:lnTo>
                  <a:cubicBezTo>
                    <a:pt x="1122" y="2205"/>
                    <a:pt x="1107" y="2221"/>
                    <a:pt x="1091" y="2229"/>
                  </a:cubicBezTo>
                  <a:cubicBezTo>
                    <a:pt x="1083" y="2237"/>
                    <a:pt x="1075" y="2245"/>
                    <a:pt x="1067" y="2245"/>
                  </a:cubicBezTo>
                  <a:cubicBezTo>
                    <a:pt x="1051" y="2253"/>
                    <a:pt x="1043" y="2253"/>
                    <a:pt x="1035" y="2253"/>
                  </a:cubicBezTo>
                  <a:lnTo>
                    <a:pt x="1027" y="2253"/>
                  </a:lnTo>
                  <a:cubicBezTo>
                    <a:pt x="1012" y="2253"/>
                    <a:pt x="1004" y="2253"/>
                    <a:pt x="988" y="2261"/>
                  </a:cubicBezTo>
                  <a:cubicBezTo>
                    <a:pt x="980" y="2276"/>
                    <a:pt x="972" y="2284"/>
                    <a:pt x="964" y="2292"/>
                  </a:cubicBezTo>
                  <a:cubicBezTo>
                    <a:pt x="956" y="2300"/>
                    <a:pt x="948" y="2316"/>
                    <a:pt x="933" y="2324"/>
                  </a:cubicBezTo>
                  <a:cubicBezTo>
                    <a:pt x="925" y="2332"/>
                    <a:pt x="917" y="2340"/>
                    <a:pt x="917" y="2340"/>
                  </a:cubicBezTo>
                  <a:lnTo>
                    <a:pt x="909" y="2348"/>
                  </a:lnTo>
                  <a:close/>
                  <a:moveTo>
                    <a:pt x="774" y="1960"/>
                  </a:moveTo>
                  <a:lnTo>
                    <a:pt x="774" y="1960"/>
                  </a:lnTo>
                  <a:lnTo>
                    <a:pt x="774" y="1960"/>
                  </a:lnTo>
                  <a:cubicBezTo>
                    <a:pt x="774" y="1960"/>
                    <a:pt x="798" y="1968"/>
                    <a:pt x="798" y="1984"/>
                  </a:cubicBezTo>
                  <a:lnTo>
                    <a:pt x="798" y="1992"/>
                  </a:lnTo>
                  <a:cubicBezTo>
                    <a:pt x="790" y="2000"/>
                    <a:pt x="790" y="2000"/>
                    <a:pt x="790" y="2000"/>
                  </a:cubicBezTo>
                  <a:cubicBezTo>
                    <a:pt x="774" y="2016"/>
                    <a:pt x="719" y="2063"/>
                    <a:pt x="759" y="2118"/>
                  </a:cubicBezTo>
                  <a:cubicBezTo>
                    <a:pt x="782" y="2142"/>
                    <a:pt x="790" y="2158"/>
                    <a:pt x="806" y="2166"/>
                  </a:cubicBezTo>
                  <a:cubicBezTo>
                    <a:pt x="822" y="2174"/>
                    <a:pt x="830" y="2189"/>
                    <a:pt x="838" y="2205"/>
                  </a:cubicBezTo>
                  <a:cubicBezTo>
                    <a:pt x="846" y="2237"/>
                    <a:pt x="885" y="2292"/>
                    <a:pt x="901" y="2316"/>
                  </a:cubicBezTo>
                  <a:cubicBezTo>
                    <a:pt x="909" y="2324"/>
                    <a:pt x="909" y="2332"/>
                    <a:pt x="917" y="2332"/>
                  </a:cubicBezTo>
                  <a:cubicBezTo>
                    <a:pt x="917" y="2332"/>
                    <a:pt x="925" y="2332"/>
                    <a:pt x="933" y="2324"/>
                  </a:cubicBezTo>
                  <a:cubicBezTo>
                    <a:pt x="940" y="2308"/>
                    <a:pt x="948" y="2300"/>
                    <a:pt x="956" y="2292"/>
                  </a:cubicBezTo>
                  <a:cubicBezTo>
                    <a:pt x="964" y="2276"/>
                    <a:pt x="972" y="2269"/>
                    <a:pt x="988" y="2261"/>
                  </a:cubicBezTo>
                  <a:cubicBezTo>
                    <a:pt x="996" y="2245"/>
                    <a:pt x="1012" y="2245"/>
                    <a:pt x="1020" y="2245"/>
                  </a:cubicBezTo>
                  <a:lnTo>
                    <a:pt x="1027" y="2245"/>
                  </a:lnTo>
                  <a:lnTo>
                    <a:pt x="1035" y="2245"/>
                  </a:lnTo>
                  <a:cubicBezTo>
                    <a:pt x="1043" y="2245"/>
                    <a:pt x="1051" y="2245"/>
                    <a:pt x="1059" y="2245"/>
                  </a:cubicBezTo>
                  <a:cubicBezTo>
                    <a:pt x="1067" y="2237"/>
                    <a:pt x="1075" y="2229"/>
                    <a:pt x="1083" y="2229"/>
                  </a:cubicBezTo>
                  <a:cubicBezTo>
                    <a:pt x="1098" y="2213"/>
                    <a:pt x="1122" y="2197"/>
                    <a:pt x="1146" y="2197"/>
                  </a:cubicBezTo>
                  <a:cubicBezTo>
                    <a:pt x="1146" y="2197"/>
                    <a:pt x="1154" y="2197"/>
                    <a:pt x="1162" y="2197"/>
                  </a:cubicBezTo>
                  <a:cubicBezTo>
                    <a:pt x="1186" y="2205"/>
                    <a:pt x="1209" y="2221"/>
                    <a:pt x="1233" y="2221"/>
                  </a:cubicBezTo>
                  <a:cubicBezTo>
                    <a:pt x="1249" y="2221"/>
                    <a:pt x="1257" y="2213"/>
                    <a:pt x="1265" y="2213"/>
                  </a:cubicBezTo>
                  <a:cubicBezTo>
                    <a:pt x="1273" y="2205"/>
                    <a:pt x="1273" y="2205"/>
                    <a:pt x="1280" y="2205"/>
                  </a:cubicBezTo>
                  <a:cubicBezTo>
                    <a:pt x="1288" y="2205"/>
                    <a:pt x="1296" y="2213"/>
                    <a:pt x="1296" y="2213"/>
                  </a:cubicBezTo>
                  <a:cubicBezTo>
                    <a:pt x="1304" y="2213"/>
                    <a:pt x="1312" y="2221"/>
                    <a:pt x="1312" y="2221"/>
                  </a:cubicBezTo>
                  <a:cubicBezTo>
                    <a:pt x="1320" y="2221"/>
                    <a:pt x="1320" y="2221"/>
                    <a:pt x="1328" y="2213"/>
                  </a:cubicBezTo>
                  <a:lnTo>
                    <a:pt x="1336" y="2205"/>
                  </a:lnTo>
                  <a:cubicBezTo>
                    <a:pt x="1257" y="1541"/>
                    <a:pt x="1257" y="1541"/>
                    <a:pt x="1257" y="1541"/>
                  </a:cubicBezTo>
                  <a:cubicBezTo>
                    <a:pt x="1257" y="1525"/>
                    <a:pt x="1273" y="102"/>
                    <a:pt x="1273" y="87"/>
                  </a:cubicBezTo>
                  <a:lnTo>
                    <a:pt x="1273" y="79"/>
                  </a:lnTo>
                  <a:cubicBezTo>
                    <a:pt x="1273" y="63"/>
                    <a:pt x="1280" y="55"/>
                    <a:pt x="1257" y="39"/>
                  </a:cubicBezTo>
                  <a:cubicBezTo>
                    <a:pt x="1249" y="31"/>
                    <a:pt x="1241" y="24"/>
                    <a:pt x="1233" y="8"/>
                  </a:cubicBezTo>
                  <a:cubicBezTo>
                    <a:pt x="909" y="39"/>
                    <a:pt x="648" y="55"/>
                    <a:pt x="450" y="63"/>
                  </a:cubicBezTo>
                  <a:cubicBezTo>
                    <a:pt x="450" y="71"/>
                    <a:pt x="434" y="79"/>
                    <a:pt x="434" y="110"/>
                  </a:cubicBezTo>
                  <a:cubicBezTo>
                    <a:pt x="434" y="134"/>
                    <a:pt x="434" y="142"/>
                    <a:pt x="419" y="142"/>
                  </a:cubicBezTo>
                  <a:cubicBezTo>
                    <a:pt x="411" y="142"/>
                    <a:pt x="411" y="142"/>
                    <a:pt x="411" y="142"/>
                  </a:cubicBezTo>
                  <a:lnTo>
                    <a:pt x="403" y="142"/>
                  </a:lnTo>
                  <a:cubicBezTo>
                    <a:pt x="387" y="142"/>
                    <a:pt x="371" y="142"/>
                    <a:pt x="371" y="174"/>
                  </a:cubicBezTo>
                  <a:cubicBezTo>
                    <a:pt x="371" y="174"/>
                    <a:pt x="371" y="182"/>
                    <a:pt x="371" y="189"/>
                  </a:cubicBezTo>
                  <a:cubicBezTo>
                    <a:pt x="363" y="221"/>
                    <a:pt x="355" y="268"/>
                    <a:pt x="340" y="276"/>
                  </a:cubicBezTo>
                  <a:cubicBezTo>
                    <a:pt x="324" y="292"/>
                    <a:pt x="324" y="316"/>
                    <a:pt x="324" y="348"/>
                  </a:cubicBezTo>
                  <a:cubicBezTo>
                    <a:pt x="324" y="371"/>
                    <a:pt x="316" y="395"/>
                    <a:pt x="284" y="403"/>
                  </a:cubicBezTo>
                  <a:cubicBezTo>
                    <a:pt x="261" y="411"/>
                    <a:pt x="213" y="426"/>
                    <a:pt x="221" y="450"/>
                  </a:cubicBezTo>
                  <a:cubicBezTo>
                    <a:pt x="221" y="458"/>
                    <a:pt x="221" y="466"/>
                    <a:pt x="221" y="474"/>
                  </a:cubicBezTo>
                  <a:cubicBezTo>
                    <a:pt x="229" y="482"/>
                    <a:pt x="229" y="490"/>
                    <a:pt x="221" y="506"/>
                  </a:cubicBezTo>
                  <a:cubicBezTo>
                    <a:pt x="213" y="506"/>
                    <a:pt x="213" y="514"/>
                    <a:pt x="213" y="521"/>
                  </a:cubicBezTo>
                  <a:lnTo>
                    <a:pt x="213" y="529"/>
                  </a:lnTo>
                  <a:cubicBezTo>
                    <a:pt x="221" y="537"/>
                    <a:pt x="221" y="545"/>
                    <a:pt x="221" y="553"/>
                  </a:cubicBezTo>
                  <a:cubicBezTo>
                    <a:pt x="213" y="561"/>
                    <a:pt x="205" y="569"/>
                    <a:pt x="190" y="569"/>
                  </a:cubicBezTo>
                  <a:cubicBezTo>
                    <a:pt x="181" y="569"/>
                    <a:pt x="181" y="569"/>
                    <a:pt x="181" y="569"/>
                  </a:cubicBezTo>
                  <a:cubicBezTo>
                    <a:pt x="174" y="569"/>
                    <a:pt x="166" y="569"/>
                    <a:pt x="158" y="569"/>
                  </a:cubicBezTo>
                  <a:cubicBezTo>
                    <a:pt x="158" y="577"/>
                    <a:pt x="150" y="585"/>
                    <a:pt x="158" y="593"/>
                  </a:cubicBezTo>
                  <a:cubicBezTo>
                    <a:pt x="158" y="601"/>
                    <a:pt x="158" y="608"/>
                    <a:pt x="166" y="616"/>
                  </a:cubicBezTo>
                  <a:cubicBezTo>
                    <a:pt x="174" y="640"/>
                    <a:pt x="174" y="664"/>
                    <a:pt x="158" y="679"/>
                  </a:cubicBezTo>
                  <a:cubicBezTo>
                    <a:pt x="134" y="688"/>
                    <a:pt x="126" y="711"/>
                    <a:pt x="126" y="735"/>
                  </a:cubicBezTo>
                  <a:cubicBezTo>
                    <a:pt x="126" y="743"/>
                    <a:pt x="126" y="751"/>
                    <a:pt x="134" y="759"/>
                  </a:cubicBezTo>
                  <a:cubicBezTo>
                    <a:pt x="134" y="774"/>
                    <a:pt x="142" y="798"/>
                    <a:pt x="126" y="806"/>
                  </a:cubicBezTo>
                  <a:cubicBezTo>
                    <a:pt x="110" y="822"/>
                    <a:pt x="126" y="853"/>
                    <a:pt x="142" y="869"/>
                  </a:cubicBezTo>
                  <a:cubicBezTo>
                    <a:pt x="150" y="877"/>
                    <a:pt x="150" y="885"/>
                    <a:pt x="158" y="885"/>
                  </a:cubicBezTo>
                  <a:cubicBezTo>
                    <a:pt x="174" y="901"/>
                    <a:pt x="181" y="917"/>
                    <a:pt x="174" y="932"/>
                  </a:cubicBezTo>
                  <a:cubicBezTo>
                    <a:pt x="174" y="941"/>
                    <a:pt x="166" y="948"/>
                    <a:pt x="166" y="948"/>
                  </a:cubicBezTo>
                  <a:cubicBezTo>
                    <a:pt x="158" y="964"/>
                    <a:pt x="158" y="972"/>
                    <a:pt x="166" y="988"/>
                  </a:cubicBezTo>
                  <a:cubicBezTo>
                    <a:pt x="166" y="996"/>
                    <a:pt x="166" y="1004"/>
                    <a:pt x="166" y="1012"/>
                  </a:cubicBezTo>
                  <a:cubicBezTo>
                    <a:pt x="158" y="1012"/>
                    <a:pt x="150" y="1019"/>
                    <a:pt x="158" y="1043"/>
                  </a:cubicBezTo>
                  <a:cubicBezTo>
                    <a:pt x="166" y="1075"/>
                    <a:pt x="174" y="1083"/>
                    <a:pt x="181" y="1091"/>
                  </a:cubicBezTo>
                  <a:cubicBezTo>
                    <a:pt x="181" y="1099"/>
                    <a:pt x="190" y="1099"/>
                    <a:pt x="190" y="1106"/>
                  </a:cubicBezTo>
                  <a:cubicBezTo>
                    <a:pt x="190" y="1114"/>
                    <a:pt x="181" y="1130"/>
                    <a:pt x="174" y="1146"/>
                  </a:cubicBezTo>
                  <a:cubicBezTo>
                    <a:pt x="166" y="1154"/>
                    <a:pt x="166" y="1170"/>
                    <a:pt x="166" y="1178"/>
                  </a:cubicBezTo>
                  <a:cubicBezTo>
                    <a:pt x="174" y="1185"/>
                    <a:pt x="174" y="1193"/>
                    <a:pt x="174" y="1209"/>
                  </a:cubicBezTo>
                  <a:cubicBezTo>
                    <a:pt x="174" y="1241"/>
                    <a:pt x="181" y="1257"/>
                    <a:pt x="205" y="1257"/>
                  </a:cubicBezTo>
                  <a:lnTo>
                    <a:pt x="205" y="1257"/>
                  </a:lnTo>
                  <a:lnTo>
                    <a:pt x="205" y="1257"/>
                  </a:lnTo>
                  <a:cubicBezTo>
                    <a:pt x="205" y="1257"/>
                    <a:pt x="221" y="1272"/>
                    <a:pt x="213" y="1296"/>
                  </a:cubicBezTo>
                  <a:cubicBezTo>
                    <a:pt x="213" y="1304"/>
                    <a:pt x="213" y="1312"/>
                    <a:pt x="213" y="1312"/>
                  </a:cubicBezTo>
                  <a:cubicBezTo>
                    <a:pt x="205" y="1320"/>
                    <a:pt x="205" y="1320"/>
                    <a:pt x="205" y="1320"/>
                  </a:cubicBezTo>
                  <a:cubicBezTo>
                    <a:pt x="205" y="1328"/>
                    <a:pt x="221" y="1336"/>
                    <a:pt x="229" y="1336"/>
                  </a:cubicBezTo>
                  <a:cubicBezTo>
                    <a:pt x="237" y="1343"/>
                    <a:pt x="268" y="1359"/>
                    <a:pt x="268" y="1375"/>
                  </a:cubicBezTo>
                  <a:cubicBezTo>
                    <a:pt x="268" y="1375"/>
                    <a:pt x="268" y="1383"/>
                    <a:pt x="261" y="1383"/>
                  </a:cubicBezTo>
                  <a:cubicBezTo>
                    <a:pt x="253" y="1383"/>
                    <a:pt x="245" y="1383"/>
                    <a:pt x="237" y="1391"/>
                  </a:cubicBezTo>
                  <a:cubicBezTo>
                    <a:pt x="213" y="1391"/>
                    <a:pt x="166" y="1407"/>
                    <a:pt x="158" y="1415"/>
                  </a:cubicBezTo>
                  <a:cubicBezTo>
                    <a:pt x="158" y="1415"/>
                    <a:pt x="166" y="1423"/>
                    <a:pt x="174" y="1423"/>
                  </a:cubicBezTo>
                  <a:cubicBezTo>
                    <a:pt x="181" y="1431"/>
                    <a:pt x="197" y="1438"/>
                    <a:pt x="205" y="1438"/>
                  </a:cubicBezTo>
                  <a:cubicBezTo>
                    <a:pt x="221" y="1446"/>
                    <a:pt x="229" y="1446"/>
                    <a:pt x="229" y="1470"/>
                  </a:cubicBezTo>
                  <a:cubicBezTo>
                    <a:pt x="221" y="1494"/>
                    <a:pt x="190" y="1557"/>
                    <a:pt x="174" y="1565"/>
                  </a:cubicBezTo>
                  <a:cubicBezTo>
                    <a:pt x="166" y="1573"/>
                    <a:pt x="166" y="1573"/>
                    <a:pt x="158" y="1573"/>
                  </a:cubicBezTo>
                  <a:cubicBezTo>
                    <a:pt x="150" y="1573"/>
                    <a:pt x="142" y="1581"/>
                    <a:pt x="142" y="1596"/>
                  </a:cubicBezTo>
                  <a:cubicBezTo>
                    <a:pt x="150" y="1636"/>
                    <a:pt x="142" y="1644"/>
                    <a:pt x="134" y="1644"/>
                  </a:cubicBezTo>
                  <a:lnTo>
                    <a:pt x="126" y="1644"/>
                  </a:lnTo>
                  <a:cubicBezTo>
                    <a:pt x="118" y="1644"/>
                    <a:pt x="110" y="1644"/>
                    <a:pt x="103" y="1652"/>
                  </a:cubicBezTo>
                  <a:cubicBezTo>
                    <a:pt x="103" y="1652"/>
                    <a:pt x="103" y="1652"/>
                    <a:pt x="103" y="1660"/>
                  </a:cubicBezTo>
                  <a:cubicBezTo>
                    <a:pt x="103" y="1668"/>
                    <a:pt x="110" y="1676"/>
                    <a:pt x="110" y="1676"/>
                  </a:cubicBezTo>
                  <a:cubicBezTo>
                    <a:pt x="110" y="1691"/>
                    <a:pt x="118" y="1699"/>
                    <a:pt x="103" y="1707"/>
                  </a:cubicBezTo>
                  <a:lnTo>
                    <a:pt x="95" y="1707"/>
                  </a:lnTo>
                  <a:cubicBezTo>
                    <a:pt x="79" y="1707"/>
                    <a:pt x="63" y="1715"/>
                    <a:pt x="63" y="1723"/>
                  </a:cubicBezTo>
                  <a:cubicBezTo>
                    <a:pt x="63" y="1731"/>
                    <a:pt x="63" y="1739"/>
                    <a:pt x="63" y="1747"/>
                  </a:cubicBezTo>
                  <a:cubicBezTo>
                    <a:pt x="63" y="1771"/>
                    <a:pt x="71" y="1786"/>
                    <a:pt x="55" y="1794"/>
                  </a:cubicBezTo>
                  <a:cubicBezTo>
                    <a:pt x="55" y="1794"/>
                    <a:pt x="47" y="1794"/>
                    <a:pt x="47" y="1802"/>
                  </a:cubicBezTo>
                  <a:cubicBezTo>
                    <a:pt x="39" y="1802"/>
                    <a:pt x="39" y="1810"/>
                    <a:pt x="47" y="1818"/>
                  </a:cubicBezTo>
                  <a:cubicBezTo>
                    <a:pt x="55" y="1834"/>
                    <a:pt x="55" y="1865"/>
                    <a:pt x="47" y="1881"/>
                  </a:cubicBezTo>
                  <a:cubicBezTo>
                    <a:pt x="47" y="1889"/>
                    <a:pt x="39" y="1889"/>
                    <a:pt x="39" y="1897"/>
                  </a:cubicBezTo>
                  <a:cubicBezTo>
                    <a:pt x="31" y="1897"/>
                    <a:pt x="15" y="1905"/>
                    <a:pt x="15" y="1913"/>
                  </a:cubicBezTo>
                  <a:cubicBezTo>
                    <a:pt x="8" y="1921"/>
                    <a:pt x="15" y="1921"/>
                    <a:pt x="15" y="1929"/>
                  </a:cubicBezTo>
                  <a:cubicBezTo>
                    <a:pt x="31" y="1952"/>
                    <a:pt x="47" y="1976"/>
                    <a:pt x="31" y="1984"/>
                  </a:cubicBezTo>
                  <a:lnTo>
                    <a:pt x="31" y="1984"/>
                  </a:lnTo>
                  <a:cubicBezTo>
                    <a:pt x="31" y="1992"/>
                    <a:pt x="23" y="1992"/>
                    <a:pt x="23" y="2000"/>
                  </a:cubicBezTo>
                  <a:cubicBezTo>
                    <a:pt x="23" y="2000"/>
                    <a:pt x="31" y="2000"/>
                    <a:pt x="39" y="2000"/>
                  </a:cubicBezTo>
                  <a:cubicBezTo>
                    <a:pt x="39" y="2000"/>
                    <a:pt x="39" y="2000"/>
                    <a:pt x="47" y="2000"/>
                  </a:cubicBezTo>
                  <a:cubicBezTo>
                    <a:pt x="118" y="2000"/>
                    <a:pt x="767" y="1960"/>
                    <a:pt x="767" y="1960"/>
                  </a:cubicBezTo>
                  <a:lnTo>
                    <a:pt x="774" y="1960"/>
                  </a:lnTo>
                  <a:close/>
                </a:path>
              </a:pathLst>
            </a:custGeom>
            <a:solidFill>
              <a:schemeClr val="accent6"/>
            </a:solidFill>
            <a:ln>
              <a:solidFill>
                <a:schemeClr val="bg2"/>
              </a:solidFill>
            </a:ln>
            <a:effectLst/>
          </p:spPr>
          <p:txBody>
            <a:bodyPr wrap="none" anchor="ctr"/>
            <a:lstStyle/>
            <a:p>
              <a:endParaRPr lang="en-US"/>
            </a:p>
          </p:txBody>
        </p:sp>
        <p:sp>
          <p:nvSpPr>
            <p:cNvPr id="52" name="Freeform 407"/>
            <p:cNvSpPr>
              <a:spLocks noChangeArrowheads="1"/>
            </p:cNvSpPr>
            <p:nvPr/>
          </p:nvSpPr>
          <p:spPr bwMode="auto">
            <a:xfrm>
              <a:off x="5998491" y="3959860"/>
              <a:ext cx="683804" cy="457202"/>
            </a:xfrm>
            <a:custGeom>
              <a:avLst/>
              <a:gdLst>
                <a:gd name="T0" fmla="*/ 1407 w 1898"/>
                <a:gd name="T1" fmla="*/ 79 h 1463"/>
                <a:gd name="T2" fmla="*/ 1407 w 1898"/>
                <a:gd name="T3" fmla="*/ 79 h 1463"/>
                <a:gd name="T4" fmla="*/ 964 w 1898"/>
                <a:gd name="T5" fmla="*/ 158 h 1463"/>
                <a:gd name="T6" fmla="*/ 925 w 1898"/>
                <a:gd name="T7" fmla="*/ 63 h 1463"/>
                <a:gd name="T8" fmla="*/ 854 w 1898"/>
                <a:gd name="T9" fmla="*/ 47 h 1463"/>
                <a:gd name="T10" fmla="*/ 830 w 1898"/>
                <a:gd name="T11" fmla="*/ 16 h 1463"/>
                <a:gd name="T12" fmla="*/ 411 w 1898"/>
                <a:gd name="T13" fmla="*/ 55 h 1463"/>
                <a:gd name="T14" fmla="*/ 181 w 1898"/>
                <a:gd name="T15" fmla="*/ 166 h 1463"/>
                <a:gd name="T16" fmla="*/ 79 w 1898"/>
                <a:gd name="T17" fmla="*/ 221 h 1463"/>
                <a:gd name="T18" fmla="*/ 79 w 1898"/>
                <a:gd name="T19" fmla="*/ 237 h 1463"/>
                <a:gd name="T20" fmla="*/ 15 w 1898"/>
                <a:gd name="T21" fmla="*/ 308 h 1463"/>
                <a:gd name="T22" fmla="*/ 23 w 1898"/>
                <a:gd name="T23" fmla="*/ 387 h 1463"/>
                <a:gd name="T24" fmla="*/ 110 w 1898"/>
                <a:gd name="T25" fmla="*/ 458 h 1463"/>
                <a:gd name="T26" fmla="*/ 174 w 1898"/>
                <a:gd name="T27" fmla="*/ 458 h 1463"/>
                <a:gd name="T28" fmla="*/ 237 w 1898"/>
                <a:gd name="T29" fmla="*/ 537 h 1463"/>
                <a:gd name="T30" fmla="*/ 371 w 1898"/>
                <a:gd name="T31" fmla="*/ 688 h 1463"/>
                <a:gd name="T32" fmla="*/ 466 w 1898"/>
                <a:gd name="T33" fmla="*/ 759 h 1463"/>
                <a:gd name="T34" fmla="*/ 553 w 1898"/>
                <a:gd name="T35" fmla="*/ 822 h 1463"/>
                <a:gd name="T36" fmla="*/ 632 w 1898"/>
                <a:gd name="T37" fmla="*/ 869 h 1463"/>
                <a:gd name="T38" fmla="*/ 703 w 1898"/>
                <a:gd name="T39" fmla="*/ 964 h 1463"/>
                <a:gd name="T40" fmla="*/ 806 w 1898"/>
                <a:gd name="T41" fmla="*/ 1043 h 1463"/>
                <a:gd name="T42" fmla="*/ 885 w 1898"/>
                <a:gd name="T43" fmla="*/ 1146 h 1463"/>
                <a:gd name="T44" fmla="*/ 901 w 1898"/>
                <a:gd name="T45" fmla="*/ 1225 h 1463"/>
                <a:gd name="T46" fmla="*/ 964 w 1898"/>
                <a:gd name="T47" fmla="*/ 1273 h 1463"/>
                <a:gd name="T48" fmla="*/ 1027 w 1898"/>
                <a:gd name="T49" fmla="*/ 1352 h 1463"/>
                <a:gd name="T50" fmla="*/ 1035 w 1898"/>
                <a:gd name="T51" fmla="*/ 1439 h 1463"/>
                <a:gd name="T52" fmla="*/ 1162 w 1898"/>
                <a:gd name="T53" fmla="*/ 1462 h 1463"/>
                <a:gd name="T54" fmla="*/ 1162 w 1898"/>
                <a:gd name="T55" fmla="*/ 1454 h 1463"/>
                <a:gd name="T56" fmla="*/ 1185 w 1898"/>
                <a:gd name="T57" fmla="*/ 1415 h 1463"/>
                <a:gd name="T58" fmla="*/ 1225 w 1898"/>
                <a:gd name="T59" fmla="*/ 1383 h 1463"/>
                <a:gd name="T60" fmla="*/ 1201 w 1898"/>
                <a:gd name="T61" fmla="*/ 1352 h 1463"/>
                <a:gd name="T62" fmla="*/ 1185 w 1898"/>
                <a:gd name="T63" fmla="*/ 1312 h 1463"/>
                <a:gd name="T64" fmla="*/ 1233 w 1898"/>
                <a:gd name="T65" fmla="*/ 1320 h 1463"/>
                <a:gd name="T66" fmla="*/ 1265 w 1898"/>
                <a:gd name="T67" fmla="*/ 1336 h 1463"/>
                <a:gd name="T68" fmla="*/ 1304 w 1898"/>
                <a:gd name="T69" fmla="*/ 1280 h 1463"/>
                <a:gd name="T70" fmla="*/ 1280 w 1898"/>
                <a:gd name="T71" fmla="*/ 1249 h 1463"/>
                <a:gd name="T72" fmla="*/ 1241 w 1898"/>
                <a:gd name="T73" fmla="*/ 1233 h 1463"/>
                <a:gd name="T74" fmla="*/ 1288 w 1898"/>
                <a:gd name="T75" fmla="*/ 1209 h 1463"/>
                <a:gd name="T76" fmla="*/ 1328 w 1898"/>
                <a:gd name="T77" fmla="*/ 1209 h 1463"/>
                <a:gd name="T78" fmla="*/ 1423 w 1898"/>
                <a:gd name="T79" fmla="*/ 1154 h 1463"/>
                <a:gd name="T80" fmla="*/ 1486 w 1898"/>
                <a:gd name="T81" fmla="*/ 1122 h 1463"/>
                <a:gd name="T82" fmla="*/ 1494 w 1898"/>
                <a:gd name="T83" fmla="*/ 1067 h 1463"/>
                <a:gd name="T84" fmla="*/ 1518 w 1898"/>
                <a:gd name="T85" fmla="*/ 1051 h 1463"/>
                <a:gd name="T86" fmla="*/ 1549 w 1898"/>
                <a:gd name="T87" fmla="*/ 1035 h 1463"/>
                <a:gd name="T88" fmla="*/ 1597 w 1898"/>
                <a:gd name="T89" fmla="*/ 972 h 1463"/>
                <a:gd name="T90" fmla="*/ 1604 w 1898"/>
                <a:gd name="T91" fmla="*/ 917 h 1463"/>
                <a:gd name="T92" fmla="*/ 1660 w 1898"/>
                <a:gd name="T93" fmla="*/ 909 h 1463"/>
                <a:gd name="T94" fmla="*/ 1691 w 1898"/>
                <a:gd name="T95" fmla="*/ 853 h 1463"/>
                <a:gd name="T96" fmla="*/ 1699 w 1898"/>
                <a:gd name="T97" fmla="*/ 790 h 1463"/>
                <a:gd name="T98" fmla="*/ 1691 w 1898"/>
                <a:gd name="T99" fmla="*/ 767 h 1463"/>
                <a:gd name="T100" fmla="*/ 1715 w 1898"/>
                <a:gd name="T101" fmla="*/ 751 h 1463"/>
                <a:gd name="T102" fmla="*/ 1850 w 1898"/>
                <a:gd name="T103" fmla="*/ 490 h 1463"/>
                <a:gd name="T104" fmla="*/ 1897 w 1898"/>
                <a:gd name="T105" fmla="*/ 451 h 1463"/>
                <a:gd name="T106" fmla="*/ 1407 w 1898"/>
                <a:gd name="T107" fmla="*/ 79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8" h="1463">
                  <a:moveTo>
                    <a:pt x="1407" y="79"/>
                  </a:moveTo>
                  <a:lnTo>
                    <a:pt x="1407" y="79"/>
                  </a:lnTo>
                  <a:cubicBezTo>
                    <a:pt x="964" y="158"/>
                    <a:pt x="964" y="158"/>
                    <a:pt x="964" y="158"/>
                  </a:cubicBezTo>
                  <a:cubicBezTo>
                    <a:pt x="964" y="158"/>
                    <a:pt x="940" y="79"/>
                    <a:pt x="925" y="63"/>
                  </a:cubicBezTo>
                  <a:cubicBezTo>
                    <a:pt x="909" y="39"/>
                    <a:pt x="901" y="55"/>
                    <a:pt x="854" y="47"/>
                  </a:cubicBezTo>
                  <a:cubicBezTo>
                    <a:pt x="806" y="39"/>
                    <a:pt x="830" y="31"/>
                    <a:pt x="830" y="16"/>
                  </a:cubicBezTo>
                  <a:cubicBezTo>
                    <a:pt x="830" y="0"/>
                    <a:pt x="442" y="55"/>
                    <a:pt x="411" y="55"/>
                  </a:cubicBezTo>
                  <a:cubicBezTo>
                    <a:pt x="371" y="63"/>
                    <a:pt x="229" y="134"/>
                    <a:pt x="181" y="166"/>
                  </a:cubicBezTo>
                  <a:cubicBezTo>
                    <a:pt x="142" y="182"/>
                    <a:pt x="126" y="213"/>
                    <a:pt x="79" y="221"/>
                  </a:cubicBezTo>
                  <a:cubicBezTo>
                    <a:pt x="79" y="229"/>
                    <a:pt x="79" y="237"/>
                    <a:pt x="79" y="237"/>
                  </a:cubicBezTo>
                  <a:cubicBezTo>
                    <a:pt x="71" y="245"/>
                    <a:pt x="15" y="276"/>
                    <a:pt x="15" y="308"/>
                  </a:cubicBezTo>
                  <a:cubicBezTo>
                    <a:pt x="8" y="340"/>
                    <a:pt x="0" y="379"/>
                    <a:pt x="23" y="387"/>
                  </a:cubicBezTo>
                  <a:cubicBezTo>
                    <a:pt x="39" y="403"/>
                    <a:pt x="95" y="435"/>
                    <a:pt x="110" y="458"/>
                  </a:cubicBezTo>
                  <a:cubicBezTo>
                    <a:pt x="126" y="482"/>
                    <a:pt x="150" y="458"/>
                    <a:pt x="174" y="458"/>
                  </a:cubicBezTo>
                  <a:cubicBezTo>
                    <a:pt x="190" y="458"/>
                    <a:pt x="205" y="490"/>
                    <a:pt x="237" y="537"/>
                  </a:cubicBezTo>
                  <a:cubicBezTo>
                    <a:pt x="261" y="585"/>
                    <a:pt x="316" y="672"/>
                    <a:pt x="371" y="688"/>
                  </a:cubicBezTo>
                  <a:cubicBezTo>
                    <a:pt x="419" y="711"/>
                    <a:pt x="434" y="719"/>
                    <a:pt x="466" y="759"/>
                  </a:cubicBezTo>
                  <a:cubicBezTo>
                    <a:pt x="498" y="798"/>
                    <a:pt x="521" y="814"/>
                    <a:pt x="553" y="822"/>
                  </a:cubicBezTo>
                  <a:cubicBezTo>
                    <a:pt x="585" y="838"/>
                    <a:pt x="616" y="846"/>
                    <a:pt x="632" y="869"/>
                  </a:cubicBezTo>
                  <a:cubicBezTo>
                    <a:pt x="656" y="901"/>
                    <a:pt x="656" y="925"/>
                    <a:pt x="703" y="964"/>
                  </a:cubicBezTo>
                  <a:cubicBezTo>
                    <a:pt x="759" y="1012"/>
                    <a:pt x="774" y="1020"/>
                    <a:pt x="806" y="1043"/>
                  </a:cubicBezTo>
                  <a:cubicBezTo>
                    <a:pt x="838" y="1059"/>
                    <a:pt x="885" y="1122"/>
                    <a:pt x="885" y="1146"/>
                  </a:cubicBezTo>
                  <a:cubicBezTo>
                    <a:pt x="885" y="1170"/>
                    <a:pt x="877" y="1209"/>
                    <a:pt x="901" y="1225"/>
                  </a:cubicBezTo>
                  <a:cubicBezTo>
                    <a:pt x="925" y="1241"/>
                    <a:pt x="948" y="1241"/>
                    <a:pt x="964" y="1273"/>
                  </a:cubicBezTo>
                  <a:cubicBezTo>
                    <a:pt x="988" y="1296"/>
                    <a:pt x="1004" y="1344"/>
                    <a:pt x="1027" y="1352"/>
                  </a:cubicBezTo>
                  <a:cubicBezTo>
                    <a:pt x="1043" y="1359"/>
                    <a:pt x="996" y="1423"/>
                    <a:pt x="1035" y="1439"/>
                  </a:cubicBezTo>
                  <a:cubicBezTo>
                    <a:pt x="1059" y="1454"/>
                    <a:pt x="1138" y="1462"/>
                    <a:pt x="1162" y="1462"/>
                  </a:cubicBezTo>
                  <a:cubicBezTo>
                    <a:pt x="1162" y="1454"/>
                    <a:pt x="1162" y="1454"/>
                    <a:pt x="1162" y="1454"/>
                  </a:cubicBezTo>
                  <a:cubicBezTo>
                    <a:pt x="1162" y="1446"/>
                    <a:pt x="1162" y="1415"/>
                    <a:pt x="1185" y="1415"/>
                  </a:cubicBezTo>
                  <a:cubicBezTo>
                    <a:pt x="1201" y="1407"/>
                    <a:pt x="1233" y="1407"/>
                    <a:pt x="1225" y="1383"/>
                  </a:cubicBezTo>
                  <a:cubicBezTo>
                    <a:pt x="1217" y="1359"/>
                    <a:pt x="1217" y="1368"/>
                    <a:pt x="1201" y="1352"/>
                  </a:cubicBezTo>
                  <a:cubicBezTo>
                    <a:pt x="1185" y="1328"/>
                    <a:pt x="1154" y="1320"/>
                    <a:pt x="1185" y="1312"/>
                  </a:cubicBezTo>
                  <a:cubicBezTo>
                    <a:pt x="1217" y="1304"/>
                    <a:pt x="1217" y="1304"/>
                    <a:pt x="1233" y="1320"/>
                  </a:cubicBezTo>
                  <a:cubicBezTo>
                    <a:pt x="1249" y="1336"/>
                    <a:pt x="1233" y="1344"/>
                    <a:pt x="1265" y="1336"/>
                  </a:cubicBezTo>
                  <a:cubicBezTo>
                    <a:pt x="1288" y="1320"/>
                    <a:pt x="1304" y="1304"/>
                    <a:pt x="1304" y="1280"/>
                  </a:cubicBezTo>
                  <a:cubicBezTo>
                    <a:pt x="1304" y="1257"/>
                    <a:pt x="1312" y="1257"/>
                    <a:pt x="1280" y="1249"/>
                  </a:cubicBezTo>
                  <a:cubicBezTo>
                    <a:pt x="1257" y="1249"/>
                    <a:pt x="1241" y="1249"/>
                    <a:pt x="1241" y="1233"/>
                  </a:cubicBezTo>
                  <a:cubicBezTo>
                    <a:pt x="1241" y="1225"/>
                    <a:pt x="1265" y="1201"/>
                    <a:pt x="1288" y="1209"/>
                  </a:cubicBezTo>
                  <a:cubicBezTo>
                    <a:pt x="1312" y="1217"/>
                    <a:pt x="1312" y="1217"/>
                    <a:pt x="1328" y="1209"/>
                  </a:cubicBezTo>
                  <a:cubicBezTo>
                    <a:pt x="1351" y="1201"/>
                    <a:pt x="1391" y="1170"/>
                    <a:pt x="1423" y="1154"/>
                  </a:cubicBezTo>
                  <a:cubicBezTo>
                    <a:pt x="1454" y="1138"/>
                    <a:pt x="1478" y="1146"/>
                    <a:pt x="1486" y="1122"/>
                  </a:cubicBezTo>
                  <a:cubicBezTo>
                    <a:pt x="1494" y="1099"/>
                    <a:pt x="1478" y="1083"/>
                    <a:pt x="1494" y="1067"/>
                  </a:cubicBezTo>
                  <a:cubicBezTo>
                    <a:pt x="1502" y="1051"/>
                    <a:pt x="1494" y="1051"/>
                    <a:pt x="1518" y="1051"/>
                  </a:cubicBezTo>
                  <a:cubicBezTo>
                    <a:pt x="1541" y="1051"/>
                    <a:pt x="1541" y="1059"/>
                    <a:pt x="1549" y="1035"/>
                  </a:cubicBezTo>
                  <a:cubicBezTo>
                    <a:pt x="1549" y="1012"/>
                    <a:pt x="1597" y="996"/>
                    <a:pt x="1597" y="972"/>
                  </a:cubicBezTo>
                  <a:cubicBezTo>
                    <a:pt x="1597" y="948"/>
                    <a:pt x="1573" y="917"/>
                    <a:pt x="1604" y="917"/>
                  </a:cubicBezTo>
                  <a:cubicBezTo>
                    <a:pt x="1628" y="917"/>
                    <a:pt x="1644" y="941"/>
                    <a:pt x="1660" y="909"/>
                  </a:cubicBezTo>
                  <a:cubicBezTo>
                    <a:pt x="1676" y="877"/>
                    <a:pt x="1668" y="869"/>
                    <a:pt x="1691" y="853"/>
                  </a:cubicBezTo>
                  <a:cubicBezTo>
                    <a:pt x="1707" y="838"/>
                    <a:pt x="1715" y="806"/>
                    <a:pt x="1699" y="790"/>
                  </a:cubicBezTo>
                  <a:cubicBezTo>
                    <a:pt x="1691" y="775"/>
                    <a:pt x="1676" y="767"/>
                    <a:pt x="1691" y="767"/>
                  </a:cubicBezTo>
                  <a:cubicBezTo>
                    <a:pt x="1707" y="767"/>
                    <a:pt x="1723" y="782"/>
                    <a:pt x="1715" y="751"/>
                  </a:cubicBezTo>
                  <a:cubicBezTo>
                    <a:pt x="1715" y="719"/>
                    <a:pt x="1826" y="490"/>
                    <a:pt x="1850" y="490"/>
                  </a:cubicBezTo>
                  <a:cubicBezTo>
                    <a:pt x="1873" y="482"/>
                    <a:pt x="1873" y="466"/>
                    <a:pt x="1897" y="451"/>
                  </a:cubicBezTo>
                  <a:lnTo>
                    <a:pt x="1407" y="79"/>
                  </a:lnTo>
                </a:path>
              </a:pathLst>
            </a:custGeom>
            <a:solidFill>
              <a:schemeClr val="accent6"/>
            </a:solidFill>
            <a:ln>
              <a:solidFill>
                <a:schemeClr val="bg2"/>
              </a:solidFill>
            </a:ln>
            <a:effectLst/>
          </p:spPr>
          <p:txBody>
            <a:bodyPr wrap="none" anchor="ctr"/>
            <a:lstStyle/>
            <a:p>
              <a:endParaRPr lang="en-US"/>
            </a:p>
          </p:txBody>
        </p:sp>
        <p:sp>
          <p:nvSpPr>
            <p:cNvPr id="53" name="Freeform 408"/>
            <p:cNvSpPr>
              <a:spLocks noChangeArrowheads="1"/>
            </p:cNvSpPr>
            <p:nvPr/>
          </p:nvSpPr>
          <p:spPr bwMode="auto">
            <a:xfrm>
              <a:off x="5998491" y="3962614"/>
              <a:ext cx="686985" cy="454448"/>
            </a:xfrm>
            <a:custGeom>
              <a:avLst/>
              <a:gdLst>
                <a:gd name="T0" fmla="*/ 1020 w 1906"/>
                <a:gd name="T1" fmla="*/ 1375 h 1455"/>
                <a:gd name="T2" fmla="*/ 925 w 1906"/>
                <a:gd name="T3" fmla="*/ 1233 h 1455"/>
                <a:gd name="T4" fmla="*/ 806 w 1906"/>
                <a:gd name="T5" fmla="*/ 1035 h 1455"/>
                <a:gd name="T6" fmla="*/ 632 w 1906"/>
                <a:gd name="T7" fmla="*/ 861 h 1455"/>
                <a:gd name="T8" fmla="*/ 229 w 1906"/>
                <a:gd name="T9" fmla="*/ 529 h 1455"/>
                <a:gd name="T10" fmla="*/ 126 w 1906"/>
                <a:gd name="T11" fmla="*/ 458 h 1455"/>
                <a:gd name="T12" fmla="*/ 8 w 1906"/>
                <a:gd name="T13" fmla="*/ 308 h 1455"/>
                <a:gd name="T14" fmla="*/ 79 w 1906"/>
                <a:gd name="T15" fmla="*/ 213 h 1455"/>
                <a:gd name="T16" fmla="*/ 181 w 1906"/>
                <a:gd name="T17" fmla="*/ 150 h 1455"/>
                <a:gd name="T18" fmla="*/ 830 w 1906"/>
                <a:gd name="T19" fmla="*/ 23 h 1455"/>
                <a:gd name="T20" fmla="*/ 893 w 1906"/>
                <a:gd name="T21" fmla="*/ 39 h 1455"/>
                <a:gd name="T22" fmla="*/ 1407 w 1906"/>
                <a:gd name="T23" fmla="*/ 71 h 1455"/>
                <a:gd name="T24" fmla="*/ 1850 w 1906"/>
                <a:gd name="T25" fmla="*/ 482 h 1455"/>
                <a:gd name="T26" fmla="*/ 1699 w 1906"/>
                <a:gd name="T27" fmla="*/ 767 h 1455"/>
                <a:gd name="T28" fmla="*/ 1707 w 1906"/>
                <a:gd name="T29" fmla="*/ 782 h 1455"/>
                <a:gd name="T30" fmla="*/ 1660 w 1906"/>
                <a:gd name="T31" fmla="*/ 909 h 1455"/>
                <a:gd name="T32" fmla="*/ 1597 w 1906"/>
                <a:gd name="T33" fmla="*/ 917 h 1455"/>
                <a:gd name="T34" fmla="*/ 1549 w 1906"/>
                <a:gd name="T35" fmla="*/ 1027 h 1455"/>
                <a:gd name="T36" fmla="*/ 1510 w 1906"/>
                <a:gd name="T37" fmla="*/ 1051 h 1455"/>
                <a:gd name="T38" fmla="*/ 1486 w 1906"/>
                <a:gd name="T39" fmla="*/ 1114 h 1455"/>
                <a:gd name="T40" fmla="*/ 1336 w 1906"/>
                <a:gd name="T41" fmla="*/ 1209 h 1455"/>
                <a:gd name="T42" fmla="*/ 1241 w 1906"/>
                <a:gd name="T43" fmla="*/ 1225 h 1455"/>
                <a:gd name="T44" fmla="*/ 1304 w 1906"/>
                <a:gd name="T45" fmla="*/ 1257 h 1455"/>
                <a:gd name="T46" fmla="*/ 1233 w 1906"/>
                <a:gd name="T47" fmla="*/ 1328 h 1455"/>
                <a:gd name="T48" fmla="*/ 1185 w 1906"/>
                <a:gd name="T49" fmla="*/ 1304 h 1455"/>
                <a:gd name="T50" fmla="*/ 1217 w 1906"/>
                <a:gd name="T51" fmla="*/ 1351 h 1455"/>
                <a:gd name="T52" fmla="*/ 1185 w 1906"/>
                <a:gd name="T53" fmla="*/ 1407 h 1455"/>
                <a:gd name="T54" fmla="*/ 1162 w 1906"/>
                <a:gd name="T55" fmla="*/ 1454 h 1455"/>
                <a:gd name="T56" fmla="*/ 237 w 1906"/>
                <a:gd name="T57" fmla="*/ 521 h 1455"/>
                <a:gd name="T58" fmla="*/ 640 w 1906"/>
                <a:gd name="T59" fmla="*/ 861 h 1455"/>
                <a:gd name="T60" fmla="*/ 806 w 1906"/>
                <a:gd name="T61" fmla="*/ 1035 h 1455"/>
                <a:gd name="T62" fmla="*/ 925 w 1906"/>
                <a:gd name="T63" fmla="*/ 1233 h 1455"/>
                <a:gd name="T64" fmla="*/ 1027 w 1906"/>
                <a:gd name="T65" fmla="*/ 1375 h 1455"/>
                <a:gd name="T66" fmla="*/ 1178 w 1906"/>
                <a:gd name="T67" fmla="*/ 1399 h 1455"/>
                <a:gd name="T68" fmla="*/ 1209 w 1906"/>
                <a:gd name="T69" fmla="*/ 1351 h 1455"/>
                <a:gd name="T70" fmla="*/ 1185 w 1906"/>
                <a:gd name="T71" fmla="*/ 1296 h 1455"/>
                <a:gd name="T72" fmla="*/ 1241 w 1906"/>
                <a:gd name="T73" fmla="*/ 1328 h 1455"/>
                <a:gd name="T74" fmla="*/ 1296 w 1906"/>
                <a:gd name="T75" fmla="*/ 1257 h 1455"/>
                <a:gd name="T76" fmla="*/ 1233 w 1906"/>
                <a:gd name="T77" fmla="*/ 1225 h 1455"/>
                <a:gd name="T78" fmla="*/ 1328 w 1906"/>
                <a:gd name="T79" fmla="*/ 1201 h 1455"/>
                <a:gd name="T80" fmla="*/ 1478 w 1906"/>
                <a:gd name="T81" fmla="*/ 1107 h 1455"/>
                <a:gd name="T82" fmla="*/ 1510 w 1906"/>
                <a:gd name="T83" fmla="*/ 1043 h 1455"/>
                <a:gd name="T84" fmla="*/ 1541 w 1906"/>
                <a:gd name="T85" fmla="*/ 1027 h 1455"/>
                <a:gd name="T86" fmla="*/ 1589 w 1906"/>
                <a:gd name="T87" fmla="*/ 909 h 1455"/>
                <a:gd name="T88" fmla="*/ 1660 w 1906"/>
                <a:gd name="T89" fmla="*/ 901 h 1455"/>
                <a:gd name="T90" fmla="*/ 1699 w 1906"/>
                <a:gd name="T91" fmla="*/ 782 h 1455"/>
                <a:gd name="T92" fmla="*/ 1707 w 1906"/>
                <a:gd name="T93" fmla="*/ 759 h 1455"/>
                <a:gd name="T94" fmla="*/ 1850 w 1906"/>
                <a:gd name="T95" fmla="*/ 474 h 1455"/>
                <a:gd name="T96" fmla="*/ 964 w 1906"/>
                <a:gd name="T97" fmla="*/ 150 h 1455"/>
                <a:gd name="T98" fmla="*/ 877 w 1906"/>
                <a:gd name="T99" fmla="*/ 47 h 1455"/>
                <a:gd name="T100" fmla="*/ 822 w 1906"/>
                <a:gd name="T101" fmla="*/ 8 h 1455"/>
                <a:gd name="T102" fmla="*/ 150 w 1906"/>
                <a:gd name="T103" fmla="*/ 181 h 1455"/>
                <a:gd name="T104" fmla="*/ 15 w 1906"/>
                <a:gd name="T105" fmla="*/ 300 h 1455"/>
                <a:gd name="T106" fmla="*/ 110 w 1906"/>
                <a:gd name="T107" fmla="*/ 443 h 1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06" h="1455">
                  <a:moveTo>
                    <a:pt x="1162" y="1454"/>
                  </a:moveTo>
                  <a:lnTo>
                    <a:pt x="1162" y="1454"/>
                  </a:lnTo>
                  <a:cubicBezTo>
                    <a:pt x="1130" y="1454"/>
                    <a:pt x="1059" y="1454"/>
                    <a:pt x="1035" y="1438"/>
                  </a:cubicBezTo>
                  <a:cubicBezTo>
                    <a:pt x="1012" y="1423"/>
                    <a:pt x="1012" y="1399"/>
                    <a:pt x="1020" y="1375"/>
                  </a:cubicBezTo>
                  <a:cubicBezTo>
                    <a:pt x="1027" y="1360"/>
                    <a:pt x="1027" y="1351"/>
                    <a:pt x="1020" y="1344"/>
                  </a:cubicBezTo>
                  <a:cubicBezTo>
                    <a:pt x="1012" y="1336"/>
                    <a:pt x="996" y="1312"/>
                    <a:pt x="980" y="1296"/>
                  </a:cubicBezTo>
                  <a:cubicBezTo>
                    <a:pt x="972" y="1280"/>
                    <a:pt x="972" y="1272"/>
                    <a:pt x="964" y="1265"/>
                  </a:cubicBezTo>
                  <a:cubicBezTo>
                    <a:pt x="948" y="1249"/>
                    <a:pt x="940" y="1241"/>
                    <a:pt x="925" y="1233"/>
                  </a:cubicBezTo>
                  <a:cubicBezTo>
                    <a:pt x="917" y="1233"/>
                    <a:pt x="909" y="1225"/>
                    <a:pt x="901" y="1225"/>
                  </a:cubicBezTo>
                  <a:cubicBezTo>
                    <a:pt x="877" y="1209"/>
                    <a:pt x="885" y="1185"/>
                    <a:pt x="885" y="1162"/>
                  </a:cubicBezTo>
                  <a:cubicBezTo>
                    <a:pt x="885" y="1154"/>
                    <a:pt x="885" y="1146"/>
                    <a:pt x="885" y="1138"/>
                  </a:cubicBezTo>
                  <a:cubicBezTo>
                    <a:pt x="877" y="1122"/>
                    <a:pt x="830" y="1059"/>
                    <a:pt x="806" y="1035"/>
                  </a:cubicBezTo>
                  <a:cubicBezTo>
                    <a:pt x="798" y="1035"/>
                    <a:pt x="798" y="1035"/>
                    <a:pt x="790" y="1027"/>
                  </a:cubicBezTo>
                  <a:cubicBezTo>
                    <a:pt x="767" y="1012"/>
                    <a:pt x="743" y="996"/>
                    <a:pt x="703" y="964"/>
                  </a:cubicBezTo>
                  <a:cubicBezTo>
                    <a:pt x="664" y="933"/>
                    <a:pt x="656" y="909"/>
                    <a:pt x="648" y="893"/>
                  </a:cubicBezTo>
                  <a:cubicBezTo>
                    <a:pt x="640" y="885"/>
                    <a:pt x="640" y="877"/>
                    <a:pt x="632" y="861"/>
                  </a:cubicBezTo>
                  <a:cubicBezTo>
                    <a:pt x="608" y="838"/>
                    <a:pt x="585" y="830"/>
                    <a:pt x="553" y="822"/>
                  </a:cubicBezTo>
                  <a:cubicBezTo>
                    <a:pt x="521" y="806"/>
                    <a:pt x="498" y="798"/>
                    <a:pt x="466" y="751"/>
                  </a:cubicBezTo>
                  <a:cubicBezTo>
                    <a:pt x="434" y="711"/>
                    <a:pt x="419" y="703"/>
                    <a:pt x="371" y="687"/>
                  </a:cubicBezTo>
                  <a:cubicBezTo>
                    <a:pt x="316" y="664"/>
                    <a:pt x="268" y="593"/>
                    <a:pt x="229" y="529"/>
                  </a:cubicBezTo>
                  <a:cubicBezTo>
                    <a:pt x="221" y="521"/>
                    <a:pt x="221" y="506"/>
                    <a:pt x="213" y="498"/>
                  </a:cubicBezTo>
                  <a:cubicBezTo>
                    <a:pt x="197" y="466"/>
                    <a:pt x="190" y="450"/>
                    <a:pt x="174" y="450"/>
                  </a:cubicBezTo>
                  <a:cubicBezTo>
                    <a:pt x="166" y="450"/>
                    <a:pt x="158" y="450"/>
                    <a:pt x="150" y="458"/>
                  </a:cubicBezTo>
                  <a:cubicBezTo>
                    <a:pt x="142" y="458"/>
                    <a:pt x="134" y="458"/>
                    <a:pt x="126" y="458"/>
                  </a:cubicBezTo>
                  <a:cubicBezTo>
                    <a:pt x="118" y="458"/>
                    <a:pt x="110" y="458"/>
                    <a:pt x="110" y="450"/>
                  </a:cubicBezTo>
                  <a:cubicBezTo>
                    <a:pt x="95" y="434"/>
                    <a:pt x="55" y="403"/>
                    <a:pt x="31" y="387"/>
                  </a:cubicBezTo>
                  <a:cubicBezTo>
                    <a:pt x="23" y="387"/>
                    <a:pt x="23" y="387"/>
                    <a:pt x="15" y="379"/>
                  </a:cubicBezTo>
                  <a:cubicBezTo>
                    <a:pt x="0" y="371"/>
                    <a:pt x="8" y="340"/>
                    <a:pt x="8" y="308"/>
                  </a:cubicBezTo>
                  <a:cubicBezTo>
                    <a:pt x="8" y="300"/>
                    <a:pt x="8" y="300"/>
                    <a:pt x="8" y="300"/>
                  </a:cubicBezTo>
                  <a:cubicBezTo>
                    <a:pt x="8" y="268"/>
                    <a:pt x="47" y="253"/>
                    <a:pt x="63" y="237"/>
                  </a:cubicBezTo>
                  <a:cubicBezTo>
                    <a:pt x="71" y="229"/>
                    <a:pt x="71" y="229"/>
                    <a:pt x="71" y="229"/>
                  </a:cubicBezTo>
                  <a:cubicBezTo>
                    <a:pt x="79" y="229"/>
                    <a:pt x="79" y="221"/>
                    <a:pt x="79" y="213"/>
                  </a:cubicBezTo>
                  <a:lnTo>
                    <a:pt x="79" y="213"/>
                  </a:lnTo>
                  <a:cubicBezTo>
                    <a:pt x="79" y="205"/>
                    <a:pt x="79" y="205"/>
                    <a:pt x="79" y="205"/>
                  </a:cubicBezTo>
                  <a:cubicBezTo>
                    <a:pt x="110" y="205"/>
                    <a:pt x="126" y="190"/>
                    <a:pt x="150" y="174"/>
                  </a:cubicBezTo>
                  <a:cubicBezTo>
                    <a:pt x="158" y="166"/>
                    <a:pt x="166" y="158"/>
                    <a:pt x="181" y="150"/>
                  </a:cubicBezTo>
                  <a:cubicBezTo>
                    <a:pt x="229" y="126"/>
                    <a:pt x="371" y="55"/>
                    <a:pt x="411" y="47"/>
                  </a:cubicBezTo>
                  <a:cubicBezTo>
                    <a:pt x="434" y="39"/>
                    <a:pt x="727" y="0"/>
                    <a:pt x="806" y="0"/>
                  </a:cubicBezTo>
                  <a:cubicBezTo>
                    <a:pt x="822" y="0"/>
                    <a:pt x="830" y="0"/>
                    <a:pt x="830" y="8"/>
                  </a:cubicBezTo>
                  <a:cubicBezTo>
                    <a:pt x="830" y="15"/>
                    <a:pt x="830" y="15"/>
                    <a:pt x="830" y="23"/>
                  </a:cubicBezTo>
                  <a:lnTo>
                    <a:pt x="830" y="31"/>
                  </a:lnTo>
                  <a:cubicBezTo>
                    <a:pt x="830" y="31"/>
                    <a:pt x="838" y="31"/>
                    <a:pt x="854" y="39"/>
                  </a:cubicBezTo>
                  <a:cubicBezTo>
                    <a:pt x="861" y="39"/>
                    <a:pt x="869" y="39"/>
                    <a:pt x="877" y="39"/>
                  </a:cubicBezTo>
                  <a:cubicBezTo>
                    <a:pt x="885" y="39"/>
                    <a:pt x="885" y="39"/>
                    <a:pt x="893" y="39"/>
                  </a:cubicBezTo>
                  <a:cubicBezTo>
                    <a:pt x="909" y="39"/>
                    <a:pt x="917" y="39"/>
                    <a:pt x="925" y="47"/>
                  </a:cubicBezTo>
                  <a:cubicBezTo>
                    <a:pt x="940" y="63"/>
                    <a:pt x="964" y="126"/>
                    <a:pt x="964" y="142"/>
                  </a:cubicBezTo>
                  <a:cubicBezTo>
                    <a:pt x="1407" y="71"/>
                    <a:pt x="1407" y="71"/>
                    <a:pt x="1407" y="71"/>
                  </a:cubicBezTo>
                  <a:lnTo>
                    <a:pt x="1407" y="71"/>
                  </a:lnTo>
                  <a:cubicBezTo>
                    <a:pt x="1905" y="443"/>
                    <a:pt x="1905" y="443"/>
                    <a:pt x="1905" y="443"/>
                  </a:cubicBezTo>
                  <a:cubicBezTo>
                    <a:pt x="1897" y="443"/>
                    <a:pt x="1897" y="443"/>
                    <a:pt x="1897" y="443"/>
                  </a:cubicBezTo>
                  <a:cubicBezTo>
                    <a:pt x="1889" y="450"/>
                    <a:pt x="1881" y="458"/>
                    <a:pt x="1881" y="466"/>
                  </a:cubicBezTo>
                  <a:cubicBezTo>
                    <a:pt x="1873" y="474"/>
                    <a:pt x="1865" y="482"/>
                    <a:pt x="1850" y="482"/>
                  </a:cubicBezTo>
                  <a:cubicBezTo>
                    <a:pt x="1834" y="490"/>
                    <a:pt x="1715" y="711"/>
                    <a:pt x="1723" y="743"/>
                  </a:cubicBezTo>
                  <a:cubicBezTo>
                    <a:pt x="1723" y="751"/>
                    <a:pt x="1723" y="759"/>
                    <a:pt x="1715" y="767"/>
                  </a:cubicBezTo>
                  <a:cubicBezTo>
                    <a:pt x="1715" y="767"/>
                    <a:pt x="1715" y="767"/>
                    <a:pt x="1707" y="767"/>
                  </a:cubicBezTo>
                  <a:cubicBezTo>
                    <a:pt x="1707" y="767"/>
                    <a:pt x="1707" y="767"/>
                    <a:pt x="1699" y="767"/>
                  </a:cubicBezTo>
                  <a:lnTo>
                    <a:pt x="1691" y="767"/>
                  </a:lnTo>
                  <a:lnTo>
                    <a:pt x="1691" y="767"/>
                  </a:lnTo>
                  <a:lnTo>
                    <a:pt x="1691" y="767"/>
                  </a:lnTo>
                  <a:cubicBezTo>
                    <a:pt x="1699" y="767"/>
                    <a:pt x="1699" y="774"/>
                    <a:pt x="1707" y="782"/>
                  </a:cubicBezTo>
                  <a:cubicBezTo>
                    <a:pt x="1707" y="790"/>
                    <a:pt x="1715" y="798"/>
                    <a:pt x="1715" y="814"/>
                  </a:cubicBezTo>
                  <a:cubicBezTo>
                    <a:pt x="1707" y="830"/>
                    <a:pt x="1699" y="838"/>
                    <a:pt x="1691" y="845"/>
                  </a:cubicBezTo>
                  <a:cubicBezTo>
                    <a:pt x="1676" y="861"/>
                    <a:pt x="1676" y="861"/>
                    <a:pt x="1676" y="877"/>
                  </a:cubicBezTo>
                  <a:cubicBezTo>
                    <a:pt x="1668" y="885"/>
                    <a:pt x="1668" y="893"/>
                    <a:pt x="1660" y="909"/>
                  </a:cubicBezTo>
                  <a:cubicBezTo>
                    <a:pt x="1660" y="917"/>
                    <a:pt x="1652" y="925"/>
                    <a:pt x="1644" y="925"/>
                  </a:cubicBezTo>
                  <a:cubicBezTo>
                    <a:pt x="1636" y="925"/>
                    <a:pt x="1628" y="917"/>
                    <a:pt x="1620" y="917"/>
                  </a:cubicBezTo>
                  <a:cubicBezTo>
                    <a:pt x="1613" y="917"/>
                    <a:pt x="1613" y="909"/>
                    <a:pt x="1604" y="917"/>
                  </a:cubicBezTo>
                  <a:cubicBezTo>
                    <a:pt x="1597" y="917"/>
                    <a:pt x="1597" y="917"/>
                    <a:pt x="1597" y="917"/>
                  </a:cubicBezTo>
                  <a:cubicBezTo>
                    <a:pt x="1589" y="917"/>
                    <a:pt x="1589" y="933"/>
                    <a:pt x="1597" y="940"/>
                  </a:cubicBezTo>
                  <a:cubicBezTo>
                    <a:pt x="1597" y="948"/>
                    <a:pt x="1597" y="956"/>
                    <a:pt x="1597" y="964"/>
                  </a:cubicBezTo>
                  <a:cubicBezTo>
                    <a:pt x="1597" y="972"/>
                    <a:pt x="1581" y="988"/>
                    <a:pt x="1573" y="996"/>
                  </a:cubicBezTo>
                  <a:cubicBezTo>
                    <a:pt x="1565" y="1012"/>
                    <a:pt x="1549" y="1020"/>
                    <a:pt x="1549" y="1027"/>
                  </a:cubicBezTo>
                  <a:cubicBezTo>
                    <a:pt x="1549" y="1043"/>
                    <a:pt x="1549" y="1051"/>
                    <a:pt x="1533" y="1051"/>
                  </a:cubicBezTo>
                  <a:lnTo>
                    <a:pt x="1533" y="1051"/>
                  </a:lnTo>
                  <a:cubicBezTo>
                    <a:pt x="1533" y="1043"/>
                    <a:pt x="1525" y="1043"/>
                    <a:pt x="1518" y="1051"/>
                  </a:cubicBezTo>
                  <a:lnTo>
                    <a:pt x="1510" y="1051"/>
                  </a:lnTo>
                  <a:cubicBezTo>
                    <a:pt x="1502" y="1051"/>
                    <a:pt x="1502" y="1051"/>
                    <a:pt x="1494" y="1059"/>
                  </a:cubicBezTo>
                  <a:lnTo>
                    <a:pt x="1494" y="1059"/>
                  </a:lnTo>
                  <a:cubicBezTo>
                    <a:pt x="1486" y="1067"/>
                    <a:pt x="1486" y="1075"/>
                    <a:pt x="1486" y="1083"/>
                  </a:cubicBezTo>
                  <a:cubicBezTo>
                    <a:pt x="1494" y="1091"/>
                    <a:pt x="1494" y="1098"/>
                    <a:pt x="1486" y="1114"/>
                  </a:cubicBezTo>
                  <a:cubicBezTo>
                    <a:pt x="1478" y="1130"/>
                    <a:pt x="1470" y="1138"/>
                    <a:pt x="1454" y="1138"/>
                  </a:cubicBezTo>
                  <a:cubicBezTo>
                    <a:pt x="1446" y="1138"/>
                    <a:pt x="1438" y="1146"/>
                    <a:pt x="1423" y="1146"/>
                  </a:cubicBezTo>
                  <a:cubicBezTo>
                    <a:pt x="1407" y="1154"/>
                    <a:pt x="1391" y="1170"/>
                    <a:pt x="1375" y="1185"/>
                  </a:cubicBezTo>
                  <a:cubicBezTo>
                    <a:pt x="1360" y="1193"/>
                    <a:pt x="1344" y="1201"/>
                    <a:pt x="1336" y="1209"/>
                  </a:cubicBezTo>
                  <a:cubicBezTo>
                    <a:pt x="1320" y="1209"/>
                    <a:pt x="1312" y="1209"/>
                    <a:pt x="1304" y="1209"/>
                  </a:cubicBezTo>
                  <a:cubicBezTo>
                    <a:pt x="1296" y="1209"/>
                    <a:pt x="1288" y="1201"/>
                    <a:pt x="1280" y="1201"/>
                  </a:cubicBezTo>
                  <a:lnTo>
                    <a:pt x="1280" y="1201"/>
                  </a:lnTo>
                  <a:cubicBezTo>
                    <a:pt x="1257" y="1201"/>
                    <a:pt x="1241" y="1217"/>
                    <a:pt x="1241" y="1225"/>
                  </a:cubicBezTo>
                  <a:cubicBezTo>
                    <a:pt x="1241" y="1233"/>
                    <a:pt x="1241" y="1233"/>
                    <a:pt x="1257" y="1233"/>
                  </a:cubicBezTo>
                  <a:cubicBezTo>
                    <a:pt x="1265" y="1233"/>
                    <a:pt x="1273" y="1233"/>
                    <a:pt x="1280" y="1241"/>
                  </a:cubicBezTo>
                  <a:cubicBezTo>
                    <a:pt x="1296" y="1241"/>
                    <a:pt x="1304" y="1241"/>
                    <a:pt x="1304" y="1249"/>
                  </a:cubicBezTo>
                  <a:lnTo>
                    <a:pt x="1304" y="1257"/>
                  </a:lnTo>
                  <a:cubicBezTo>
                    <a:pt x="1304" y="1265"/>
                    <a:pt x="1304" y="1265"/>
                    <a:pt x="1304" y="1272"/>
                  </a:cubicBezTo>
                  <a:cubicBezTo>
                    <a:pt x="1304" y="1296"/>
                    <a:pt x="1288" y="1320"/>
                    <a:pt x="1265" y="1328"/>
                  </a:cubicBezTo>
                  <a:cubicBezTo>
                    <a:pt x="1257" y="1336"/>
                    <a:pt x="1249" y="1336"/>
                    <a:pt x="1249" y="1336"/>
                  </a:cubicBezTo>
                  <a:cubicBezTo>
                    <a:pt x="1241" y="1336"/>
                    <a:pt x="1241" y="1336"/>
                    <a:pt x="1233" y="1328"/>
                  </a:cubicBezTo>
                  <a:cubicBezTo>
                    <a:pt x="1233" y="1328"/>
                    <a:pt x="1233" y="1320"/>
                    <a:pt x="1233" y="1312"/>
                  </a:cubicBezTo>
                  <a:cubicBezTo>
                    <a:pt x="1225" y="1312"/>
                    <a:pt x="1225" y="1312"/>
                    <a:pt x="1225" y="1312"/>
                  </a:cubicBezTo>
                  <a:cubicBezTo>
                    <a:pt x="1217" y="1304"/>
                    <a:pt x="1217" y="1304"/>
                    <a:pt x="1209" y="1304"/>
                  </a:cubicBezTo>
                  <a:cubicBezTo>
                    <a:pt x="1201" y="1304"/>
                    <a:pt x="1201" y="1304"/>
                    <a:pt x="1185" y="1304"/>
                  </a:cubicBezTo>
                  <a:cubicBezTo>
                    <a:pt x="1178" y="1312"/>
                    <a:pt x="1178" y="1312"/>
                    <a:pt x="1178" y="1312"/>
                  </a:cubicBezTo>
                  <a:cubicBezTo>
                    <a:pt x="1178" y="1312"/>
                    <a:pt x="1185" y="1320"/>
                    <a:pt x="1185" y="1328"/>
                  </a:cubicBezTo>
                  <a:cubicBezTo>
                    <a:pt x="1193" y="1328"/>
                    <a:pt x="1201" y="1336"/>
                    <a:pt x="1201" y="1336"/>
                  </a:cubicBezTo>
                  <a:cubicBezTo>
                    <a:pt x="1209" y="1344"/>
                    <a:pt x="1209" y="1344"/>
                    <a:pt x="1217" y="1351"/>
                  </a:cubicBezTo>
                  <a:cubicBezTo>
                    <a:pt x="1217" y="1351"/>
                    <a:pt x="1225" y="1360"/>
                    <a:pt x="1233" y="1375"/>
                  </a:cubicBezTo>
                  <a:cubicBezTo>
                    <a:pt x="1233" y="1383"/>
                    <a:pt x="1233" y="1383"/>
                    <a:pt x="1225" y="1391"/>
                  </a:cubicBezTo>
                  <a:cubicBezTo>
                    <a:pt x="1225" y="1399"/>
                    <a:pt x="1209" y="1407"/>
                    <a:pt x="1193" y="1407"/>
                  </a:cubicBezTo>
                  <a:cubicBezTo>
                    <a:pt x="1185" y="1407"/>
                    <a:pt x="1185" y="1407"/>
                    <a:pt x="1185" y="1407"/>
                  </a:cubicBezTo>
                  <a:cubicBezTo>
                    <a:pt x="1162" y="1415"/>
                    <a:pt x="1162" y="1438"/>
                    <a:pt x="1170" y="1446"/>
                  </a:cubicBezTo>
                  <a:lnTo>
                    <a:pt x="1170" y="1446"/>
                  </a:lnTo>
                  <a:cubicBezTo>
                    <a:pt x="1178" y="1454"/>
                    <a:pt x="1178" y="1454"/>
                    <a:pt x="1178" y="1454"/>
                  </a:cubicBezTo>
                  <a:lnTo>
                    <a:pt x="1162" y="1454"/>
                  </a:lnTo>
                  <a:close/>
                  <a:moveTo>
                    <a:pt x="174" y="443"/>
                  </a:moveTo>
                  <a:lnTo>
                    <a:pt x="174" y="443"/>
                  </a:lnTo>
                  <a:cubicBezTo>
                    <a:pt x="190" y="443"/>
                    <a:pt x="205" y="466"/>
                    <a:pt x="221" y="498"/>
                  </a:cubicBezTo>
                  <a:cubicBezTo>
                    <a:pt x="229" y="506"/>
                    <a:pt x="229" y="514"/>
                    <a:pt x="237" y="521"/>
                  </a:cubicBezTo>
                  <a:cubicBezTo>
                    <a:pt x="268" y="577"/>
                    <a:pt x="324" y="656"/>
                    <a:pt x="371" y="680"/>
                  </a:cubicBezTo>
                  <a:cubicBezTo>
                    <a:pt x="419" y="695"/>
                    <a:pt x="434" y="703"/>
                    <a:pt x="466" y="751"/>
                  </a:cubicBezTo>
                  <a:cubicBezTo>
                    <a:pt x="498" y="790"/>
                    <a:pt x="521" y="798"/>
                    <a:pt x="553" y="814"/>
                  </a:cubicBezTo>
                  <a:cubicBezTo>
                    <a:pt x="592" y="822"/>
                    <a:pt x="616" y="830"/>
                    <a:pt x="640" y="861"/>
                  </a:cubicBezTo>
                  <a:cubicBezTo>
                    <a:pt x="640" y="869"/>
                    <a:pt x="648" y="877"/>
                    <a:pt x="648" y="885"/>
                  </a:cubicBezTo>
                  <a:cubicBezTo>
                    <a:pt x="664" y="909"/>
                    <a:pt x="672" y="925"/>
                    <a:pt x="703" y="956"/>
                  </a:cubicBezTo>
                  <a:cubicBezTo>
                    <a:pt x="751" y="988"/>
                    <a:pt x="774" y="1004"/>
                    <a:pt x="798" y="1020"/>
                  </a:cubicBezTo>
                  <a:cubicBezTo>
                    <a:pt x="798" y="1027"/>
                    <a:pt x="806" y="1027"/>
                    <a:pt x="806" y="1035"/>
                  </a:cubicBezTo>
                  <a:cubicBezTo>
                    <a:pt x="838" y="1051"/>
                    <a:pt x="885" y="1114"/>
                    <a:pt x="893" y="1138"/>
                  </a:cubicBezTo>
                  <a:cubicBezTo>
                    <a:pt x="893" y="1146"/>
                    <a:pt x="893" y="1154"/>
                    <a:pt x="893" y="1162"/>
                  </a:cubicBezTo>
                  <a:cubicBezTo>
                    <a:pt x="885" y="1185"/>
                    <a:pt x="885" y="1201"/>
                    <a:pt x="901" y="1217"/>
                  </a:cubicBezTo>
                  <a:cubicBezTo>
                    <a:pt x="909" y="1225"/>
                    <a:pt x="917" y="1225"/>
                    <a:pt x="925" y="1233"/>
                  </a:cubicBezTo>
                  <a:cubicBezTo>
                    <a:pt x="940" y="1233"/>
                    <a:pt x="956" y="1241"/>
                    <a:pt x="964" y="1257"/>
                  </a:cubicBezTo>
                  <a:cubicBezTo>
                    <a:pt x="972" y="1265"/>
                    <a:pt x="980" y="1280"/>
                    <a:pt x="988" y="1288"/>
                  </a:cubicBezTo>
                  <a:cubicBezTo>
                    <a:pt x="1004" y="1312"/>
                    <a:pt x="1012" y="1336"/>
                    <a:pt x="1027" y="1344"/>
                  </a:cubicBezTo>
                  <a:cubicBezTo>
                    <a:pt x="1035" y="1344"/>
                    <a:pt x="1035" y="1360"/>
                    <a:pt x="1027" y="1375"/>
                  </a:cubicBezTo>
                  <a:cubicBezTo>
                    <a:pt x="1020" y="1399"/>
                    <a:pt x="1020" y="1423"/>
                    <a:pt x="1035" y="1431"/>
                  </a:cubicBezTo>
                  <a:cubicBezTo>
                    <a:pt x="1059" y="1446"/>
                    <a:pt x="1130" y="1446"/>
                    <a:pt x="1162" y="1446"/>
                  </a:cubicBezTo>
                  <a:lnTo>
                    <a:pt x="1162" y="1446"/>
                  </a:lnTo>
                  <a:cubicBezTo>
                    <a:pt x="1154" y="1438"/>
                    <a:pt x="1154" y="1407"/>
                    <a:pt x="1178" y="1399"/>
                  </a:cubicBezTo>
                  <a:cubicBezTo>
                    <a:pt x="1185" y="1399"/>
                    <a:pt x="1185" y="1399"/>
                    <a:pt x="1193" y="1399"/>
                  </a:cubicBezTo>
                  <a:cubicBezTo>
                    <a:pt x="1201" y="1399"/>
                    <a:pt x="1217" y="1391"/>
                    <a:pt x="1225" y="1391"/>
                  </a:cubicBezTo>
                  <a:cubicBezTo>
                    <a:pt x="1225" y="1383"/>
                    <a:pt x="1225" y="1383"/>
                    <a:pt x="1225" y="1375"/>
                  </a:cubicBezTo>
                  <a:cubicBezTo>
                    <a:pt x="1217" y="1360"/>
                    <a:pt x="1217" y="1360"/>
                    <a:pt x="1209" y="1351"/>
                  </a:cubicBezTo>
                  <a:cubicBezTo>
                    <a:pt x="1209" y="1351"/>
                    <a:pt x="1201" y="1351"/>
                    <a:pt x="1193" y="1344"/>
                  </a:cubicBezTo>
                  <a:cubicBezTo>
                    <a:pt x="1193" y="1336"/>
                    <a:pt x="1185" y="1336"/>
                    <a:pt x="1185" y="1328"/>
                  </a:cubicBezTo>
                  <a:cubicBezTo>
                    <a:pt x="1178" y="1320"/>
                    <a:pt x="1170" y="1320"/>
                    <a:pt x="1170" y="1312"/>
                  </a:cubicBezTo>
                  <a:cubicBezTo>
                    <a:pt x="1170" y="1304"/>
                    <a:pt x="1178" y="1304"/>
                    <a:pt x="1185" y="1296"/>
                  </a:cubicBezTo>
                  <a:cubicBezTo>
                    <a:pt x="1193" y="1296"/>
                    <a:pt x="1201" y="1296"/>
                    <a:pt x="1209" y="1296"/>
                  </a:cubicBezTo>
                  <a:cubicBezTo>
                    <a:pt x="1217" y="1296"/>
                    <a:pt x="1225" y="1296"/>
                    <a:pt x="1233" y="1312"/>
                  </a:cubicBezTo>
                  <a:lnTo>
                    <a:pt x="1233" y="1312"/>
                  </a:lnTo>
                  <a:cubicBezTo>
                    <a:pt x="1241" y="1320"/>
                    <a:pt x="1241" y="1320"/>
                    <a:pt x="1241" y="1328"/>
                  </a:cubicBezTo>
                  <a:lnTo>
                    <a:pt x="1249" y="1328"/>
                  </a:lnTo>
                  <a:lnTo>
                    <a:pt x="1257" y="1328"/>
                  </a:lnTo>
                  <a:cubicBezTo>
                    <a:pt x="1280" y="1312"/>
                    <a:pt x="1296" y="1296"/>
                    <a:pt x="1296" y="1272"/>
                  </a:cubicBezTo>
                  <a:cubicBezTo>
                    <a:pt x="1296" y="1265"/>
                    <a:pt x="1296" y="1265"/>
                    <a:pt x="1296" y="1257"/>
                  </a:cubicBezTo>
                  <a:lnTo>
                    <a:pt x="1296" y="1249"/>
                  </a:lnTo>
                  <a:cubicBezTo>
                    <a:pt x="1296" y="1249"/>
                    <a:pt x="1288" y="1249"/>
                    <a:pt x="1280" y="1249"/>
                  </a:cubicBezTo>
                  <a:cubicBezTo>
                    <a:pt x="1273" y="1241"/>
                    <a:pt x="1265" y="1241"/>
                    <a:pt x="1257" y="1241"/>
                  </a:cubicBezTo>
                  <a:cubicBezTo>
                    <a:pt x="1241" y="1241"/>
                    <a:pt x="1233" y="1241"/>
                    <a:pt x="1233" y="1225"/>
                  </a:cubicBezTo>
                  <a:cubicBezTo>
                    <a:pt x="1233" y="1217"/>
                    <a:pt x="1257" y="1193"/>
                    <a:pt x="1280" y="1193"/>
                  </a:cubicBezTo>
                  <a:cubicBezTo>
                    <a:pt x="1280" y="1193"/>
                    <a:pt x="1280" y="1193"/>
                    <a:pt x="1288" y="1193"/>
                  </a:cubicBezTo>
                  <a:cubicBezTo>
                    <a:pt x="1296" y="1201"/>
                    <a:pt x="1296" y="1201"/>
                    <a:pt x="1304" y="1201"/>
                  </a:cubicBezTo>
                  <a:cubicBezTo>
                    <a:pt x="1312" y="1201"/>
                    <a:pt x="1320" y="1209"/>
                    <a:pt x="1328" y="1201"/>
                  </a:cubicBezTo>
                  <a:cubicBezTo>
                    <a:pt x="1336" y="1193"/>
                    <a:pt x="1351" y="1185"/>
                    <a:pt x="1367" y="1178"/>
                  </a:cubicBezTo>
                  <a:cubicBezTo>
                    <a:pt x="1383" y="1162"/>
                    <a:pt x="1407" y="1146"/>
                    <a:pt x="1423" y="1146"/>
                  </a:cubicBezTo>
                  <a:cubicBezTo>
                    <a:pt x="1431" y="1138"/>
                    <a:pt x="1438" y="1138"/>
                    <a:pt x="1454" y="1130"/>
                  </a:cubicBezTo>
                  <a:cubicBezTo>
                    <a:pt x="1462" y="1130"/>
                    <a:pt x="1478" y="1122"/>
                    <a:pt x="1478" y="1107"/>
                  </a:cubicBezTo>
                  <a:cubicBezTo>
                    <a:pt x="1486" y="1098"/>
                    <a:pt x="1486" y="1091"/>
                    <a:pt x="1486" y="1083"/>
                  </a:cubicBezTo>
                  <a:cubicBezTo>
                    <a:pt x="1478" y="1075"/>
                    <a:pt x="1478" y="1067"/>
                    <a:pt x="1486" y="1059"/>
                  </a:cubicBezTo>
                  <a:cubicBezTo>
                    <a:pt x="1494" y="1051"/>
                    <a:pt x="1494" y="1051"/>
                    <a:pt x="1494" y="1051"/>
                  </a:cubicBezTo>
                  <a:cubicBezTo>
                    <a:pt x="1494" y="1043"/>
                    <a:pt x="1502" y="1043"/>
                    <a:pt x="1510" y="1043"/>
                  </a:cubicBezTo>
                  <a:lnTo>
                    <a:pt x="1518" y="1043"/>
                  </a:lnTo>
                  <a:cubicBezTo>
                    <a:pt x="1525" y="1043"/>
                    <a:pt x="1533" y="1043"/>
                    <a:pt x="1533" y="1043"/>
                  </a:cubicBezTo>
                  <a:lnTo>
                    <a:pt x="1533" y="1043"/>
                  </a:lnTo>
                  <a:cubicBezTo>
                    <a:pt x="1541" y="1043"/>
                    <a:pt x="1541" y="1043"/>
                    <a:pt x="1541" y="1027"/>
                  </a:cubicBezTo>
                  <a:cubicBezTo>
                    <a:pt x="1541" y="1012"/>
                    <a:pt x="1557" y="1004"/>
                    <a:pt x="1565" y="996"/>
                  </a:cubicBezTo>
                  <a:cubicBezTo>
                    <a:pt x="1581" y="980"/>
                    <a:pt x="1589" y="972"/>
                    <a:pt x="1589" y="964"/>
                  </a:cubicBezTo>
                  <a:cubicBezTo>
                    <a:pt x="1589" y="956"/>
                    <a:pt x="1589" y="948"/>
                    <a:pt x="1589" y="940"/>
                  </a:cubicBezTo>
                  <a:cubicBezTo>
                    <a:pt x="1581" y="925"/>
                    <a:pt x="1581" y="917"/>
                    <a:pt x="1589" y="909"/>
                  </a:cubicBezTo>
                  <a:lnTo>
                    <a:pt x="1597" y="909"/>
                  </a:lnTo>
                  <a:cubicBezTo>
                    <a:pt x="1613" y="909"/>
                    <a:pt x="1620" y="909"/>
                    <a:pt x="1628" y="909"/>
                  </a:cubicBezTo>
                  <a:cubicBezTo>
                    <a:pt x="1628" y="917"/>
                    <a:pt x="1636" y="917"/>
                    <a:pt x="1644" y="917"/>
                  </a:cubicBezTo>
                  <a:cubicBezTo>
                    <a:pt x="1644" y="917"/>
                    <a:pt x="1652" y="917"/>
                    <a:pt x="1660" y="901"/>
                  </a:cubicBezTo>
                  <a:cubicBezTo>
                    <a:pt x="1660" y="893"/>
                    <a:pt x="1668" y="885"/>
                    <a:pt x="1668" y="877"/>
                  </a:cubicBezTo>
                  <a:cubicBezTo>
                    <a:pt x="1668" y="861"/>
                    <a:pt x="1676" y="854"/>
                    <a:pt x="1684" y="845"/>
                  </a:cubicBezTo>
                  <a:cubicBezTo>
                    <a:pt x="1699" y="838"/>
                    <a:pt x="1699" y="822"/>
                    <a:pt x="1707" y="814"/>
                  </a:cubicBezTo>
                  <a:cubicBezTo>
                    <a:pt x="1707" y="798"/>
                    <a:pt x="1707" y="790"/>
                    <a:pt x="1699" y="782"/>
                  </a:cubicBezTo>
                  <a:cubicBezTo>
                    <a:pt x="1691" y="782"/>
                    <a:pt x="1691" y="774"/>
                    <a:pt x="1684" y="774"/>
                  </a:cubicBezTo>
                  <a:cubicBezTo>
                    <a:pt x="1684" y="767"/>
                    <a:pt x="1676" y="767"/>
                    <a:pt x="1684" y="759"/>
                  </a:cubicBezTo>
                  <a:cubicBezTo>
                    <a:pt x="1684" y="759"/>
                    <a:pt x="1684" y="759"/>
                    <a:pt x="1691" y="759"/>
                  </a:cubicBezTo>
                  <a:cubicBezTo>
                    <a:pt x="1699" y="759"/>
                    <a:pt x="1699" y="759"/>
                    <a:pt x="1707" y="759"/>
                  </a:cubicBezTo>
                  <a:lnTo>
                    <a:pt x="1707" y="759"/>
                  </a:lnTo>
                  <a:cubicBezTo>
                    <a:pt x="1715" y="759"/>
                    <a:pt x="1715" y="759"/>
                    <a:pt x="1715" y="759"/>
                  </a:cubicBezTo>
                  <a:cubicBezTo>
                    <a:pt x="1715" y="759"/>
                    <a:pt x="1715" y="751"/>
                    <a:pt x="1715" y="743"/>
                  </a:cubicBezTo>
                  <a:cubicBezTo>
                    <a:pt x="1707" y="711"/>
                    <a:pt x="1826" y="482"/>
                    <a:pt x="1850" y="474"/>
                  </a:cubicBezTo>
                  <a:cubicBezTo>
                    <a:pt x="1857" y="474"/>
                    <a:pt x="1865" y="466"/>
                    <a:pt x="1873" y="458"/>
                  </a:cubicBezTo>
                  <a:cubicBezTo>
                    <a:pt x="1873" y="458"/>
                    <a:pt x="1881" y="450"/>
                    <a:pt x="1889" y="443"/>
                  </a:cubicBezTo>
                  <a:cubicBezTo>
                    <a:pt x="1407" y="79"/>
                    <a:pt x="1407" y="79"/>
                    <a:pt x="1407" y="79"/>
                  </a:cubicBezTo>
                  <a:cubicBezTo>
                    <a:pt x="964" y="150"/>
                    <a:pt x="964" y="150"/>
                    <a:pt x="964" y="150"/>
                  </a:cubicBezTo>
                  <a:lnTo>
                    <a:pt x="964" y="150"/>
                  </a:lnTo>
                  <a:cubicBezTo>
                    <a:pt x="964" y="150"/>
                    <a:pt x="940" y="71"/>
                    <a:pt x="925" y="55"/>
                  </a:cubicBezTo>
                  <a:cubicBezTo>
                    <a:pt x="917" y="47"/>
                    <a:pt x="909" y="47"/>
                    <a:pt x="893" y="47"/>
                  </a:cubicBezTo>
                  <a:cubicBezTo>
                    <a:pt x="885" y="47"/>
                    <a:pt x="885" y="47"/>
                    <a:pt x="877" y="47"/>
                  </a:cubicBezTo>
                  <a:cubicBezTo>
                    <a:pt x="869" y="47"/>
                    <a:pt x="861" y="47"/>
                    <a:pt x="854" y="47"/>
                  </a:cubicBezTo>
                  <a:cubicBezTo>
                    <a:pt x="830" y="39"/>
                    <a:pt x="822" y="39"/>
                    <a:pt x="822" y="31"/>
                  </a:cubicBezTo>
                  <a:cubicBezTo>
                    <a:pt x="822" y="31"/>
                    <a:pt x="822" y="23"/>
                    <a:pt x="822" y="15"/>
                  </a:cubicBezTo>
                  <a:cubicBezTo>
                    <a:pt x="822" y="15"/>
                    <a:pt x="822" y="15"/>
                    <a:pt x="822" y="8"/>
                  </a:cubicBezTo>
                  <a:cubicBezTo>
                    <a:pt x="822" y="8"/>
                    <a:pt x="822" y="8"/>
                    <a:pt x="806" y="8"/>
                  </a:cubicBezTo>
                  <a:cubicBezTo>
                    <a:pt x="727" y="8"/>
                    <a:pt x="434" y="47"/>
                    <a:pt x="411" y="55"/>
                  </a:cubicBezTo>
                  <a:cubicBezTo>
                    <a:pt x="379" y="55"/>
                    <a:pt x="237" y="126"/>
                    <a:pt x="181" y="158"/>
                  </a:cubicBezTo>
                  <a:cubicBezTo>
                    <a:pt x="174" y="166"/>
                    <a:pt x="166" y="174"/>
                    <a:pt x="150" y="181"/>
                  </a:cubicBezTo>
                  <a:cubicBezTo>
                    <a:pt x="134" y="197"/>
                    <a:pt x="118" y="205"/>
                    <a:pt x="87" y="213"/>
                  </a:cubicBezTo>
                  <a:cubicBezTo>
                    <a:pt x="87" y="221"/>
                    <a:pt x="79" y="229"/>
                    <a:pt x="79" y="229"/>
                  </a:cubicBezTo>
                  <a:cubicBezTo>
                    <a:pt x="79" y="237"/>
                    <a:pt x="71" y="237"/>
                    <a:pt x="71" y="245"/>
                  </a:cubicBezTo>
                  <a:cubicBezTo>
                    <a:pt x="47" y="253"/>
                    <a:pt x="15" y="276"/>
                    <a:pt x="15" y="300"/>
                  </a:cubicBezTo>
                  <a:cubicBezTo>
                    <a:pt x="15" y="308"/>
                    <a:pt x="15" y="308"/>
                    <a:pt x="15" y="308"/>
                  </a:cubicBezTo>
                  <a:cubicBezTo>
                    <a:pt x="15" y="332"/>
                    <a:pt x="8" y="371"/>
                    <a:pt x="23" y="379"/>
                  </a:cubicBezTo>
                  <a:cubicBezTo>
                    <a:pt x="23" y="379"/>
                    <a:pt x="31" y="379"/>
                    <a:pt x="31" y="387"/>
                  </a:cubicBezTo>
                  <a:cubicBezTo>
                    <a:pt x="55" y="403"/>
                    <a:pt x="102" y="427"/>
                    <a:pt x="110" y="443"/>
                  </a:cubicBezTo>
                  <a:cubicBezTo>
                    <a:pt x="118" y="450"/>
                    <a:pt x="126" y="450"/>
                    <a:pt x="126" y="450"/>
                  </a:cubicBezTo>
                  <a:cubicBezTo>
                    <a:pt x="134" y="450"/>
                    <a:pt x="142" y="450"/>
                    <a:pt x="150" y="450"/>
                  </a:cubicBezTo>
                  <a:cubicBezTo>
                    <a:pt x="158" y="450"/>
                    <a:pt x="166" y="443"/>
                    <a:pt x="174" y="443"/>
                  </a:cubicBezTo>
                  <a:close/>
                </a:path>
              </a:pathLst>
            </a:custGeom>
            <a:solidFill>
              <a:schemeClr val="accent6"/>
            </a:solidFill>
            <a:ln>
              <a:solidFill>
                <a:schemeClr val="bg2"/>
              </a:solidFill>
            </a:ln>
            <a:effectLst/>
          </p:spPr>
          <p:txBody>
            <a:bodyPr wrap="none" anchor="ctr"/>
            <a:lstStyle/>
            <a:p>
              <a:endParaRPr lang="en-US"/>
            </a:p>
          </p:txBody>
        </p:sp>
        <p:sp>
          <p:nvSpPr>
            <p:cNvPr id="54" name="Freeform 409"/>
            <p:cNvSpPr>
              <a:spLocks noChangeArrowheads="1"/>
            </p:cNvSpPr>
            <p:nvPr/>
          </p:nvSpPr>
          <p:spPr bwMode="auto">
            <a:xfrm>
              <a:off x="5678852" y="4030092"/>
              <a:ext cx="755364" cy="662393"/>
            </a:xfrm>
            <a:custGeom>
              <a:avLst/>
              <a:gdLst>
                <a:gd name="T0" fmla="*/ 1921 w 2096"/>
                <a:gd name="T1" fmla="*/ 1218 h 2120"/>
                <a:gd name="T2" fmla="*/ 1850 w 2096"/>
                <a:gd name="T3" fmla="*/ 1052 h 2120"/>
                <a:gd name="T4" fmla="*/ 1771 w 2096"/>
                <a:gd name="T5" fmla="*/ 925 h 2120"/>
                <a:gd name="T6" fmla="*/ 1589 w 2096"/>
                <a:gd name="T7" fmla="*/ 743 h 2120"/>
                <a:gd name="T8" fmla="*/ 1439 w 2096"/>
                <a:gd name="T9" fmla="*/ 601 h 2120"/>
                <a:gd name="T10" fmla="*/ 1257 w 2096"/>
                <a:gd name="T11" fmla="*/ 467 h 2120"/>
                <a:gd name="T12" fmla="*/ 1060 w 2096"/>
                <a:gd name="T13" fmla="*/ 237 h 2120"/>
                <a:gd name="T14" fmla="*/ 909 w 2096"/>
                <a:gd name="T15" fmla="*/ 166 h 2120"/>
                <a:gd name="T16" fmla="*/ 965 w 2096"/>
                <a:gd name="T17" fmla="*/ 16 h 2120"/>
                <a:gd name="T18" fmla="*/ 933 w 2096"/>
                <a:gd name="T19" fmla="*/ 0 h 2120"/>
                <a:gd name="T20" fmla="*/ 356 w 2096"/>
                <a:gd name="T21" fmla="*/ 1241 h 2120"/>
                <a:gd name="T22" fmla="*/ 403 w 2096"/>
                <a:gd name="T23" fmla="*/ 1320 h 2120"/>
                <a:gd name="T24" fmla="*/ 403 w 2096"/>
                <a:gd name="T25" fmla="*/ 1407 h 2120"/>
                <a:gd name="T26" fmla="*/ 380 w 2096"/>
                <a:gd name="T27" fmla="*/ 1518 h 2120"/>
                <a:gd name="T28" fmla="*/ 419 w 2096"/>
                <a:gd name="T29" fmla="*/ 1692 h 2120"/>
                <a:gd name="T30" fmla="*/ 459 w 2096"/>
                <a:gd name="T31" fmla="*/ 1969 h 2120"/>
                <a:gd name="T32" fmla="*/ 1597 w 2096"/>
                <a:gd name="T33" fmla="*/ 2016 h 2120"/>
                <a:gd name="T34" fmla="*/ 1645 w 2096"/>
                <a:gd name="T35" fmla="*/ 2103 h 2120"/>
                <a:gd name="T36" fmla="*/ 1692 w 2096"/>
                <a:gd name="T37" fmla="*/ 1961 h 2120"/>
                <a:gd name="T38" fmla="*/ 1898 w 2096"/>
                <a:gd name="T39" fmla="*/ 1897 h 2120"/>
                <a:gd name="T40" fmla="*/ 1890 w 2096"/>
                <a:gd name="T41" fmla="*/ 1834 h 2120"/>
                <a:gd name="T42" fmla="*/ 1898 w 2096"/>
                <a:gd name="T43" fmla="*/ 1716 h 2120"/>
                <a:gd name="T44" fmla="*/ 1953 w 2096"/>
                <a:gd name="T45" fmla="*/ 1621 h 2120"/>
                <a:gd name="T46" fmla="*/ 1937 w 2096"/>
                <a:gd name="T47" fmla="*/ 1565 h 2120"/>
                <a:gd name="T48" fmla="*/ 1929 w 2096"/>
                <a:gd name="T49" fmla="*/ 1510 h 2120"/>
                <a:gd name="T50" fmla="*/ 1969 w 2096"/>
                <a:gd name="T51" fmla="*/ 1455 h 2120"/>
                <a:gd name="T52" fmla="*/ 1937 w 2096"/>
                <a:gd name="T53" fmla="*/ 1415 h 2120"/>
                <a:gd name="T54" fmla="*/ 1993 w 2096"/>
                <a:gd name="T55" fmla="*/ 1352 h 2120"/>
                <a:gd name="T56" fmla="*/ 2008 w 2096"/>
                <a:gd name="T57" fmla="*/ 1320 h 2120"/>
                <a:gd name="T58" fmla="*/ 2024 w 2096"/>
                <a:gd name="T59" fmla="*/ 1289 h 2120"/>
                <a:gd name="T60" fmla="*/ 2079 w 2096"/>
                <a:gd name="T61" fmla="*/ 1257 h 2120"/>
                <a:gd name="T62" fmla="*/ 1921 w 2096"/>
                <a:gd name="T63" fmla="*/ 1218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96" h="2120">
                  <a:moveTo>
                    <a:pt x="1921" y="1218"/>
                  </a:moveTo>
                  <a:lnTo>
                    <a:pt x="1921" y="1218"/>
                  </a:lnTo>
                  <a:cubicBezTo>
                    <a:pt x="1882" y="1202"/>
                    <a:pt x="1929" y="1138"/>
                    <a:pt x="1913" y="1131"/>
                  </a:cubicBezTo>
                  <a:cubicBezTo>
                    <a:pt x="1890" y="1123"/>
                    <a:pt x="1874" y="1075"/>
                    <a:pt x="1850" y="1052"/>
                  </a:cubicBezTo>
                  <a:cubicBezTo>
                    <a:pt x="1834" y="1020"/>
                    <a:pt x="1811" y="1020"/>
                    <a:pt x="1787" y="1004"/>
                  </a:cubicBezTo>
                  <a:cubicBezTo>
                    <a:pt x="1763" y="988"/>
                    <a:pt x="1771" y="949"/>
                    <a:pt x="1771" y="925"/>
                  </a:cubicBezTo>
                  <a:cubicBezTo>
                    <a:pt x="1771" y="901"/>
                    <a:pt x="1724" y="838"/>
                    <a:pt x="1692" y="822"/>
                  </a:cubicBezTo>
                  <a:cubicBezTo>
                    <a:pt x="1660" y="799"/>
                    <a:pt x="1645" y="791"/>
                    <a:pt x="1589" y="743"/>
                  </a:cubicBezTo>
                  <a:cubicBezTo>
                    <a:pt x="1542" y="704"/>
                    <a:pt x="1542" y="680"/>
                    <a:pt x="1518" y="648"/>
                  </a:cubicBezTo>
                  <a:cubicBezTo>
                    <a:pt x="1502" y="625"/>
                    <a:pt x="1471" y="617"/>
                    <a:pt x="1439" y="601"/>
                  </a:cubicBezTo>
                  <a:cubicBezTo>
                    <a:pt x="1407" y="593"/>
                    <a:pt x="1384" y="577"/>
                    <a:pt x="1352" y="538"/>
                  </a:cubicBezTo>
                  <a:cubicBezTo>
                    <a:pt x="1320" y="498"/>
                    <a:pt x="1305" y="490"/>
                    <a:pt x="1257" y="467"/>
                  </a:cubicBezTo>
                  <a:cubicBezTo>
                    <a:pt x="1202" y="451"/>
                    <a:pt x="1147" y="364"/>
                    <a:pt x="1123" y="316"/>
                  </a:cubicBezTo>
                  <a:cubicBezTo>
                    <a:pt x="1091" y="269"/>
                    <a:pt x="1076" y="237"/>
                    <a:pt x="1060" y="237"/>
                  </a:cubicBezTo>
                  <a:cubicBezTo>
                    <a:pt x="1036" y="237"/>
                    <a:pt x="1012" y="261"/>
                    <a:pt x="996" y="237"/>
                  </a:cubicBezTo>
                  <a:cubicBezTo>
                    <a:pt x="981" y="214"/>
                    <a:pt x="925" y="182"/>
                    <a:pt x="909" y="166"/>
                  </a:cubicBezTo>
                  <a:cubicBezTo>
                    <a:pt x="886" y="158"/>
                    <a:pt x="894" y="119"/>
                    <a:pt x="901" y="87"/>
                  </a:cubicBezTo>
                  <a:cubicBezTo>
                    <a:pt x="901" y="55"/>
                    <a:pt x="957" y="24"/>
                    <a:pt x="965" y="16"/>
                  </a:cubicBezTo>
                  <a:cubicBezTo>
                    <a:pt x="965" y="16"/>
                    <a:pt x="965" y="8"/>
                    <a:pt x="965" y="0"/>
                  </a:cubicBezTo>
                  <a:cubicBezTo>
                    <a:pt x="957" y="0"/>
                    <a:pt x="949" y="0"/>
                    <a:pt x="933" y="0"/>
                  </a:cubicBezTo>
                  <a:cubicBezTo>
                    <a:pt x="894" y="8"/>
                    <a:pt x="498" y="55"/>
                    <a:pt x="0" y="111"/>
                  </a:cubicBezTo>
                  <a:cubicBezTo>
                    <a:pt x="356" y="1241"/>
                    <a:pt x="356" y="1241"/>
                    <a:pt x="356" y="1241"/>
                  </a:cubicBezTo>
                  <a:cubicBezTo>
                    <a:pt x="356" y="1241"/>
                    <a:pt x="388" y="1249"/>
                    <a:pt x="396" y="1257"/>
                  </a:cubicBezTo>
                  <a:cubicBezTo>
                    <a:pt x="411" y="1265"/>
                    <a:pt x="396" y="1289"/>
                    <a:pt x="403" y="1320"/>
                  </a:cubicBezTo>
                  <a:cubicBezTo>
                    <a:pt x="419" y="1344"/>
                    <a:pt x="435" y="1336"/>
                    <a:pt x="435" y="1360"/>
                  </a:cubicBezTo>
                  <a:cubicBezTo>
                    <a:pt x="435" y="1384"/>
                    <a:pt x="427" y="1399"/>
                    <a:pt x="403" y="1407"/>
                  </a:cubicBezTo>
                  <a:cubicBezTo>
                    <a:pt x="388" y="1415"/>
                    <a:pt x="372" y="1431"/>
                    <a:pt x="380" y="1447"/>
                  </a:cubicBezTo>
                  <a:cubicBezTo>
                    <a:pt x="396" y="1463"/>
                    <a:pt x="396" y="1502"/>
                    <a:pt x="380" y="1518"/>
                  </a:cubicBezTo>
                  <a:cubicBezTo>
                    <a:pt x="364" y="1534"/>
                    <a:pt x="356" y="1597"/>
                    <a:pt x="364" y="1613"/>
                  </a:cubicBezTo>
                  <a:cubicBezTo>
                    <a:pt x="380" y="1629"/>
                    <a:pt x="419" y="1660"/>
                    <a:pt x="419" y="1692"/>
                  </a:cubicBezTo>
                  <a:cubicBezTo>
                    <a:pt x="419" y="1731"/>
                    <a:pt x="403" y="1818"/>
                    <a:pt x="403" y="1842"/>
                  </a:cubicBezTo>
                  <a:cubicBezTo>
                    <a:pt x="411" y="1858"/>
                    <a:pt x="459" y="1945"/>
                    <a:pt x="459" y="1969"/>
                  </a:cubicBezTo>
                  <a:cubicBezTo>
                    <a:pt x="459" y="1969"/>
                    <a:pt x="538" y="2095"/>
                    <a:pt x="546" y="2095"/>
                  </a:cubicBezTo>
                  <a:cubicBezTo>
                    <a:pt x="561" y="2095"/>
                    <a:pt x="1597" y="2016"/>
                    <a:pt x="1597" y="2016"/>
                  </a:cubicBezTo>
                  <a:cubicBezTo>
                    <a:pt x="1597" y="2016"/>
                    <a:pt x="1605" y="2016"/>
                    <a:pt x="1613" y="2040"/>
                  </a:cubicBezTo>
                  <a:cubicBezTo>
                    <a:pt x="1621" y="2063"/>
                    <a:pt x="1613" y="2103"/>
                    <a:pt x="1645" y="2103"/>
                  </a:cubicBezTo>
                  <a:cubicBezTo>
                    <a:pt x="1676" y="2111"/>
                    <a:pt x="1692" y="2119"/>
                    <a:pt x="1692" y="2079"/>
                  </a:cubicBezTo>
                  <a:cubicBezTo>
                    <a:pt x="1692" y="2040"/>
                    <a:pt x="1708" y="1992"/>
                    <a:pt x="1692" y="1961"/>
                  </a:cubicBezTo>
                  <a:cubicBezTo>
                    <a:pt x="1668" y="1929"/>
                    <a:pt x="1660" y="1905"/>
                    <a:pt x="1684" y="1897"/>
                  </a:cubicBezTo>
                  <a:cubicBezTo>
                    <a:pt x="1708" y="1882"/>
                    <a:pt x="1882" y="1937"/>
                    <a:pt x="1898" y="1897"/>
                  </a:cubicBezTo>
                  <a:cubicBezTo>
                    <a:pt x="1898" y="1889"/>
                    <a:pt x="1898" y="1889"/>
                    <a:pt x="1906" y="1889"/>
                  </a:cubicBezTo>
                  <a:cubicBezTo>
                    <a:pt x="1882" y="1874"/>
                    <a:pt x="1882" y="1866"/>
                    <a:pt x="1890" y="1834"/>
                  </a:cubicBezTo>
                  <a:cubicBezTo>
                    <a:pt x="1890" y="1795"/>
                    <a:pt x="1898" y="1787"/>
                    <a:pt x="1882" y="1763"/>
                  </a:cubicBezTo>
                  <a:cubicBezTo>
                    <a:pt x="1866" y="1739"/>
                    <a:pt x="1913" y="1731"/>
                    <a:pt x="1898" y="1716"/>
                  </a:cubicBezTo>
                  <a:cubicBezTo>
                    <a:pt x="1882" y="1700"/>
                    <a:pt x="1890" y="1684"/>
                    <a:pt x="1913" y="1676"/>
                  </a:cubicBezTo>
                  <a:cubicBezTo>
                    <a:pt x="1945" y="1676"/>
                    <a:pt x="1969" y="1637"/>
                    <a:pt x="1953" y="1621"/>
                  </a:cubicBezTo>
                  <a:cubicBezTo>
                    <a:pt x="1929" y="1613"/>
                    <a:pt x="1913" y="1637"/>
                    <a:pt x="1921" y="1605"/>
                  </a:cubicBezTo>
                  <a:cubicBezTo>
                    <a:pt x="1929" y="1573"/>
                    <a:pt x="1913" y="1573"/>
                    <a:pt x="1937" y="1565"/>
                  </a:cubicBezTo>
                  <a:cubicBezTo>
                    <a:pt x="1953" y="1558"/>
                    <a:pt x="1977" y="1542"/>
                    <a:pt x="1961" y="1526"/>
                  </a:cubicBezTo>
                  <a:cubicBezTo>
                    <a:pt x="1953" y="1510"/>
                    <a:pt x="1945" y="1510"/>
                    <a:pt x="1929" y="1510"/>
                  </a:cubicBezTo>
                  <a:cubicBezTo>
                    <a:pt x="1921" y="1502"/>
                    <a:pt x="1913" y="1486"/>
                    <a:pt x="1929" y="1478"/>
                  </a:cubicBezTo>
                  <a:cubicBezTo>
                    <a:pt x="1945" y="1471"/>
                    <a:pt x="1961" y="1478"/>
                    <a:pt x="1969" y="1455"/>
                  </a:cubicBezTo>
                  <a:cubicBezTo>
                    <a:pt x="1977" y="1431"/>
                    <a:pt x="1969" y="1423"/>
                    <a:pt x="1953" y="1423"/>
                  </a:cubicBezTo>
                  <a:cubicBezTo>
                    <a:pt x="1937" y="1423"/>
                    <a:pt x="1921" y="1431"/>
                    <a:pt x="1937" y="1415"/>
                  </a:cubicBezTo>
                  <a:cubicBezTo>
                    <a:pt x="1953" y="1407"/>
                    <a:pt x="1977" y="1407"/>
                    <a:pt x="1984" y="1391"/>
                  </a:cubicBezTo>
                  <a:cubicBezTo>
                    <a:pt x="2000" y="1376"/>
                    <a:pt x="2016" y="1360"/>
                    <a:pt x="1993" y="1352"/>
                  </a:cubicBezTo>
                  <a:cubicBezTo>
                    <a:pt x="1961" y="1344"/>
                    <a:pt x="1945" y="1344"/>
                    <a:pt x="1953" y="1336"/>
                  </a:cubicBezTo>
                  <a:cubicBezTo>
                    <a:pt x="1969" y="1328"/>
                    <a:pt x="1993" y="1320"/>
                    <a:pt x="2008" y="1320"/>
                  </a:cubicBezTo>
                  <a:cubicBezTo>
                    <a:pt x="2016" y="1328"/>
                    <a:pt x="2032" y="1328"/>
                    <a:pt x="2024" y="1320"/>
                  </a:cubicBezTo>
                  <a:cubicBezTo>
                    <a:pt x="2016" y="1305"/>
                    <a:pt x="2008" y="1289"/>
                    <a:pt x="2024" y="1289"/>
                  </a:cubicBezTo>
                  <a:cubicBezTo>
                    <a:pt x="2040" y="1289"/>
                    <a:pt x="2056" y="1289"/>
                    <a:pt x="2048" y="1281"/>
                  </a:cubicBezTo>
                  <a:cubicBezTo>
                    <a:pt x="2040" y="1273"/>
                    <a:pt x="2095" y="1273"/>
                    <a:pt x="2079" y="1257"/>
                  </a:cubicBezTo>
                  <a:cubicBezTo>
                    <a:pt x="2071" y="1241"/>
                    <a:pt x="2056" y="1241"/>
                    <a:pt x="2048" y="1241"/>
                  </a:cubicBezTo>
                  <a:cubicBezTo>
                    <a:pt x="2024" y="1241"/>
                    <a:pt x="1945" y="1233"/>
                    <a:pt x="1921" y="1218"/>
                  </a:cubicBezTo>
                </a:path>
              </a:pathLst>
            </a:custGeom>
            <a:solidFill>
              <a:schemeClr val="accent5"/>
            </a:solidFill>
            <a:ln>
              <a:solidFill>
                <a:schemeClr val="bg2"/>
              </a:solidFill>
            </a:ln>
            <a:effectLst/>
          </p:spPr>
          <p:txBody>
            <a:bodyPr wrap="none" anchor="ctr"/>
            <a:lstStyle/>
            <a:p>
              <a:endParaRPr lang="en-US"/>
            </a:p>
          </p:txBody>
        </p:sp>
        <p:sp>
          <p:nvSpPr>
            <p:cNvPr id="55" name="Freeform 410"/>
            <p:cNvSpPr>
              <a:spLocks noChangeArrowheads="1"/>
            </p:cNvSpPr>
            <p:nvPr/>
          </p:nvSpPr>
          <p:spPr bwMode="auto">
            <a:xfrm>
              <a:off x="5675672" y="4027338"/>
              <a:ext cx="755364" cy="662393"/>
            </a:xfrm>
            <a:custGeom>
              <a:avLst/>
              <a:gdLst>
                <a:gd name="T0" fmla="*/ 1621 w 2096"/>
                <a:gd name="T1" fmla="*/ 2071 h 2120"/>
                <a:gd name="T2" fmla="*/ 459 w 2096"/>
                <a:gd name="T3" fmla="*/ 1977 h 2120"/>
                <a:gd name="T4" fmla="*/ 419 w 2096"/>
                <a:gd name="T5" fmla="*/ 1700 h 2120"/>
                <a:gd name="T6" fmla="*/ 380 w 2096"/>
                <a:gd name="T7" fmla="*/ 1439 h 2120"/>
                <a:gd name="T8" fmla="*/ 411 w 2096"/>
                <a:gd name="T9" fmla="*/ 1328 h 2120"/>
                <a:gd name="T10" fmla="*/ 364 w 2096"/>
                <a:gd name="T11" fmla="*/ 1249 h 2120"/>
                <a:gd name="T12" fmla="*/ 973 w 2096"/>
                <a:gd name="T13" fmla="*/ 0 h 2120"/>
                <a:gd name="T14" fmla="*/ 909 w 2096"/>
                <a:gd name="T15" fmla="*/ 95 h 2120"/>
                <a:gd name="T16" fmla="*/ 1020 w 2096"/>
                <a:gd name="T17" fmla="*/ 245 h 2120"/>
                <a:gd name="T18" fmla="*/ 1265 w 2096"/>
                <a:gd name="T19" fmla="*/ 475 h 2120"/>
                <a:gd name="T20" fmla="*/ 1597 w 2096"/>
                <a:gd name="T21" fmla="*/ 751 h 2120"/>
                <a:gd name="T22" fmla="*/ 1795 w 2096"/>
                <a:gd name="T23" fmla="*/ 1012 h 2120"/>
                <a:gd name="T24" fmla="*/ 1921 w 2096"/>
                <a:gd name="T25" fmla="*/ 1170 h 2120"/>
                <a:gd name="T26" fmla="*/ 2072 w 2096"/>
                <a:gd name="T27" fmla="*/ 1249 h 2120"/>
                <a:gd name="T28" fmla="*/ 2064 w 2096"/>
                <a:gd name="T29" fmla="*/ 1297 h 2120"/>
                <a:gd name="T30" fmla="*/ 2040 w 2096"/>
                <a:gd name="T31" fmla="*/ 1336 h 2120"/>
                <a:gd name="T32" fmla="*/ 1961 w 2096"/>
                <a:gd name="T33" fmla="*/ 1352 h 2120"/>
                <a:gd name="T34" fmla="*/ 2001 w 2096"/>
                <a:gd name="T35" fmla="*/ 1399 h 2120"/>
                <a:gd name="T36" fmla="*/ 1961 w 2096"/>
                <a:gd name="T37" fmla="*/ 1431 h 2120"/>
                <a:gd name="T38" fmla="*/ 1929 w 2096"/>
                <a:gd name="T39" fmla="*/ 1502 h 2120"/>
                <a:gd name="T40" fmla="*/ 1945 w 2096"/>
                <a:gd name="T41" fmla="*/ 1581 h 2120"/>
                <a:gd name="T42" fmla="*/ 1937 w 2096"/>
                <a:gd name="T43" fmla="*/ 1629 h 2120"/>
                <a:gd name="T44" fmla="*/ 1906 w 2096"/>
                <a:gd name="T45" fmla="*/ 1700 h 2120"/>
                <a:gd name="T46" fmla="*/ 1906 w 2096"/>
                <a:gd name="T47" fmla="*/ 1818 h 2120"/>
                <a:gd name="T48" fmla="*/ 1914 w 2096"/>
                <a:gd name="T49" fmla="*/ 1897 h 2120"/>
                <a:gd name="T50" fmla="*/ 1692 w 2096"/>
                <a:gd name="T51" fmla="*/ 1905 h 2120"/>
                <a:gd name="T52" fmla="*/ 1684 w 2096"/>
                <a:gd name="T53" fmla="*/ 2119 h 2120"/>
                <a:gd name="T54" fmla="*/ 1629 w 2096"/>
                <a:gd name="T55" fmla="*/ 2071 h 2120"/>
                <a:gd name="T56" fmla="*/ 1700 w 2096"/>
                <a:gd name="T57" fmla="*/ 2048 h 2120"/>
                <a:gd name="T58" fmla="*/ 1763 w 2096"/>
                <a:gd name="T59" fmla="*/ 1905 h 2120"/>
                <a:gd name="T60" fmla="*/ 1890 w 2096"/>
                <a:gd name="T61" fmla="*/ 1842 h 2120"/>
                <a:gd name="T62" fmla="*/ 1906 w 2096"/>
                <a:gd name="T63" fmla="*/ 1724 h 2120"/>
                <a:gd name="T64" fmla="*/ 1937 w 2096"/>
                <a:gd name="T65" fmla="*/ 1637 h 2120"/>
                <a:gd name="T66" fmla="*/ 1937 w 2096"/>
                <a:gd name="T67" fmla="*/ 1573 h 2120"/>
                <a:gd name="T68" fmla="*/ 1921 w 2096"/>
                <a:gd name="T69" fmla="*/ 1502 h 2120"/>
                <a:gd name="T70" fmla="*/ 1961 w 2096"/>
                <a:gd name="T71" fmla="*/ 1439 h 2120"/>
                <a:gd name="T72" fmla="*/ 1969 w 2096"/>
                <a:gd name="T73" fmla="*/ 1407 h 2120"/>
                <a:gd name="T74" fmla="*/ 1969 w 2096"/>
                <a:gd name="T75" fmla="*/ 1360 h 2120"/>
                <a:gd name="T76" fmla="*/ 2032 w 2096"/>
                <a:gd name="T77" fmla="*/ 1328 h 2120"/>
                <a:gd name="T78" fmla="*/ 2040 w 2096"/>
                <a:gd name="T79" fmla="*/ 1289 h 2120"/>
                <a:gd name="T80" fmla="*/ 2087 w 2096"/>
                <a:gd name="T81" fmla="*/ 1265 h 2120"/>
                <a:gd name="T82" fmla="*/ 1914 w 2096"/>
                <a:gd name="T83" fmla="*/ 1170 h 2120"/>
                <a:gd name="T84" fmla="*/ 1795 w 2096"/>
                <a:gd name="T85" fmla="*/ 1020 h 2120"/>
                <a:gd name="T86" fmla="*/ 1597 w 2096"/>
                <a:gd name="T87" fmla="*/ 759 h 2120"/>
                <a:gd name="T88" fmla="*/ 1265 w 2096"/>
                <a:gd name="T89" fmla="*/ 482 h 2120"/>
                <a:gd name="T90" fmla="*/ 1020 w 2096"/>
                <a:gd name="T91" fmla="*/ 253 h 2120"/>
                <a:gd name="T92" fmla="*/ 902 w 2096"/>
                <a:gd name="T93" fmla="*/ 95 h 2120"/>
                <a:gd name="T94" fmla="*/ 617 w 2096"/>
                <a:gd name="T95" fmla="*/ 48 h 2120"/>
                <a:gd name="T96" fmla="*/ 419 w 2096"/>
                <a:gd name="T97" fmla="*/ 1320 h 2120"/>
                <a:gd name="T98" fmla="*/ 388 w 2096"/>
                <a:gd name="T99" fmla="*/ 1439 h 2120"/>
                <a:gd name="T100" fmla="*/ 427 w 2096"/>
                <a:gd name="T101" fmla="*/ 1700 h 2120"/>
                <a:gd name="T102" fmla="*/ 554 w 2096"/>
                <a:gd name="T103" fmla="*/ 2103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96" h="2120">
                  <a:moveTo>
                    <a:pt x="1684" y="2119"/>
                  </a:moveTo>
                  <a:lnTo>
                    <a:pt x="1684" y="2119"/>
                  </a:lnTo>
                  <a:cubicBezTo>
                    <a:pt x="1676" y="2119"/>
                    <a:pt x="1668" y="2119"/>
                    <a:pt x="1661" y="2119"/>
                  </a:cubicBezTo>
                  <a:lnTo>
                    <a:pt x="1653" y="2119"/>
                  </a:lnTo>
                  <a:cubicBezTo>
                    <a:pt x="1621" y="2119"/>
                    <a:pt x="1621" y="2095"/>
                    <a:pt x="1621" y="2071"/>
                  </a:cubicBezTo>
                  <a:cubicBezTo>
                    <a:pt x="1621" y="2063"/>
                    <a:pt x="1621" y="2056"/>
                    <a:pt x="1621" y="2048"/>
                  </a:cubicBezTo>
                  <a:cubicBezTo>
                    <a:pt x="1613" y="2032"/>
                    <a:pt x="1605" y="2024"/>
                    <a:pt x="1605" y="2024"/>
                  </a:cubicBezTo>
                  <a:cubicBezTo>
                    <a:pt x="1550" y="2032"/>
                    <a:pt x="569" y="2111"/>
                    <a:pt x="554" y="2111"/>
                  </a:cubicBezTo>
                  <a:cubicBezTo>
                    <a:pt x="546" y="2111"/>
                    <a:pt x="483" y="2016"/>
                    <a:pt x="467" y="1977"/>
                  </a:cubicBezTo>
                  <a:cubicBezTo>
                    <a:pt x="459" y="1977"/>
                    <a:pt x="459" y="1977"/>
                    <a:pt x="459" y="1977"/>
                  </a:cubicBezTo>
                  <a:lnTo>
                    <a:pt x="459" y="1977"/>
                  </a:lnTo>
                  <a:cubicBezTo>
                    <a:pt x="459" y="1961"/>
                    <a:pt x="443" y="1921"/>
                    <a:pt x="435" y="1897"/>
                  </a:cubicBezTo>
                  <a:cubicBezTo>
                    <a:pt x="419" y="1874"/>
                    <a:pt x="411" y="1858"/>
                    <a:pt x="411" y="1850"/>
                  </a:cubicBezTo>
                  <a:cubicBezTo>
                    <a:pt x="411" y="1834"/>
                    <a:pt x="411" y="1803"/>
                    <a:pt x="419" y="1771"/>
                  </a:cubicBezTo>
                  <a:cubicBezTo>
                    <a:pt x="419" y="1739"/>
                    <a:pt x="419" y="1716"/>
                    <a:pt x="419" y="1700"/>
                  </a:cubicBezTo>
                  <a:cubicBezTo>
                    <a:pt x="419" y="1676"/>
                    <a:pt x="404" y="1652"/>
                    <a:pt x="380" y="1637"/>
                  </a:cubicBezTo>
                  <a:cubicBezTo>
                    <a:pt x="380" y="1629"/>
                    <a:pt x="372" y="1629"/>
                    <a:pt x="372" y="1621"/>
                  </a:cubicBezTo>
                  <a:cubicBezTo>
                    <a:pt x="356" y="1605"/>
                    <a:pt x="372" y="1542"/>
                    <a:pt x="388" y="1526"/>
                  </a:cubicBezTo>
                  <a:cubicBezTo>
                    <a:pt x="396" y="1510"/>
                    <a:pt x="396" y="1471"/>
                    <a:pt x="388" y="1455"/>
                  </a:cubicBezTo>
                  <a:cubicBezTo>
                    <a:pt x="380" y="1455"/>
                    <a:pt x="380" y="1447"/>
                    <a:pt x="380" y="1439"/>
                  </a:cubicBezTo>
                  <a:cubicBezTo>
                    <a:pt x="388" y="1431"/>
                    <a:pt x="396" y="1423"/>
                    <a:pt x="411" y="1415"/>
                  </a:cubicBezTo>
                  <a:lnTo>
                    <a:pt x="411" y="1415"/>
                  </a:lnTo>
                  <a:cubicBezTo>
                    <a:pt x="427" y="1399"/>
                    <a:pt x="435" y="1392"/>
                    <a:pt x="435" y="1368"/>
                  </a:cubicBezTo>
                  <a:cubicBezTo>
                    <a:pt x="435" y="1360"/>
                    <a:pt x="435" y="1352"/>
                    <a:pt x="427" y="1352"/>
                  </a:cubicBezTo>
                  <a:cubicBezTo>
                    <a:pt x="427" y="1344"/>
                    <a:pt x="419" y="1344"/>
                    <a:pt x="411" y="1328"/>
                  </a:cubicBezTo>
                  <a:cubicBezTo>
                    <a:pt x="404" y="1313"/>
                    <a:pt x="411" y="1297"/>
                    <a:pt x="411" y="1289"/>
                  </a:cubicBezTo>
                  <a:cubicBezTo>
                    <a:pt x="411" y="1281"/>
                    <a:pt x="411" y="1273"/>
                    <a:pt x="404" y="1265"/>
                  </a:cubicBezTo>
                  <a:cubicBezTo>
                    <a:pt x="388" y="1257"/>
                    <a:pt x="364" y="1249"/>
                    <a:pt x="364" y="1249"/>
                  </a:cubicBezTo>
                  <a:lnTo>
                    <a:pt x="364" y="1249"/>
                  </a:lnTo>
                  <a:lnTo>
                    <a:pt x="364" y="1249"/>
                  </a:lnTo>
                  <a:cubicBezTo>
                    <a:pt x="0" y="111"/>
                    <a:pt x="0" y="111"/>
                    <a:pt x="0" y="111"/>
                  </a:cubicBezTo>
                  <a:cubicBezTo>
                    <a:pt x="8" y="111"/>
                    <a:pt x="8" y="111"/>
                    <a:pt x="8" y="111"/>
                  </a:cubicBezTo>
                  <a:cubicBezTo>
                    <a:pt x="238" y="87"/>
                    <a:pt x="451" y="63"/>
                    <a:pt x="617" y="40"/>
                  </a:cubicBezTo>
                  <a:cubicBezTo>
                    <a:pt x="799" y="24"/>
                    <a:pt x="917" y="8"/>
                    <a:pt x="941" y="8"/>
                  </a:cubicBezTo>
                  <a:cubicBezTo>
                    <a:pt x="949" y="8"/>
                    <a:pt x="965" y="8"/>
                    <a:pt x="973" y="0"/>
                  </a:cubicBezTo>
                  <a:cubicBezTo>
                    <a:pt x="981" y="0"/>
                    <a:pt x="981" y="0"/>
                    <a:pt x="981" y="0"/>
                  </a:cubicBezTo>
                  <a:cubicBezTo>
                    <a:pt x="981" y="8"/>
                    <a:pt x="981" y="8"/>
                    <a:pt x="981" y="8"/>
                  </a:cubicBezTo>
                  <a:cubicBezTo>
                    <a:pt x="981" y="16"/>
                    <a:pt x="981" y="24"/>
                    <a:pt x="973" y="24"/>
                  </a:cubicBezTo>
                  <a:cubicBezTo>
                    <a:pt x="973" y="32"/>
                    <a:pt x="965" y="32"/>
                    <a:pt x="965" y="40"/>
                  </a:cubicBezTo>
                  <a:cubicBezTo>
                    <a:pt x="941" y="48"/>
                    <a:pt x="909" y="71"/>
                    <a:pt x="909" y="95"/>
                  </a:cubicBezTo>
                  <a:cubicBezTo>
                    <a:pt x="909" y="103"/>
                    <a:pt x="909" y="103"/>
                    <a:pt x="909" y="103"/>
                  </a:cubicBezTo>
                  <a:cubicBezTo>
                    <a:pt x="909" y="127"/>
                    <a:pt x="902" y="166"/>
                    <a:pt x="917" y="174"/>
                  </a:cubicBezTo>
                  <a:cubicBezTo>
                    <a:pt x="917" y="174"/>
                    <a:pt x="925" y="174"/>
                    <a:pt x="925" y="182"/>
                  </a:cubicBezTo>
                  <a:cubicBezTo>
                    <a:pt x="949" y="198"/>
                    <a:pt x="996" y="222"/>
                    <a:pt x="1004" y="238"/>
                  </a:cubicBezTo>
                  <a:cubicBezTo>
                    <a:pt x="1012" y="245"/>
                    <a:pt x="1020" y="245"/>
                    <a:pt x="1020" y="245"/>
                  </a:cubicBezTo>
                  <a:cubicBezTo>
                    <a:pt x="1028" y="245"/>
                    <a:pt x="1036" y="245"/>
                    <a:pt x="1044" y="245"/>
                  </a:cubicBezTo>
                  <a:cubicBezTo>
                    <a:pt x="1052" y="245"/>
                    <a:pt x="1060" y="238"/>
                    <a:pt x="1068" y="238"/>
                  </a:cubicBezTo>
                  <a:cubicBezTo>
                    <a:pt x="1084" y="238"/>
                    <a:pt x="1099" y="261"/>
                    <a:pt x="1115" y="293"/>
                  </a:cubicBezTo>
                  <a:cubicBezTo>
                    <a:pt x="1123" y="301"/>
                    <a:pt x="1123" y="309"/>
                    <a:pt x="1131" y="316"/>
                  </a:cubicBezTo>
                  <a:cubicBezTo>
                    <a:pt x="1162" y="372"/>
                    <a:pt x="1218" y="451"/>
                    <a:pt x="1265" y="475"/>
                  </a:cubicBezTo>
                  <a:cubicBezTo>
                    <a:pt x="1313" y="490"/>
                    <a:pt x="1328" y="498"/>
                    <a:pt x="1360" y="546"/>
                  </a:cubicBezTo>
                  <a:cubicBezTo>
                    <a:pt x="1392" y="585"/>
                    <a:pt x="1415" y="593"/>
                    <a:pt x="1447" y="609"/>
                  </a:cubicBezTo>
                  <a:cubicBezTo>
                    <a:pt x="1486" y="617"/>
                    <a:pt x="1510" y="625"/>
                    <a:pt x="1534" y="656"/>
                  </a:cubicBezTo>
                  <a:cubicBezTo>
                    <a:pt x="1534" y="664"/>
                    <a:pt x="1542" y="672"/>
                    <a:pt x="1542" y="680"/>
                  </a:cubicBezTo>
                  <a:cubicBezTo>
                    <a:pt x="1558" y="704"/>
                    <a:pt x="1566" y="720"/>
                    <a:pt x="1597" y="751"/>
                  </a:cubicBezTo>
                  <a:cubicBezTo>
                    <a:pt x="1645" y="783"/>
                    <a:pt x="1668" y="799"/>
                    <a:pt x="1692" y="815"/>
                  </a:cubicBezTo>
                  <a:cubicBezTo>
                    <a:pt x="1692" y="822"/>
                    <a:pt x="1700" y="822"/>
                    <a:pt x="1700" y="830"/>
                  </a:cubicBezTo>
                  <a:cubicBezTo>
                    <a:pt x="1732" y="846"/>
                    <a:pt x="1779" y="909"/>
                    <a:pt x="1787" y="933"/>
                  </a:cubicBezTo>
                  <a:cubicBezTo>
                    <a:pt x="1787" y="941"/>
                    <a:pt x="1787" y="949"/>
                    <a:pt x="1787" y="957"/>
                  </a:cubicBezTo>
                  <a:cubicBezTo>
                    <a:pt x="1779" y="980"/>
                    <a:pt x="1779" y="996"/>
                    <a:pt x="1795" y="1012"/>
                  </a:cubicBezTo>
                  <a:cubicBezTo>
                    <a:pt x="1803" y="1020"/>
                    <a:pt x="1811" y="1020"/>
                    <a:pt x="1819" y="1028"/>
                  </a:cubicBezTo>
                  <a:cubicBezTo>
                    <a:pt x="1834" y="1028"/>
                    <a:pt x="1850" y="1036"/>
                    <a:pt x="1858" y="1052"/>
                  </a:cubicBezTo>
                  <a:cubicBezTo>
                    <a:pt x="1866" y="1060"/>
                    <a:pt x="1874" y="1075"/>
                    <a:pt x="1882" y="1083"/>
                  </a:cubicBezTo>
                  <a:cubicBezTo>
                    <a:pt x="1898" y="1107"/>
                    <a:pt x="1906" y="1131"/>
                    <a:pt x="1921" y="1139"/>
                  </a:cubicBezTo>
                  <a:cubicBezTo>
                    <a:pt x="1929" y="1139"/>
                    <a:pt x="1929" y="1155"/>
                    <a:pt x="1921" y="1170"/>
                  </a:cubicBezTo>
                  <a:cubicBezTo>
                    <a:pt x="1914" y="1194"/>
                    <a:pt x="1914" y="1218"/>
                    <a:pt x="1929" y="1226"/>
                  </a:cubicBezTo>
                  <a:cubicBezTo>
                    <a:pt x="1961" y="1241"/>
                    <a:pt x="2032" y="1241"/>
                    <a:pt x="2056" y="1241"/>
                  </a:cubicBezTo>
                  <a:cubicBezTo>
                    <a:pt x="2064" y="1241"/>
                    <a:pt x="2064" y="1241"/>
                    <a:pt x="2064" y="1241"/>
                  </a:cubicBezTo>
                  <a:lnTo>
                    <a:pt x="2064" y="1241"/>
                  </a:lnTo>
                  <a:cubicBezTo>
                    <a:pt x="2064" y="1241"/>
                    <a:pt x="2064" y="1249"/>
                    <a:pt x="2072" y="1249"/>
                  </a:cubicBezTo>
                  <a:cubicBezTo>
                    <a:pt x="2079" y="1249"/>
                    <a:pt x="2087" y="1257"/>
                    <a:pt x="2095" y="1265"/>
                  </a:cubicBezTo>
                  <a:cubicBezTo>
                    <a:pt x="2095" y="1265"/>
                    <a:pt x="2095" y="1265"/>
                    <a:pt x="2095" y="1273"/>
                  </a:cubicBezTo>
                  <a:cubicBezTo>
                    <a:pt x="2095" y="1281"/>
                    <a:pt x="2079" y="1281"/>
                    <a:pt x="2072" y="1281"/>
                  </a:cubicBezTo>
                  <a:cubicBezTo>
                    <a:pt x="2072" y="1289"/>
                    <a:pt x="2064" y="1289"/>
                    <a:pt x="2064" y="1289"/>
                  </a:cubicBezTo>
                  <a:lnTo>
                    <a:pt x="2064" y="1297"/>
                  </a:lnTo>
                  <a:cubicBezTo>
                    <a:pt x="2064" y="1297"/>
                    <a:pt x="2056" y="1297"/>
                    <a:pt x="2040" y="1297"/>
                  </a:cubicBezTo>
                  <a:cubicBezTo>
                    <a:pt x="2032" y="1297"/>
                    <a:pt x="2032" y="1297"/>
                    <a:pt x="2032" y="1297"/>
                  </a:cubicBezTo>
                  <a:cubicBezTo>
                    <a:pt x="2032" y="1297"/>
                    <a:pt x="2024" y="1297"/>
                    <a:pt x="2024" y="1305"/>
                  </a:cubicBezTo>
                  <a:cubicBezTo>
                    <a:pt x="2024" y="1305"/>
                    <a:pt x="2032" y="1320"/>
                    <a:pt x="2040" y="1320"/>
                  </a:cubicBezTo>
                  <a:cubicBezTo>
                    <a:pt x="2040" y="1328"/>
                    <a:pt x="2040" y="1328"/>
                    <a:pt x="2040" y="1336"/>
                  </a:cubicBezTo>
                  <a:lnTo>
                    <a:pt x="2032" y="1336"/>
                  </a:lnTo>
                  <a:cubicBezTo>
                    <a:pt x="2024" y="1336"/>
                    <a:pt x="2016" y="1336"/>
                    <a:pt x="2008" y="1336"/>
                  </a:cubicBezTo>
                  <a:lnTo>
                    <a:pt x="2008" y="1336"/>
                  </a:lnTo>
                  <a:cubicBezTo>
                    <a:pt x="1992" y="1336"/>
                    <a:pt x="1977" y="1344"/>
                    <a:pt x="1969" y="1344"/>
                  </a:cubicBezTo>
                  <a:cubicBezTo>
                    <a:pt x="1961" y="1352"/>
                    <a:pt x="1961" y="1352"/>
                    <a:pt x="1961" y="1352"/>
                  </a:cubicBezTo>
                  <a:cubicBezTo>
                    <a:pt x="1969" y="1352"/>
                    <a:pt x="1969" y="1352"/>
                    <a:pt x="1977" y="1352"/>
                  </a:cubicBezTo>
                  <a:cubicBezTo>
                    <a:pt x="1977" y="1352"/>
                    <a:pt x="1992" y="1352"/>
                    <a:pt x="2001" y="1360"/>
                  </a:cubicBezTo>
                  <a:cubicBezTo>
                    <a:pt x="2008" y="1360"/>
                    <a:pt x="2016" y="1368"/>
                    <a:pt x="2016" y="1368"/>
                  </a:cubicBezTo>
                  <a:cubicBezTo>
                    <a:pt x="2016" y="1384"/>
                    <a:pt x="2008" y="1392"/>
                    <a:pt x="2001" y="1399"/>
                  </a:cubicBezTo>
                  <a:lnTo>
                    <a:pt x="2001" y="1399"/>
                  </a:lnTo>
                  <a:cubicBezTo>
                    <a:pt x="1992" y="1415"/>
                    <a:pt x="1977" y="1415"/>
                    <a:pt x="1969" y="1415"/>
                  </a:cubicBezTo>
                  <a:cubicBezTo>
                    <a:pt x="1961" y="1415"/>
                    <a:pt x="1953" y="1423"/>
                    <a:pt x="1945" y="1423"/>
                  </a:cubicBezTo>
                  <a:cubicBezTo>
                    <a:pt x="1945" y="1431"/>
                    <a:pt x="1945" y="1431"/>
                    <a:pt x="1945" y="1431"/>
                  </a:cubicBezTo>
                  <a:lnTo>
                    <a:pt x="1953" y="1431"/>
                  </a:lnTo>
                  <a:cubicBezTo>
                    <a:pt x="1961" y="1431"/>
                    <a:pt x="1961" y="1431"/>
                    <a:pt x="1961" y="1431"/>
                  </a:cubicBezTo>
                  <a:cubicBezTo>
                    <a:pt x="1969" y="1431"/>
                    <a:pt x="1977" y="1431"/>
                    <a:pt x="1985" y="1439"/>
                  </a:cubicBezTo>
                  <a:cubicBezTo>
                    <a:pt x="1985" y="1439"/>
                    <a:pt x="1985" y="1447"/>
                    <a:pt x="1985" y="1463"/>
                  </a:cubicBezTo>
                  <a:cubicBezTo>
                    <a:pt x="1977" y="1479"/>
                    <a:pt x="1969" y="1486"/>
                    <a:pt x="1953" y="1486"/>
                  </a:cubicBezTo>
                  <a:cubicBezTo>
                    <a:pt x="1953" y="1486"/>
                    <a:pt x="1945" y="1486"/>
                    <a:pt x="1937" y="1494"/>
                  </a:cubicBezTo>
                  <a:cubicBezTo>
                    <a:pt x="1929" y="1494"/>
                    <a:pt x="1929" y="1494"/>
                    <a:pt x="1929" y="1502"/>
                  </a:cubicBezTo>
                  <a:lnTo>
                    <a:pt x="1937" y="1510"/>
                  </a:lnTo>
                  <a:cubicBezTo>
                    <a:pt x="1945" y="1510"/>
                    <a:pt x="1945" y="1510"/>
                    <a:pt x="1945" y="1510"/>
                  </a:cubicBezTo>
                  <a:cubicBezTo>
                    <a:pt x="1953" y="1518"/>
                    <a:pt x="1961" y="1518"/>
                    <a:pt x="1977" y="1534"/>
                  </a:cubicBezTo>
                  <a:cubicBezTo>
                    <a:pt x="1977" y="1534"/>
                    <a:pt x="1985" y="1542"/>
                    <a:pt x="1977" y="1550"/>
                  </a:cubicBezTo>
                  <a:cubicBezTo>
                    <a:pt x="1977" y="1557"/>
                    <a:pt x="1961" y="1573"/>
                    <a:pt x="1945" y="1581"/>
                  </a:cubicBezTo>
                  <a:cubicBezTo>
                    <a:pt x="1937" y="1581"/>
                    <a:pt x="1937" y="1581"/>
                    <a:pt x="1937" y="1581"/>
                  </a:cubicBezTo>
                  <a:lnTo>
                    <a:pt x="1937" y="1589"/>
                  </a:lnTo>
                  <a:cubicBezTo>
                    <a:pt x="1937" y="1589"/>
                    <a:pt x="1937" y="1597"/>
                    <a:pt x="1937" y="1613"/>
                  </a:cubicBezTo>
                  <a:cubicBezTo>
                    <a:pt x="1937" y="1621"/>
                    <a:pt x="1937" y="1629"/>
                    <a:pt x="1937" y="1629"/>
                  </a:cubicBezTo>
                  <a:lnTo>
                    <a:pt x="1937" y="1629"/>
                  </a:lnTo>
                  <a:lnTo>
                    <a:pt x="1945" y="1621"/>
                  </a:lnTo>
                  <a:cubicBezTo>
                    <a:pt x="1953" y="1621"/>
                    <a:pt x="1961" y="1629"/>
                    <a:pt x="1961" y="1629"/>
                  </a:cubicBezTo>
                  <a:cubicBezTo>
                    <a:pt x="1969" y="1637"/>
                    <a:pt x="1969" y="1637"/>
                    <a:pt x="1969" y="1652"/>
                  </a:cubicBezTo>
                  <a:cubicBezTo>
                    <a:pt x="1969" y="1668"/>
                    <a:pt x="1945" y="1684"/>
                    <a:pt x="1921" y="1692"/>
                  </a:cubicBezTo>
                  <a:cubicBezTo>
                    <a:pt x="1914" y="1692"/>
                    <a:pt x="1906" y="1692"/>
                    <a:pt x="1906" y="1700"/>
                  </a:cubicBezTo>
                  <a:cubicBezTo>
                    <a:pt x="1898" y="1708"/>
                    <a:pt x="1906" y="1716"/>
                    <a:pt x="1906" y="1724"/>
                  </a:cubicBezTo>
                  <a:cubicBezTo>
                    <a:pt x="1914" y="1724"/>
                    <a:pt x="1914" y="1724"/>
                    <a:pt x="1914" y="1732"/>
                  </a:cubicBezTo>
                  <a:lnTo>
                    <a:pt x="1906" y="1739"/>
                  </a:lnTo>
                  <a:cubicBezTo>
                    <a:pt x="1890" y="1755"/>
                    <a:pt x="1882" y="1755"/>
                    <a:pt x="1890" y="1771"/>
                  </a:cubicBezTo>
                  <a:cubicBezTo>
                    <a:pt x="1906" y="1787"/>
                    <a:pt x="1906" y="1795"/>
                    <a:pt x="1906" y="1818"/>
                  </a:cubicBezTo>
                  <a:cubicBezTo>
                    <a:pt x="1906" y="1826"/>
                    <a:pt x="1898" y="1834"/>
                    <a:pt x="1898" y="1842"/>
                  </a:cubicBezTo>
                  <a:lnTo>
                    <a:pt x="1898" y="1842"/>
                  </a:lnTo>
                  <a:cubicBezTo>
                    <a:pt x="1898" y="1882"/>
                    <a:pt x="1898" y="1882"/>
                    <a:pt x="1914" y="1890"/>
                  </a:cubicBezTo>
                  <a:cubicBezTo>
                    <a:pt x="1914" y="1897"/>
                    <a:pt x="1914" y="1897"/>
                    <a:pt x="1914" y="1897"/>
                  </a:cubicBezTo>
                  <a:lnTo>
                    <a:pt x="1914" y="1897"/>
                  </a:lnTo>
                  <a:lnTo>
                    <a:pt x="1914" y="1905"/>
                  </a:lnTo>
                  <a:cubicBezTo>
                    <a:pt x="1906" y="1913"/>
                    <a:pt x="1890" y="1921"/>
                    <a:pt x="1858" y="1921"/>
                  </a:cubicBezTo>
                  <a:cubicBezTo>
                    <a:pt x="1834" y="1921"/>
                    <a:pt x="1795" y="1913"/>
                    <a:pt x="1763" y="1913"/>
                  </a:cubicBezTo>
                  <a:cubicBezTo>
                    <a:pt x="1739" y="1905"/>
                    <a:pt x="1716" y="1905"/>
                    <a:pt x="1708" y="1905"/>
                  </a:cubicBezTo>
                  <a:cubicBezTo>
                    <a:pt x="1700" y="1905"/>
                    <a:pt x="1692" y="1905"/>
                    <a:pt x="1692" y="1905"/>
                  </a:cubicBezTo>
                  <a:cubicBezTo>
                    <a:pt x="1684" y="1913"/>
                    <a:pt x="1684" y="1913"/>
                    <a:pt x="1684" y="1921"/>
                  </a:cubicBezTo>
                  <a:cubicBezTo>
                    <a:pt x="1684" y="1929"/>
                    <a:pt x="1684" y="1945"/>
                    <a:pt x="1700" y="1969"/>
                  </a:cubicBezTo>
                  <a:cubicBezTo>
                    <a:pt x="1716" y="1992"/>
                    <a:pt x="1716" y="2024"/>
                    <a:pt x="1708" y="2056"/>
                  </a:cubicBezTo>
                  <a:cubicBezTo>
                    <a:pt x="1708" y="2063"/>
                    <a:pt x="1708" y="2079"/>
                    <a:pt x="1708" y="2087"/>
                  </a:cubicBezTo>
                  <a:cubicBezTo>
                    <a:pt x="1708" y="2111"/>
                    <a:pt x="1700" y="2119"/>
                    <a:pt x="1684" y="2119"/>
                  </a:cubicBezTo>
                  <a:close/>
                  <a:moveTo>
                    <a:pt x="1605" y="2016"/>
                  </a:moveTo>
                  <a:lnTo>
                    <a:pt x="1605" y="2016"/>
                  </a:lnTo>
                  <a:lnTo>
                    <a:pt x="1605" y="2016"/>
                  </a:lnTo>
                  <a:cubicBezTo>
                    <a:pt x="1605" y="2016"/>
                    <a:pt x="1613" y="2024"/>
                    <a:pt x="1629" y="2048"/>
                  </a:cubicBezTo>
                  <a:cubicBezTo>
                    <a:pt x="1629" y="2056"/>
                    <a:pt x="1629" y="2063"/>
                    <a:pt x="1629" y="2071"/>
                  </a:cubicBezTo>
                  <a:cubicBezTo>
                    <a:pt x="1629" y="2095"/>
                    <a:pt x="1629" y="2111"/>
                    <a:pt x="1653" y="2111"/>
                  </a:cubicBezTo>
                  <a:cubicBezTo>
                    <a:pt x="1653" y="2111"/>
                    <a:pt x="1661" y="2111"/>
                    <a:pt x="1668" y="2111"/>
                  </a:cubicBezTo>
                  <a:cubicBezTo>
                    <a:pt x="1668" y="2111"/>
                    <a:pt x="1676" y="2111"/>
                    <a:pt x="1684" y="2111"/>
                  </a:cubicBezTo>
                  <a:cubicBezTo>
                    <a:pt x="1692" y="2111"/>
                    <a:pt x="1700" y="2111"/>
                    <a:pt x="1700" y="2087"/>
                  </a:cubicBezTo>
                  <a:cubicBezTo>
                    <a:pt x="1700" y="2079"/>
                    <a:pt x="1700" y="2063"/>
                    <a:pt x="1700" y="2048"/>
                  </a:cubicBezTo>
                  <a:cubicBezTo>
                    <a:pt x="1708" y="2024"/>
                    <a:pt x="1708" y="1992"/>
                    <a:pt x="1692" y="1969"/>
                  </a:cubicBezTo>
                  <a:cubicBezTo>
                    <a:pt x="1676" y="1945"/>
                    <a:pt x="1676" y="1929"/>
                    <a:pt x="1676" y="1921"/>
                  </a:cubicBezTo>
                  <a:cubicBezTo>
                    <a:pt x="1676" y="1913"/>
                    <a:pt x="1684" y="1905"/>
                    <a:pt x="1692" y="1897"/>
                  </a:cubicBezTo>
                  <a:cubicBezTo>
                    <a:pt x="1692" y="1897"/>
                    <a:pt x="1700" y="1897"/>
                    <a:pt x="1708" y="1897"/>
                  </a:cubicBezTo>
                  <a:cubicBezTo>
                    <a:pt x="1716" y="1897"/>
                    <a:pt x="1739" y="1897"/>
                    <a:pt x="1763" y="1905"/>
                  </a:cubicBezTo>
                  <a:cubicBezTo>
                    <a:pt x="1795" y="1913"/>
                    <a:pt x="1834" y="1913"/>
                    <a:pt x="1858" y="1913"/>
                  </a:cubicBezTo>
                  <a:cubicBezTo>
                    <a:pt x="1882" y="1913"/>
                    <a:pt x="1898" y="1913"/>
                    <a:pt x="1906" y="1905"/>
                  </a:cubicBezTo>
                  <a:cubicBezTo>
                    <a:pt x="1906" y="1897"/>
                    <a:pt x="1906" y="1897"/>
                    <a:pt x="1906" y="1897"/>
                  </a:cubicBezTo>
                  <a:cubicBezTo>
                    <a:pt x="1890" y="1882"/>
                    <a:pt x="1890" y="1874"/>
                    <a:pt x="1890" y="1842"/>
                  </a:cubicBezTo>
                  <a:lnTo>
                    <a:pt x="1890" y="1842"/>
                  </a:lnTo>
                  <a:cubicBezTo>
                    <a:pt x="1890" y="1826"/>
                    <a:pt x="1898" y="1826"/>
                    <a:pt x="1898" y="1818"/>
                  </a:cubicBezTo>
                  <a:cubicBezTo>
                    <a:pt x="1898" y="1795"/>
                    <a:pt x="1898" y="1795"/>
                    <a:pt x="1890" y="1771"/>
                  </a:cubicBezTo>
                  <a:cubicBezTo>
                    <a:pt x="1874" y="1755"/>
                    <a:pt x="1890" y="1747"/>
                    <a:pt x="1898" y="1739"/>
                  </a:cubicBezTo>
                  <a:cubicBezTo>
                    <a:pt x="1898" y="1732"/>
                    <a:pt x="1906" y="1732"/>
                    <a:pt x="1906" y="1732"/>
                  </a:cubicBezTo>
                  <a:cubicBezTo>
                    <a:pt x="1906" y="1724"/>
                    <a:pt x="1906" y="1724"/>
                    <a:pt x="1906" y="1724"/>
                  </a:cubicBezTo>
                  <a:cubicBezTo>
                    <a:pt x="1898" y="1716"/>
                    <a:pt x="1890" y="1708"/>
                    <a:pt x="1898" y="1700"/>
                  </a:cubicBezTo>
                  <a:cubicBezTo>
                    <a:pt x="1898" y="1692"/>
                    <a:pt x="1906" y="1684"/>
                    <a:pt x="1921" y="1684"/>
                  </a:cubicBezTo>
                  <a:cubicBezTo>
                    <a:pt x="1945" y="1676"/>
                    <a:pt x="1961" y="1660"/>
                    <a:pt x="1961" y="1645"/>
                  </a:cubicBezTo>
                  <a:lnTo>
                    <a:pt x="1961" y="1637"/>
                  </a:lnTo>
                  <a:cubicBezTo>
                    <a:pt x="1953" y="1629"/>
                    <a:pt x="1945" y="1629"/>
                    <a:pt x="1937" y="1637"/>
                  </a:cubicBezTo>
                  <a:cubicBezTo>
                    <a:pt x="1937" y="1637"/>
                    <a:pt x="1937" y="1637"/>
                    <a:pt x="1929" y="1637"/>
                  </a:cubicBezTo>
                  <a:cubicBezTo>
                    <a:pt x="1929" y="1637"/>
                    <a:pt x="1929" y="1637"/>
                    <a:pt x="1929" y="1629"/>
                  </a:cubicBezTo>
                  <a:cubicBezTo>
                    <a:pt x="1929" y="1629"/>
                    <a:pt x="1929" y="1621"/>
                    <a:pt x="1929" y="1613"/>
                  </a:cubicBezTo>
                  <a:cubicBezTo>
                    <a:pt x="1929" y="1597"/>
                    <a:pt x="1929" y="1597"/>
                    <a:pt x="1929" y="1589"/>
                  </a:cubicBezTo>
                  <a:cubicBezTo>
                    <a:pt x="1929" y="1581"/>
                    <a:pt x="1929" y="1581"/>
                    <a:pt x="1937" y="1573"/>
                  </a:cubicBezTo>
                  <a:cubicBezTo>
                    <a:pt x="1953" y="1566"/>
                    <a:pt x="1969" y="1557"/>
                    <a:pt x="1977" y="1550"/>
                  </a:cubicBezTo>
                  <a:cubicBezTo>
                    <a:pt x="1977" y="1542"/>
                    <a:pt x="1977" y="1542"/>
                    <a:pt x="1969" y="1534"/>
                  </a:cubicBezTo>
                  <a:cubicBezTo>
                    <a:pt x="1961" y="1526"/>
                    <a:pt x="1953" y="1526"/>
                    <a:pt x="1945" y="1518"/>
                  </a:cubicBezTo>
                  <a:cubicBezTo>
                    <a:pt x="1937" y="1518"/>
                    <a:pt x="1937" y="1518"/>
                    <a:pt x="1937" y="1518"/>
                  </a:cubicBezTo>
                  <a:cubicBezTo>
                    <a:pt x="1929" y="1518"/>
                    <a:pt x="1921" y="1510"/>
                    <a:pt x="1921" y="1502"/>
                  </a:cubicBezTo>
                  <a:cubicBezTo>
                    <a:pt x="1921" y="1502"/>
                    <a:pt x="1921" y="1494"/>
                    <a:pt x="1937" y="1486"/>
                  </a:cubicBezTo>
                  <a:cubicBezTo>
                    <a:pt x="1937" y="1479"/>
                    <a:pt x="1945" y="1479"/>
                    <a:pt x="1953" y="1479"/>
                  </a:cubicBezTo>
                  <a:cubicBezTo>
                    <a:pt x="1961" y="1479"/>
                    <a:pt x="1969" y="1479"/>
                    <a:pt x="1977" y="1463"/>
                  </a:cubicBezTo>
                  <a:cubicBezTo>
                    <a:pt x="1977" y="1455"/>
                    <a:pt x="1977" y="1447"/>
                    <a:pt x="1977" y="1439"/>
                  </a:cubicBezTo>
                  <a:cubicBezTo>
                    <a:pt x="1977" y="1439"/>
                    <a:pt x="1969" y="1439"/>
                    <a:pt x="1961" y="1439"/>
                  </a:cubicBezTo>
                  <a:cubicBezTo>
                    <a:pt x="1961" y="1439"/>
                    <a:pt x="1961" y="1439"/>
                    <a:pt x="1953" y="1439"/>
                  </a:cubicBezTo>
                  <a:lnTo>
                    <a:pt x="1945" y="1439"/>
                  </a:lnTo>
                  <a:cubicBezTo>
                    <a:pt x="1945" y="1439"/>
                    <a:pt x="1937" y="1439"/>
                    <a:pt x="1937" y="1431"/>
                  </a:cubicBezTo>
                  <a:cubicBezTo>
                    <a:pt x="1937" y="1431"/>
                    <a:pt x="1937" y="1423"/>
                    <a:pt x="1945" y="1423"/>
                  </a:cubicBezTo>
                  <a:cubicBezTo>
                    <a:pt x="1953" y="1415"/>
                    <a:pt x="1961" y="1415"/>
                    <a:pt x="1969" y="1407"/>
                  </a:cubicBezTo>
                  <a:cubicBezTo>
                    <a:pt x="1977" y="1407"/>
                    <a:pt x="1985" y="1407"/>
                    <a:pt x="1992" y="1399"/>
                  </a:cubicBezTo>
                  <a:lnTo>
                    <a:pt x="1992" y="1392"/>
                  </a:lnTo>
                  <a:cubicBezTo>
                    <a:pt x="2001" y="1384"/>
                    <a:pt x="2008" y="1376"/>
                    <a:pt x="2008" y="1376"/>
                  </a:cubicBezTo>
                  <a:cubicBezTo>
                    <a:pt x="2008" y="1368"/>
                    <a:pt x="2001" y="1368"/>
                    <a:pt x="1992" y="1368"/>
                  </a:cubicBezTo>
                  <a:cubicBezTo>
                    <a:pt x="1985" y="1360"/>
                    <a:pt x="1977" y="1360"/>
                    <a:pt x="1969" y="1360"/>
                  </a:cubicBezTo>
                  <a:cubicBezTo>
                    <a:pt x="1961" y="1352"/>
                    <a:pt x="1953" y="1352"/>
                    <a:pt x="1953" y="1352"/>
                  </a:cubicBezTo>
                  <a:cubicBezTo>
                    <a:pt x="1953" y="1344"/>
                    <a:pt x="1961" y="1344"/>
                    <a:pt x="1961" y="1344"/>
                  </a:cubicBezTo>
                  <a:cubicBezTo>
                    <a:pt x="1969" y="1336"/>
                    <a:pt x="1992" y="1328"/>
                    <a:pt x="2008" y="1328"/>
                  </a:cubicBezTo>
                  <a:cubicBezTo>
                    <a:pt x="2008" y="1328"/>
                    <a:pt x="2008" y="1328"/>
                    <a:pt x="2016" y="1328"/>
                  </a:cubicBezTo>
                  <a:cubicBezTo>
                    <a:pt x="2024" y="1328"/>
                    <a:pt x="2024" y="1328"/>
                    <a:pt x="2032" y="1328"/>
                  </a:cubicBezTo>
                  <a:lnTo>
                    <a:pt x="2032" y="1328"/>
                  </a:lnTo>
                  <a:lnTo>
                    <a:pt x="2032" y="1328"/>
                  </a:lnTo>
                  <a:cubicBezTo>
                    <a:pt x="2024" y="1313"/>
                    <a:pt x="2016" y="1305"/>
                    <a:pt x="2016" y="1297"/>
                  </a:cubicBezTo>
                  <a:cubicBezTo>
                    <a:pt x="2024" y="1297"/>
                    <a:pt x="2024" y="1289"/>
                    <a:pt x="2032" y="1289"/>
                  </a:cubicBezTo>
                  <a:cubicBezTo>
                    <a:pt x="2040" y="1289"/>
                    <a:pt x="2040" y="1289"/>
                    <a:pt x="2040" y="1289"/>
                  </a:cubicBezTo>
                  <a:cubicBezTo>
                    <a:pt x="2048" y="1289"/>
                    <a:pt x="2056" y="1289"/>
                    <a:pt x="2056" y="1289"/>
                  </a:cubicBezTo>
                  <a:lnTo>
                    <a:pt x="2056" y="1289"/>
                  </a:lnTo>
                  <a:cubicBezTo>
                    <a:pt x="2056" y="1281"/>
                    <a:pt x="2064" y="1281"/>
                    <a:pt x="2072" y="1281"/>
                  </a:cubicBezTo>
                  <a:cubicBezTo>
                    <a:pt x="2079" y="1273"/>
                    <a:pt x="2087" y="1273"/>
                    <a:pt x="2087" y="1265"/>
                  </a:cubicBezTo>
                  <a:lnTo>
                    <a:pt x="2087" y="1265"/>
                  </a:lnTo>
                  <a:cubicBezTo>
                    <a:pt x="2079" y="1257"/>
                    <a:pt x="2072" y="1257"/>
                    <a:pt x="2072" y="1257"/>
                  </a:cubicBezTo>
                  <a:cubicBezTo>
                    <a:pt x="2064" y="1249"/>
                    <a:pt x="2064" y="1249"/>
                    <a:pt x="2056" y="1249"/>
                  </a:cubicBezTo>
                  <a:lnTo>
                    <a:pt x="2056" y="1249"/>
                  </a:lnTo>
                  <a:cubicBezTo>
                    <a:pt x="2024" y="1249"/>
                    <a:pt x="1953" y="1249"/>
                    <a:pt x="1929" y="1233"/>
                  </a:cubicBezTo>
                  <a:cubicBezTo>
                    <a:pt x="1906" y="1218"/>
                    <a:pt x="1906" y="1194"/>
                    <a:pt x="1914" y="1170"/>
                  </a:cubicBezTo>
                  <a:cubicBezTo>
                    <a:pt x="1921" y="1155"/>
                    <a:pt x="1921" y="1146"/>
                    <a:pt x="1914" y="1139"/>
                  </a:cubicBezTo>
                  <a:cubicBezTo>
                    <a:pt x="1906" y="1131"/>
                    <a:pt x="1890" y="1107"/>
                    <a:pt x="1874" y="1091"/>
                  </a:cubicBezTo>
                  <a:cubicBezTo>
                    <a:pt x="1866" y="1075"/>
                    <a:pt x="1866" y="1067"/>
                    <a:pt x="1858" y="1060"/>
                  </a:cubicBezTo>
                  <a:cubicBezTo>
                    <a:pt x="1842" y="1044"/>
                    <a:pt x="1834" y="1036"/>
                    <a:pt x="1819" y="1028"/>
                  </a:cubicBezTo>
                  <a:cubicBezTo>
                    <a:pt x="1811" y="1028"/>
                    <a:pt x="1803" y="1020"/>
                    <a:pt x="1795" y="1020"/>
                  </a:cubicBezTo>
                  <a:cubicBezTo>
                    <a:pt x="1771" y="1004"/>
                    <a:pt x="1779" y="980"/>
                    <a:pt x="1779" y="957"/>
                  </a:cubicBezTo>
                  <a:cubicBezTo>
                    <a:pt x="1779" y="949"/>
                    <a:pt x="1779" y="941"/>
                    <a:pt x="1779" y="933"/>
                  </a:cubicBezTo>
                  <a:cubicBezTo>
                    <a:pt x="1771" y="917"/>
                    <a:pt x="1724" y="854"/>
                    <a:pt x="1700" y="830"/>
                  </a:cubicBezTo>
                  <a:cubicBezTo>
                    <a:pt x="1692" y="830"/>
                    <a:pt x="1692" y="830"/>
                    <a:pt x="1684" y="822"/>
                  </a:cubicBezTo>
                  <a:cubicBezTo>
                    <a:pt x="1661" y="807"/>
                    <a:pt x="1637" y="791"/>
                    <a:pt x="1597" y="759"/>
                  </a:cubicBezTo>
                  <a:cubicBezTo>
                    <a:pt x="1558" y="728"/>
                    <a:pt x="1550" y="704"/>
                    <a:pt x="1542" y="688"/>
                  </a:cubicBezTo>
                  <a:cubicBezTo>
                    <a:pt x="1534" y="680"/>
                    <a:pt x="1534" y="672"/>
                    <a:pt x="1526" y="656"/>
                  </a:cubicBezTo>
                  <a:cubicBezTo>
                    <a:pt x="1502" y="633"/>
                    <a:pt x="1479" y="625"/>
                    <a:pt x="1447" y="617"/>
                  </a:cubicBezTo>
                  <a:cubicBezTo>
                    <a:pt x="1415" y="601"/>
                    <a:pt x="1392" y="593"/>
                    <a:pt x="1360" y="546"/>
                  </a:cubicBezTo>
                  <a:cubicBezTo>
                    <a:pt x="1328" y="506"/>
                    <a:pt x="1313" y="498"/>
                    <a:pt x="1265" y="482"/>
                  </a:cubicBezTo>
                  <a:cubicBezTo>
                    <a:pt x="1210" y="459"/>
                    <a:pt x="1162" y="388"/>
                    <a:pt x="1123" y="324"/>
                  </a:cubicBezTo>
                  <a:cubicBezTo>
                    <a:pt x="1115" y="316"/>
                    <a:pt x="1115" y="301"/>
                    <a:pt x="1107" y="293"/>
                  </a:cubicBezTo>
                  <a:cubicBezTo>
                    <a:pt x="1091" y="261"/>
                    <a:pt x="1084" y="245"/>
                    <a:pt x="1068" y="245"/>
                  </a:cubicBezTo>
                  <a:cubicBezTo>
                    <a:pt x="1060" y="245"/>
                    <a:pt x="1052" y="245"/>
                    <a:pt x="1044" y="253"/>
                  </a:cubicBezTo>
                  <a:cubicBezTo>
                    <a:pt x="1036" y="253"/>
                    <a:pt x="1028" y="253"/>
                    <a:pt x="1020" y="253"/>
                  </a:cubicBezTo>
                  <a:cubicBezTo>
                    <a:pt x="1012" y="253"/>
                    <a:pt x="1004" y="253"/>
                    <a:pt x="1004" y="245"/>
                  </a:cubicBezTo>
                  <a:cubicBezTo>
                    <a:pt x="989" y="229"/>
                    <a:pt x="949" y="198"/>
                    <a:pt x="925" y="182"/>
                  </a:cubicBezTo>
                  <a:cubicBezTo>
                    <a:pt x="917" y="182"/>
                    <a:pt x="917" y="182"/>
                    <a:pt x="909" y="174"/>
                  </a:cubicBezTo>
                  <a:cubicBezTo>
                    <a:pt x="894" y="166"/>
                    <a:pt x="902" y="135"/>
                    <a:pt x="902" y="103"/>
                  </a:cubicBezTo>
                  <a:cubicBezTo>
                    <a:pt x="902" y="95"/>
                    <a:pt x="902" y="95"/>
                    <a:pt x="902" y="95"/>
                  </a:cubicBezTo>
                  <a:cubicBezTo>
                    <a:pt x="902" y="63"/>
                    <a:pt x="941" y="48"/>
                    <a:pt x="957" y="32"/>
                  </a:cubicBezTo>
                  <a:cubicBezTo>
                    <a:pt x="965" y="24"/>
                    <a:pt x="965" y="24"/>
                    <a:pt x="965" y="24"/>
                  </a:cubicBezTo>
                  <a:cubicBezTo>
                    <a:pt x="973" y="24"/>
                    <a:pt x="973" y="24"/>
                    <a:pt x="973" y="8"/>
                  </a:cubicBezTo>
                  <a:cubicBezTo>
                    <a:pt x="965" y="16"/>
                    <a:pt x="949" y="16"/>
                    <a:pt x="941" y="16"/>
                  </a:cubicBezTo>
                  <a:cubicBezTo>
                    <a:pt x="917" y="16"/>
                    <a:pt x="799" y="32"/>
                    <a:pt x="617" y="48"/>
                  </a:cubicBezTo>
                  <a:cubicBezTo>
                    <a:pt x="451" y="71"/>
                    <a:pt x="245" y="95"/>
                    <a:pt x="8" y="119"/>
                  </a:cubicBezTo>
                  <a:cubicBezTo>
                    <a:pt x="372" y="1241"/>
                    <a:pt x="372" y="1241"/>
                    <a:pt x="372" y="1241"/>
                  </a:cubicBezTo>
                  <a:cubicBezTo>
                    <a:pt x="372" y="1241"/>
                    <a:pt x="396" y="1249"/>
                    <a:pt x="411" y="1265"/>
                  </a:cubicBezTo>
                  <a:cubicBezTo>
                    <a:pt x="419" y="1273"/>
                    <a:pt x="419" y="1281"/>
                    <a:pt x="419" y="1289"/>
                  </a:cubicBezTo>
                  <a:cubicBezTo>
                    <a:pt x="419" y="1297"/>
                    <a:pt x="411" y="1313"/>
                    <a:pt x="419" y="1320"/>
                  </a:cubicBezTo>
                  <a:cubicBezTo>
                    <a:pt x="419" y="1336"/>
                    <a:pt x="427" y="1344"/>
                    <a:pt x="435" y="1344"/>
                  </a:cubicBezTo>
                  <a:cubicBezTo>
                    <a:pt x="435" y="1352"/>
                    <a:pt x="443" y="1352"/>
                    <a:pt x="443" y="1368"/>
                  </a:cubicBezTo>
                  <a:cubicBezTo>
                    <a:pt x="443" y="1392"/>
                    <a:pt x="435" y="1407"/>
                    <a:pt x="419" y="1415"/>
                  </a:cubicBezTo>
                  <a:cubicBezTo>
                    <a:pt x="411" y="1423"/>
                    <a:pt x="411" y="1423"/>
                    <a:pt x="411" y="1423"/>
                  </a:cubicBezTo>
                  <a:cubicBezTo>
                    <a:pt x="404" y="1431"/>
                    <a:pt x="388" y="1431"/>
                    <a:pt x="388" y="1439"/>
                  </a:cubicBezTo>
                  <a:cubicBezTo>
                    <a:pt x="388" y="1447"/>
                    <a:pt x="388" y="1447"/>
                    <a:pt x="396" y="1455"/>
                  </a:cubicBezTo>
                  <a:cubicBezTo>
                    <a:pt x="404" y="1471"/>
                    <a:pt x="411" y="1518"/>
                    <a:pt x="396" y="1534"/>
                  </a:cubicBezTo>
                  <a:cubicBezTo>
                    <a:pt x="380" y="1542"/>
                    <a:pt x="364" y="1605"/>
                    <a:pt x="380" y="1621"/>
                  </a:cubicBezTo>
                  <a:lnTo>
                    <a:pt x="388" y="1629"/>
                  </a:lnTo>
                  <a:cubicBezTo>
                    <a:pt x="404" y="1645"/>
                    <a:pt x="427" y="1676"/>
                    <a:pt x="427" y="1700"/>
                  </a:cubicBezTo>
                  <a:cubicBezTo>
                    <a:pt x="427" y="1716"/>
                    <a:pt x="427" y="1739"/>
                    <a:pt x="427" y="1771"/>
                  </a:cubicBezTo>
                  <a:cubicBezTo>
                    <a:pt x="419" y="1803"/>
                    <a:pt x="411" y="1834"/>
                    <a:pt x="419" y="1850"/>
                  </a:cubicBezTo>
                  <a:cubicBezTo>
                    <a:pt x="419" y="1858"/>
                    <a:pt x="427" y="1874"/>
                    <a:pt x="435" y="1890"/>
                  </a:cubicBezTo>
                  <a:cubicBezTo>
                    <a:pt x="451" y="1921"/>
                    <a:pt x="467" y="1961"/>
                    <a:pt x="467" y="1977"/>
                  </a:cubicBezTo>
                  <a:cubicBezTo>
                    <a:pt x="506" y="2032"/>
                    <a:pt x="546" y="2095"/>
                    <a:pt x="554" y="2103"/>
                  </a:cubicBezTo>
                  <a:cubicBezTo>
                    <a:pt x="569" y="2103"/>
                    <a:pt x="1589" y="2016"/>
                    <a:pt x="1605" y="2016"/>
                  </a:cubicBezTo>
                  <a:close/>
                </a:path>
              </a:pathLst>
            </a:custGeom>
            <a:solidFill>
              <a:schemeClr val="accent6"/>
            </a:solidFill>
            <a:ln>
              <a:solidFill>
                <a:schemeClr val="bg2"/>
              </a:solidFill>
            </a:ln>
            <a:effectLst/>
          </p:spPr>
          <p:txBody>
            <a:bodyPr wrap="none" anchor="ctr"/>
            <a:lstStyle/>
            <a:p>
              <a:endParaRPr lang="en-US"/>
            </a:p>
          </p:txBody>
        </p:sp>
        <p:sp>
          <p:nvSpPr>
            <p:cNvPr id="56" name="Freeform 412"/>
            <p:cNvSpPr>
              <a:spLocks noChangeArrowheads="1"/>
            </p:cNvSpPr>
            <p:nvPr/>
          </p:nvSpPr>
          <p:spPr bwMode="auto">
            <a:xfrm>
              <a:off x="5325819" y="4064520"/>
              <a:ext cx="520008" cy="736756"/>
            </a:xfrm>
            <a:custGeom>
              <a:avLst/>
              <a:gdLst>
                <a:gd name="T0" fmla="*/ 1399 w 1440"/>
                <a:gd name="T1" fmla="*/ 1581 h 2357"/>
                <a:gd name="T2" fmla="*/ 1399 w 1440"/>
                <a:gd name="T3" fmla="*/ 1581 h 2357"/>
                <a:gd name="T4" fmla="*/ 1344 w 1440"/>
                <a:gd name="T5" fmla="*/ 1502 h 2357"/>
                <a:gd name="T6" fmla="*/ 1360 w 1440"/>
                <a:gd name="T7" fmla="*/ 1407 h 2357"/>
                <a:gd name="T8" fmla="*/ 1360 w 1440"/>
                <a:gd name="T9" fmla="*/ 1336 h 2357"/>
                <a:gd name="T10" fmla="*/ 1383 w 1440"/>
                <a:gd name="T11" fmla="*/ 1296 h 2357"/>
                <a:gd name="T12" fmla="*/ 1415 w 1440"/>
                <a:gd name="T13" fmla="*/ 1249 h 2357"/>
                <a:gd name="T14" fmla="*/ 1383 w 1440"/>
                <a:gd name="T15" fmla="*/ 1209 h 2357"/>
                <a:gd name="T16" fmla="*/ 1376 w 1440"/>
                <a:gd name="T17" fmla="*/ 1146 h 2357"/>
                <a:gd name="T18" fmla="*/ 1336 w 1440"/>
                <a:gd name="T19" fmla="*/ 1130 h 2357"/>
                <a:gd name="T20" fmla="*/ 980 w 1440"/>
                <a:gd name="T21" fmla="*/ 0 h 2357"/>
                <a:gd name="T22" fmla="*/ 0 w 1440"/>
                <a:gd name="T23" fmla="*/ 95 h 2357"/>
                <a:gd name="T24" fmla="*/ 24 w 1440"/>
                <a:gd name="T25" fmla="*/ 134 h 2357"/>
                <a:gd name="T26" fmla="*/ 40 w 1440"/>
                <a:gd name="T27" fmla="*/ 182 h 2357"/>
                <a:gd name="T28" fmla="*/ 24 w 1440"/>
                <a:gd name="T29" fmla="*/ 1636 h 2357"/>
                <a:gd name="T30" fmla="*/ 111 w 1440"/>
                <a:gd name="T31" fmla="*/ 2300 h 2357"/>
                <a:gd name="T32" fmla="*/ 190 w 1440"/>
                <a:gd name="T33" fmla="*/ 2292 h 2357"/>
                <a:gd name="T34" fmla="*/ 229 w 1440"/>
                <a:gd name="T35" fmla="*/ 2261 h 2357"/>
                <a:gd name="T36" fmla="*/ 245 w 1440"/>
                <a:gd name="T37" fmla="*/ 2134 h 2357"/>
                <a:gd name="T38" fmla="*/ 308 w 1440"/>
                <a:gd name="T39" fmla="*/ 2166 h 2357"/>
                <a:gd name="T40" fmla="*/ 285 w 1440"/>
                <a:gd name="T41" fmla="*/ 2229 h 2357"/>
                <a:gd name="T42" fmla="*/ 356 w 1440"/>
                <a:gd name="T43" fmla="*/ 2284 h 2357"/>
                <a:gd name="T44" fmla="*/ 332 w 1440"/>
                <a:gd name="T45" fmla="*/ 2324 h 2357"/>
                <a:gd name="T46" fmla="*/ 277 w 1440"/>
                <a:gd name="T47" fmla="*/ 2348 h 2357"/>
                <a:gd name="T48" fmla="*/ 371 w 1440"/>
                <a:gd name="T49" fmla="*/ 2340 h 2357"/>
                <a:gd name="T50" fmla="*/ 443 w 1440"/>
                <a:gd name="T51" fmla="*/ 2316 h 2357"/>
                <a:gd name="T52" fmla="*/ 474 w 1440"/>
                <a:gd name="T53" fmla="*/ 2277 h 2357"/>
                <a:gd name="T54" fmla="*/ 490 w 1440"/>
                <a:gd name="T55" fmla="*/ 2292 h 2357"/>
                <a:gd name="T56" fmla="*/ 514 w 1440"/>
                <a:gd name="T57" fmla="*/ 2229 h 2357"/>
                <a:gd name="T58" fmla="*/ 490 w 1440"/>
                <a:gd name="T59" fmla="*/ 2158 h 2357"/>
                <a:gd name="T60" fmla="*/ 482 w 1440"/>
                <a:gd name="T61" fmla="*/ 2095 h 2357"/>
                <a:gd name="T62" fmla="*/ 411 w 1440"/>
                <a:gd name="T63" fmla="*/ 2008 h 2357"/>
                <a:gd name="T64" fmla="*/ 1439 w 1440"/>
                <a:gd name="T65" fmla="*/ 1858 h 2357"/>
                <a:gd name="T66" fmla="*/ 1383 w 1440"/>
                <a:gd name="T67" fmla="*/ 1731 h 2357"/>
                <a:gd name="T68" fmla="*/ 1399 w 1440"/>
                <a:gd name="T69" fmla="*/ 1581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40" h="2357">
                  <a:moveTo>
                    <a:pt x="1399" y="1581"/>
                  </a:moveTo>
                  <a:lnTo>
                    <a:pt x="1399" y="1581"/>
                  </a:lnTo>
                  <a:cubicBezTo>
                    <a:pt x="1399" y="1549"/>
                    <a:pt x="1360" y="1518"/>
                    <a:pt x="1344" y="1502"/>
                  </a:cubicBezTo>
                  <a:cubicBezTo>
                    <a:pt x="1336" y="1486"/>
                    <a:pt x="1344" y="1423"/>
                    <a:pt x="1360" y="1407"/>
                  </a:cubicBezTo>
                  <a:cubicBezTo>
                    <a:pt x="1376" y="1391"/>
                    <a:pt x="1376" y="1352"/>
                    <a:pt x="1360" y="1336"/>
                  </a:cubicBezTo>
                  <a:cubicBezTo>
                    <a:pt x="1352" y="1320"/>
                    <a:pt x="1368" y="1304"/>
                    <a:pt x="1383" y="1296"/>
                  </a:cubicBezTo>
                  <a:cubicBezTo>
                    <a:pt x="1407" y="1288"/>
                    <a:pt x="1415" y="1273"/>
                    <a:pt x="1415" y="1249"/>
                  </a:cubicBezTo>
                  <a:cubicBezTo>
                    <a:pt x="1415" y="1225"/>
                    <a:pt x="1399" y="1233"/>
                    <a:pt x="1383" y="1209"/>
                  </a:cubicBezTo>
                  <a:cubicBezTo>
                    <a:pt x="1376" y="1178"/>
                    <a:pt x="1391" y="1154"/>
                    <a:pt x="1376" y="1146"/>
                  </a:cubicBezTo>
                  <a:cubicBezTo>
                    <a:pt x="1368" y="1138"/>
                    <a:pt x="1336" y="1130"/>
                    <a:pt x="1336" y="1130"/>
                  </a:cubicBezTo>
                  <a:cubicBezTo>
                    <a:pt x="980" y="0"/>
                    <a:pt x="980" y="0"/>
                    <a:pt x="980" y="0"/>
                  </a:cubicBezTo>
                  <a:cubicBezTo>
                    <a:pt x="672" y="31"/>
                    <a:pt x="324" y="71"/>
                    <a:pt x="0" y="95"/>
                  </a:cubicBezTo>
                  <a:cubicBezTo>
                    <a:pt x="8" y="110"/>
                    <a:pt x="16" y="126"/>
                    <a:pt x="24" y="134"/>
                  </a:cubicBezTo>
                  <a:cubicBezTo>
                    <a:pt x="55" y="158"/>
                    <a:pt x="40" y="166"/>
                    <a:pt x="40" y="182"/>
                  </a:cubicBezTo>
                  <a:cubicBezTo>
                    <a:pt x="40" y="197"/>
                    <a:pt x="24" y="1636"/>
                    <a:pt x="24" y="1636"/>
                  </a:cubicBezTo>
                  <a:cubicBezTo>
                    <a:pt x="111" y="2300"/>
                    <a:pt x="111" y="2300"/>
                    <a:pt x="111" y="2300"/>
                  </a:cubicBezTo>
                  <a:cubicBezTo>
                    <a:pt x="134" y="2292"/>
                    <a:pt x="158" y="2284"/>
                    <a:pt x="190" y="2292"/>
                  </a:cubicBezTo>
                  <a:cubicBezTo>
                    <a:pt x="237" y="2300"/>
                    <a:pt x="229" y="2300"/>
                    <a:pt x="229" y="2261"/>
                  </a:cubicBezTo>
                  <a:cubicBezTo>
                    <a:pt x="229" y="2229"/>
                    <a:pt x="221" y="2142"/>
                    <a:pt x="245" y="2134"/>
                  </a:cubicBezTo>
                  <a:cubicBezTo>
                    <a:pt x="269" y="2118"/>
                    <a:pt x="316" y="2134"/>
                    <a:pt x="308" y="2166"/>
                  </a:cubicBezTo>
                  <a:cubicBezTo>
                    <a:pt x="300" y="2197"/>
                    <a:pt x="269" y="2205"/>
                    <a:pt x="285" y="2229"/>
                  </a:cubicBezTo>
                  <a:cubicBezTo>
                    <a:pt x="308" y="2253"/>
                    <a:pt x="356" y="2253"/>
                    <a:pt x="356" y="2284"/>
                  </a:cubicBezTo>
                  <a:cubicBezTo>
                    <a:pt x="356" y="2308"/>
                    <a:pt x="380" y="2316"/>
                    <a:pt x="332" y="2324"/>
                  </a:cubicBezTo>
                  <a:cubicBezTo>
                    <a:pt x="293" y="2332"/>
                    <a:pt x="253" y="2340"/>
                    <a:pt x="277" y="2348"/>
                  </a:cubicBezTo>
                  <a:cubicBezTo>
                    <a:pt x="308" y="2356"/>
                    <a:pt x="324" y="2348"/>
                    <a:pt x="371" y="2340"/>
                  </a:cubicBezTo>
                  <a:cubicBezTo>
                    <a:pt x="411" y="2332"/>
                    <a:pt x="427" y="2348"/>
                    <a:pt x="443" y="2316"/>
                  </a:cubicBezTo>
                  <a:cubicBezTo>
                    <a:pt x="458" y="2277"/>
                    <a:pt x="458" y="2261"/>
                    <a:pt x="474" y="2277"/>
                  </a:cubicBezTo>
                  <a:cubicBezTo>
                    <a:pt x="482" y="2284"/>
                    <a:pt x="490" y="2284"/>
                    <a:pt x="490" y="2292"/>
                  </a:cubicBezTo>
                  <a:cubicBezTo>
                    <a:pt x="506" y="2269"/>
                    <a:pt x="522" y="2237"/>
                    <a:pt x="514" y="2229"/>
                  </a:cubicBezTo>
                  <a:cubicBezTo>
                    <a:pt x="514" y="2213"/>
                    <a:pt x="482" y="2182"/>
                    <a:pt x="490" y="2158"/>
                  </a:cubicBezTo>
                  <a:cubicBezTo>
                    <a:pt x="498" y="2134"/>
                    <a:pt x="514" y="2118"/>
                    <a:pt x="482" y="2095"/>
                  </a:cubicBezTo>
                  <a:cubicBezTo>
                    <a:pt x="451" y="2071"/>
                    <a:pt x="387" y="2031"/>
                    <a:pt x="411" y="2008"/>
                  </a:cubicBezTo>
                  <a:cubicBezTo>
                    <a:pt x="427" y="1976"/>
                    <a:pt x="1439" y="1858"/>
                    <a:pt x="1439" y="1858"/>
                  </a:cubicBezTo>
                  <a:cubicBezTo>
                    <a:pt x="1439" y="1834"/>
                    <a:pt x="1391" y="1747"/>
                    <a:pt x="1383" y="1731"/>
                  </a:cubicBezTo>
                  <a:cubicBezTo>
                    <a:pt x="1383" y="1707"/>
                    <a:pt x="1399" y="1620"/>
                    <a:pt x="1399" y="1581"/>
                  </a:cubicBezTo>
                </a:path>
              </a:pathLst>
            </a:custGeom>
            <a:solidFill>
              <a:schemeClr val="accent6"/>
            </a:solidFill>
            <a:ln>
              <a:solidFill>
                <a:schemeClr val="bg2"/>
              </a:solidFill>
            </a:ln>
            <a:effectLst/>
          </p:spPr>
          <p:txBody>
            <a:bodyPr wrap="none" anchor="ctr"/>
            <a:lstStyle/>
            <a:p>
              <a:endParaRPr lang="en-US"/>
            </a:p>
          </p:txBody>
        </p:sp>
        <p:sp>
          <p:nvSpPr>
            <p:cNvPr id="57" name="Freeform 413"/>
            <p:cNvSpPr>
              <a:spLocks noChangeArrowheads="1"/>
            </p:cNvSpPr>
            <p:nvPr/>
          </p:nvSpPr>
          <p:spPr bwMode="auto">
            <a:xfrm>
              <a:off x="5322639" y="4061766"/>
              <a:ext cx="521599" cy="738134"/>
            </a:xfrm>
            <a:custGeom>
              <a:avLst/>
              <a:gdLst>
                <a:gd name="T0" fmla="*/ 285 w 1448"/>
                <a:gd name="T1" fmla="*/ 2364 h 2365"/>
                <a:gd name="T2" fmla="*/ 364 w 1448"/>
                <a:gd name="T3" fmla="*/ 2324 h 2365"/>
                <a:gd name="T4" fmla="*/ 324 w 1448"/>
                <a:gd name="T5" fmla="*/ 2261 h 2365"/>
                <a:gd name="T6" fmla="*/ 316 w 1448"/>
                <a:gd name="T7" fmla="*/ 2174 h 2365"/>
                <a:gd name="T8" fmla="*/ 253 w 1448"/>
                <a:gd name="T9" fmla="*/ 2142 h 2365"/>
                <a:gd name="T10" fmla="*/ 245 w 1448"/>
                <a:gd name="T11" fmla="*/ 2285 h 2365"/>
                <a:gd name="T12" fmla="*/ 166 w 1448"/>
                <a:gd name="T13" fmla="*/ 2300 h 2365"/>
                <a:gd name="T14" fmla="*/ 111 w 1448"/>
                <a:gd name="T15" fmla="*/ 2308 h 2365"/>
                <a:gd name="T16" fmla="*/ 48 w 1448"/>
                <a:gd name="T17" fmla="*/ 182 h 2365"/>
                <a:gd name="T18" fmla="*/ 0 w 1448"/>
                <a:gd name="T19" fmla="*/ 103 h 2365"/>
                <a:gd name="T20" fmla="*/ 988 w 1448"/>
                <a:gd name="T21" fmla="*/ 0 h 2365"/>
                <a:gd name="T22" fmla="*/ 1399 w 1448"/>
                <a:gd name="T23" fmla="*/ 1178 h 2365"/>
                <a:gd name="T24" fmla="*/ 1423 w 1448"/>
                <a:gd name="T25" fmla="*/ 1257 h 2365"/>
                <a:gd name="T26" fmla="*/ 1368 w 1448"/>
                <a:gd name="T27" fmla="*/ 1328 h 2365"/>
                <a:gd name="T28" fmla="*/ 1360 w 1448"/>
                <a:gd name="T29" fmla="*/ 1510 h 2365"/>
                <a:gd name="T30" fmla="*/ 1407 w 1448"/>
                <a:gd name="T31" fmla="*/ 1660 h 2365"/>
                <a:gd name="T32" fmla="*/ 1447 w 1448"/>
                <a:gd name="T33" fmla="*/ 1866 h 2365"/>
                <a:gd name="T34" fmla="*/ 419 w 1448"/>
                <a:gd name="T35" fmla="*/ 2016 h 2365"/>
                <a:gd name="T36" fmla="*/ 490 w 1448"/>
                <a:gd name="T37" fmla="*/ 2103 h 2365"/>
                <a:gd name="T38" fmla="*/ 514 w 1448"/>
                <a:gd name="T39" fmla="*/ 2205 h 2365"/>
                <a:gd name="T40" fmla="*/ 498 w 1448"/>
                <a:gd name="T41" fmla="*/ 2300 h 2365"/>
                <a:gd name="T42" fmla="*/ 474 w 1448"/>
                <a:gd name="T43" fmla="*/ 2285 h 2365"/>
                <a:gd name="T44" fmla="*/ 411 w 1448"/>
                <a:gd name="T45" fmla="*/ 2348 h 2365"/>
                <a:gd name="T46" fmla="*/ 340 w 1448"/>
                <a:gd name="T47" fmla="*/ 2356 h 2365"/>
                <a:gd name="T48" fmla="*/ 285 w 1448"/>
                <a:gd name="T49" fmla="*/ 2348 h 2365"/>
                <a:gd name="T50" fmla="*/ 340 w 1448"/>
                <a:gd name="T51" fmla="*/ 2348 h 2365"/>
                <a:gd name="T52" fmla="*/ 411 w 1448"/>
                <a:gd name="T53" fmla="*/ 2340 h 2365"/>
                <a:gd name="T54" fmla="*/ 474 w 1448"/>
                <a:gd name="T55" fmla="*/ 2277 h 2365"/>
                <a:gd name="T56" fmla="*/ 522 w 1448"/>
                <a:gd name="T57" fmla="*/ 2237 h 2365"/>
                <a:gd name="T58" fmla="*/ 498 w 1448"/>
                <a:gd name="T59" fmla="*/ 2150 h 2365"/>
                <a:gd name="T60" fmla="*/ 411 w 1448"/>
                <a:gd name="T61" fmla="*/ 2032 h 2365"/>
                <a:gd name="T62" fmla="*/ 1415 w 1448"/>
                <a:gd name="T63" fmla="*/ 1786 h 2365"/>
                <a:gd name="T64" fmla="*/ 1399 w 1448"/>
                <a:gd name="T65" fmla="*/ 1589 h 2365"/>
                <a:gd name="T66" fmla="*/ 1368 w 1448"/>
                <a:gd name="T67" fmla="*/ 1415 h 2365"/>
                <a:gd name="T68" fmla="*/ 1391 w 1448"/>
                <a:gd name="T69" fmla="*/ 1304 h 2365"/>
                <a:gd name="T70" fmla="*/ 1407 w 1448"/>
                <a:gd name="T71" fmla="*/ 1241 h 2365"/>
                <a:gd name="T72" fmla="*/ 1384 w 1448"/>
                <a:gd name="T73" fmla="*/ 1154 h 2365"/>
                <a:gd name="T74" fmla="*/ 1344 w 1448"/>
                <a:gd name="T75" fmla="*/ 1138 h 2365"/>
                <a:gd name="T76" fmla="*/ 32 w 1448"/>
                <a:gd name="T77" fmla="*/ 134 h 2365"/>
                <a:gd name="T78" fmla="*/ 40 w 1448"/>
                <a:gd name="T79" fmla="*/ 1644 h 2365"/>
                <a:gd name="T80" fmla="*/ 198 w 1448"/>
                <a:gd name="T81" fmla="*/ 2300 h 2365"/>
                <a:gd name="T82" fmla="*/ 237 w 1448"/>
                <a:gd name="T83" fmla="*/ 2269 h 2365"/>
                <a:gd name="T84" fmla="*/ 269 w 1448"/>
                <a:gd name="T85" fmla="*/ 2134 h 2365"/>
                <a:gd name="T86" fmla="*/ 301 w 1448"/>
                <a:gd name="T87" fmla="*/ 2205 h 2365"/>
                <a:gd name="T88" fmla="*/ 364 w 1448"/>
                <a:gd name="T89" fmla="*/ 2292 h 2365"/>
                <a:gd name="T90" fmla="*/ 340 w 1448"/>
                <a:gd name="T91" fmla="*/ 2340 h 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48" h="2365">
                  <a:moveTo>
                    <a:pt x="308" y="2364"/>
                  </a:moveTo>
                  <a:lnTo>
                    <a:pt x="308" y="2364"/>
                  </a:lnTo>
                  <a:cubicBezTo>
                    <a:pt x="301" y="2364"/>
                    <a:pt x="293" y="2364"/>
                    <a:pt x="285" y="2364"/>
                  </a:cubicBezTo>
                  <a:cubicBezTo>
                    <a:pt x="277" y="2356"/>
                    <a:pt x="277" y="2356"/>
                    <a:pt x="277" y="2348"/>
                  </a:cubicBezTo>
                  <a:cubicBezTo>
                    <a:pt x="277" y="2348"/>
                    <a:pt x="277" y="2340"/>
                    <a:pt x="340" y="2332"/>
                  </a:cubicBezTo>
                  <a:cubicBezTo>
                    <a:pt x="356" y="2324"/>
                    <a:pt x="364" y="2324"/>
                    <a:pt x="364" y="2324"/>
                  </a:cubicBezTo>
                  <a:cubicBezTo>
                    <a:pt x="364" y="2316"/>
                    <a:pt x="364" y="2316"/>
                    <a:pt x="364" y="2308"/>
                  </a:cubicBezTo>
                  <a:cubicBezTo>
                    <a:pt x="364" y="2300"/>
                    <a:pt x="364" y="2300"/>
                    <a:pt x="364" y="2292"/>
                  </a:cubicBezTo>
                  <a:cubicBezTo>
                    <a:pt x="356" y="2277"/>
                    <a:pt x="340" y="2269"/>
                    <a:pt x="324" y="2261"/>
                  </a:cubicBezTo>
                  <a:cubicBezTo>
                    <a:pt x="316" y="2253"/>
                    <a:pt x="301" y="2245"/>
                    <a:pt x="293" y="2237"/>
                  </a:cubicBezTo>
                  <a:cubicBezTo>
                    <a:pt x="277" y="2221"/>
                    <a:pt x="285" y="2205"/>
                    <a:pt x="301" y="2198"/>
                  </a:cubicBezTo>
                  <a:cubicBezTo>
                    <a:pt x="301" y="2190"/>
                    <a:pt x="308" y="2182"/>
                    <a:pt x="316" y="2174"/>
                  </a:cubicBezTo>
                  <a:cubicBezTo>
                    <a:pt x="316" y="2166"/>
                    <a:pt x="316" y="2158"/>
                    <a:pt x="308" y="2158"/>
                  </a:cubicBezTo>
                  <a:cubicBezTo>
                    <a:pt x="301" y="2142"/>
                    <a:pt x="285" y="2142"/>
                    <a:pt x="269" y="2142"/>
                  </a:cubicBezTo>
                  <a:cubicBezTo>
                    <a:pt x="269" y="2142"/>
                    <a:pt x="261" y="2142"/>
                    <a:pt x="253" y="2142"/>
                  </a:cubicBezTo>
                  <a:cubicBezTo>
                    <a:pt x="237" y="2150"/>
                    <a:pt x="245" y="2205"/>
                    <a:pt x="245" y="2237"/>
                  </a:cubicBezTo>
                  <a:cubicBezTo>
                    <a:pt x="245" y="2253"/>
                    <a:pt x="245" y="2261"/>
                    <a:pt x="245" y="2269"/>
                  </a:cubicBezTo>
                  <a:cubicBezTo>
                    <a:pt x="245" y="2277"/>
                    <a:pt x="245" y="2277"/>
                    <a:pt x="245" y="2285"/>
                  </a:cubicBezTo>
                  <a:cubicBezTo>
                    <a:pt x="245" y="2300"/>
                    <a:pt x="245" y="2308"/>
                    <a:pt x="221" y="2308"/>
                  </a:cubicBezTo>
                  <a:cubicBezTo>
                    <a:pt x="221" y="2308"/>
                    <a:pt x="213" y="2308"/>
                    <a:pt x="198" y="2308"/>
                  </a:cubicBezTo>
                  <a:cubicBezTo>
                    <a:pt x="182" y="2300"/>
                    <a:pt x="174" y="2300"/>
                    <a:pt x="166" y="2300"/>
                  </a:cubicBezTo>
                  <a:cubicBezTo>
                    <a:pt x="150" y="2300"/>
                    <a:pt x="135" y="2308"/>
                    <a:pt x="119" y="2316"/>
                  </a:cubicBezTo>
                  <a:cubicBezTo>
                    <a:pt x="111" y="2316"/>
                    <a:pt x="111" y="2316"/>
                    <a:pt x="111" y="2316"/>
                  </a:cubicBezTo>
                  <a:cubicBezTo>
                    <a:pt x="111" y="2308"/>
                    <a:pt x="111" y="2308"/>
                    <a:pt x="111" y="2308"/>
                  </a:cubicBezTo>
                  <a:cubicBezTo>
                    <a:pt x="32" y="1644"/>
                    <a:pt x="32" y="1644"/>
                    <a:pt x="32" y="1644"/>
                  </a:cubicBezTo>
                  <a:cubicBezTo>
                    <a:pt x="32" y="1628"/>
                    <a:pt x="48" y="205"/>
                    <a:pt x="48" y="190"/>
                  </a:cubicBezTo>
                  <a:lnTo>
                    <a:pt x="48" y="182"/>
                  </a:lnTo>
                  <a:cubicBezTo>
                    <a:pt x="48" y="166"/>
                    <a:pt x="55" y="158"/>
                    <a:pt x="32" y="142"/>
                  </a:cubicBezTo>
                  <a:cubicBezTo>
                    <a:pt x="24" y="134"/>
                    <a:pt x="16" y="127"/>
                    <a:pt x="8" y="111"/>
                  </a:cubicBezTo>
                  <a:cubicBezTo>
                    <a:pt x="0" y="103"/>
                    <a:pt x="0" y="103"/>
                    <a:pt x="0" y="103"/>
                  </a:cubicBezTo>
                  <a:cubicBezTo>
                    <a:pt x="8" y="103"/>
                    <a:pt x="8" y="103"/>
                    <a:pt x="8" y="103"/>
                  </a:cubicBezTo>
                  <a:cubicBezTo>
                    <a:pt x="285" y="79"/>
                    <a:pt x="609" y="47"/>
                    <a:pt x="988" y="0"/>
                  </a:cubicBezTo>
                  <a:lnTo>
                    <a:pt x="988" y="0"/>
                  </a:lnTo>
                  <a:cubicBezTo>
                    <a:pt x="1352" y="1130"/>
                    <a:pt x="1352" y="1130"/>
                    <a:pt x="1352" y="1130"/>
                  </a:cubicBezTo>
                  <a:cubicBezTo>
                    <a:pt x="1352" y="1130"/>
                    <a:pt x="1376" y="1138"/>
                    <a:pt x="1391" y="1154"/>
                  </a:cubicBezTo>
                  <a:cubicBezTo>
                    <a:pt x="1399" y="1162"/>
                    <a:pt x="1399" y="1170"/>
                    <a:pt x="1399" y="1178"/>
                  </a:cubicBezTo>
                  <a:cubicBezTo>
                    <a:pt x="1399" y="1186"/>
                    <a:pt x="1391" y="1202"/>
                    <a:pt x="1399" y="1209"/>
                  </a:cubicBezTo>
                  <a:cubicBezTo>
                    <a:pt x="1399" y="1225"/>
                    <a:pt x="1407" y="1233"/>
                    <a:pt x="1415" y="1233"/>
                  </a:cubicBezTo>
                  <a:cubicBezTo>
                    <a:pt x="1415" y="1241"/>
                    <a:pt x="1423" y="1241"/>
                    <a:pt x="1423" y="1257"/>
                  </a:cubicBezTo>
                  <a:cubicBezTo>
                    <a:pt x="1423" y="1281"/>
                    <a:pt x="1415" y="1296"/>
                    <a:pt x="1399" y="1304"/>
                  </a:cubicBezTo>
                  <a:cubicBezTo>
                    <a:pt x="1391" y="1312"/>
                    <a:pt x="1391" y="1312"/>
                    <a:pt x="1391" y="1312"/>
                  </a:cubicBezTo>
                  <a:cubicBezTo>
                    <a:pt x="1384" y="1320"/>
                    <a:pt x="1368" y="1320"/>
                    <a:pt x="1368" y="1328"/>
                  </a:cubicBezTo>
                  <a:cubicBezTo>
                    <a:pt x="1368" y="1336"/>
                    <a:pt x="1368" y="1336"/>
                    <a:pt x="1376" y="1344"/>
                  </a:cubicBezTo>
                  <a:cubicBezTo>
                    <a:pt x="1384" y="1360"/>
                    <a:pt x="1391" y="1407"/>
                    <a:pt x="1376" y="1423"/>
                  </a:cubicBezTo>
                  <a:cubicBezTo>
                    <a:pt x="1360" y="1431"/>
                    <a:pt x="1344" y="1494"/>
                    <a:pt x="1360" y="1510"/>
                  </a:cubicBezTo>
                  <a:lnTo>
                    <a:pt x="1368" y="1518"/>
                  </a:lnTo>
                  <a:cubicBezTo>
                    <a:pt x="1384" y="1534"/>
                    <a:pt x="1407" y="1565"/>
                    <a:pt x="1407" y="1589"/>
                  </a:cubicBezTo>
                  <a:cubicBezTo>
                    <a:pt x="1407" y="1605"/>
                    <a:pt x="1407" y="1628"/>
                    <a:pt x="1407" y="1660"/>
                  </a:cubicBezTo>
                  <a:cubicBezTo>
                    <a:pt x="1399" y="1692"/>
                    <a:pt x="1391" y="1723"/>
                    <a:pt x="1399" y="1739"/>
                  </a:cubicBezTo>
                  <a:cubicBezTo>
                    <a:pt x="1399" y="1747"/>
                    <a:pt x="1407" y="1763"/>
                    <a:pt x="1415" y="1779"/>
                  </a:cubicBezTo>
                  <a:cubicBezTo>
                    <a:pt x="1431" y="1810"/>
                    <a:pt x="1447" y="1850"/>
                    <a:pt x="1447" y="1866"/>
                  </a:cubicBezTo>
                  <a:lnTo>
                    <a:pt x="1447" y="1866"/>
                  </a:lnTo>
                  <a:lnTo>
                    <a:pt x="1447" y="1866"/>
                  </a:lnTo>
                  <a:cubicBezTo>
                    <a:pt x="1044" y="1913"/>
                    <a:pt x="435" y="2000"/>
                    <a:pt x="419" y="2016"/>
                  </a:cubicBezTo>
                  <a:cubicBezTo>
                    <a:pt x="419" y="2024"/>
                    <a:pt x="411" y="2024"/>
                    <a:pt x="419" y="2032"/>
                  </a:cubicBezTo>
                  <a:cubicBezTo>
                    <a:pt x="419" y="2047"/>
                    <a:pt x="443" y="2063"/>
                    <a:pt x="466" y="2079"/>
                  </a:cubicBezTo>
                  <a:cubicBezTo>
                    <a:pt x="474" y="2087"/>
                    <a:pt x="482" y="2095"/>
                    <a:pt x="490" y="2103"/>
                  </a:cubicBezTo>
                  <a:cubicBezTo>
                    <a:pt x="514" y="2119"/>
                    <a:pt x="514" y="2134"/>
                    <a:pt x="506" y="2158"/>
                  </a:cubicBezTo>
                  <a:lnTo>
                    <a:pt x="498" y="2166"/>
                  </a:lnTo>
                  <a:cubicBezTo>
                    <a:pt x="498" y="2182"/>
                    <a:pt x="506" y="2198"/>
                    <a:pt x="514" y="2205"/>
                  </a:cubicBezTo>
                  <a:cubicBezTo>
                    <a:pt x="522" y="2221"/>
                    <a:pt x="530" y="2229"/>
                    <a:pt x="530" y="2237"/>
                  </a:cubicBezTo>
                  <a:cubicBezTo>
                    <a:pt x="530" y="2245"/>
                    <a:pt x="522" y="2269"/>
                    <a:pt x="506" y="2300"/>
                  </a:cubicBezTo>
                  <a:cubicBezTo>
                    <a:pt x="498" y="2300"/>
                    <a:pt x="498" y="2300"/>
                    <a:pt x="498" y="2300"/>
                  </a:cubicBezTo>
                  <a:cubicBezTo>
                    <a:pt x="490" y="2292"/>
                    <a:pt x="490" y="2292"/>
                    <a:pt x="490" y="2292"/>
                  </a:cubicBezTo>
                  <a:cubicBezTo>
                    <a:pt x="490" y="2292"/>
                    <a:pt x="490" y="2292"/>
                    <a:pt x="482" y="2285"/>
                  </a:cubicBezTo>
                  <a:lnTo>
                    <a:pt x="474" y="2285"/>
                  </a:lnTo>
                  <a:cubicBezTo>
                    <a:pt x="466" y="2285"/>
                    <a:pt x="466" y="2292"/>
                    <a:pt x="459" y="2300"/>
                  </a:cubicBezTo>
                  <a:cubicBezTo>
                    <a:pt x="459" y="2308"/>
                    <a:pt x="459" y="2316"/>
                    <a:pt x="451" y="2324"/>
                  </a:cubicBezTo>
                  <a:cubicBezTo>
                    <a:pt x="443" y="2348"/>
                    <a:pt x="427" y="2348"/>
                    <a:pt x="411" y="2348"/>
                  </a:cubicBezTo>
                  <a:cubicBezTo>
                    <a:pt x="403" y="2348"/>
                    <a:pt x="403" y="2348"/>
                    <a:pt x="403" y="2348"/>
                  </a:cubicBezTo>
                  <a:cubicBezTo>
                    <a:pt x="395" y="2348"/>
                    <a:pt x="388" y="2348"/>
                    <a:pt x="379" y="2348"/>
                  </a:cubicBezTo>
                  <a:cubicBezTo>
                    <a:pt x="364" y="2356"/>
                    <a:pt x="348" y="2356"/>
                    <a:pt x="340" y="2356"/>
                  </a:cubicBezTo>
                  <a:cubicBezTo>
                    <a:pt x="324" y="2364"/>
                    <a:pt x="316" y="2364"/>
                    <a:pt x="308" y="2364"/>
                  </a:cubicBezTo>
                  <a:close/>
                  <a:moveTo>
                    <a:pt x="285" y="2348"/>
                  </a:moveTo>
                  <a:lnTo>
                    <a:pt x="285" y="2348"/>
                  </a:lnTo>
                  <a:cubicBezTo>
                    <a:pt x="285" y="2356"/>
                    <a:pt x="285" y="2356"/>
                    <a:pt x="285" y="2356"/>
                  </a:cubicBezTo>
                  <a:cubicBezTo>
                    <a:pt x="293" y="2356"/>
                    <a:pt x="301" y="2356"/>
                    <a:pt x="308" y="2356"/>
                  </a:cubicBezTo>
                  <a:cubicBezTo>
                    <a:pt x="316" y="2356"/>
                    <a:pt x="324" y="2356"/>
                    <a:pt x="340" y="2348"/>
                  </a:cubicBezTo>
                  <a:cubicBezTo>
                    <a:pt x="348" y="2348"/>
                    <a:pt x="364" y="2348"/>
                    <a:pt x="379" y="2348"/>
                  </a:cubicBezTo>
                  <a:cubicBezTo>
                    <a:pt x="388" y="2340"/>
                    <a:pt x="395" y="2340"/>
                    <a:pt x="403" y="2340"/>
                  </a:cubicBezTo>
                  <a:cubicBezTo>
                    <a:pt x="411" y="2340"/>
                    <a:pt x="411" y="2340"/>
                    <a:pt x="411" y="2340"/>
                  </a:cubicBezTo>
                  <a:cubicBezTo>
                    <a:pt x="427" y="2340"/>
                    <a:pt x="435" y="2340"/>
                    <a:pt x="443" y="2316"/>
                  </a:cubicBezTo>
                  <a:cubicBezTo>
                    <a:pt x="451" y="2308"/>
                    <a:pt x="451" y="2300"/>
                    <a:pt x="459" y="2300"/>
                  </a:cubicBezTo>
                  <a:cubicBezTo>
                    <a:pt x="459" y="2285"/>
                    <a:pt x="466" y="2277"/>
                    <a:pt x="474" y="2277"/>
                  </a:cubicBezTo>
                  <a:cubicBezTo>
                    <a:pt x="474" y="2277"/>
                    <a:pt x="482" y="2277"/>
                    <a:pt x="490" y="2285"/>
                  </a:cubicBezTo>
                  <a:cubicBezTo>
                    <a:pt x="490" y="2285"/>
                    <a:pt x="498" y="2285"/>
                    <a:pt x="498" y="2292"/>
                  </a:cubicBezTo>
                  <a:cubicBezTo>
                    <a:pt x="506" y="2277"/>
                    <a:pt x="522" y="2245"/>
                    <a:pt x="522" y="2237"/>
                  </a:cubicBezTo>
                  <a:cubicBezTo>
                    <a:pt x="522" y="2229"/>
                    <a:pt x="514" y="2221"/>
                    <a:pt x="506" y="2213"/>
                  </a:cubicBezTo>
                  <a:cubicBezTo>
                    <a:pt x="498" y="2198"/>
                    <a:pt x="490" y="2182"/>
                    <a:pt x="490" y="2166"/>
                  </a:cubicBezTo>
                  <a:cubicBezTo>
                    <a:pt x="498" y="2158"/>
                    <a:pt x="498" y="2158"/>
                    <a:pt x="498" y="2150"/>
                  </a:cubicBezTo>
                  <a:cubicBezTo>
                    <a:pt x="506" y="2134"/>
                    <a:pt x="506" y="2126"/>
                    <a:pt x="482" y="2103"/>
                  </a:cubicBezTo>
                  <a:cubicBezTo>
                    <a:pt x="482" y="2103"/>
                    <a:pt x="474" y="2095"/>
                    <a:pt x="459" y="2087"/>
                  </a:cubicBezTo>
                  <a:cubicBezTo>
                    <a:pt x="435" y="2071"/>
                    <a:pt x="411" y="2047"/>
                    <a:pt x="411" y="2032"/>
                  </a:cubicBezTo>
                  <a:cubicBezTo>
                    <a:pt x="411" y="2024"/>
                    <a:pt x="411" y="2016"/>
                    <a:pt x="411" y="2016"/>
                  </a:cubicBezTo>
                  <a:cubicBezTo>
                    <a:pt x="435" y="1984"/>
                    <a:pt x="1320" y="1874"/>
                    <a:pt x="1439" y="1858"/>
                  </a:cubicBezTo>
                  <a:cubicBezTo>
                    <a:pt x="1439" y="1842"/>
                    <a:pt x="1423" y="1810"/>
                    <a:pt x="1415" y="1786"/>
                  </a:cubicBezTo>
                  <a:cubicBezTo>
                    <a:pt x="1399" y="1763"/>
                    <a:pt x="1391" y="1747"/>
                    <a:pt x="1391" y="1739"/>
                  </a:cubicBezTo>
                  <a:cubicBezTo>
                    <a:pt x="1391" y="1723"/>
                    <a:pt x="1391" y="1692"/>
                    <a:pt x="1399" y="1660"/>
                  </a:cubicBezTo>
                  <a:cubicBezTo>
                    <a:pt x="1399" y="1628"/>
                    <a:pt x="1399" y="1605"/>
                    <a:pt x="1399" y="1589"/>
                  </a:cubicBezTo>
                  <a:cubicBezTo>
                    <a:pt x="1399" y="1565"/>
                    <a:pt x="1384" y="1541"/>
                    <a:pt x="1360" y="1526"/>
                  </a:cubicBezTo>
                  <a:cubicBezTo>
                    <a:pt x="1360" y="1518"/>
                    <a:pt x="1352" y="1518"/>
                    <a:pt x="1352" y="1510"/>
                  </a:cubicBezTo>
                  <a:cubicBezTo>
                    <a:pt x="1336" y="1494"/>
                    <a:pt x="1352" y="1431"/>
                    <a:pt x="1368" y="1415"/>
                  </a:cubicBezTo>
                  <a:cubicBezTo>
                    <a:pt x="1376" y="1399"/>
                    <a:pt x="1376" y="1360"/>
                    <a:pt x="1368" y="1344"/>
                  </a:cubicBezTo>
                  <a:cubicBezTo>
                    <a:pt x="1360" y="1344"/>
                    <a:pt x="1360" y="1336"/>
                    <a:pt x="1360" y="1328"/>
                  </a:cubicBezTo>
                  <a:cubicBezTo>
                    <a:pt x="1368" y="1320"/>
                    <a:pt x="1376" y="1312"/>
                    <a:pt x="1391" y="1304"/>
                  </a:cubicBezTo>
                  <a:lnTo>
                    <a:pt x="1391" y="1304"/>
                  </a:lnTo>
                  <a:cubicBezTo>
                    <a:pt x="1407" y="1288"/>
                    <a:pt x="1415" y="1281"/>
                    <a:pt x="1415" y="1257"/>
                  </a:cubicBezTo>
                  <a:cubicBezTo>
                    <a:pt x="1415" y="1249"/>
                    <a:pt x="1415" y="1241"/>
                    <a:pt x="1407" y="1241"/>
                  </a:cubicBezTo>
                  <a:cubicBezTo>
                    <a:pt x="1407" y="1233"/>
                    <a:pt x="1399" y="1233"/>
                    <a:pt x="1391" y="1217"/>
                  </a:cubicBezTo>
                  <a:cubicBezTo>
                    <a:pt x="1384" y="1202"/>
                    <a:pt x="1391" y="1186"/>
                    <a:pt x="1391" y="1178"/>
                  </a:cubicBezTo>
                  <a:cubicBezTo>
                    <a:pt x="1391" y="1170"/>
                    <a:pt x="1391" y="1162"/>
                    <a:pt x="1384" y="1154"/>
                  </a:cubicBezTo>
                  <a:cubicBezTo>
                    <a:pt x="1368" y="1146"/>
                    <a:pt x="1344" y="1138"/>
                    <a:pt x="1344" y="1138"/>
                  </a:cubicBezTo>
                  <a:lnTo>
                    <a:pt x="1344" y="1138"/>
                  </a:lnTo>
                  <a:lnTo>
                    <a:pt x="1344" y="1138"/>
                  </a:lnTo>
                  <a:cubicBezTo>
                    <a:pt x="988" y="8"/>
                    <a:pt x="988" y="8"/>
                    <a:pt x="988" y="8"/>
                  </a:cubicBezTo>
                  <a:cubicBezTo>
                    <a:pt x="609" y="47"/>
                    <a:pt x="293" y="87"/>
                    <a:pt x="16" y="111"/>
                  </a:cubicBezTo>
                  <a:cubicBezTo>
                    <a:pt x="24" y="118"/>
                    <a:pt x="24" y="134"/>
                    <a:pt x="32" y="134"/>
                  </a:cubicBezTo>
                  <a:cubicBezTo>
                    <a:pt x="63" y="158"/>
                    <a:pt x="55" y="174"/>
                    <a:pt x="55" y="182"/>
                  </a:cubicBezTo>
                  <a:lnTo>
                    <a:pt x="55" y="190"/>
                  </a:lnTo>
                  <a:cubicBezTo>
                    <a:pt x="55" y="205"/>
                    <a:pt x="40" y="1628"/>
                    <a:pt x="40" y="1644"/>
                  </a:cubicBezTo>
                  <a:cubicBezTo>
                    <a:pt x="119" y="2308"/>
                    <a:pt x="119" y="2308"/>
                    <a:pt x="119" y="2308"/>
                  </a:cubicBezTo>
                  <a:cubicBezTo>
                    <a:pt x="135" y="2300"/>
                    <a:pt x="150" y="2292"/>
                    <a:pt x="166" y="2292"/>
                  </a:cubicBezTo>
                  <a:cubicBezTo>
                    <a:pt x="174" y="2292"/>
                    <a:pt x="182" y="2292"/>
                    <a:pt x="198" y="2300"/>
                  </a:cubicBezTo>
                  <a:cubicBezTo>
                    <a:pt x="213" y="2300"/>
                    <a:pt x="221" y="2300"/>
                    <a:pt x="221" y="2300"/>
                  </a:cubicBezTo>
                  <a:cubicBezTo>
                    <a:pt x="237" y="2300"/>
                    <a:pt x="237" y="2300"/>
                    <a:pt x="237" y="2277"/>
                  </a:cubicBezTo>
                  <a:cubicBezTo>
                    <a:pt x="237" y="2277"/>
                    <a:pt x="237" y="2277"/>
                    <a:pt x="237" y="2269"/>
                  </a:cubicBezTo>
                  <a:cubicBezTo>
                    <a:pt x="237" y="2261"/>
                    <a:pt x="237" y="2253"/>
                    <a:pt x="237" y="2237"/>
                  </a:cubicBezTo>
                  <a:cubicBezTo>
                    <a:pt x="237" y="2182"/>
                    <a:pt x="237" y="2142"/>
                    <a:pt x="253" y="2134"/>
                  </a:cubicBezTo>
                  <a:cubicBezTo>
                    <a:pt x="261" y="2134"/>
                    <a:pt x="261" y="2134"/>
                    <a:pt x="269" y="2134"/>
                  </a:cubicBezTo>
                  <a:cubicBezTo>
                    <a:pt x="285" y="2134"/>
                    <a:pt x="308" y="2142"/>
                    <a:pt x="316" y="2150"/>
                  </a:cubicBezTo>
                  <a:cubicBezTo>
                    <a:pt x="324" y="2158"/>
                    <a:pt x="324" y="2166"/>
                    <a:pt x="316" y="2174"/>
                  </a:cubicBezTo>
                  <a:cubicBezTo>
                    <a:pt x="316" y="2190"/>
                    <a:pt x="308" y="2198"/>
                    <a:pt x="301" y="2205"/>
                  </a:cubicBezTo>
                  <a:cubicBezTo>
                    <a:pt x="293" y="2213"/>
                    <a:pt x="293" y="2221"/>
                    <a:pt x="301" y="2229"/>
                  </a:cubicBezTo>
                  <a:cubicBezTo>
                    <a:pt x="308" y="2245"/>
                    <a:pt x="316" y="2245"/>
                    <a:pt x="332" y="2253"/>
                  </a:cubicBezTo>
                  <a:cubicBezTo>
                    <a:pt x="348" y="2261"/>
                    <a:pt x="364" y="2269"/>
                    <a:pt x="364" y="2292"/>
                  </a:cubicBezTo>
                  <a:cubicBezTo>
                    <a:pt x="372" y="2292"/>
                    <a:pt x="372" y="2300"/>
                    <a:pt x="372" y="2308"/>
                  </a:cubicBezTo>
                  <a:cubicBezTo>
                    <a:pt x="372" y="2316"/>
                    <a:pt x="372" y="2316"/>
                    <a:pt x="372" y="2324"/>
                  </a:cubicBezTo>
                  <a:cubicBezTo>
                    <a:pt x="372" y="2332"/>
                    <a:pt x="356" y="2332"/>
                    <a:pt x="340" y="2340"/>
                  </a:cubicBezTo>
                  <a:cubicBezTo>
                    <a:pt x="301" y="2340"/>
                    <a:pt x="285" y="2348"/>
                    <a:pt x="285" y="2348"/>
                  </a:cubicBezTo>
                  <a:close/>
                </a:path>
              </a:pathLst>
            </a:custGeom>
            <a:solidFill>
              <a:schemeClr val="accent6"/>
            </a:solidFill>
            <a:ln>
              <a:solidFill>
                <a:schemeClr val="bg2"/>
              </a:solidFill>
            </a:ln>
            <a:effectLst/>
          </p:spPr>
          <p:txBody>
            <a:bodyPr wrap="none" anchor="ctr"/>
            <a:lstStyle/>
            <a:p>
              <a:endParaRPr lang="en-US"/>
            </a:p>
          </p:txBody>
        </p:sp>
        <p:sp>
          <p:nvSpPr>
            <p:cNvPr id="58" name="Freeform 486"/>
            <p:cNvSpPr>
              <a:spLocks noChangeArrowheads="1"/>
            </p:cNvSpPr>
            <p:nvPr/>
          </p:nvSpPr>
          <p:spPr bwMode="auto">
            <a:xfrm>
              <a:off x="4527517" y="4423947"/>
              <a:ext cx="769677" cy="590783"/>
            </a:xfrm>
            <a:custGeom>
              <a:avLst/>
              <a:gdLst>
                <a:gd name="T0" fmla="*/ 55 w 2135"/>
                <a:gd name="T1" fmla="*/ 561 h 1890"/>
                <a:gd name="T2" fmla="*/ 142 w 2135"/>
                <a:gd name="T3" fmla="*/ 735 h 1890"/>
                <a:gd name="T4" fmla="*/ 229 w 2135"/>
                <a:gd name="T5" fmla="*/ 964 h 1890"/>
                <a:gd name="T6" fmla="*/ 158 w 2135"/>
                <a:gd name="T7" fmla="*/ 1170 h 1890"/>
                <a:gd name="T8" fmla="*/ 158 w 2135"/>
                <a:gd name="T9" fmla="*/ 1289 h 1890"/>
                <a:gd name="T10" fmla="*/ 158 w 2135"/>
                <a:gd name="T11" fmla="*/ 1431 h 1890"/>
                <a:gd name="T12" fmla="*/ 110 w 2135"/>
                <a:gd name="T13" fmla="*/ 1565 h 1890"/>
                <a:gd name="T14" fmla="*/ 213 w 2135"/>
                <a:gd name="T15" fmla="*/ 1557 h 1890"/>
                <a:gd name="T16" fmla="*/ 331 w 2135"/>
                <a:gd name="T17" fmla="*/ 1486 h 1890"/>
                <a:gd name="T18" fmla="*/ 371 w 2135"/>
                <a:gd name="T19" fmla="*/ 1470 h 1890"/>
                <a:gd name="T20" fmla="*/ 355 w 2135"/>
                <a:gd name="T21" fmla="*/ 1549 h 1890"/>
                <a:gd name="T22" fmla="*/ 830 w 2135"/>
                <a:gd name="T23" fmla="*/ 1534 h 1890"/>
                <a:gd name="T24" fmla="*/ 956 w 2135"/>
                <a:gd name="T25" fmla="*/ 1549 h 1890"/>
                <a:gd name="T26" fmla="*/ 1090 w 2135"/>
                <a:gd name="T27" fmla="*/ 1620 h 1890"/>
                <a:gd name="T28" fmla="*/ 1209 w 2135"/>
                <a:gd name="T29" fmla="*/ 1700 h 1890"/>
                <a:gd name="T30" fmla="*/ 1288 w 2135"/>
                <a:gd name="T31" fmla="*/ 1771 h 1890"/>
                <a:gd name="T32" fmla="*/ 1462 w 2135"/>
                <a:gd name="T33" fmla="*/ 1723 h 1890"/>
                <a:gd name="T34" fmla="*/ 1612 w 2135"/>
                <a:gd name="T35" fmla="*/ 1747 h 1890"/>
                <a:gd name="T36" fmla="*/ 1699 w 2135"/>
                <a:gd name="T37" fmla="*/ 1700 h 1890"/>
                <a:gd name="T38" fmla="*/ 1628 w 2135"/>
                <a:gd name="T39" fmla="*/ 1573 h 1890"/>
                <a:gd name="T40" fmla="*/ 1802 w 2135"/>
                <a:gd name="T41" fmla="*/ 1660 h 1890"/>
                <a:gd name="T42" fmla="*/ 1873 w 2135"/>
                <a:gd name="T43" fmla="*/ 1716 h 1890"/>
                <a:gd name="T44" fmla="*/ 1984 w 2135"/>
                <a:gd name="T45" fmla="*/ 1763 h 1890"/>
                <a:gd name="T46" fmla="*/ 1992 w 2135"/>
                <a:gd name="T47" fmla="*/ 1858 h 1890"/>
                <a:gd name="T48" fmla="*/ 2071 w 2135"/>
                <a:gd name="T49" fmla="*/ 1818 h 1890"/>
                <a:gd name="T50" fmla="*/ 2102 w 2135"/>
                <a:gd name="T51" fmla="*/ 1684 h 1890"/>
                <a:gd name="T52" fmla="*/ 1881 w 2135"/>
                <a:gd name="T53" fmla="*/ 1597 h 1890"/>
                <a:gd name="T54" fmla="*/ 1913 w 2135"/>
                <a:gd name="T55" fmla="*/ 1510 h 1890"/>
                <a:gd name="T56" fmla="*/ 1960 w 2135"/>
                <a:gd name="T57" fmla="*/ 1463 h 1890"/>
                <a:gd name="T58" fmla="*/ 1913 w 2135"/>
                <a:gd name="T59" fmla="*/ 1312 h 1890"/>
                <a:gd name="T60" fmla="*/ 1849 w 2135"/>
                <a:gd name="T61" fmla="*/ 1407 h 1890"/>
                <a:gd name="T62" fmla="*/ 1826 w 2135"/>
                <a:gd name="T63" fmla="*/ 1328 h 1890"/>
                <a:gd name="T64" fmla="*/ 1699 w 2135"/>
                <a:gd name="T65" fmla="*/ 1352 h 1890"/>
                <a:gd name="T66" fmla="*/ 1596 w 2135"/>
                <a:gd name="T67" fmla="*/ 1336 h 1890"/>
                <a:gd name="T68" fmla="*/ 1628 w 2135"/>
                <a:gd name="T69" fmla="*/ 1202 h 1890"/>
                <a:gd name="T70" fmla="*/ 1857 w 2135"/>
                <a:gd name="T71" fmla="*/ 1289 h 1890"/>
                <a:gd name="T72" fmla="*/ 1739 w 2135"/>
                <a:gd name="T73" fmla="*/ 1059 h 1890"/>
                <a:gd name="T74" fmla="*/ 1019 w 2135"/>
                <a:gd name="T75" fmla="*/ 941 h 1890"/>
                <a:gd name="T76" fmla="*/ 1011 w 2135"/>
                <a:gd name="T77" fmla="*/ 830 h 1890"/>
                <a:gd name="T78" fmla="*/ 1043 w 2135"/>
                <a:gd name="T79" fmla="*/ 664 h 1890"/>
                <a:gd name="T80" fmla="*/ 1114 w 2135"/>
                <a:gd name="T81" fmla="*/ 585 h 1890"/>
                <a:gd name="T82" fmla="*/ 1201 w 2135"/>
                <a:gd name="T83" fmla="*/ 411 h 1890"/>
                <a:gd name="T84" fmla="*/ 1201 w 2135"/>
                <a:gd name="T85" fmla="*/ 277 h 1890"/>
                <a:gd name="T86" fmla="*/ 1146 w 2135"/>
                <a:gd name="T87" fmla="*/ 119 h 1890"/>
                <a:gd name="T88" fmla="*/ 0 w 2135"/>
                <a:gd name="T89" fmla="*/ 32 h 1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35" h="1890">
                  <a:moveTo>
                    <a:pt x="7" y="522"/>
                  </a:moveTo>
                  <a:lnTo>
                    <a:pt x="7" y="522"/>
                  </a:lnTo>
                  <a:cubicBezTo>
                    <a:pt x="7" y="522"/>
                    <a:pt x="39" y="537"/>
                    <a:pt x="55" y="561"/>
                  </a:cubicBezTo>
                  <a:cubicBezTo>
                    <a:pt x="71" y="585"/>
                    <a:pt x="102" y="601"/>
                    <a:pt x="118" y="632"/>
                  </a:cubicBezTo>
                  <a:cubicBezTo>
                    <a:pt x="126" y="672"/>
                    <a:pt x="118" y="672"/>
                    <a:pt x="110" y="704"/>
                  </a:cubicBezTo>
                  <a:cubicBezTo>
                    <a:pt x="102" y="727"/>
                    <a:pt x="126" y="719"/>
                    <a:pt x="142" y="735"/>
                  </a:cubicBezTo>
                  <a:cubicBezTo>
                    <a:pt x="158" y="751"/>
                    <a:pt x="173" y="775"/>
                    <a:pt x="173" y="822"/>
                  </a:cubicBezTo>
                  <a:cubicBezTo>
                    <a:pt x="173" y="862"/>
                    <a:pt x="197" y="846"/>
                    <a:pt x="213" y="877"/>
                  </a:cubicBezTo>
                  <a:cubicBezTo>
                    <a:pt x="229" y="909"/>
                    <a:pt x="237" y="941"/>
                    <a:pt x="229" y="964"/>
                  </a:cubicBezTo>
                  <a:cubicBezTo>
                    <a:pt x="221" y="996"/>
                    <a:pt x="229" y="1012"/>
                    <a:pt x="229" y="1028"/>
                  </a:cubicBezTo>
                  <a:cubicBezTo>
                    <a:pt x="229" y="1051"/>
                    <a:pt x="229" y="1083"/>
                    <a:pt x="213" y="1115"/>
                  </a:cubicBezTo>
                  <a:cubicBezTo>
                    <a:pt x="189" y="1154"/>
                    <a:pt x="189" y="1146"/>
                    <a:pt x="158" y="1170"/>
                  </a:cubicBezTo>
                  <a:cubicBezTo>
                    <a:pt x="134" y="1202"/>
                    <a:pt x="173" y="1194"/>
                    <a:pt x="181" y="1210"/>
                  </a:cubicBezTo>
                  <a:cubicBezTo>
                    <a:pt x="189" y="1225"/>
                    <a:pt x="189" y="1241"/>
                    <a:pt x="173" y="1241"/>
                  </a:cubicBezTo>
                  <a:cubicBezTo>
                    <a:pt x="165" y="1241"/>
                    <a:pt x="158" y="1273"/>
                    <a:pt x="158" y="1289"/>
                  </a:cubicBezTo>
                  <a:cubicBezTo>
                    <a:pt x="150" y="1304"/>
                    <a:pt x="165" y="1320"/>
                    <a:pt x="173" y="1344"/>
                  </a:cubicBezTo>
                  <a:cubicBezTo>
                    <a:pt x="189" y="1360"/>
                    <a:pt x="181" y="1383"/>
                    <a:pt x="181" y="1399"/>
                  </a:cubicBezTo>
                  <a:cubicBezTo>
                    <a:pt x="181" y="1415"/>
                    <a:pt x="173" y="1415"/>
                    <a:pt x="158" y="1431"/>
                  </a:cubicBezTo>
                  <a:cubicBezTo>
                    <a:pt x="150" y="1447"/>
                    <a:pt x="158" y="1470"/>
                    <a:pt x="134" y="1494"/>
                  </a:cubicBezTo>
                  <a:cubicBezTo>
                    <a:pt x="118" y="1510"/>
                    <a:pt x="102" y="1526"/>
                    <a:pt x="94" y="1541"/>
                  </a:cubicBezTo>
                  <a:cubicBezTo>
                    <a:pt x="86" y="1557"/>
                    <a:pt x="102" y="1565"/>
                    <a:pt x="110" y="1565"/>
                  </a:cubicBezTo>
                  <a:cubicBezTo>
                    <a:pt x="126" y="1573"/>
                    <a:pt x="126" y="1589"/>
                    <a:pt x="126" y="1589"/>
                  </a:cubicBezTo>
                  <a:lnTo>
                    <a:pt x="126" y="1589"/>
                  </a:lnTo>
                  <a:cubicBezTo>
                    <a:pt x="150" y="1581"/>
                    <a:pt x="165" y="1565"/>
                    <a:pt x="213" y="1557"/>
                  </a:cubicBezTo>
                  <a:cubicBezTo>
                    <a:pt x="268" y="1557"/>
                    <a:pt x="316" y="1565"/>
                    <a:pt x="324" y="1549"/>
                  </a:cubicBezTo>
                  <a:cubicBezTo>
                    <a:pt x="324" y="1534"/>
                    <a:pt x="308" y="1502"/>
                    <a:pt x="308" y="1502"/>
                  </a:cubicBezTo>
                  <a:cubicBezTo>
                    <a:pt x="300" y="1502"/>
                    <a:pt x="324" y="1502"/>
                    <a:pt x="331" y="1486"/>
                  </a:cubicBezTo>
                  <a:cubicBezTo>
                    <a:pt x="331" y="1470"/>
                    <a:pt x="324" y="1463"/>
                    <a:pt x="324" y="1447"/>
                  </a:cubicBezTo>
                  <a:cubicBezTo>
                    <a:pt x="331" y="1431"/>
                    <a:pt x="339" y="1399"/>
                    <a:pt x="347" y="1431"/>
                  </a:cubicBezTo>
                  <a:cubicBezTo>
                    <a:pt x="355" y="1454"/>
                    <a:pt x="371" y="1463"/>
                    <a:pt x="371" y="1470"/>
                  </a:cubicBezTo>
                  <a:cubicBezTo>
                    <a:pt x="379" y="1478"/>
                    <a:pt x="379" y="1486"/>
                    <a:pt x="363" y="1494"/>
                  </a:cubicBezTo>
                  <a:cubicBezTo>
                    <a:pt x="339" y="1494"/>
                    <a:pt x="324" y="1494"/>
                    <a:pt x="339" y="1518"/>
                  </a:cubicBezTo>
                  <a:cubicBezTo>
                    <a:pt x="355" y="1541"/>
                    <a:pt x="339" y="1549"/>
                    <a:pt x="355" y="1549"/>
                  </a:cubicBezTo>
                  <a:cubicBezTo>
                    <a:pt x="379" y="1549"/>
                    <a:pt x="561" y="1597"/>
                    <a:pt x="592" y="1620"/>
                  </a:cubicBezTo>
                  <a:cubicBezTo>
                    <a:pt x="624" y="1636"/>
                    <a:pt x="853" y="1660"/>
                    <a:pt x="845" y="1589"/>
                  </a:cubicBezTo>
                  <a:cubicBezTo>
                    <a:pt x="837" y="1518"/>
                    <a:pt x="798" y="1549"/>
                    <a:pt x="830" y="1534"/>
                  </a:cubicBezTo>
                  <a:cubicBezTo>
                    <a:pt x="869" y="1510"/>
                    <a:pt x="861" y="1526"/>
                    <a:pt x="885" y="1510"/>
                  </a:cubicBezTo>
                  <a:cubicBezTo>
                    <a:pt x="901" y="1502"/>
                    <a:pt x="932" y="1478"/>
                    <a:pt x="932" y="1510"/>
                  </a:cubicBezTo>
                  <a:cubicBezTo>
                    <a:pt x="932" y="1534"/>
                    <a:pt x="932" y="1565"/>
                    <a:pt x="956" y="1549"/>
                  </a:cubicBezTo>
                  <a:cubicBezTo>
                    <a:pt x="988" y="1534"/>
                    <a:pt x="964" y="1502"/>
                    <a:pt x="1003" y="1526"/>
                  </a:cubicBezTo>
                  <a:cubicBezTo>
                    <a:pt x="1043" y="1557"/>
                    <a:pt x="1051" y="1557"/>
                    <a:pt x="1059" y="1581"/>
                  </a:cubicBezTo>
                  <a:cubicBezTo>
                    <a:pt x="1067" y="1613"/>
                    <a:pt x="1067" y="1620"/>
                    <a:pt x="1090" y="1620"/>
                  </a:cubicBezTo>
                  <a:cubicBezTo>
                    <a:pt x="1114" y="1629"/>
                    <a:pt x="1161" y="1636"/>
                    <a:pt x="1177" y="1644"/>
                  </a:cubicBezTo>
                  <a:cubicBezTo>
                    <a:pt x="1193" y="1652"/>
                    <a:pt x="1201" y="1660"/>
                    <a:pt x="1217" y="1668"/>
                  </a:cubicBezTo>
                  <a:cubicBezTo>
                    <a:pt x="1233" y="1684"/>
                    <a:pt x="1233" y="1700"/>
                    <a:pt x="1209" y="1700"/>
                  </a:cubicBezTo>
                  <a:cubicBezTo>
                    <a:pt x="1185" y="1700"/>
                    <a:pt x="1161" y="1700"/>
                    <a:pt x="1177" y="1723"/>
                  </a:cubicBezTo>
                  <a:cubicBezTo>
                    <a:pt x="1185" y="1747"/>
                    <a:pt x="1185" y="1755"/>
                    <a:pt x="1217" y="1763"/>
                  </a:cubicBezTo>
                  <a:cubicBezTo>
                    <a:pt x="1248" y="1771"/>
                    <a:pt x="1256" y="1755"/>
                    <a:pt x="1288" y="1771"/>
                  </a:cubicBezTo>
                  <a:cubicBezTo>
                    <a:pt x="1312" y="1779"/>
                    <a:pt x="1296" y="1787"/>
                    <a:pt x="1335" y="1794"/>
                  </a:cubicBezTo>
                  <a:cubicBezTo>
                    <a:pt x="1383" y="1802"/>
                    <a:pt x="1446" y="1818"/>
                    <a:pt x="1462" y="1787"/>
                  </a:cubicBezTo>
                  <a:cubicBezTo>
                    <a:pt x="1478" y="1763"/>
                    <a:pt x="1446" y="1739"/>
                    <a:pt x="1462" y="1723"/>
                  </a:cubicBezTo>
                  <a:cubicBezTo>
                    <a:pt x="1486" y="1707"/>
                    <a:pt x="1557" y="1707"/>
                    <a:pt x="1557" y="1723"/>
                  </a:cubicBezTo>
                  <a:cubicBezTo>
                    <a:pt x="1565" y="1731"/>
                    <a:pt x="1573" y="1739"/>
                    <a:pt x="1588" y="1731"/>
                  </a:cubicBezTo>
                  <a:cubicBezTo>
                    <a:pt x="1604" y="1723"/>
                    <a:pt x="1612" y="1723"/>
                    <a:pt x="1612" y="1747"/>
                  </a:cubicBezTo>
                  <a:cubicBezTo>
                    <a:pt x="1612" y="1763"/>
                    <a:pt x="1588" y="1787"/>
                    <a:pt x="1612" y="1794"/>
                  </a:cubicBezTo>
                  <a:cubicBezTo>
                    <a:pt x="1644" y="1802"/>
                    <a:pt x="1675" y="1818"/>
                    <a:pt x="1683" y="1787"/>
                  </a:cubicBezTo>
                  <a:cubicBezTo>
                    <a:pt x="1691" y="1747"/>
                    <a:pt x="1691" y="1716"/>
                    <a:pt x="1699" y="1700"/>
                  </a:cubicBezTo>
                  <a:cubicBezTo>
                    <a:pt x="1707" y="1684"/>
                    <a:pt x="1715" y="1684"/>
                    <a:pt x="1707" y="1660"/>
                  </a:cubicBezTo>
                  <a:cubicBezTo>
                    <a:pt x="1691" y="1636"/>
                    <a:pt x="1683" y="1636"/>
                    <a:pt x="1660" y="1620"/>
                  </a:cubicBezTo>
                  <a:cubicBezTo>
                    <a:pt x="1628" y="1605"/>
                    <a:pt x="1604" y="1573"/>
                    <a:pt x="1628" y="1573"/>
                  </a:cubicBezTo>
                  <a:cubicBezTo>
                    <a:pt x="1660" y="1581"/>
                    <a:pt x="1660" y="1581"/>
                    <a:pt x="1691" y="1597"/>
                  </a:cubicBezTo>
                  <a:cubicBezTo>
                    <a:pt x="1731" y="1613"/>
                    <a:pt x="1762" y="1613"/>
                    <a:pt x="1778" y="1620"/>
                  </a:cubicBezTo>
                  <a:cubicBezTo>
                    <a:pt x="1794" y="1636"/>
                    <a:pt x="1818" y="1660"/>
                    <a:pt x="1802" y="1660"/>
                  </a:cubicBezTo>
                  <a:cubicBezTo>
                    <a:pt x="1786" y="1668"/>
                    <a:pt x="1762" y="1676"/>
                    <a:pt x="1794" y="1676"/>
                  </a:cubicBezTo>
                  <a:cubicBezTo>
                    <a:pt x="1826" y="1684"/>
                    <a:pt x="1841" y="1668"/>
                    <a:pt x="1849" y="1684"/>
                  </a:cubicBezTo>
                  <a:cubicBezTo>
                    <a:pt x="1865" y="1692"/>
                    <a:pt x="1841" y="1707"/>
                    <a:pt x="1873" y="1716"/>
                  </a:cubicBezTo>
                  <a:cubicBezTo>
                    <a:pt x="1897" y="1716"/>
                    <a:pt x="1936" y="1692"/>
                    <a:pt x="1936" y="1700"/>
                  </a:cubicBezTo>
                  <a:cubicBezTo>
                    <a:pt x="1936" y="1716"/>
                    <a:pt x="1936" y="1731"/>
                    <a:pt x="1952" y="1747"/>
                  </a:cubicBezTo>
                  <a:cubicBezTo>
                    <a:pt x="1968" y="1763"/>
                    <a:pt x="1976" y="1755"/>
                    <a:pt x="1984" y="1763"/>
                  </a:cubicBezTo>
                  <a:cubicBezTo>
                    <a:pt x="1992" y="1779"/>
                    <a:pt x="2007" y="1787"/>
                    <a:pt x="1992" y="1802"/>
                  </a:cubicBezTo>
                  <a:cubicBezTo>
                    <a:pt x="1976" y="1818"/>
                    <a:pt x="1968" y="1826"/>
                    <a:pt x="1976" y="1842"/>
                  </a:cubicBezTo>
                  <a:cubicBezTo>
                    <a:pt x="1976" y="1858"/>
                    <a:pt x="1968" y="1889"/>
                    <a:pt x="1992" y="1858"/>
                  </a:cubicBezTo>
                  <a:cubicBezTo>
                    <a:pt x="2015" y="1826"/>
                    <a:pt x="2015" y="1802"/>
                    <a:pt x="2031" y="1787"/>
                  </a:cubicBezTo>
                  <a:cubicBezTo>
                    <a:pt x="2039" y="1771"/>
                    <a:pt x="2039" y="1779"/>
                    <a:pt x="2047" y="1787"/>
                  </a:cubicBezTo>
                  <a:cubicBezTo>
                    <a:pt x="2055" y="1802"/>
                    <a:pt x="2063" y="1826"/>
                    <a:pt x="2071" y="1818"/>
                  </a:cubicBezTo>
                  <a:cubicBezTo>
                    <a:pt x="2087" y="1802"/>
                    <a:pt x="2087" y="1802"/>
                    <a:pt x="2094" y="1771"/>
                  </a:cubicBezTo>
                  <a:cubicBezTo>
                    <a:pt x="2102" y="1747"/>
                    <a:pt x="2102" y="1763"/>
                    <a:pt x="2118" y="1739"/>
                  </a:cubicBezTo>
                  <a:cubicBezTo>
                    <a:pt x="2134" y="1716"/>
                    <a:pt x="2126" y="1700"/>
                    <a:pt x="2102" y="1684"/>
                  </a:cubicBezTo>
                  <a:cubicBezTo>
                    <a:pt x="2078" y="1676"/>
                    <a:pt x="2087" y="1652"/>
                    <a:pt x="2047" y="1652"/>
                  </a:cubicBezTo>
                  <a:cubicBezTo>
                    <a:pt x="2015" y="1644"/>
                    <a:pt x="2007" y="1652"/>
                    <a:pt x="1968" y="1636"/>
                  </a:cubicBezTo>
                  <a:cubicBezTo>
                    <a:pt x="1928" y="1613"/>
                    <a:pt x="1920" y="1629"/>
                    <a:pt x="1881" y="1597"/>
                  </a:cubicBezTo>
                  <a:cubicBezTo>
                    <a:pt x="1849" y="1565"/>
                    <a:pt x="1826" y="1565"/>
                    <a:pt x="1834" y="1549"/>
                  </a:cubicBezTo>
                  <a:cubicBezTo>
                    <a:pt x="1841" y="1534"/>
                    <a:pt x="1865" y="1518"/>
                    <a:pt x="1881" y="1526"/>
                  </a:cubicBezTo>
                  <a:cubicBezTo>
                    <a:pt x="1905" y="1526"/>
                    <a:pt x="1936" y="1526"/>
                    <a:pt x="1913" y="1510"/>
                  </a:cubicBezTo>
                  <a:cubicBezTo>
                    <a:pt x="1897" y="1502"/>
                    <a:pt x="1857" y="1510"/>
                    <a:pt x="1865" y="1494"/>
                  </a:cubicBezTo>
                  <a:cubicBezTo>
                    <a:pt x="1873" y="1478"/>
                    <a:pt x="1889" y="1463"/>
                    <a:pt x="1913" y="1463"/>
                  </a:cubicBezTo>
                  <a:cubicBezTo>
                    <a:pt x="1928" y="1454"/>
                    <a:pt x="1952" y="1478"/>
                    <a:pt x="1960" y="1463"/>
                  </a:cubicBezTo>
                  <a:cubicBezTo>
                    <a:pt x="1968" y="1447"/>
                    <a:pt x="1968" y="1439"/>
                    <a:pt x="1960" y="1415"/>
                  </a:cubicBezTo>
                  <a:cubicBezTo>
                    <a:pt x="1952" y="1383"/>
                    <a:pt x="1928" y="1399"/>
                    <a:pt x="1928" y="1376"/>
                  </a:cubicBezTo>
                  <a:cubicBezTo>
                    <a:pt x="1920" y="1352"/>
                    <a:pt x="1936" y="1320"/>
                    <a:pt x="1913" y="1312"/>
                  </a:cubicBezTo>
                  <a:cubicBezTo>
                    <a:pt x="1897" y="1304"/>
                    <a:pt x="1873" y="1336"/>
                    <a:pt x="1873" y="1336"/>
                  </a:cubicBezTo>
                  <a:cubicBezTo>
                    <a:pt x="1873" y="1336"/>
                    <a:pt x="1857" y="1383"/>
                    <a:pt x="1857" y="1391"/>
                  </a:cubicBezTo>
                  <a:cubicBezTo>
                    <a:pt x="1857" y="1399"/>
                    <a:pt x="1865" y="1415"/>
                    <a:pt x="1849" y="1407"/>
                  </a:cubicBezTo>
                  <a:cubicBezTo>
                    <a:pt x="1826" y="1407"/>
                    <a:pt x="1818" y="1423"/>
                    <a:pt x="1810" y="1391"/>
                  </a:cubicBezTo>
                  <a:cubicBezTo>
                    <a:pt x="1810" y="1367"/>
                    <a:pt x="1778" y="1383"/>
                    <a:pt x="1786" y="1360"/>
                  </a:cubicBezTo>
                  <a:cubicBezTo>
                    <a:pt x="1794" y="1344"/>
                    <a:pt x="1818" y="1336"/>
                    <a:pt x="1826" y="1328"/>
                  </a:cubicBezTo>
                  <a:cubicBezTo>
                    <a:pt x="1834" y="1312"/>
                    <a:pt x="1810" y="1296"/>
                    <a:pt x="1802" y="1296"/>
                  </a:cubicBezTo>
                  <a:cubicBezTo>
                    <a:pt x="1794" y="1296"/>
                    <a:pt x="1747" y="1281"/>
                    <a:pt x="1731" y="1296"/>
                  </a:cubicBezTo>
                  <a:cubicBezTo>
                    <a:pt x="1707" y="1304"/>
                    <a:pt x="1675" y="1336"/>
                    <a:pt x="1699" y="1352"/>
                  </a:cubicBezTo>
                  <a:cubicBezTo>
                    <a:pt x="1715" y="1376"/>
                    <a:pt x="1747" y="1407"/>
                    <a:pt x="1707" y="1391"/>
                  </a:cubicBezTo>
                  <a:cubicBezTo>
                    <a:pt x="1675" y="1383"/>
                    <a:pt x="1667" y="1344"/>
                    <a:pt x="1644" y="1344"/>
                  </a:cubicBezTo>
                  <a:cubicBezTo>
                    <a:pt x="1628" y="1336"/>
                    <a:pt x="1612" y="1344"/>
                    <a:pt x="1596" y="1336"/>
                  </a:cubicBezTo>
                  <a:cubicBezTo>
                    <a:pt x="1581" y="1328"/>
                    <a:pt x="1541" y="1367"/>
                    <a:pt x="1533" y="1328"/>
                  </a:cubicBezTo>
                  <a:cubicBezTo>
                    <a:pt x="1525" y="1281"/>
                    <a:pt x="1573" y="1233"/>
                    <a:pt x="1588" y="1210"/>
                  </a:cubicBezTo>
                  <a:cubicBezTo>
                    <a:pt x="1604" y="1194"/>
                    <a:pt x="1573" y="1178"/>
                    <a:pt x="1628" y="1202"/>
                  </a:cubicBezTo>
                  <a:cubicBezTo>
                    <a:pt x="1683" y="1233"/>
                    <a:pt x="1660" y="1225"/>
                    <a:pt x="1707" y="1249"/>
                  </a:cubicBezTo>
                  <a:cubicBezTo>
                    <a:pt x="1762" y="1265"/>
                    <a:pt x="1754" y="1273"/>
                    <a:pt x="1786" y="1281"/>
                  </a:cubicBezTo>
                  <a:cubicBezTo>
                    <a:pt x="1826" y="1289"/>
                    <a:pt x="1841" y="1289"/>
                    <a:pt x="1857" y="1289"/>
                  </a:cubicBezTo>
                  <a:cubicBezTo>
                    <a:pt x="1873" y="1281"/>
                    <a:pt x="1881" y="1289"/>
                    <a:pt x="1897" y="1281"/>
                  </a:cubicBezTo>
                  <a:cubicBezTo>
                    <a:pt x="1889" y="1273"/>
                    <a:pt x="1826" y="1186"/>
                    <a:pt x="1810" y="1146"/>
                  </a:cubicBezTo>
                  <a:cubicBezTo>
                    <a:pt x="1802" y="1115"/>
                    <a:pt x="1778" y="1115"/>
                    <a:pt x="1739" y="1059"/>
                  </a:cubicBezTo>
                  <a:cubicBezTo>
                    <a:pt x="1699" y="1004"/>
                    <a:pt x="1762" y="949"/>
                    <a:pt x="1770" y="933"/>
                  </a:cubicBezTo>
                  <a:cubicBezTo>
                    <a:pt x="1786" y="917"/>
                    <a:pt x="1754" y="909"/>
                    <a:pt x="1754" y="909"/>
                  </a:cubicBezTo>
                  <a:cubicBezTo>
                    <a:pt x="1754" y="909"/>
                    <a:pt x="1035" y="949"/>
                    <a:pt x="1019" y="941"/>
                  </a:cubicBezTo>
                  <a:cubicBezTo>
                    <a:pt x="995" y="941"/>
                    <a:pt x="1003" y="933"/>
                    <a:pt x="1011" y="925"/>
                  </a:cubicBezTo>
                  <a:cubicBezTo>
                    <a:pt x="1019" y="917"/>
                    <a:pt x="1011" y="893"/>
                    <a:pt x="995" y="870"/>
                  </a:cubicBezTo>
                  <a:cubicBezTo>
                    <a:pt x="980" y="854"/>
                    <a:pt x="1003" y="838"/>
                    <a:pt x="1011" y="830"/>
                  </a:cubicBezTo>
                  <a:cubicBezTo>
                    <a:pt x="1027" y="822"/>
                    <a:pt x="1027" y="783"/>
                    <a:pt x="1019" y="767"/>
                  </a:cubicBezTo>
                  <a:cubicBezTo>
                    <a:pt x="1011" y="751"/>
                    <a:pt x="1027" y="727"/>
                    <a:pt x="1035" y="727"/>
                  </a:cubicBezTo>
                  <a:cubicBezTo>
                    <a:pt x="1043" y="727"/>
                    <a:pt x="1043" y="688"/>
                    <a:pt x="1043" y="664"/>
                  </a:cubicBezTo>
                  <a:cubicBezTo>
                    <a:pt x="1043" y="640"/>
                    <a:pt x="1067" y="648"/>
                    <a:pt x="1083" y="640"/>
                  </a:cubicBezTo>
                  <a:cubicBezTo>
                    <a:pt x="1098" y="640"/>
                    <a:pt x="1083" y="617"/>
                    <a:pt x="1083" y="601"/>
                  </a:cubicBezTo>
                  <a:cubicBezTo>
                    <a:pt x="1075" y="577"/>
                    <a:pt x="1106" y="585"/>
                    <a:pt x="1114" y="585"/>
                  </a:cubicBezTo>
                  <a:cubicBezTo>
                    <a:pt x="1122" y="577"/>
                    <a:pt x="1122" y="569"/>
                    <a:pt x="1122" y="537"/>
                  </a:cubicBezTo>
                  <a:cubicBezTo>
                    <a:pt x="1114" y="506"/>
                    <a:pt x="1138" y="514"/>
                    <a:pt x="1154" y="506"/>
                  </a:cubicBezTo>
                  <a:cubicBezTo>
                    <a:pt x="1161" y="498"/>
                    <a:pt x="1201" y="435"/>
                    <a:pt x="1201" y="411"/>
                  </a:cubicBezTo>
                  <a:cubicBezTo>
                    <a:pt x="1209" y="387"/>
                    <a:pt x="1193" y="395"/>
                    <a:pt x="1146" y="372"/>
                  </a:cubicBezTo>
                  <a:cubicBezTo>
                    <a:pt x="1106" y="348"/>
                    <a:pt x="1217" y="324"/>
                    <a:pt x="1233" y="324"/>
                  </a:cubicBezTo>
                  <a:cubicBezTo>
                    <a:pt x="1256" y="316"/>
                    <a:pt x="1241" y="293"/>
                    <a:pt x="1201" y="277"/>
                  </a:cubicBezTo>
                  <a:cubicBezTo>
                    <a:pt x="1170" y="261"/>
                    <a:pt x="1185" y="261"/>
                    <a:pt x="1193" y="237"/>
                  </a:cubicBezTo>
                  <a:cubicBezTo>
                    <a:pt x="1201" y="221"/>
                    <a:pt x="1185" y="198"/>
                    <a:pt x="1185" y="198"/>
                  </a:cubicBezTo>
                  <a:cubicBezTo>
                    <a:pt x="1138" y="206"/>
                    <a:pt x="1161" y="134"/>
                    <a:pt x="1146" y="119"/>
                  </a:cubicBezTo>
                  <a:cubicBezTo>
                    <a:pt x="1130" y="103"/>
                    <a:pt x="1170" y="71"/>
                    <a:pt x="1170" y="47"/>
                  </a:cubicBezTo>
                  <a:cubicBezTo>
                    <a:pt x="1161" y="32"/>
                    <a:pt x="1146" y="32"/>
                    <a:pt x="1138" y="0"/>
                  </a:cubicBezTo>
                  <a:cubicBezTo>
                    <a:pt x="0" y="32"/>
                    <a:pt x="0" y="32"/>
                    <a:pt x="0" y="32"/>
                  </a:cubicBezTo>
                  <a:lnTo>
                    <a:pt x="7" y="522"/>
                  </a:lnTo>
                </a:path>
              </a:pathLst>
            </a:custGeom>
            <a:solidFill>
              <a:schemeClr val="accent6"/>
            </a:solidFill>
            <a:ln>
              <a:solidFill>
                <a:schemeClr val="bg2"/>
              </a:solidFill>
            </a:ln>
            <a:effectLst/>
          </p:spPr>
          <p:txBody>
            <a:bodyPr wrap="none" anchor="ctr"/>
            <a:lstStyle/>
            <a:p>
              <a:endParaRPr lang="en-US"/>
            </a:p>
          </p:txBody>
        </p:sp>
        <p:sp>
          <p:nvSpPr>
            <p:cNvPr id="59" name="Freeform 487"/>
            <p:cNvSpPr>
              <a:spLocks noChangeArrowheads="1"/>
            </p:cNvSpPr>
            <p:nvPr/>
          </p:nvSpPr>
          <p:spPr bwMode="auto">
            <a:xfrm>
              <a:off x="4527517" y="4422570"/>
              <a:ext cx="769677" cy="588028"/>
            </a:xfrm>
            <a:custGeom>
              <a:avLst/>
              <a:gdLst>
                <a:gd name="T0" fmla="*/ 1976 w 2135"/>
                <a:gd name="T1" fmla="*/ 1771 h 1882"/>
                <a:gd name="T2" fmla="*/ 1849 w 2135"/>
                <a:gd name="T3" fmla="*/ 1692 h 1882"/>
                <a:gd name="T4" fmla="*/ 1691 w 2135"/>
                <a:gd name="T5" fmla="*/ 1605 h 1882"/>
                <a:gd name="T6" fmla="*/ 1691 w 2135"/>
                <a:gd name="T7" fmla="*/ 1755 h 1882"/>
                <a:gd name="T8" fmla="*/ 1604 w 2135"/>
                <a:gd name="T9" fmla="*/ 1739 h 1882"/>
                <a:gd name="T10" fmla="*/ 1335 w 2135"/>
                <a:gd name="T11" fmla="*/ 1810 h 1882"/>
                <a:gd name="T12" fmla="*/ 1225 w 2135"/>
                <a:gd name="T13" fmla="*/ 1700 h 1882"/>
                <a:gd name="T14" fmla="*/ 964 w 2135"/>
                <a:gd name="T15" fmla="*/ 1557 h 1882"/>
                <a:gd name="T16" fmla="*/ 845 w 2135"/>
                <a:gd name="T17" fmla="*/ 1621 h 1882"/>
                <a:gd name="T18" fmla="*/ 371 w 2135"/>
                <a:gd name="T19" fmla="*/ 1494 h 1882"/>
                <a:gd name="T20" fmla="*/ 316 w 2135"/>
                <a:gd name="T21" fmla="*/ 1510 h 1882"/>
                <a:gd name="T22" fmla="*/ 110 w 2135"/>
                <a:gd name="T23" fmla="*/ 1581 h 1882"/>
                <a:gd name="T24" fmla="*/ 165 w 2135"/>
                <a:gd name="T25" fmla="*/ 1336 h 1882"/>
                <a:gd name="T26" fmla="*/ 181 w 2135"/>
                <a:gd name="T27" fmla="*/ 1162 h 1882"/>
                <a:gd name="T28" fmla="*/ 126 w 2135"/>
                <a:gd name="T29" fmla="*/ 743 h 1882"/>
                <a:gd name="T30" fmla="*/ 0 w 2135"/>
                <a:gd name="T31" fmla="*/ 32 h 1882"/>
                <a:gd name="T32" fmla="*/ 1185 w 2135"/>
                <a:gd name="T33" fmla="*/ 206 h 1882"/>
                <a:gd name="T34" fmla="*/ 1217 w 2135"/>
                <a:gd name="T35" fmla="*/ 340 h 1882"/>
                <a:gd name="T36" fmla="*/ 1106 w 2135"/>
                <a:gd name="T37" fmla="*/ 593 h 1882"/>
                <a:gd name="T38" fmla="*/ 1027 w 2135"/>
                <a:gd name="T39" fmla="*/ 751 h 1882"/>
                <a:gd name="T40" fmla="*/ 1019 w 2135"/>
                <a:gd name="T41" fmla="*/ 949 h 1882"/>
                <a:gd name="T42" fmla="*/ 1786 w 2135"/>
                <a:gd name="T43" fmla="*/ 1115 h 1882"/>
                <a:gd name="T44" fmla="*/ 1802 w 2135"/>
                <a:gd name="T45" fmla="*/ 1289 h 1882"/>
                <a:gd name="T46" fmla="*/ 1588 w 2135"/>
                <a:gd name="T47" fmla="*/ 1225 h 1882"/>
                <a:gd name="T48" fmla="*/ 1675 w 2135"/>
                <a:gd name="T49" fmla="*/ 1368 h 1882"/>
                <a:gd name="T50" fmla="*/ 1826 w 2135"/>
                <a:gd name="T51" fmla="*/ 1320 h 1882"/>
                <a:gd name="T52" fmla="*/ 1849 w 2135"/>
                <a:gd name="T53" fmla="*/ 1415 h 1882"/>
                <a:gd name="T54" fmla="*/ 1928 w 2135"/>
                <a:gd name="T55" fmla="*/ 1384 h 1882"/>
                <a:gd name="T56" fmla="*/ 1865 w 2135"/>
                <a:gd name="T57" fmla="*/ 1502 h 1882"/>
                <a:gd name="T58" fmla="*/ 1889 w 2135"/>
                <a:gd name="T59" fmla="*/ 1605 h 1882"/>
                <a:gd name="T60" fmla="*/ 2102 w 2135"/>
                <a:gd name="T61" fmla="*/ 1763 h 1882"/>
                <a:gd name="T62" fmla="*/ 1992 w 2135"/>
                <a:gd name="T63" fmla="*/ 1866 h 1882"/>
                <a:gd name="T64" fmla="*/ 1992 w 2135"/>
                <a:gd name="T65" fmla="*/ 1779 h 1882"/>
                <a:gd name="T66" fmla="*/ 2039 w 2135"/>
                <a:gd name="T67" fmla="*/ 1779 h 1882"/>
                <a:gd name="T68" fmla="*/ 2102 w 2135"/>
                <a:gd name="T69" fmla="*/ 1692 h 1882"/>
                <a:gd name="T70" fmla="*/ 1881 w 2135"/>
                <a:gd name="T71" fmla="*/ 1526 h 1882"/>
                <a:gd name="T72" fmla="*/ 1936 w 2135"/>
                <a:gd name="T73" fmla="*/ 1471 h 1882"/>
                <a:gd name="T74" fmla="*/ 1881 w 2135"/>
                <a:gd name="T75" fmla="*/ 1344 h 1882"/>
                <a:gd name="T76" fmla="*/ 1778 w 2135"/>
                <a:gd name="T77" fmla="*/ 1384 h 1882"/>
                <a:gd name="T78" fmla="*/ 1699 w 2135"/>
                <a:gd name="T79" fmla="*/ 1344 h 1882"/>
                <a:gd name="T80" fmla="*/ 1596 w 2135"/>
                <a:gd name="T81" fmla="*/ 1352 h 1882"/>
                <a:gd name="T82" fmla="*/ 1628 w 2135"/>
                <a:gd name="T83" fmla="*/ 1210 h 1882"/>
                <a:gd name="T84" fmla="*/ 1873 w 2135"/>
                <a:gd name="T85" fmla="*/ 1273 h 1882"/>
                <a:gd name="T86" fmla="*/ 1019 w 2135"/>
                <a:gd name="T87" fmla="*/ 957 h 1882"/>
                <a:gd name="T88" fmla="*/ 1019 w 2135"/>
                <a:gd name="T89" fmla="*/ 751 h 1882"/>
                <a:gd name="T90" fmla="*/ 1106 w 2135"/>
                <a:gd name="T91" fmla="*/ 585 h 1882"/>
                <a:gd name="T92" fmla="*/ 1217 w 2135"/>
                <a:gd name="T93" fmla="*/ 332 h 1882"/>
                <a:gd name="T94" fmla="*/ 1146 w 2135"/>
                <a:gd name="T95" fmla="*/ 127 h 1882"/>
                <a:gd name="T96" fmla="*/ 118 w 2135"/>
                <a:gd name="T97" fmla="*/ 640 h 1882"/>
                <a:gd name="T98" fmla="*/ 229 w 2135"/>
                <a:gd name="T99" fmla="*/ 1028 h 1882"/>
                <a:gd name="T100" fmla="*/ 173 w 2135"/>
                <a:gd name="T101" fmla="*/ 1257 h 1882"/>
                <a:gd name="T102" fmla="*/ 158 w 2135"/>
                <a:gd name="T103" fmla="*/ 1462 h 1882"/>
                <a:gd name="T104" fmla="*/ 316 w 2135"/>
                <a:gd name="T105" fmla="*/ 1557 h 1882"/>
                <a:gd name="T106" fmla="*/ 355 w 2135"/>
                <a:gd name="T107" fmla="*/ 1431 h 1882"/>
                <a:gd name="T108" fmla="*/ 355 w 2135"/>
                <a:gd name="T109" fmla="*/ 1549 h 1882"/>
                <a:gd name="T110" fmla="*/ 869 w 2135"/>
                <a:gd name="T111" fmla="*/ 1526 h 1882"/>
                <a:gd name="T112" fmla="*/ 1019 w 2135"/>
                <a:gd name="T113" fmla="*/ 1542 h 1882"/>
                <a:gd name="T114" fmla="*/ 1185 w 2135"/>
                <a:gd name="T115" fmla="*/ 1739 h 1882"/>
                <a:gd name="T116" fmla="*/ 1454 w 2135"/>
                <a:gd name="T117" fmla="*/ 1763 h 1882"/>
                <a:gd name="T118" fmla="*/ 1612 w 2135"/>
                <a:gd name="T119" fmla="*/ 1771 h 1882"/>
                <a:gd name="T120" fmla="*/ 1699 w 2135"/>
                <a:gd name="T121" fmla="*/ 1668 h 1882"/>
                <a:gd name="T122" fmla="*/ 1778 w 2135"/>
                <a:gd name="T123" fmla="*/ 1628 h 1882"/>
                <a:gd name="T124" fmla="*/ 1873 w 2135"/>
                <a:gd name="T125" fmla="*/ 171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5" h="1882">
                  <a:moveTo>
                    <a:pt x="1976" y="1881"/>
                  </a:moveTo>
                  <a:lnTo>
                    <a:pt x="1976" y="1881"/>
                  </a:lnTo>
                  <a:cubicBezTo>
                    <a:pt x="1968" y="1881"/>
                    <a:pt x="1968" y="1874"/>
                    <a:pt x="1968" y="1866"/>
                  </a:cubicBezTo>
                  <a:cubicBezTo>
                    <a:pt x="1968" y="1858"/>
                    <a:pt x="1968" y="1850"/>
                    <a:pt x="1968" y="1850"/>
                  </a:cubicBezTo>
                  <a:cubicBezTo>
                    <a:pt x="1960" y="1834"/>
                    <a:pt x="1968" y="1826"/>
                    <a:pt x="1984" y="1810"/>
                  </a:cubicBezTo>
                  <a:lnTo>
                    <a:pt x="1984" y="1810"/>
                  </a:lnTo>
                  <a:cubicBezTo>
                    <a:pt x="2000" y="1795"/>
                    <a:pt x="1992" y="1795"/>
                    <a:pt x="1984" y="1787"/>
                  </a:cubicBezTo>
                  <a:cubicBezTo>
                    <a:pt x="1984" y="1779"/>
                    <a:pt x="1984" y="1779"/>
                    <a:pt x="1984" y="1779"/>
                  </a:cubicBezTo>
                  <a:cubicBezTo>
                    <a:pt x="1984" y="1771"/>
                    <a:pt x="1976" y="1771"/>
                    <a:pt x="1976" y="1771"/>
                  </a:cubicBezTo>
                  <a:cubicBezTo>
                    <a:pt x="1968" y="1771"/>
                    <a:pt x="1960" y="1771"/>
                    <a:pt x="1944" y="1755"/>
                  </a:cubicBezTo>
                  <a:cubicBezTo>
                    <a:pt x="1936" y="1739"/>
                    <a:pt x="1936" y="1731"/>
                    <a:pt x="1936" y="1715"/>
                  </a:cubicBezTo>
                  <a:cubicBezTo>
                    <a:pt x="1936" y="1715"/>
                    <a:pt x="1936" y="1715"/>
                    <a:pt x="1936" y="1708"/>
                  </a:cubicBezTo>
                  <a:lnTo>
                    <a:pt x="1936" y="1708"/>
                  </a:lnTo>
                  <a:cubicBezTo>
                    <a:pt x="1928" y="1708"/>
                    <a:pt x="1920" y="1715"/>
                    <a:pt x="1920" y="1715"/>
                  </a:cubicBezTo>
                  <a:cubicBezTo>
                    <a:pt x="1905" y="1724"/>
                    <a:pt x="1889" y="1724"/>
                    <a:pt x="1873" y="1724"/>
                  </a:cubicBezTo>
                  <a:lnTo>
                    <a:pt x="1873" y="1724"/>
                  </a:lnTo>
                  <a:cubicBezTo>
                    <a:pt x="1849" y="1724"/>
                    <a:pt x="1849" y="1708"/>
                    <a:pt x="1849" y="1700"/>
                  </a:cubicBezTo>
                  <a:lnTo>
                    <a:pt x="1849" y="1692"/>
                  </a:lnTo>
                  <a:lnTo>
                    <a:pt x="1841" y="1684"/>
                  </a:lnTo>
                  <a:cubicBezTo>
                    <a:pt x="1834" y="1684"/>
                    <a:pt x="1834" y="1684"/>
                    <a:pt x="1826" y="1692"/>
                  </a:cubicBezTo>
                  <a:cubicBezTo>
                    <a:pt x="1818" y="1692"/>
                    <a:pt x="1802" y="1692"/>
                    <a:pt x="1794" y="1692"/>
                  </a:cubicBezTo>
                  <a:cubicBezTo>
                    <a:pt x="1778" y="1684"/>
                    <a:pt x="1778" y="1684"/>
                    <a:pt x="1778" y="1676"/>
                  </a:cubicBezTo>
                  <a:cubicBezTo>
                    <a:pt x="1778" y="1676"/>
                    <a:pt x="1778" y="1668"/>
                    <a:pt x="1794" y="1668"/>
                  </a:cubicBezTo>
                  <a:cubicBezTo>
                    <a:pt x="1802" y="1668"/>
                    <a:pt x="1802" y="1660"/>
                    <a:pt x="1802" y="1660"/>
                  </a:cubicBezTo>
                  <a:cubicBezTo>
                    <a:pt x="1802" y="1660"/>
                    <a:pt x="1794" y="1644"/>
                    <a:pt x="1778" y="1637"/>
                  </a:cubicBezTo>
                  <a:cubicBezTo>
                    <a:pt x="1770" y="1628"/>
                    <a:pt x="1754" y="1628"/>
                    <a:pt x="1739" y="1621"/>
                  </a:cubicBezTo>
                  <a:cubicBezTo>
                    <a:pt x="1723" y="1621"/>
                    <a:pt x="1707" y="1613"/>
                    <a:pt x="1691" y="1605"/>
                  </a:cubicBezTo>
                  <a:cubicBezTo>
                    <a:pt x="1683" y="1605"/>
                    <a:pt x="1675" y="1605"/>
                    <a:pt x="1667" y="1597"/>
                  </a:cubicBezTo>
                  <a:cubicBezTo>
                    <a:pt x="1652" y="1597"/>
                    <a:pt x="1644" y="1589"/>
                    <a:pt x="1628" y="1589"/>
                  </a:cubicBezTo>
                  <a:lnTo>
                    <a:pt x="1628" y="1589"/>
                  </a:lnTo>
                  <a:cubicBezTo>
                    <a:pt x="1620" y="1589"/>
                    <a:pt x="1636" y="1613"/>
                    <a:pt x="1660" y="1628"/>
                  </a:cubicBezTo>
                  <a:cubicBezTo>
                    <a:pt x="1667" y="1637"/>
                    <a:pt x="1675" y="1637"/>
                    <a:pt x="1683" y="1637"/>
                  </a:cubicBezTo>
                  <a:cubicBezTo>
                    <a:pt x="1691" y="1644"/>
                    <a:pt x="1699" y="1644"/>
                    <a:pt x="1707" y="1668"/>
                  </a:cubicBezTo>
                  <a:cubicBezTo>
                    <a:pt x="1715" y="1692"/>
                    <a:pt x="1715" y="1692"/>
                    <a:pt x="1707" y="1708"/>
                  </a:cubicBezTo>
                  <a:cubicBezTo>
                    <a:pt x="1707" y="1708"/>
                    <a:pt x="1699" y="1708"/>
                    <a:pt x="1699" y="1715"/>
                  </a:cubicBezTo>
                  <a:cubicBezTo>
                    <a:pt x="1699" y="1724"/>
                    <a:pt x="1691" y="1739"/>
                    <a:pt x="1691" y="1755"/>
                  </a:cubicBezTo>
                  <a:cubicBezTo>
                    <a:pt x="1691" y="1763"/>
                    <a:pt x="1691" y="1779"/>
                    <a:pt x="1683" y="1795"/>
                  </a:cubicBezTo>
                  <a:cubicBezTo>
                    <a:pt x="1683" y="1810"/>
                    <a:pt x="1675" y="1818"/>
                    <a:pt x="1660" y="1818"/>
                  </a:cubicBezTo>
                  <a:cubicBezTo>
                    <a:pt x="1652" y="1818"/>
                    <a:pt x="1644" y="1810"/>
                    <a:pt x="1628" y="1810"/>
                  </a:cubicBezTo>
                  <a:cubicBezTo>
                    <a:pt x="1628" y="1810"/>
                    <a:pt x="1620" y="1810"/>
                    <a:pt x="1612" y="1802"/>
                  </a:cubicBezTo>
                  <a:cubicBezTo>
                    <a:pt x="1612" y="1802"/>
                    <a:pt x="1604" y="1802"/>
                    <a:pt x="1604" y="1795"/>
                  </a:cubicBezTo>
                  <a:cubicBezTo>
                    <a:pt x="1596" y="1787"/>
                    <a:pt x="1604" y="1779"/>
                    <a:pt x="1604" y="1771"/>
                  </a:cubicBezTo>
                  <a:cubicBezTo>
                    <a:pt x="1604" y="1763"/>
                    <a:pt x="1604" y="1755"/>
                    <a:pt x="1612" y="1755"/>
                  </a:cubicBezTo>
                  <a:cubicBezTo>
                    <a:pt x="1612" y="1739"/>
                    <a:pt x="1604" y="1739"/>
                    <a:pt x="1604" y="1739"/>
                  </a:cubicBezTo>
                  <a:lnTo>
                    <a:pt x="1604" y="1739"/>
                  </a:lnTo>
                  <a:cubicBezTo>
                    <a:pt x="1604" y="1739"/>
                    <a:pt x="1596" y="1739"/>
                    <a:pt x="1588" y="1747"/>
                  </a:cubicBezTo>
                  <a:lnTo>
                    <a:pt x="1581" y="1747"/>
                  </a:lnTo>
                  <a:cubicBezTo>
                    <a:pt x="1573" y="1747"/>
                    <a:pt x="1565" y="1739"/>
                    <a:pt x="1557" y="1731"/>
                  </a:cubicBezTo>
                  <a:cubicBezTo>
                    <a:pt x="1557" y="1731"/>
                    <a:pt x="1541" y="1724"/>
                    <a:pt x="1517" y="1724"/>
                  </a:cubicBezTo>
                  <a:cubicBezTo>
                    <a:pt x="1494" y="1724"/>
                    <a:pt x="1478" y="1724"/>
                    <a:pt x="1470" y="1731"/>
                  </a:cubicBezTo>
                  <a:cubicBezTo>
                    <a:pt x="1462" y="1739"/>
                    <a:pt x="1462" y="1747"/>
                    <a:pt x="1462" y="1763"/>
                  </a:cubicBezTo>
                  <a:cubicBezTo>
                    <a:pt x="1470" y="1771"/>
                    <a:pt x="1470" y="1787"/>
                    <a:pt x="1462" y="1802"/>
                  </a:cubicBezTo>
                  <a:cubicBezTo>
                    <a:pt x="1462" y="1810"/>
                    <a:pt x="1438" y="1818"/>
                    <a:pt x="1414" y="1818"/>
                  </a:cubicBezTo>
                  <a:cubicBezTo>
                    <a:pt x="1391" y="1818"/>
                    <a:pt x="1359" y="1810"/>
                    <a:pt x="1335" y="1810"/>
                  </a:cubicBezTo>
                  <a:cubicBezTo>
                    <a:pt x="1312" y="1802"/>
                    <a:pt x="1304" y="1795"/>
                    <a:pt x="1304" y="1795"/>
                  </a:cubicBezTo>
                  <a:cubicBezTo>
                    <a:pt x="1296" y="1787"/>
                    <a:pt x="1296" y="1779"/>
                    <a:pt x="1280" y="1779"/>
                  </a:cubicBezTo>
                  <a:cubicBezTo>
                    <a:pt x="1272" y="1771"/>
                    <a:pt x="1256" y="1771"/>
                    <a:pt x="1248" y="1771"/>
                  </a:cubicBezTo>
                  <a:cubicBezTo>
                    <a:pt x="1241" y="1779"/>
                    <a:pt x="1225" y="1779"/>
                    <a:pt x="1217" y="1771"/>
                  </a:cubicBezTo>
                  <a:cubicBezTo>
                    <a:pt x="1185" y="1771"/>
                    <a:pt x="1185" y="1755"/>
                    <a:pt x="1177" y="1739"/>
                  </a:cubicBezTo>
                  <a:cubicBezTo>
                    <a:pt x="1177" y="1739"/>
                    <a:pt x="1170" y="1739"/>
                    <a:pt x="1170" y="1731"/>
                  </a:cubicBezTo>
                  <a:cubicBezTo>
                    <a:pt x="1170" y="1724"/>
                    <a:pt x="1170" y="1715"/>
                    <a:pt x="1170" y="1715"/>
                  </a:cubicBezTo>
                  <a:cubicBezTo>
                    <a:pt x="1177" y="1708"/>
                    <a:pt x="1193" y="1708"/>
                    <a:pt x="1209" y="1708"/>
                  </a:cubicBezTo>
                  <a:cubicBezTo>
                    <a:pt x="1217" y="1708"/>
                    <a:pt x="1225" y="1700"/>
                    <a:pt x="1225" y="1700"/>
                  </a:cubicBezTo>
                  <a:cubicBezTo>
                    <a:pt x="1225" y="1692"/>
                    <a:pt x="1225" y="1684"/>
                    <a:pt x="1217" y="1684"/>
                  </a:cubicBezTo>
                  <a:cubicBezTo>
                    <a:pt x="1201" y="1668"/>
                    <a:pt x="1193" y="1660"/>
                    <a:pt x="1177" y="1660"/>
                  </a:cubicBezTo>
                  <a:cubicBezTo>
                    <a:pt x="1161" y="1652"/>
                    <a:pt x="1114" y="1637"/>
                    <a:pt x="1090" y="1637"/>
                  </a:cubicBezTo>
                  <a:cubicBezTo>
                    <a:pt x="1067" y="1637"/>
                    <a:pt x="1059" y="1621"/>
                    <a:pt x="1051" y="1589"/>
                  </a:cubicBezTo>
                  <a:cubicBezTo>
                    <a:pt x="1043" y="1573"/>
                    <a:pt x="1043" y="1565"/>
                    <a:pt x="1019" y="1549"/>
                  </a:cubicBezTo>
                  <a:cubicBezTo>
                    <a:pt x="1011" y="1549"/>
                    <a:pt x="1011" y="1542"/>
                    <a:pt x="1003" y="1542"/>
                  </a:cubicBezTo>
                  <a:cubicBezTo>
                    <a:pt x="995" y="1534"/>
                    <a:pt x="988" y="1526"/>
                    <a:pt x="980" y="1526"/>
                  </a:cubicBezTo>
                  <a:cubicBezTo>
                    <a:pt x="980" y="1526"/>
                    <a:pt x="980" y="1534"/>
                    <a:pt x="980" y="1542"/>
                  </a:cubicBezTo>
                  <a:cubicBezTo>
                    <a:pt x="980" y="1542"/>
                    <a:pt x="972" y="1557"/>
                    <a:pt x="964" y="1557"/>
                  </a:cubicBezTo>
                  <a:cubicBezTo>
                    <a:pt x="956" y="1565"/>
                    <a:pt x="948" y="1565"/>
                    <a:pt x="948" y="1565"/>
                  </a:cubicBezTo>
                  <a:cubicBezTo>
                    <a:pt x="932" y="1565"/>
                    <a:pt x="932" y="1542"/>
                    <a:pt x="932" y="1518"/>
                  </a:cubicBezTo>
                  <a:cubicBezTo>
                    <a:pt x="932" y="1510"/>
                    <a:pt x="924" y="1510"/>
                    <a:pt x="924" y="1510"/>
                  </a:cubicBezTo>
                  <a:cubicBezTo>
                    <a:pt x="908" y="1510"/>
                    <a:pt x="893" y="1518"/>
                    <a:pt x="885" y="1526"/>
                  </a:cubicBezTo>
                  <a:cubicBezTo>
                    <a:pt x="877" y="1534"/>
                    <a:pt x="869" y="1534"/>
                    <a:pt x="869" y="1534"/>
                  </a:cubicBezTo>
                  <a:cubicBezTo>
                    <a:pt x="861" y="1534"/>
                    <a:pt x="853" y="1534"/>
                    <a:pt x="830" y="1542"/>
                  </a:cubicBezTo>
                  <a:cubicBezTo>
                    <a:pt x="830" y="1542"/>
                    <a:pt x="830" y="1549"/>
                    <a:pt x="821" y="1549"/>
                  </a:cubicBezTo>
                  <a:cubicBezTo>
                    <a:pt x="830" y="1549"/>
                    <a:pt x="845" y="1565"/>
                    <a:pt x="853" y="1597"/>
                  </a:cubicBezTo>
                  <a:cubicBezTo>
                    <a:pt x="853" y="1605"/>
                    <a:pt x="845" y="1613"/>
                    <a:pt x="845" y="1621"/>
                  </a:cubicBezTo>
                  <a:cubicBezTo>
                    <a:pt x="821" y="1644"/>
                    <a:pt x="766" y="1652"/>
                    <a:pt x="727" y="1652"/>
                  </a:cubicBezTo>
                  <a:cubicBezTo>
                    <a:pt x="671" y="1652"/>
                    <a:pt x="608" y="1644"/>
                    <a:pt x="592" y="1628"/>
                  </a:cubicBezTo>
                  <a:cubicBezTo>
                    <a:pt x="561" y="1613"/>
                    <a:pt x="379" y="1557"/>
                    <a:pt x="355" y="1557"/>
                  </a:cubicBezTo>
                  <a:cubicBezTo>
                    <a:pt x="347" y="1557"/>
                    <a:pt x="339" y="1557"/>
                    <a:pt x="339" y="1549"/>
                  </a:cubicBezTo>
                  <a:cubicBezTo>
                    <a:pt x="339" y="1542"/>
                    <a:pt x="339" y="1534"/>
                    <a:pt x="339" y="1526"/>
                  </a:cubicBezTo>
                  <a:cubicBezTo>
                    <a:pt x="331" y="1518"/>
                    <a:pt x="331" y="1510"/>
                    <a:pt x="331" y="1510"/>
                  </a:cubicBezTo>
                  <a:cubicBezTo>
                    <a:pt x="331" y="1502"/>
                    <a:pt x="339" y="1502"/>
                    <a:pt x="355" y="1494"/>
                  </a:cubicBezTo>
                  <a:cubicBezTo>
                    <a:pt x="355" y="1494"/>
                    <a:pt x="355" y="1494"/>
                    <a:pt x="363" y="1494"/>
                  </a:cubicBezTo>
                  <a:lnTo>
                    <a:pt x="371" y="1494"/>
                  </a:lnTo>
                  <a:cubicBezTo>
                    <a:pt x="371" y="1486"/>
                    <a:pt x="371" y="1478"/>
                    <a:pt x="371" y="1478"/>
                  </a:cubicBezTo>
                  <a:cubicBezTo>
                    <a:pt x="371" y="1478"/>
                    <a:pt x="363" y="1478"/>
                    <a:pt x="363" y="1471"/>
                  </a:cubicBezTo>
                  <a:cubicBezTo>
                    <a:pt x="363" y="1462"/>
                    <a:pt x="355" y="1455"/>
                    <a:pt x="347" y="1439"/>
                  </a:cubicBezTo>
                  <a:cubicBezTo>
                    <a:pt x="339" y="1431"/>
                    <a:pt x="339" y="1431"/>
                    <a:pt x="339" y="1431"/>
                  </a:cubicBezTo>
                  <a:cubicBezTo>
                    <a:pt x="339" y="1431"/>
                    <a:pt x="339" y="1439"/>
                    <a:pt x="331" y="1447"/>
                  </a:cubicBezTo>
                  <a:lnTo>
                    <a:pt x="331" y="1455"/>
                  </a:lnTo>
                  <a:cubicBezTo>
                    <a:pt x="324" y="1462"/>
                    <a:pt x="331" y="1471"/>
                    <a:pt x="331" y="1471"/>
                  </a:cubicBezTo>
                  <a:cubicBezTo>
                    <a:pt x="331" y="1478"/>
                    <a:pt x="331" y="1486"/>
                    <a:pt x="331" y="1494"/>
                  </a:cubicBezTo>
                  <a:cubicBezTo>
                    <a:pt x="331" y="1502"/>
                    <a:pt x="324" y="1510"/>
                    <a:pt x="316" y="1510"/>
                  </a:cubicBezTo>
                  <a:cubicBezTo>
                    <a:pt x="324" y="1518"/>
                    <a:pt x="331" y="1542"/>
                    <a:pt x="324" y="1557"/>
                  </a:cubicBezTo>
                  <a:cubicBezTo>
                    <a:pt x="324" y="1573"/>
                    <a:pt x="292" y="1573"/>
                    <a:pt x="253" y="1573"/>
                  </a:cubicBezTo>
                  <a:cubicBezTo>
                    <a:pt x="244" y="1573"/>
                    <a:pt x="229" y="1573"/>
                    <a:pt x="213" y="1573"/>
                  </a:cubicBezTo>
                  <a:cubicBezTo>
                    <a:pt x="181" y="1573"/>
                    <a:pt x="165" y="1581"/>
                    <a:pt x="150" y="1589"/>
                  </a:cubicBezTo>
                  <a:cubicBezTo>
                    <a:pt x="142" y="1597"/>
                    <a:pt x="134" y="1597"/>
                    <a:pt x="126" y="1597"/>
                  </a:cubicBezTo>
                  <a:cubicBezTo>
                    <a:pt x="126" y="1605"/>
                    <a:pt x="126" y="1605"/>
                    <a:pt x="126" y="1605"/>
                  </a:cubicBezTo>
                  <a:cubicBezTo>
                    <a:pt x="126" y="1597"/>
                    <a:pt x="126" y="1597"/>
                    <a:pt x="126" y="1597"/>
                  </a:cubicBezTo>
                  <a:cubicBezTo>
                    <a:pt x="126" y="1597"/>
                    <a:pt x="118" y="1589"/>
                    <a:pt x="110" y="1581"/>
                  </a:cubicBezTo>
                  <a:lnTo>
                    <a:pt x="110" y="1581"/>
                  </a:lnTo>
                  <a:cubicBezTo>
                    <a:pt x="94" y="1573"/>
                    <a:pt x="86" y="1565"/>
                    <a:pt x="94" y="1542"/>
                  </a:cubicBezTo>
                  <a:cubicBezTo>
                    <a:pt x="102" y="1526"/>
                    <a:pt x="110" y="1518"/>
                    <a:pt x="134" y="1494"/>
                  </a:cubicBezTo>
                  <a:cubicBezTo>
                    <a:pt x="142" y="1486"/>
                    <a:pt x="150" y="1471"/>
                    <a:pt x="150" y="1462"/>
                  </a:cubicBezTo>
                  <a:cubicBezTo>
                    <a:pt x="150" y="1455"/>
                    <a:pt x="150" y="1439"/>
                    <a:pt x="158" y="1431"/>
                  </a:cubicBezTo>
                  <a:cubicBezTo>
                    <a:pt x="165" y="1431"/>
                    <a:pt x="165" y="1423"/>
                    <a:pt x="173" y="1423"/>
                  </a:cubicBezTo>
                  <a:cubicBezTo>
                    <a:pt x="181" y="1423"/>
                    <a:pt x="181" y="1415"/>
                    <a:pt x="181" y="1407"/>
                  </a:cubicBezTo>
                  <a:lnTo>
                    <a:pt x="181" y="1399"/>
                  </a:lnTo>
                  <a:cubicBezTo>
                    <a:pt x="181" y="1384"/>
                    <a:pt x="181" y="1368"/>
                    <a:pt x="173" y="1352"/>
                  </a:cubicBezTo>
                  <a:cubicBezTo>
                    <a:pt x="173" y="1344"/>
                    <a:pt x="165" y="1344"/>
                    <a:pt x="165" y="1336"/>
                  </a:cubicBezTo>
                  <a:cubicBezTo>
                    <a:pt x="158" y="1320"/>
                    <a:pt x="150" y="1312"/>
                    <a:pt x="150" y="1297"/>
                  </a:cubicBezTo>
                  <a:lnTo>
                    <a:pt x="150" y="1289"/>
                  </a:lnTo>
                  <a:cubicBezTo>
                    <a:pt x="158" y="1273"/>
                    <a:pt x="165" y="1249"/>
                    <a:pt x="173" y="1249"/>
                  </a:cubicBezTo>
                  <a:cubicBezTo>
                    <a:pt x="181" y="1249"/>
                    <a:pt x="181" y="1249"/>
                    <a:pt x="181" y="1249"/>
                  </a:cubicBezTo>
                  <a:cubicBezTo>
                    <a:pt x="181" y="1241"/>
                    <a:pt x="181" y="1233"/>
                    <a:pt x="173" y="1218"/>
                  </a:cubicBezTo>
                  <a:cubicBezTo>
                    <a:pt x="173" y="1210"/>
                    <a:pt x="165" y="1210"/>
                    <a:pt x="158" y="1210"/>
                  </a:cubicBezTo>
                  <a:lnTo>
                    <a:pt x="150" y="1202"/>
                  </a:lnTo>
                  <a:cubicBezTo>
                    <a:pt x="150" y="1194"/>
                    <a:pt x="150" y="1186"/>
                    <a:pt x="158" y="1178"/>
                  </a:cubicBezTo>
                  <a:cubicBezTo>
                    <a:pt x="165" y="1170"/>
                    <a:pt x="173" y="1162"/>
                    <a:pt x="181" y="1162"/>
                  </a:cubicBezTo>
                  <a:cubicBezTo>
                    <a:pt x="189" y="1154"/>
                    <a:pt x="197" y="1146"/>
                    <a:pt x="205" y="1123"/>
                  </a:cubicBezTo>
                  <a:cubicBezTo>
                    <a:pt x="229" y="1083"/>
                    <a:pt x="229" y="1051"/>
                    <a:pt x="229" y="1036"/>
                  </a:cubicBezTo>
                  <a:cubicBezTo>
                    <a:pt x="229" y="1036"/>
                    <a:pt x="229" y="1036"/>
                    <a:pt x="221" y="1028"/>
                  </a:cubicBezTo>
                  <a:cubicBezTo>
                    <a:pt x="221" y="1012"/>
                    <a:pt x="221" y="996"/>
                    <a:pt x="229" y="972"/>
                  </a:cubicBezTo>
                  <a:cubicBezTo>
                    <a:pt x="229" y="949"/>
                    <a:pt x="229" y="909"/>
                    <a:pt x="213" y="885"/>
                  </a:cubicBezTo>
                  <a:cubicBezTo>
                    <a:pt x="205" y="870"/>
                    <a:pt x="197" y="870"/>
                    <a:pt x="189" y="862"/>
                  </a:cubicBezTo>
                  <a:cubicBezTo>
                    <a:pt x="181" y="862"/>
                    <a:pt x="165" y="854"/>
                    <a:pt x="165" y="830"/>
                  </a:cubicBezTo>
                  <a:cubicBezTo>
                    <a:pt x="173" y="783"/>
                    <a:pt x="150" y="759"/>
                    <a:pt x="134" y="751"/>
                  </a:cubicBezTo>
                  <a:cubicBezTo>
                    <a:pt x="134" y="743"/>
                    <a:pt x="126" y="743"/>
                    <a:pt x="126" y="743"/>
                  </a:cubicBezTo>
                  <a:cubicBezTo>
                    <a:pt x="110" y="735"/>
                    <a:pt x="102" y="727"/>
                    <a:pt x="110" y="704"/>
                  </a:cubicBezTo>
                  <a:cubicBezTo>
                    <a:pt x="110" y="696"/>
                    <a:pt x="110" y="696"/>
                    <a:pt x="110" y="688"/>
                  </a:cubicBezTo>
                  <a:cubicBezTo>
                    <a:pt x="118" y="672"/>
                    <a:pt x="118" y="664"/>
                    <a:pt x="110" y="640"/>
                  </a:cubicBezTo>
                  <a:cubicBezTo>
                    <a:pt x="102" y="625"/>
                    <a:pt x="86" y="609"/>
                    <a:pt x="78" y="593"/>
                  </a:cubicBezTo>
                  <a:cubicBezTo>
                    <a:pt x="71" y="585"/>
                    <a:pt x="63" y="577"/>
                    <a:pt x="55" y="569"/>
                  </a:cubicBezTo>
                  <a:cubicBezTo>
                    <a:pt x="39" y="545"/>
                    <a:pt x="7" y="530"/>
                    <a:pt x="7" y="530"/>
                  </a:cubicBezTo>
                  <a:lnTo>
                    <a:pt x="7" y="530"/>
                  </a:lnTo>
                  <a:lnTo>
                    <a:pt x="7" y="530"/>
                  </a:lnTo>
                  <a:cubicBezTo>
                    <a:pt x="0" y="32"/>
                    <a:pt x="0" y="32"/>
                    <a:pt x="0" y="32"/>
                  </a:cubicBezTo>
                  <a:lnTo>
                    <a:pt x="0" y="32"/>
                  </a:lnTo>
                  <a:cubicBezTo>
                    <a:pt x="1138" y="0"/>
                    <a:pt x="1138" y="0"/>
                    <a:pt x="1138" y="0"/>
                  </a:cubicBezTo>
                  <a:lnTo>
                    <a:pt x="1138" y="0"/>
                  </a:lnTo>
                  <a:cubicBezTo>
                    <a:pt x="1146" y="24"/>
                    <a:pt x="1154" y="32"/>
                    <a:pt x="1161" y="40"/>
                  </a:cubicBezTo>
                  <a:cubicBezTo>
                    <a:pt x="1161" y="48"/>
                    <a:pt x="1170" y="48"/>
                    <a:pt x="1170" y="55"/>
                  </a:cubicBezTo>
                  <a:cubicBezTo>
                    <a:pt x="1170" y="63"/>
                    <a:pt x="1161" y="79"/>
                    <a:pt x="1154" y="95"/>
                  </a:cubicBezTo>
                  <a:cubicBezTo>
                    <a:pt x="1146" y="103"/>
                    <a:pt x="1146" y="119"/>
                    <a:pt x="1146" y="127"/>
                  </a:cubicBezTo>
                  <a:cubicBezTo>
                    <a:pt x="1154" y="134"/>
                    <a:pt x="1154" y="142"/>
                    <a:pt x="1154" y="158"/>
                  </a:cubicBezTo>
                  <a:cubicBezTo>
                    <a:pt x="1154" y="190"/>
                    <a:pt x="1161" y="206"/>
                    <a:pt x="1185" y="206"/>
                  </a:cubicBezTo>
                  <a:lnTo>
                    <a:pt x="1185" y="206"/>
                  </a:lnTo>
                  <a:lnTo>
                    <a:pt x="1185" y="206"/>
                  </a:lnTo>
                  <a:cubicBezTo>
                    <a:pt x="1185" y="206"/>
                    <a:pt x="1201" y="221"/>
                    <a:pt x="1193" y="245"/>
                  </a:cubicBezTo>
                  <a:cubicBezTo>
                    <a:pt x="1193" y="253"/>
                    <a:pt x="1193" y="261"/>
                    <a:pt x="1193" y="261"/>
                  </a:cubicBezTo>
                  <a:cubicBezTo>
                    <a:pt x="1185" y="269"/>
                    <a:pt x="1185" y="269"/>
                    <a:pt x="1185" y="269"/>
                  </a:cubicBezTo>
                  <a:cubicBezTo>
                    <a:pt x="1185" y="277"/>
                    <a:pt x="1201" y="285"/>
                    <a:pt x="1209" y="285"/>
                  </a:cubicBezTo>
                  <a:cubicBezTo>
                    <a:pt x="1217" y="292"/>
                    <a:pt x="1248" y="308"/>
                    <a:pt x="1248" y="324"/>
                  </a:cubicBezTo>
                  <a:cubicBezTo>
                    <a:pt x="1248" y="324"/>
                    <a:pt x="1248" y="332"/>
                    <a:pt x="1241" y="332"/>
                  </a:cubicBezTo>
                  <a:cubicBezTo>
                    <a:pt x="1233" y="332"/>
                    <a:pt x="1225" y="332"/>
                    <a:pt x="1217" y="340"/>
                  </a:cubicBezTo>
                  <a:cubicBezTo>
                    <a:pt x="1193" y="340"/>
                    <a:pt x="1146" y="356"/>
                    <a:pt x="1138" y="364"/>
                  </a:cubicBezTo>
                  <a:cubicBezTo>
                    <a:pt x="1138" y="364"/>
                    <a:pt x="1146" y="372"/>
                    <a:pt x="1154" y="372"/>
                  </a:cubicBezTo>
                  <a:cubicBezTo>
                    <a:pt x="1161" y="380"/>
                    <a:pt x="1177" y="387"/>
                    <a:pt x="1185" y="387"/>
                  </a:cubicBezTo>
                  <a:cubicBezTo>
                    <a:pt x="1201" y="395"/>
                    <a:pt x="1209" y="395"/>
                    <a:pt x="1209" y="419"/>
                  </a:cubicBezTo>
                  <a:cubicBezTo>
                    <a:pt x="1201" y="443"/>
                    <a:pt x="1170" y="506"/>
                    <a:pt x="1154" y="514"/>
                  </a:cubicBezTo>
                  <a:cubicBezTo>
                    <a:pt x="1146" y="522"/>
                    <a:pt x="1146" y="522"/>
                    <a:pt x="1138" y="522"/>
                  </a:cubicBezTo>
                  <a:cubicBezTo>
                    <a:pt x="1130" y="522"/>
                    <a:pt x="1122" y="530"/>
                    <a:pt x="1122" y="545"/>
                  </a:cubicBezTo>
                  <a:cubicBezTo>
                    <a:pt x="1130" y="585"/>
                    <a:pt x="1122" y="593"/>
                    <a:pt x="1114" y="593"/>
                  </a:cubicBezTo>
                  <a:lnTo>
                    <a:pt x="1106" y="593"/>
                  </a:lnTo>
                  <a:cubicBezTo>
                    <a:pt x="1098" y="593"/>
                    <a:pt x="1090" y="593"/>
                    <a:pt x="1083" y="601"/>
                  </a:cubicBezTo>
                  <a:cubicBezTo>
                    <a:pt x="1083" y="601"/>
                    <a:pt x="1083" y="601"/>
                    <a:pt x="1083" y="609"/>
                  </a:cubicBezTo>
                  <a:cubicBezTo>
                    <a:pt x="1083" y="617"/>
                    <a:pt x="1090" y="625"/>
                    <a:pt x="1090" y="625"/>
                  </a:cubicBezTo>
                  <a:cubicBezTo>
                    <a:pt x="1090" y="640"/>
                    <a:pt x="1098" y="648"/>
                    <a:pt x="1083" y="656"/>
                  </a:cubicBezTo>
                  <a:lnTo>
                    <a:pt x="1075" y="656"/>
                  </a:lnTo>
                  <a:cubicBezTo>
                    <a:pt x="1059" y="656"/>
                    <a:pt x="1043" y="664"/>
                    <a:pt x="1043" y="672"/>
                  </a:cubicBezTo>
                  <a:cubicBezTo>
                    <a:pt x="1043" y="680"/>
                    <a:pt x="1043" y="688"/>
                    <a:pt x="1043" y="696"/>
                  </a:cubicBezTo>
                  <a:cubicBezTo>
                    <a:pt x="1043" y="720"/>
                    <a:pt x="1051" y="735"/>
                    <a:pt x="1035" y="743"/>
                  </a:cubicBezTo>
                  <a:cubicBezTo>
                    <a:pt x="1035" y="743"/>
                    <a:pt x="1027" y="743"/>
                    <a:pt x="1027" y="751"/>
                  </a:cubicBezTo>
                  <a:cubicBezTo>
                    <a:pt x="1019" y="751"/>
                    <a:pt x="1019" y="759"/>
                    <a:pt x="1027" y="767"/>
                  </a:cubicBezTo>
                  <a:cubicBezTo>
                    <a:pt x="1035" y="783"/>
                    <a:pt x="1035" y="814"/>
                    <a:pt x="1027" y="830"/>
                  </a:cubicBezTo>
                  <a:cubicBezTo>
                    <a:pt x="1027" y="838"/>
                    <a:pt x="1019" y="838"/>
                    <a:pt x="1019" y="846"/>
                  </a:cubicBezTo>
                  <a:cubicBezTo>
                    <a:pt x="1011" y="846"/>
                    <a:pt x="995" y="854"/>
                    <a:pt x="995" y="862"/>
                  </a:cubicBezTo>
                  <a:cubicBezTo>
                    <a:pt x="988" y="870"/>
                    <a:pt x="995" y="870"/>
                    <a:pt x="995" y="878"/>
                  </a:cubicBezTo>
                  <a:cubicBezTo>
                    <a:pt x="1011" y="901"/>
                    <a:pt x="1027" y="925"/>
                    <a:pt x="1011" y="933"/>
                  </a:cubicBezTo>
                  <a:lnTo>
                    <a:pt x="1011" y="933"/>
                  </a:lnTo>
                  <a:cubicBezTo>
                    <a:pt x="1011" y="941"/>
                    <a:pt x="1003" y="941"/>
                    <a:pt x="1003" y="949"/>
                  </a:cubicBezTo>
                  <a:cubicBezTo>
                    <a:pt x="1003" y="949"/>
                    <a:pt x="1011" y="949"/>
                    <a:pt x="1019" y="949"/>
                  </a:cubicBezTo>
                  <a:cubicBezTo>
                    <a:pt x="1019" y="949"/>
                    <a:pt x="1019" y="949"/>
                    <a:pt x="1027" y="949"/>
                  </a:cubicBezTo>
                  <a:cubicBezTo>
                    <a:pt x="1098" y="949"/>
                    <a:pt x="1747" y="909"/>
                    <a:pt x="1747" y="909"/>
                  </a:cubicBezTo>
                  <a:cubicBezTo>
                    <a:pt x="1754" y="909"/>
                    <a:pt x="1754" y="909"/>
                    <a:pt x="1754" y="909"/>
                  </a:cubicBezTo>
                  <a:lnTo>
                    <a:pt x="1754" y="909"/>
                  </a:lnTo>
                  <a:cubicBezTo>
                    <a:pt x="1754" y="909"/>
                    <a:pt x="1778" y="917"/>
                    <a:pt x="1778" y="933"/>
                  </a:cubicBezTo>
                  <a:lnTo>
                    <a:pt x="1778" y="941"/>
                  </a:lnTo>
                  <a:cubicBezTo>
                    <a:pt x="1770" y="949"/>
                    <a:pt x="1770" y="949"/>
                    <a:pt x="1770" y="949"/>
                  </a:cubicBezTo>
                  <a:cubicBezTo>
                    <a:pt x="1754" y="965"/>
                    <a:pt x="1699" y="1012"/>
                    <a:pt x="1739" y="1067"/>
                  </a:cubicBezTo>
                  <a:cubicBezTo>
                    <a:pt x="1762" y="1091"/>
                    <a:pt x="1770" y="1107"/>
                    <a:pt x="1786" y="1115"/>
                  </a:cubicBezTo>
                  <a:cubicBezTo>
                    <a:pt x="1802" y="1123"/>
                    <a:pt x="1810" y="1138"/>
                    <a:pt x="1818" y="1154"/>
                  </a:cubicBezTo>
                  <a:cubicBezTo>
                    <a:pt x="1826" y="1186"/>
                    <a:pt x="1865" y="1241"/>
                    <a:pt x="1881" y="1265"/>
                  </a:cubicBezTo>
                  <a:cubicBezTo>
                    <a:pt x="1889" y="1281"/>
                    <a:pt x="1897" y="1289"/>
                    <a:pt x="1897" y="1289"/>
                  </a:cubicBezTo>
                  <a:lnTo>
                    <a:pt x="1897" y="1289"/>
                  </a:lnTo>
                  <a:lnTo>
                    <a:pt x="1897" y="1289"/>
                  </a:lnTo>
                  <a:cubicBezTo>
                    <a:pt x="1889" y="1297"/>
                    <a:pt x="1881" y="1297"/>
                    <a:pt x="1881" y="1297"/>
                  </a:cubicBezTo>
                  <a:cubicBezTo>
                    <a:pt x="1873" y="1297"/>
                    <a:pt x="1873" y="1297"/>
                    <a:pt x="1865" y="1297"/>
                  </a:cubicBezTo>
                  <a:cubicBezTo>
                    <a:pt x="1857" y="1297"/>
                    <a:pt x="1849" y="1297"/>
                    <a:pt x="1841" y="1297"/>
                  </a:cubicBezTo>
                  <a:cubicBezTo>
                    <a:pt x="1826" y="1297"/>
                    <a:pt x="1818" y="1297"/>
                    <a:pt x="1802" y="1289"/>
                  </a:cubicBezTo>
                  <a:cubicBezTo>
                    <a:pt x="1786" y="1289"/>
                    <a:pt x="1786" y="1289"/>
                    <a:pt x="1786" y="1289"/>
                  </a:cubicBezTo>
                  <a:cubicBezTo>
                    <a:pt x="1770" y="1289"/>
                    <a:pt x="1762" y="1281"/>
                    <a:pt x="1754" y="1273"/>
                  </a:cubicBezTo>
                  <a:cubicBezTo>
                    <a:pt x="1747" y="1273"/>
                    <a:pt x="1731" y="1265"/>
                    <a:pt x="1707" y="1257"/>
                  </a:cubicBezTo>
                  <a:cubicBezTo>
                    <a:pt x="1675" y="1241"/>
                    <a:pt x="1675" y="1241"/>
                    <a:pt x="1667" y="1233"/>
                  </a:cubicBezTo>
                  <a:cubicBezTo>
                    <a:pt x="1660" y="1233"/>
                    <a:pt x="1652" y="1225"/>
                    <a:pt x="1628" y="1218"/>
                  </a:cubicBezTo>
                  <a:cubicBezTo>
                    <a:pt x="1612" y="1210"/>
                    <a:pt x="1604" y="1202"/>
                    <a:pt x="1596" y="1202"/>
                  </a:cubicBezTo>
                  <a:lnTo>
                    <a:pt x="1596" y="1202"/>
                  </a:lnTo>
                  <a:cubicBezTo>
                    <a:pt x="1596" y="1210"/>
                    <a:pt x="1596" y="1218"/>
                    <a:pt x="1588" y="1225"/>
                  </a:cubicBezTo>
                  <a:lnTo>
                    <a:pt x="1588" y="1225"/>
                  </a:lnTo>
                  <a:cubicBezTo>
                    <a:pt x="1573" y="1249"/>
                    <a:pt x="1533" y="1289"/>
                    <a:pt x="1541" y="1328"/>
                  </a:cubicBezTo>
                  <a:cubicBezTo>
                    <a:pt x="1541" y="1352"/>
                    <a:pt x="1549" y="1352"/>
                    <a:pt x="1557" y="1352"/>
                  </a:cubicBezTo>
                  <a:cubicBezTo>
                    <a:pt x="1557" y="1352"/>
                    <a:pt x="1565" y="1352"/>
                    <a:pt x="1573" y="1344"/>
                  </a:cubicBezTo>
                  <a:cubicBezTo>
                    <a:pt x="1581" y="1344"/>
                    <a:pt x="1588" y="1344"/>
                    <a:pt x="1596" y="1344"/>
                  </a:cubicBezTo>
                  <a:lnTo>
                    <a:pt x="1596" y="1344"/>
                  </a:lnTo>
                  <a:cubicBezTo>
                    <a:pt x="1604" y="1344"/>
                    <a:pt x="1612" y="1344"/>
                    <a:pt x="1612" y="1344"/>
                  </a:cubicBezTo>
                  <a:cubicBezTo>
                    <a:pt x="1620" y="1344"/>
                    <a:pt x="1620" y="1344"/>
                    <a:pt x="1628" y="1344"/>
                  </a:cubicBezTo>
                  <a:cubicBezTo>
                    <a:pt x="1628" y="1344"/>
                    <a:pt x="1636" y="1344"/>
                    <a:pt x="1644" y="1344"/>
                  </a:cubicBezTo>
                  <a:cubicBezTo>
                    <a:pt x="1660" y="1344"/>
                    <a:pt x="1667" y="1352"/>
                    <a:pt x="1675" y="1368"/>
                  </a:cubicBezTo>
                  <a:cubicBezTo>
                    <a:pt x="1683" y="1375"/>
                    <a:pt x="1691" y="1391"/>
                    <a:pt x="1715" y="1399"/>
                  </a:cubicBezTo>
                  <a:cubicBezTo>
                    <a:pt x="1723" y="1407"/>
                    <a:pt x="1723" y="1399"/>
                    <a:pt x="1723" y="1399"/>
                  </a:cubicBezTo>
                  <a:cubicBezTo>
                    <a:pt x="1723" y="1399"/>
                    <a:pt x="1715" y="1384"/>
                    <a:pt x="1699" y="1368"/>
                  </a:cubicBezTo>
                  <a:cubicBezTo>
                    <a:pt x="1691" y="1360"/>
                    <a:pt x="1691" y="1352"/>
                    <a:pt x="1691" y="1344"/>
                  </a:cubicBezTo>
                  <a:cubicBezTo>
                    <a:pt x="1691" y="1328"/>
                    <a:pt x="1723" y="1304"/>
                    <a:pt x="1723" y="1297"/>
                  </a:cubicBezTo>
                  <a:cubicBezTo>
                    <a:pt x="1731" y="1297"/>
                    <a:pt x="1739" y="1297"/>
                    <a:pt x="1747" y="1297"/>
                  </a:cubicBezTo>
                  <a:cubicBezTo>
                    <a:pt x="1762" y="1297"/>
                    <a:pt x="1778" y="1297"/>
                    <a:pt x="1786" y="1297"/>
                  </a:cubicBezTo>
                  <a:cubicBezTo>
                    <a:pt x="1794" y="1304"/>
                    <a:pt x="1802" y="1304"/>
                    <a:pt x="1802" y="1304"/>
                  </a:cubicBezTo>
                  <a:cubicBezTo>
                    <a:pt x="1810" y="1304"/>
                    <a:pt x="1826" y="1312"/>
                    <a:pt x="1826" y="1320"/>
                  </a:cubicBezTo>
                  <a:cubicBezTo>
                    <a:pt x="1834" y="1328"/>
                    <a:pt x="1834" y="1328"/>
                    <a:pt x="1826" y="1336"/>
                  </a:cubicBezTo>
                  <a:cubicBezTo>
                    <a:pt x="1826" y="1344"/>
                    <a:pt x="1818" y="1344"/>
                    <a:pt x="1810" y="1352"/>
                  </a:cubicBezTo>
                  <a:cubicBezTo>
                    <a:pt x="1802" y="1360"/>
                    <a:pt x="1794" y="1360"/>
                    <a:pt x="1786" y="1375"/>
                  </a:cubicBezTo>
                  <a:lnTo>
                    <a:pt x="1786" y="1375"/>
                  </a:lnTo>
                  <a:lnTo>
                    <a:pt x="1794" y="1375"/>
                  </a:lnTo>
                  <a:cubicBezTo>
                    <a:pt x="1802" y="1384"/>
                    <a:pt x="1818" y="1384"/>
                    <a:pt x="1818" y="1399"/>
                  </a:cubicBezTo>
                  <a:cubicBezTo>
                    <a:pt x="1818" y="1415"/>
                    <a:pt x="1818" y="1415"/>
                    <a:pt x="1826" y="1415"/>
                  </a:cubicBezTo>
                  <a:cubicBezTo>
                    <a:pt x="1826" y="1415"/>
                    <a:pt x="1826" y="1415"/>
                    <a:pt x="1834" y="1415"/>
                  </a:cubicBezTo>
                  <a:cubicBezTo>
                    <a:pt x="1834" y="1415"/>
                    <a:pt x="1841" y="1415"/>
                    <a:pt x="1849" y="1415"/>
                  </a:cubicBezTo>
                  <a:lnTo>
                    <a:pt x="1849" y="1415"/>
                  </a:lnTo>
                  <a:lnTo>
                    <a:pt x="1857" y="1415"/>
                  </a:lnTo>
                  <a:cubicBezTo>
                    <a:pt x="1857" y="1415"/>
                    <a:pt x="1857" y="1407"/>
                    <a:pt x="1857" y="1399"/>
                  </a:cubicBezTo>
                  <a:lnTo>
                    <a:pt x="1857" y="1399"/>
                  </a:lnTo>
                  <a:cubicBezTo>
                    <a:pt x="1857" y="1391"/>
                    <a:pt x="1873" y="1352"/>
                    <a:pt x="1873" y="1344"/>
                  </a:cubicBezTo>
                  <a:cubicBezTo>
                    <a:pt x="1873" y="1344"/>
                    <a:pt x="1889" y="1320"/>
                    <a:pt x="1905" y="1320"/>
                  </a:cubicBezTo>
                  <a:cubicBezTo>
                    <a:pt x="1913" y="1320"/>
                    <a:pt x="1913" y="1320"/>
                    <a:pt x="1913" y="1320"/>
                  </a:cubicBezTo>
                  <a:cubicBezTo>
                    <a:pt x="1936" y="1328"/>
                    <a:pt x="1928" y="1344"/>
                    <a:pt x="1928" y="1368"/>
                  </a:cubicBezTo>
                  <a:cubicBezTo>
                    <a:pt x="1928" y="1368"/>
                    <a:pt x="1928" y="1375"/>
                    <a:pt x="1928" y="1384"/>
                  </a:cubicBezTo>
                  <a:cubicBezTo>
                    <a:pt x="1928" y="1391"/>
                    <a:pt x="1936" y="1391"/>
                    <a:pt x="1944" y="1391"/>
                  </a:cubicBezTo>
                  <a:cubicBezTo>
                    <a:pt x="1944" y="1399"/>
                    <a:pt x="1960" y="1399"/>
                    <a:pt x="1960" y="1415"/>
                  </a:cubicBezTo>
                  <a:cubicBezTo>
                    <a:pt x="1968" y="1447"/>
                    <a:pt x="1968" y="1455"/>
                    <a:pt x="1960" y="1471"/>
                  </a:cubicBezTo>
                  <a:cubicBezTo>
                    <a:pt x="1960" y="1478"/>
                    <a:pt x="1952" y="1478"/>
                    <a:pt x="1952" y="1478"/>
                  </a:cubicBezTo>
                  <a:cubicBezTo>
                    <a:pt x="1944" y="1478"/>
                    <a:pt x="1936" y="1478"/>
                    <a:pt x="1928" y="1478"/>
                  </a:cubicBezTo>
                  <a:cubicBezTo>
                    <a:pt x="1928" y="1471"/>
                    <a:pt x="1920" y="1471"/>
                    <a:pt x="1913" y="1471"/>
                  </a:cubicBezTo>
                  <a:lnTo>
                    <a:pt x="1913" y="1471"/>
                  </a:lnTo>
                  <a:cubicBezTo>
                    <a:pt x="1889" y="1471"/>
                    <a:pt x="1873" y="1486"/>
                    <a:pt x="1865" y="1502"/>
                  </a:cubicBezTo>
                  <a:lnTo>
                    <a:pt x="1865" y="1502"/>
                  </a:lnTo>
                  <a:cubicBezTo>
                    <a:pt x="1865" y="1510"/>
                    <a:pt x="1881" y="1510"/>
                    <a:pt x="1889" y="1510"/>
                  </a:cubicBezTo>
                  <a:cubicBezTo>
                    <a:pt x="1897" y="1510"/>
                    <a:pt x="1913" y="1518"/>
                    <a:pt x="1920" y="1518"/>
                  </a:cubicBezTo>
                  <a:lnTo>
                    <a:pt x="1928" y="1526"/>
                  </a:lnTo>
                  <a:cubicBezTo>
                    <a:pt x="1920" y="1534"/>
                    <a:pt x="1905" y="1534"/>
                    <a:pt x="1897" y="1534"/>
                  </a:cubicBezTo>
                  <a:cubicBezTo>
                    <a:pt x="1897" y="1534"/>
                    <a:pt x="1889" y="1534"/>
                    <a:pt x="1881" y="1534"/>
                  </a:cubicBezTo>
                  <a:lnTo>
                    <a:pt x="1881" y="1534"/>
                  </a:lnTo>
                  <a:cubicBezTo>
                    <a:pt x="1857" y="1534"/>
                    <a:pt x="1841" y="1549"/>
                    <a:pt x="1834" y="1557"/>
                  </a:cubicBezTo>
                  <a:cubicBezTo>
                    <a:pt x="1834" y="1565"/>
                    <a:pt x="1841" y="1565"/>
                    <a:pt x="1849" y="1573"/>
                  </a:cubicBezTo>
                  <a:cubicBezTo>
                    <a:pt x="1865" y="1581"/>
                    <a:pt x="1873" y="1589"/>
                    <a:pt x="1889" y="1605"/>
                  </a:cubicBezTo>
                  <a:cubicBezTo>
                    <a:pt x="1905" y="1621"/>
                    <a:pt x="1920" y="1621"/>
                    <a:pt x="1936" y="1628"/>
                  </a:cubicBezTo>
                  <a:cubicBezTo>
                    <a:pt x="1944" y="1628"/>
                    <a:pt x="1952" y="1628"/>
                    <a:pt x="1968" y="1637"/>
                  </a:cubicBezTo>
                  <a:cubicBezTo>
                    <a:pt x="1992" y="1652"/>
                    <a:pt x="2007" y="1652"/>
                    <a:pt x="2023" y="1652"/>
                  </a:cubicBezTo>
                  <a:cubicBezTo>
                    <a:pt x="2031" y="1652"/>
                    <a:pt x="2039" y="1652"/>
                    <a:pt x="2047" y="1652"/>
                  </a:cubicBezTo>
                  <a:cubicBezTo>
                    <a:pt x="2071" y="1660"/>
                    <a:pt x="2078" y="1668"/>
                    <a:pt x="2087" y="1676"/>
                  </a:cubicBezTo>
                  <a:cubicBezTo>
                    <a:pt x="2087" y="1676"/>
                    <a:pt x="2094" y="1684"/>
                    <a:pt x="2102" y="1692"/>
                  </a:cubicBezTo>
                  <a:cubicBezTo>
                    <a:pt x="2118" y="1692"/>
                    <a:pt x="2126" y="1708"/>
                    <a:pt x="2126" y="1715"/>
                  </a:cubicBezTo>
                  <a:cubicBezTo>
                    <a:pt x="2134" y="1724"/>
                    <a:pt x="2126" y="1739"/>
                    <a:pt x="2118" y="1747"/>
                  </a:cubicBezTo>
                  <a:cubicBezTo>
                    <a:pt x="2110" y="1763"/>
                    <a:pt x="2110" y="1763"/>
                    <a:pt x="2102" y="1763"/>
                  </a:cubicBezTo>
                  <a:cubicBezTo>
                    <a:pt x="2102" y="1763"/>
                    <a:pt x="2102" y="1771"/>
                    <a:pt x="2094" y="1779"/>
                  </a:cubicBezTo>
                  <a:cubicBezTo>
                    <a:pt x="2094" y="1787"/>
                    <a:pt x="2094" y="1795"/>
                    <a:pt x="2087" y="1802"/>
                  </a:cubicBezTo>
                  <a:cubicBezTo>
                    <a:pt x="2087" y="1810"/>
                    <a:pt x="2087" y="1818"/>
                    <a:pt x="2078" y="1826"/>
                  </a:cubicBezTo>
                  <a:cubicBezTo>
                    <a:pt x="2071" y="1826"/>
                    <a:pt x="2071" y="1826"/>
                    <a:pt x="2071" y="1826"/>
                  </a:cubicBezTo>
                  <a:cubicBezTo>
                    <a:pt x="2063" y="1826"/>
                    <a:pt x="2055" y="1818"/>
                    <a:pt x="2047" y="1802"/>
                  </a:cubicBezTo>
                  <a:cubicBezTo>
                    <a:pt x="2039" y="1795"/>
                    <a:pt x="2039" y="1795"/>
                    <a:pt x="2039" y="1787"/>
                  </a:cubicBezTo>
                  <a:cubicBezTo>
                    <a:pt x="2039" y="1787"/>
                    <a:pt x="2039" y="1795"/>
                    <a:pt x="2031" y="1795"/>
                  </a:cubicBezTo>
                  <a:cubicBezTo>
                    <a:pt x="2031" y="1802"/>
                    <a:pt x="2023" y="1810"/>
                    <a:pt x="2023" y="1818"/>
                  </a:cubicBezTo>
                  <a:cubicBezTo>
                    <a:pt x="2015" y="1834"/>
                    <a:pt x="2007" y="1850"/>
                    <a:pt x="1992" y="1866"/>
                  </a:cubicBezTo>
                  <a:cubicBezTo>
                    <a:pt x="1984" y="1881"/>
                    <a:pt x="1984" y="1881"/>
                    <a:pt x="1976" y="1881"/>
                  </a:cubicBezTo>
                  <a:close/>
                  <a:moveTo>
                    <a:pt x="1936" y="1708"/>
                  </a:moveTo>
                  <a:lnTo>
                    <a:pt x="1936" y="1708"/>
                  </a:lnTo>
                  <a:cubicBezTo>
                    <a:pt x="1944" y="1708"/>
                    <a:pt x="1944" y="1708"/>
                    <a:pt x="1944" y="1708"/>
                  </a:cubicBezTo>
                  <a:cubicBezTo>
                    <a:pt x="1944" y="1715"/>
                    <a:pt x="1944" y="1715"/>
                    <a:pt x="1944" y="1724"/>
                  </a:cubicBezTo>
                  <a:cubicBezTo>
                    <a:pt x="1944" y="1731"/>
                    <a:pt x="1944" y="1739"/>
                    <a:pt x="1952" y="1755"/>
                  </a:cubicBezTo>
                  <a:cubicBezTo>
                    <a:pt x="1960" y="1763"/>
                    <a:pt x="1968" y="1763"/>
                    <a:pt x="1976" y="1763"/>
                  </a:cubicBezTo>
                  <a:cubicBezTo>
                    <a:pt x="1976" y="1763"/>
                    <a:pt x="1984" y="1763"/>
                    <a:pt x="1992" y="1771"/>
                  </a:cubicBezTo>
                  <a:lnTo>
                    <a:pt x="1992" y="1779"/>
                  </a:lnTo>
                  <a:cubicBezTo>
                    <a:pt x="2000" y="1787"/>
                    <a:pt x="2007" y="1795"/>
                    <a:pt x="1992" y="1810"/>
                  </a:cubicBezTo>
                  <a:cubicBezTo>
                    <a:pt x="1992" y="1818"/>
                    <a:pt x="1992" y="1818"/>
                    <a:pt x="1984" y="1818"/>
                  </a:cubicBezTo>
                  <a:cubicBezTo>
                    <a:pt x="1976" y="1834"/>
                    <a:pt x="1968" y="1834"/>
                    <a:pt x="1976" y="1850"/>
                  </a:cubicBezTo>
                  <a:cubicBezTo>
                    <a:pt x="1976" y="1850"/>
                    <a:pt x="1976" y="1858"/>
                    <a:pt x="1976" y="1866"/>
                  </a:cubicBezTo>
                  <a:lnTo>
                    <a:pt x="1976" y="1874"/>
                  </a:lnTo>
                  <a:lnTo>
                    <a:pt x="1984" y="1866"/>
                  </a:lnTo>
                  <a:cubicBezTo>
                    <a:pt x="2000" y="1850"/>
                    <a:pt x="2007" y="1834"/>
                    <a:pt x="2015" y="1818"/>
                  </a:cubicBezTo>
                  <a:cubicBezTo>
                    <a:pt x="2015" y="1810"/>
                    <a:pt x="2023" y="1802"/>
                    <a:pt x="2023" y="1795"/>
                  </a:cubicBezTo>
                  <a:cubicBezTo>
                    <a:pt x="2031" y="1787"/>
                    <a:pt x="2039" y="1779"/>
                    <a:pt x="2039" y="1779"/>
                  </a:cubicBezTo>
                  <a:cubicBezTo>
                    <a:pt x="2047" y="1779"/>
                    <a:pt x="2047" y="1787"/>
                    <a:pt x="2055" y="1795"/>
                  </a:cubicBezTo>
                  <a:cubicBezTo>
                    <a:pt x="2055" y="1818"/>
                    <a:pt x="2063" y="1826"/>
                    <a:pt x="2071" y="1826"/>
                  </a:cubicBezTo>
                  <a:lnTo>
                    <a:pt x="2071" y="1818"/>
                  </a:lnTo>
                  <a:cubicBezTo>
                    <a:pt x="2078" y="1810"/>
                    <a:pt x="2078" y="1810"/>
                    <a:pt x="2087" y="1795"/>
                  </a:cubicBezTo>
                  <a:cubicBezTo>
                    <a:pt x="2087" y="1795"/>
                    <a:pt x="2087" y="1787"/>
                    <a:pt x="2087" y="1779"/>
                  </a:cubicBezTo>
                  <a:cubicBezTo>
                    <a:pt x="2094" y="1763"/>
                    <a:pt x="2094" y="1763"/>
                    <a:pt x="2102" y="1755"/>
                  </a:cubicBezTo>
                  <a:cubicBezTo>
                    <a:pt x="2102" y="1755"/>
                    <a:pt x="2110" y="1755"/>
                    <a:pt x="2110" y="1747"/>
                  </a:cubicBezTo>
                  <a:cubicBezTo>
                    <a:pt x="2118" y="1739"/>
                    <a:pt x="2126" y="1724"/>
                    <a:pt x="2118" y="1715"/>
                  </a:cubicBezTo>
                  <a:cubicBezTo>
                    <a:pt x="2118" y="1708"/>
                    <a:pt x="2110" y="1700"/>
                    <a:pt x="2102" y="1692"/>
                  </a:cubicBezTo>
                  <a:cubicBezTo>
                    <a:pt x="2087" y="1692"/>
                    <a:pt x="2087" y="1684"/>
                    <a:pt x="2078" y="1676"/>
                  </a:cubicBezTo>
                  <a:cubicBezTo>
                    <a:pt x="2071" y="1668"/>
                    <a:pt x="2071" y="1668"/>
                    <a:pt x="2047" y="1660"/>
                  </a:cubicBezTo>
                  <a:cubicBezTo>
                    <a:pt x="2039" y="1660"/>
                    <a:pt x="2031" y="1660"/>
                    <a:pt x="2023" y="1660"/>
                  </a:cubicBezTo>
                  <a:cubicBezTo>
                    <a:pt x="2007" y="1660"/>
                    <a:pt x="1992" y="1652"/>
                    <a:pt x="1968" y="1644"/>
                  </a:cubicBezTo>
                  <a:cubicBezTo>
                    <a:pt x="1952" y="1637"/>
                    <a:pt x="1944" y="1637"/>
                    <a:pt x="1936" y="1637"/>
                  </a:cubicBezTo>
                  <a:cubicBezTo>
                    <a:pt x="1913" y="1628"/>
                    <a:pt x="1905" y="1628"/>
                    <a:pt x="1881" y="1605"/>
                  </a:cubicBezTo>
                  <a:cubicBezTo>
                    <a:pt x="1873" y="1597"/>
                    <a:pt x="1857" y="1589"/>
                    <a:pt x="1849" y="1581"/>
                  </a:cubicBezTo>
                  <a:cubicBezTo>
                    <a:pt x="1834" y="1573"/>
                    <a:pt x="1826" y="1573"/>
                    <a:pt x="1834" y="1557"/>
                  </a:cubicBezTo>
                  <a:cubicBezTo>
                    <a:pt x="1834" y="1542"/>
                    <a:pt x="1857" y="1526"/>
                    <a:pt x="1881" y="1526"/>
                  </a:cubicBezTo>
                  <a:cubicBezTo>
                    <a:pt x="1881" y="1526"/>
                    <a:pt x="1881" y="1526"/>
                    <a:pt x="1889" y="1526"/>
                  </a:cubicBezTo>
                  <a:lnTo>
                    <a:pt x="1897" y="1526"/>
                  </a:lnTo>
                  <a:cubicBezTo>
                    <a:pt x="1913" y="1526"/>
                    <a:pt x="1913" y="1526"/>
                    <a:pt x="1920" y="1526"/>
                  </a:cubicBezTo>
                  <a:lnTo>
                    <a:pt x="1913" y="1526"/>
                  </a:lnTo>
                  <a:cubicBezTo>
                    <a:pt x="1905" y="1526"/>
                    <a:pt x="1897" y="1518"/>
                    <a:pt x="1889" y="1518"/>
                  </a:cubicBezTo>
                  <a:cubicBezTo>
                    <a:pt x="1873" y="1518"/>
                    <a:pt x="1865" y="1518"/>
                    <a:pt x="1857" y="1510"/>
                  </a:cubicBezTo>
                  <a:cubicBezTo>
                    <a:pt x="1857" y="1510"/>
                    <a:pt x="1857" y="1502"/>
                    <a:pt x="1865" y="1502"/>
                  </a:cubicBezTo>
                  <a:cubicBezTo>
                    <a:pt x="1873" y="1478"/>
                    <a:pt x="1889" y="1462"/>
                    <a:pt x="1913" y="1462"/>
                  </a:cubicBezTo>
                  <a:cubicBezTo>
                    <a:pt x="1920" y="1462"/>
                    <a:pt x="1928" y="1462"/>
                    <a:pt x="1936" y="1471"/>
                  </a:cubicBezTo>
                  <a:cubicBezTo>
                    <a:pt x="1944" y="1471"/>
                    <a:pt x="1944" y="1471"/>
                    <a:pt x="1952" y="1471"/>
                  </a:cubicBezTo>
                  <a:lnTo>
                    <a:pt x="1952" y="1471"/>
                  </a:lnTo>
                  <a:cubicBezTo>
                    <a:pt x="1960" y="1455"/>
                    <a:pt x="1960" y="1447"/>
                    <a:pt x="1952" y="1423"/>
                  </a:cubicBezTo>
                  <a:cubicBezTo>
                    <a:pt x="1952" y="1407"/>
                    <a:pt x="1944" y="1407"/>
                    <a:pt x="1936" y="1399"/>
                  </a:cubicBezTo>
                  <a:cubicBezTo>
                    <a:pt x="1928" y="1399"/>
                    <a:pt x="1920" y="1399"/>
                    <a:pt x="1920" y="1384"/>
                  </a:cubicBezTo>
                  <a:cubicBezTo>
                    <a:pt x="1920" y="1375"/>
                    <a:pt x="1920" y="1368"/>
                    <a:pt x="1920" y="1360"/>
                  </a:cubicBezTo>
                  <a:cubicBezTo>
                    <a:pt x="1920" y="1344"/>
                    <a:pt x="1920" y="1328"/>
                    <a:pt x="1913" y="1328"/>
                  </a:cubicBezTo>
                  <a:cubicBezTo>
                    <a:pt x="1913" y="1328"/>
                    <a:pt x="1913" y="1328"/>
                    <a:pt x="1905" y="1328"/>
                  </a:cubicBezTo>
                  <a:cubicBezTo>
                    <a:pt x="1897" y="1328"/>
                    <a:pt x="1881" y="1344"/>
                    <a:pt x="1881" y="1344"/>
                  </a:cubicBezTo>
                  <a:cubicBezTo>
                    <a:pt x="1873" y="1360"/>
                    <a:pt x="1865" y="1391"/>
                    <a:pt x="1865" y="1399"/>
                  </a:cubicBezTo>
                  <a:lnTo>
                    <a:pt x="1865" y="1399"/>
                  </a:lnTo>
                  <a:cubicBezTo>
                    <a:pt x="1865" y="1407"/>
                    <a:pt x="1865" y="1415"/>
                    <a:pt x="1857" y="1423"/>
                  </a:cubicBezTo>
                  <a:lnTo>
                    <a:pt x="1849" y="1423"/>
                  </a:lnTo>
                  <a:cubicBezTo>
                    <a:pt x="1841" y="1423"/>
                    <a:pt x="1834" y="1423"/>
                    <a:pt x="1834" y="1423"/>
                  </a:cubicBezTo>
                  <a:cubicBezTo>
                    <a:pt x="1826" y="1423"/>
                    <a:pt x="1826" y="1423"/>
                    <a:pt x="1826" y="1423"/>
                  </a:cubicBezTo>
                  <a:cubicBezTo>
                    <a:pt x="1818" y="1423"/>
                    <a:pt x="1810" y="1415"/>
                    <a:pt x="1810" y="1399"/>
                  </a:cubicBezTo>
                  <a:cubicBezTo>
                    <a:pt x="1810" y="1391"/>
                    <a:pt x="1802" y="1384"/>
                    <a:pt x="1794" y="1384"/>
                  </a:cubicBezTo>
                  <a:cubicBezTo>
                    <a:pt x="1786" y="1384"/>
                    <a:pt x="1778" y="1384"/>
                    <a:pt x="1778" y="1384"/>
                  </a:cubicBezTo>
                  <a:cubicBezTo>
                    <a:pt x="1778" y="1375"/>
                    <a:pt x="1778" y="1375"/>
                    <a:pt x="1778" y="1368"/>
                  </a:cubicBezTo>
                  <a:cubicBezTo>
                    <a:pt x="1786" y="1360"/>
                    <a:pt x="1794" y="1352"/>
                    <a:pt x="1810" y="1344"/>
                  </a:cubicBezTo>
                  <a:cubicBezTo>
                    <a:pt x="1810" y="1336"/>
                    <a:pt x="1818" y="1336"/>
                    <a:pt x="1818" y="1328"/>
                  </a:cubicBezTo>
                  <a:cubicBezTo>
                    <a:pt x="1826" y="1328"/>
                    <a:pt x="1826" y="1328"/>
                    <a:pt x="1826" y="1320"/>
                  </a:cubicBezTo>
                  <a:cubicBezTo>
                    <a:pt x="1818" y="1320"/>
                    <a:pt x="1810" y="1312"/>
                    <a:pt x="1802" y="1312"/>
                  </a:cubicBezTo>
                  <a:cubicBezTo>
                    <a:pt x="1794" y="1312"/>
                    <a:pt x="1794" y="1312"/>
                    <a:pt x="1786" y="1304"/>
                  </a:cubicBezTo>
                  <a:cubicBezTo>
                    <a:pt x="1778" y="1304"/>
                    <a:pt x="1762" y="1304"/>
                    <a:pt x="1747" y="1304"/>
                  </a:cubicBezTo>
                  <a:cubicBezTo>
                    <a:pt x="1739" y="1304"/>
                    <a:pt x="1731" y="1304"/>
                    <a:pt x="1731" y="1304"/>
                  </a:cubicBezTo>
                  <a:cubicBezTo>
                    <a:pt x="1715" y="1312"/>
                    <a:pt x="1699" y="1336"/>
                    <a:pt x="1699" y="1344"/>
                  </a:cubicBezTo>
                  <a:cubicBezTo>
                    <a:pt x="1699" y="1352"/>
                    <a:pt x="1699" y="1360"/>
                    <a:pt x="1699" y="1360"/>
                  </a:cubicBezTo>
                  <a:cubicBezTo>
                    <a:pt x="1715" y="1368"/>
                    <a:pt x="1739" y="1399"/>
                    <a:pt x="1731" y="1407"/>
                  </a:cubicBezTo>
                  <a:cubicBezTo>
                    <a:pt x="1731" y="1407"/>
                    <a:pt x="1731" y="1407"/>
                    <a:pt x="1723" y="1407"/>
                  </a:cubicBezTo>
                  <a:cubicBezTo>
                    <a:pt x="1723" y="1407"/>
                    <a:pt x="1715" y="1407"/>
                    <a:pt x="1707" y="1407"/>
                  </a:cubicBezTo>
                  <a:cubicBezTo>
                    <a:pt x="1691" y="1399"/>
                    <a:pt x="1675" y="1384"/>
                    <a:pt x="1667" y="1368"/>
                  </a:cubicBezTo>
                  <a:cubicBezTo>
                    <a:pt x="1660" y="1360"/>
                    <a:pt x="1652" y="1352"/>
                    <a:pt x="1644" y="1352"/>
                  </a:cubicBezTo>
                  <a:cubicBezTo>
                    <a:pt x="1636" y="1352"/>
                    <a:pt x="1636" y="1352"/>
                    <a:pt x="1628" y="1352"/>
                  </a:cubicBezTo>
                  <a:cubicBezTo>
                    <a:pt x="1620" y="1352"/>
                    <a:pt x="1620" y="1352"/>
                    <a:pt x="1612" y="1352"/>
                  </a:cubicBezTo>
                  <a:cubicBezTo>
                    <a:pt x="1612" y="1352"/>
                    <a:pt x="1604" y="1352"/>
                    <a:pt x="1596" y="1352"/>
                  </a:cubicBezTo>
                  <a:cubicBezTo>
                    <a:pt x="1588" y="1344"/>
                    <a:pt x="1581" y="1352"/>
                    <a:pt x="1573" y="1352"/>
                  </a:cubicBezTo>
                  <a:cubicBezTo>
                    <a:pt x="1573" y="1352"/>
                    <a:pt x="1565" y="1360"/>
                    <a:pt x="1557" y="1360"/>
                  </a:cubicBezTo>
                  <a:cubicBezTo>
                    <a:pt x="1541" y="1360"/>
                    <a:pt x="1533" y="1352"/>
                    <a:pt x="1533" y="1336"/>
                  </a:cubicBezTo>
                  <a:cubicBezTo>
                    <a:pt x="1525" y="1289"/>
                    <a:pt x="1565" y="1241"/>
                    <a:pt x="1581" y="1225"/>
                  </a:cubicBezTo>
                  <a:cubicBezTo>
                    <a:pt x="1581" y="1225"/>
                    <a:pt x="1581" y="1218"/>
                    <a:pt x="1588" y="1218"/>
                  </a:cubicBezTo>
                  <a:cubicBezTo>
                    <a:pt x="1588" y="1210"/>
                    <a:pt x="1588" y="1210"/>
                    <a:pt x="1588" y="1202"/>
                  </a:cubicBezTo>
                  <a:lnTo>
                    <a:pt x="1588" y="1194"/>
                  </a:lnTo>
                  <a:lnTo>
                    <a:pt x="1596" y="1194"/>
                  </a:lnTo>
                  <a:cubicBezTo>
                    <a:pt x="1596" y="1194"/>
                    <a:pt x="1604" y="1194"/>
                    <a:pt x="1628" y="1210"/>
                  </a:cubicBezTo>
                  <a:cubicBezTo>
                    <a:pt x="1652" y="1218"/>
                    <a:pt x="1667" y="1225"/>
                    <a:pt x="1667" y="1233"/>
                  </a:cubicBezTo>
                  <a:cubicBezTo>
                    <a:pt x="1675" y="1233"/>
                    <a:pt x="1683" y="1241"/>
                    <a:pt x="1715" y="1249"/>
                  </a:cubicBezTo>
                  <a:cubicBezTo>
                    <a:pt x="1739" y="1257"/>
                    <a:pt x="1747" y="1265"/>
                    <a:pt x="1754" y="1273"/>
                  </a:cubicBezTo>
                  <a:cubicBezTo>
                    <a:pt x="1770" y="1273"/>
                    <a:pt x="1770" y="1281"/>
                    <a:pt x="1794" y="1281"/>
                  </a:cubicBezTo>
                  <a:cubicBezTo>
                    <a:pt x="1802" y="1289"/>
                    <a:pt x="1802" y="1289"/>
                    <a:pt x="1802" y="1289"/>
                  </a:cubicBezTo>
                  <a:cubicBezTo>
                    <a:pt x="1826" y="1289"/>
                    <a:pt x="1841" y="1297"/>
                    <a:pt x="1857" y="1289"/>
                  </a:cubicBezTo>
                  <a:cubicBezTo>
                    <a:pt x="1865" y="1289"/>
                    <a:pt x="1873" y="1289"/>
                    <a:pt x="1881" y="1289"/>
                  </a:cubicBezTo>
                  <a:cubicBezTo>
                    <a:pt x="1881" y="1289"/>
                    <a:pt x="1881" y="1289"/>
                    <a:pt x="1889" y="1289"/>
                  </a:cubicBezTo>
                  <a:cubicBezTo>
                    <a:pt x="1889" y="1281"/>
                    <a:pt x="1881" y="1281"/>
                    <a:pt x="1873" y="1273"/>
                  </a:cubicBezTo>
                  <a:cubicBezTo>
                    <a:pt x="1857" y="1241"/>
                    <a:pt x="1818" y="1186"/>
                    <a:pt x="1810" y="1162"/>
                  </a:cubicBezTo>
                  <a:cubicBezTo>
                    <a:pt x="1802" y="1138"/>
                    <a:pt x="1794" y="1131"/>
                    <a:pt x="1778" y="1123"/>
                  </a:cubicBezTo>
                  <a:cubicBezTo>
                    <a:pt x="1770" y="1107"/>
                    <a:pt x="1754" y="1099"/>
                    <a:pt x="1739" y="1067"/>
                  </a:cubicBezTo>
                  <a:cubicBezTo>
                    <a:pt x="1691" y="1012"/>
                    <a:pt x="1747" y="957"/>
                    <a:pt x="1770" y="941"/>
                  </a:cubicBezTo>
                  <a:lnTo>
                    <a:pt x="1770" y="941"/>
                  </a:lnTo>
                  <a:cubicBezTo>
                    <a:pt x="1778" y="933"/>
                    <a:pt x="1770" y="933"/>
                    <a:pt x="1770" y="933"/>
                  </a:cubicBezTo>
                  <a:cubicBezTo>
                    <a:pt x="1770" y="925"/>
                    <a:pt x="1762" y="917"/>
                    <a:pt x="1747" y="917"/>
                  </a:cubicBezTo>
                  <a:cubicBezTo>
                    <a:pt x="1731" y="917"/>
                    <a:pt x="1098" y="957"/>
                    <a:pt x="1027" y="957"/>
                  </a:cubicBezTo>
                  <a:cubicBezTo>
                    <a:pt x="1019" y="957"/>
                    <a:pt x="1019" y="957"/>
                    <a:pt x="1019" y="957"/>
                  </a:cubicBezTo>
                  <a:cubicBezTo>
                    <a:pt x="1003" y="957"/>
                    <a:pt x="1003" y="949"/>
                    <a:pt x="1003" y="949"/>
                  </a:cubicBezTo>
                  <a:cubicBezTo>
                    <a:pt x="995" y="941"/>
                    <a:pt x="1003" y="941"/>
                    <a:pt x="1003" y="933"/>
                  </a:cubicBezTo>
                  <a:lnTo>
                    <a:pt x="1003" y="933"/>
                  </a:lnTo>
                  <a:cubicBezTo>
                    <a:pt x="1011" y="925"/>
                    <a:pt x="1003" y="901"/>
                    <a:pt x="988" y="885"/>
                  </a:cubicBezTo>
                  <a:cubicBezTo>
                    <a:pt x="988" y="878"/>
                    <a:pt x="980" y="870"/>
                    <a:pt x="988" y="862"/>
                  </a:cubicBezTo>
                  <a:cubicBezTo>
                    <a:pt x="988" y="846"/>
                    <a:pt x="1003" y="838"/>
                    <a:pt x="1011" y="838"/>
                  </a:cubicBezTo>
                  <a:cubicBezTo>
                    <a:pt x="1019" y="838"/>
                    <a:pt x="1019" y="830"/>
                    <a:pt x="1019" y="830"/>
                  </a:cubicBezTo>
                  <a:cubicBezTo>
                    <a:pt x="1027" y="814"/>
                    <a:pt x="1019" y="783"/>
                    <a:pt x="1019" y="775"/>
                  </a:cubicBezTo>
                  <a:cubicBezTo>
                    <a:pt x="1011" y="767"/>
                    <a:pt x="1011" y="759"/>
                    <a:pt x="1019" y="751"/>
                  </a:cubicBezTo>
                  <a:cubicBezTo>
                    <a:pt x="1019" y="743"/>
                    <a:pt x="1027" y="735"/>
                    <a:pt x="1035" y="735"/>
                  </a:cubicBezTo>
                  <a:cubicBezTo>
                    <a:pt x="1043" y="735"/>
                    <a:pt x="1035" y="712"/>
                    <a:pt x="1035" y="696"/>
                  </a:cubicBezTo>
                  <a:cubicBezTo>
                    <a:pt x="1035" y="688"/>
                    <a:pt x="1035" y="680"/>
                    <a:pt x="1035" y="672"/>
                  </a:cubicBezTo>
                  <a:cubicBezTo>
                    <a:pt x="1035" y="656"/>
                    <a:pt x="1059" y="648"/>
                    <a:pt x="1075" y="648"/>
                  </a:cubicBezTo>
                  <a:lnTo>
                    <a:pt x="1083" y="648"/>
                  </a:lnTo>
                  <a:cubicBezTo>
                    <a:pt x="1083" y="648"/>
                    <a:pt x="1083" y="640"/>
                    <a:pt x="1083" y="632"/>
                  </a:cubicBezTo>
                  <a:cubicBezTo>
                    <a:pt x="1083" y="625"/>
                    <a:pt x="1075" y="617"/>
                    <a:pt x="1075" y="609"/>
                  </a:cubicBezTo>
                  <a:cubicBezTo>
                    <a:pt x="1075" y="601"/>
                    <a:pt x="1075" y="593"/>
                    <a:pt x="1083" y="593"/>
                  </a:cubicBezTo>
                  <a:cubicBezTo>
                    <a:pt x="1083" y="585"/>
                    <a:pt x="1098" y="585"/>
                    <a:pt x="1106" y="585"/>
                  </a:cubicBezTo>
                  <a:cubicBezTo>
                    <a:pt x="1106" y="585"/>
                    <a:pt x="1106" y="585"/>
                    <a:pt x="1114" y="585"/>
                  </a:cubicBezTo>
                  <a:cubicBezTo>
                    <a:pt x="1122" y="585"/>
                    <a:pt x="1122" y="569"/>
                    <a:pt x="1114" y="545"/>
                  </a:cubicBezTo>
                  <a:cubicBezTo>
                    <a:pt x="1106" y="522"/>
                    <a:pt x="1122" y="522"/>
                    <a:pt x="1138" y="514"/>
                  </a:cubicBezTo>
                  <a:lnTo>
                    <a:pt x="1146" y="514"/>
                  </a:lnTo>
                  <a:cubicBezTo>
                    <a:pt x="1161" y="506"/>
                    <a:pt x="1193" y="443"/>
                    <a:pt x="1201" y="419"/>
                  </a:cubicBezTo>
                  <a:cubicBezTo>
                    <a:pt x="1201" y="403"/>
                    <a:pt x="1201" y="403"/>
                    <a:pt x="1185" y="395"/>
                  </a:cubicBezTo>
                  <a:cubicBezTo>
                    <a:pt x="1177" y="395"/>
                    <a:pt x="1161" y="387"/>
                    <a:pt x="1146" y="380"/>
                  </a:cubicBezTo>
                  <a:cubicBezTo>
                    <a:pt x="1146" y="380"/>
                    <a:pt x="1130" y="372"/>
                    <a:pt x="1138" y="364"/>
                  </a:cubicBezTo>
                  <a:cubicBezTo>
                    <a:pt x="1138" y="348"/>
                    <a:pt x="1170" y="340"/>
                    <a:pt x="1217" y="332"/>
                  </a:cubicBezTo>
                  <a:cubicBezTo>
                    <a:pt x="1225" y="332"/>
                    <a:pt x="1233" y="324"/>
                    <a:pt x="1233" y="324"/>
                  </a:cubicBezTo>
                  <a:cubicBezTo>
                    <a:pt x="1241" y="324"/>
                    <a:pt x="1241" y="324"/>
                    <a:pt x="1241" y="324"/>
                  </a:cubicBezTo>
                  <a:cubicBezTo>
                    <a:pt x="1241" y="316"/>
                    <a:pt x="1233" y="301"/>
                    <a:pt x="1201" y="292"/>
                  </a:cubicBezTo>
                  <a:cubicBezTo>
                    <a:pt x="1185" y="285"/>
                    <a:pt x="1177" y="277"/>
                    <a:pt x="1177" y="277"/>
                  </a:cubicBezTo>
                  <a:cubicBezTo>
                    <a:pt x="1177" y="269"/>
                    <a:pt x="1177" y="261"/>
                    <a:pt x="1185" y="261"/>
                  </a:cubicBezTo>
                  <a:cubicBezTo>
                    <a:pt x="1185" y="253"/>
                    <a:pt x="1185" y="253"/>
                    <a:pt x="1193" y="245"/>
                  </a:cubicBezTo>
                  <a:cubicBezTo>
                    <a:pt x="1193" y="229"/>
                    <a:pt x="1185" y="214"/>
                    <a:pt x="1177" y="214"/>
                  </a:cubicBezTo>
                  <a:cubicBezTo>
                    <a:pt x="1146" y="214"/>
                    <a:pt x="1146" y="182"/>
                    <a:pt x="1146" y="158"/>
                  </a:cubicBezTo>
                  <a:cubicBezTo>
                    <a:pt x="1146" y="150"/>
                    <a:pt x="1146" y="134"/>
                    <a:pt x="1146" y="127"/>
                  </a:cubicBezTo>
                  <a:cubicBezTo>
                    <a:pt x="1130" y="119"/>
                    <a:pt x="1146" y="103"/>
                    <a:pt x="1154" y="87"/>
                  </a:cubicBezTo>
                  <a:cubicBezTo>
                    <a:pt x="1161" y="79"/>
                    <a:pt x="1161" y="63"/>
                    <a:pt x="1161" y="55"/>
                  </a:cubicBezTo>
                  <a:lnTo>
                    <a:pt x="1154" y="48"/>
                  </a:lnTo>
                  <a:cubicBezTo>
                    <a:pt x="1146" y="40"/>
                    <a:pt x="1138" y="32"/>
                    <a:pt x="1138" y="8"/>
                  </a:cubicBezTo>
                  <a:cubicBezTo>
                    <a:pt x="7" y="40"/>
                    <a:pt x="7" y="40"/>
                    <a:pt x="7" y="40"/>
                  </a:cubicBezTo>
                  <a:cubicBezTo>
                    <a:pt x="15" y="522"/>
                    <a:pt x="15" y="522"/>
                    <a:pt x="15" y="522"/>
                  </a:cubicBezTo>
                  <a:cubicBezTo>
                    <a:pt x="23" y="530"/>
                    <a:pt x="47" y="545"/>
                    <a:pt x="63" y="561"/>
                  </a:cubicBezTo>
                  <a:cubicBezTo>
                    <a:pt x="63" y="569"/>
                    <a:pt x="71" y="577"/>
                    <a:pt x="78" y="585"/>
                  </a:cubicBezTo>
                  <a:cubicBezTo>
                    <a:pt x="94" y="601"/>
                    <a:pt x="110" y="617"/>
                    <a:pt x="118" y="640"/>
                  </a:cubicBezTo>
                  <a:cubicBezTo>
                    <a:pt x="126" y="664"/>
                    <a:pt x="126" y="680"/>
                    <a:pt x="118" y="688"/>
                  </a:cubicBezTo>
                  <a:cubicBezTo>
                    <a:pt x="118" y="696"/>
                    <a:pt x="118" y="704"/>
                    <a:pt x="110" y="712"/>
                  </a:cubicBezTo>
                  <a:cubicBezTo>
                    <a:pt x="110" y="727"/>
                    <a:pt x="118" y="727"/>
                    <a:pt x="126" y="735"/>
                  </a:cubicBezTo>
                  <a:cubicBezTo>
                    <a:pt x="134" y="735"/>
                    <a:pt x="134" y="735"/>
                    <a:pt x="142" y="743"/>
                  </a:cubicBezTo>
                  <a:cubicBezTo>
                    <a:pt x="158" y="759"/>
                    <a:pt x="181" y="783"/>
                    <a:pt x="173" y="830"/>
                  </a:cubicBezTo>
                  <a:cubicBezTo>
                    <a:pt x="173" y="854"/>
                    <a:pt x="181" y="854"/>
                    <a:pt x="189" y="862"/>
                  </a:cubicBezTo>
                  <a:cubicBezTo>
                    <a:pt x="197" y="862"/>
                    <a:pt x="213" y="862"/>
                    <a:pt x="221" y="878"/>
                  </a:cubicBezTo>
                  <a:cubicBezTo>
                    <a:pt x="237" y="909"/>
                    <a:pt x="237" y="949"/>
                    <a:pt x="237" y="972"/>
                  </a:cubicBezTo>
                  <a:cubicBezTo>
                    <a:pt x="229" y="996"/>
                    <a:pt x="229" y="1012"/>
                    <a:pt x="229" y="1028"/>
                  </a:cubicBezTo>
                  <a:cubicBezTo>
                    <a:pt x="229" y="1036"/>
                    <a:pt x="229" y="1036"/>
                    <a:pt x="237" y="1036"/>
                  </a:cubicBezTo>
                  <a:cubicBezTo>
                    <a:pt x="237" y="1051"/>
                    <a:pt x="237" y="1083"/>
                    <a:pt x="213" y="1131"/>
                  </a:cubicBezTo>
                  <a:cubicBezTo>
                    <a:pt x="205" y="1154"/>
                    <a:pt x="197" y="1154"/>
                    <a:pt x="181" y="1162"/>
                  </a:cubicBezTo>
                  <a:cubicBezTo>
                    <a:pt x="181" y="1170"/>
                    <a:pt x="173" y="1170"/>
                    <a:pt x="165" y="1186"/>
                  </a:cubicBezTo>
                  <a:cubicBezTo>
                    <a:pt x="158" y="1194"/>
                    <a:pt x="158" y="1194"/>
                    <a:pt x="158" y="1194"/>
                  </a:cubicBezTo>
                  <a:cubicBezTo>
                    <a:pt x="158" y="1202"/>
                    <a:pt x="158" y="1202"/>
                    <a:pt x="165" y="1202"/>
                  </a:cubicBezTo>
                  <a:cubicBezTo>
                    <a:pt x="173" y="1202"/>
                    <a:pt x="181" y="1210"/>
                    <a:pt x="181" y="1218"/>
                  </a:cubicBezTo>
                  <a:cubicBezTo>
                    <a:pt x="189" y="1225"/>
                    <a:pt x="189" y="1241"/>
                    <a:pt x="189" y="1249"/>
                  </a:cubicBezTo>
                  <a:cubicBezTo>
                    <a:pt x="181" y="1257"/>
                    <a:pt x="181" y="1257"/>
                    <a:pt x="173" y="1257"/>
                  </a:cubicBezTo>
                  <a:cubicBezTo>
                    <a:pt x="173" y="1257"/>
                    <a:pt x="165" y="1281"/>
                    <a:pt x="158" y="1289"/>
                  </a:cubicBezTo>
                  <a:cubicBezTo>
                    <a:pt x="158" y="1297"/>
                    <a:pt x="158" y="1297"/>
                    <a:pt x="158" y="1297"/>
                  </a:cubicBezTo>
                  <a:cubicBezTo>
                    <a:pt x="158" y="1312"/>
                    <a:pt x="165" y="1320"/>
                    <a:pt x="173" y="1336"/>
                  </a:cubicBezTo>
                  <a:cubicBezTo>
                    <a:pt x="173" y="1336"/>
                    <a:pt x="173" y="1344"/>
                    <a:pt x="181" y="1344"/>
                  </a:cubicBezTo>
                  <a:cubicBezTo>
                    <a:pt x="189" y="1368"/>
                    <a:pt x="189" y="1384"/>
                    <a:pt x="189" y="1399"/>
                  </a:cubicBezTo>
                  <a:lnTo>
                    <a:pt x="189" y="1407"/>
                  </a:lnTo>
                  <a:cubicBezTo>
                    <a:pt x="189" y="1423"/>
                    <a:pt x="181" y="1423"/>
                    <a:pt x="173" y="1431"/>
                  </a:cubicBezTo>
                  <a:cubicBezTo>
                    <a:pt x="173" y="1431"/>
                    <a:pt x="165" y="1431"/>
                    <a:pt x="165" y="1439"/>
                  </a:cubicBezTo>
                  <a:cubicBezTo>
                    <a:pt x="158" y="1447"/>
                    <a:pt x="158" y="1455"/>
                    <a:pt x="158" y="1462"/>
                  </a:cubicBezTo>
                  <a:cubicBezTo>
                    <a:pt x="158" y="1478"/>
                    <a:pt x="150" y="1486"/>
                    <a:pt x="142" y="1502"/>
                  </a:cubicBezTo>
                  <a:cubicBezTo>
                    <a:pt x="118" y="1518"/>
                    <a:pt x="110" y="1534"/>
                    <a:pt x="102" y="1549"/>
                  </a:cubicBezTo>
                  <a:cubicBezTo>
                    <a:pt x="94" y="1557"/>
                    <a:pt x="102" y="1565"/>
                    <a:pt x="110" y="1573"/>
                  </a:cubicBezTo>
                  <a:lnTo>
                    <a:pt x="110" y="1573"/>
                  </a:lnTo>
                  <a:cubicBezTo>
                    <a:pt x="126" y="1581"/>
                    <a:pt x="126" y="1589"/>
                    <a:pt x="134" y="1589"/>
                  </a:cubicBezTo>
                  <a:cubicBezTo>
                    <a:pt x="134" y="1589"/>
                    <a:pt x="142" y="1589"/>
                    <a:pt x="150" y="1581"/>
                  </a:cubicBezTo>
                  <a:cubicBezTo>
                    <a:pt x="158" y="1573"/>
                    <a:pt x="181" y="1565"/>
                    <a:pt x="213" y="1565"/>
                  </a:cubicBezTo>
                  <a:cubicBezTo>
                    <a:pt x="229" y="1565"/>
                    <a:pt x="244" y="1565"/>
                    <a:pt x="253" y="1565"/>
                  </a:cubicBezTo>
                  <a:cubicBezTo>
                    <a:pt x="284" y="1565"/>
                    <a:pt x="316" y="1565"/>
                    <a:pt x="316" y="1557"/>
                  </a:cubicBezTo>
                  <a:cubicBezTo>
                    <a:pt x="324" y="1542"/>
                    <a:pt x="308" y="1518"/>
                    <a:pt x="308" y="1510"/>
                  </a:cubicBezTo>
                  <a:cubicBezTo>
                    <a:pt x="300" y="1510"/>
                    <a:pt x="300" y="1510"/>
                    <a:pt x="300" y="1510"/>
                  </a:cubicBezTo>
                  <a:cubicBezTo>
                    <a:pt x="300" y="1502"/>
                    <a:pt x="308" y="1502"/>
                    <a:pt x="308" y="1502"/>
                  </a:cubicBezTo>
                  <a:cubicBezTo>
                    <a:pt x="316" y="1502"/>
                    <a:pt x="324" y="1502"/>
                    <a:pt x="324" y="1494"/>
                  </a:cubicBezTo>
                  <a:cubicBezTo>
                    <a:pt x="324" y="1486"/>
                    <a:pt x="324" y="1478"/>
                    <a:pt x="324" y="1478"/>
                  </a:cubicBezTo>
                  <a:cubicBezTo>
                    <a:pt x="324" y="1471"/>
                    <a:pt x="324" y="1462"/>
                    <a:pt x="324" y="1455"/>
                  </a:cubicBezTo>
                  <a:cubicBezTo>
                    <a:pt x="324" y="1447"/>
                    <a:pt x="324" y="1447"/>
                    <a:pt x="324" y="1439"/>
                  </a:cubicBezTo>
                  <a:cubicBezTo>
                    <a:pt x="331" y="1431"/>
                    <a:pt x="331" y="1423"/>
                    <a:pt x="339" y="1423"/>
                  </a:cubicBezTo>
                  <a:cubicBezTo>
                    <a:pt x="347" y="1423"/>
                    <a:pt x="347" y="1423"/>
                    <a:pt x="355" y="1431"/>
                  </a:cubicBezTo>
                  <a:cubicBezTo>
                    <a:pt x="355" y="1455"/>
                    <a:pt x="363" y="1462"/>
                    <a:pt x="371" y="1471"/>
                  </a:cubicBezTo>
                  <a:cubicBezTo>
                    <a:pt x="371" y="1471"/>
                    <a:pt x="371" y="1471"/>
                    <a:pt x="379" y="1478"/>
                  </a:cubicBezTo>
                  <a:cubicBezTo>
                    <a:pt x="379" y="1478"/>
                    <a:pt x="379" y="1486"/>
                    <a:pt x="379" y="1494"/>
                  </a:cubicBezTo>
                  <a:cubicBezTo>
                    <a:pt x="371" y="1502"/>
                    <a:pt x="371" y="1502"/>
                    <a:pt x="363" y="1502"/>
                  </a:cubicBezTo>
                  <a:cubicBezTo>
                    <a:pt x="355" y="1502"/>
                    <a:pt x="355" y="1502"/>
                    <a:pt x="355" y="1502"/>
                  </a:cubicBezTo>
                  <a:cubicBezTo>
                    <a:pt x="347" y="1510"/>
                    <a:pt x="339" y="1510"/>
                    <a:pt x="339" y="1510"/>
                  </a:cubicBezTo>
                  <a:cubicBezTo>
                    <a:pt x="339" y="1510"/>
                    <a:pt x="339" y="1518"/>
                    <a:pt x="339" y="1526"/>
                  </a:cubicBezTo>
                  <a:cubicBezTo>
                    <a:pt x="347" y="1534"/>
                    <a:pt x="347" y="1542"/>
                    <a:pt x="347" y="1549"/>
                  </a:cubicBezTo>
                  <a:cubicBezTo>
                    <a:pt x="347" y="1549"/>
                    <a:pt x="347" y="1549"/>
                    <a:pt x="355" y="1549"/>
                  </a:cubicBezTo>
                  <a:cubicBezTo>
                    <a:pt x="379" y="1557"/>
                    <a:pt x="561" y="1605"/>
                    <a:pt x="592" y="1621"/>
                  </a:cubicBezTo>
                  <a:cubicBezTo>
                    <a:pt x="608" y="1637"/>
                    <a:pt x="671" y="1644"/>
                    <a:pt x="727" y="1644"/>
                  </a:cubicBezTo>
                  <a:cubicBezTo>
                    <a:pt x="782" y="1644"/>
                    <a:pt x="821" y="1637"/>
                    <a:pt x="837" y="1621"/>
                  </a:cubicBezTo>
                  <a:cubicBezTo>
                    <a:pt x="845" y="1613"/>
                    <a:pt x="845" y="1605"/>
                    <a:pt x="845" y="1597"/>
                  </a:cubicBezTo>
                  <a:cubicBezTo>
                    <a:pt x="837" y="1557"/>
                    <a:pt x="821" y="1557"/>
                    <a:pt x="821" y="1549"/>
                  </a:cubicBezTo>
                  <a:cubicBezTo>
                    <a:pt x="814" y="1549"/>
                    <a:pt x="814" y="1549"/>
                    <a:pt x="814" y="1549"/>
                  </a:cubicBezTo>
                  <a:cubicBezTo>
                    <a:pt x="814" y="1542"/>
                    <a:pt x="814" y="1542"/>
                    <a:pt x="821" y="1542"/>
                  </a:cubicBezTo>
                  <a:cubicBezTo>
                    <a:pt x="821" y="1542"/>
                    <a:pt x="830" y="1542"/>
                    <a:pt x="830" y="1534"/>
                  </a:cubicBezTo>
                  <a:cubicBezTo>
                    <a:pt x="853" y="1526"/>
                    <a:pt x="861" y="1526"/>
                    <a:pt x="869" y="1526"/>
                  </a:cubicBezTo>
                  <a:cubicBezTo>
                    <a:pt x="869" y="1526"/>
                    <a:pt x="877" y="1526"/>
                    <a:pt x="885" y="1518"/>
                  </a:cubicBezTo>
                  <a:cubicBezTo>
                    <a:pt x="893" y="1510"/>
                    <a:pt x="908" y="1502"/>
                    <a:pt x="924" y="1502"/>
                  </a:cubicBezTo>
                  <a:cubicBezTo>
                    <a:pt x="932" y="1502"/>
                    <a:pt x="940" y="1502"/>
                    <a:pt x="940" y="1518"/>
                  </a:cubicBezTo>
                  <a:cubicBezTo>
                    <a:pt x="940" y="1534"/>
                    <a:pt x="940" y="1557"/>
                    <a:pt x="948" y="1557"/>
                  </a:cubicBezTo>
                  <a:lnTo>
                    <a:pt x="956" y="1557"/>
                  </a:lnTo>
                  <a:cubicBezTo>
                    <a:pt x="964" y="1549"/>
                    <a:pt x="972" y="1542"/>
                    <a:pt x="972" y="1534"/>
                  </a:cubicBezTo>
                  <a:cubicBezTo>
                    <a:pt x="972" y="1526"/>
                    <a:pt x="980" y="1526"/>
                    <a:pt x="980" y="1526"/>
                  </a:cubicBezTo>
                  <a:cubicBezTo>
                    <a:pt x="988" y="1526"/>
                    <a:pt x="995" y="1526"/>
                    <a:pt x="1003" y="1534"/>
                  </a:cubicBezTo>
                  <a:cubicBezTo>
                    <a:pt x="1011" y="1534"/>
                    <a:pt x="1019" y="1542"/>
                    <a:pt x="1019" y="1542"/>
                  </a:cubicBezTo>
                  <a:cubicBezTo>
                    <a:pt x="1043" y="1557"/>
                    <a:pt x="1051" y="1565"/>
                    <a:pt x="1059" y="1589"/>
                  </a:cubicBezTo>
                  <a:cubicBezTo>
                    <a:pt x="1067" y="1621"/>
                    <a:pt x="1067" y="1628"/>
                    <a:pt x="1090" y="1628"/>
                  </a:cubicBezTo>
                  <a:cubicBezTo>
                    <a:pt x="1114" y="1628"/>
                    <a:pt x="1161" y="1644"/>
                    <a:pt x="1177" y="1652"/>
                  </a:cubicBezTo>
                  <a:cubicBezTo>
                    <a:pt x="1193" y="1660"/>
                    <a:pt x="1201" y="1660"/>
                    <a:pt x="1217" y="1676"/>
                  </a:cubicBezTo>
                  <a:cubicBezTo>
                    <a:pt x="1233" y="1684"/>
                    <a:pt x="1233" y="1692"/>
                    <a:pt x="1233" y="1700"/>
                  </a:cubicBezTo>
                  <a:cubicBezTo>
                    <a:pt x="1225" y="1708"/>
                    <a:pt x="1217" y="1715"/>
                    <a:pt x="1209" y="1715"/>
                  </a:cubicBezTo>
                  <a:cubicBezTo>
                    <a:pt x="1193" y="1715"/>
                    <a:pt x="1177" y="1715"/>
                    <a:pt x="1177" y="1715"/>
                  </a:cubicBezTo>
                  <a:cubicBezTo>
                    <a:pt x="1177" y="1724"/>
                    <a:pt x="1177" y="1724"/>
                    <a:pt x="1177" y="1731"/>
                  </a:cubicBezTo>
                  <a:cubicBezTo>
                    <a:pt x="1177" y="1731"/>
                    <a:pt x="1177" y="1739"/>
                    <a:pt x="1185" y="1739"/>
                  </a:cubicBezTo>
                  <a:cubicBezTo>
                    <a:pt x="1193" y="1755"/>
                    <a:pt x="1193" y="1763"/>
                    <a:pt x="1217" y="1771"/>
                  </a:cubicBezTo>
                  <a:cubicBezTo>
                    <a:pt x="1225" y="1771"/>
                    <a:pt x="1241" y="1771"/>
                    <a:pt x="1248" y="1771"/>
                  </a:cubicBezTo>
                  <a:lnTo>
                    <a:pt x="1256" y="1763"/>
                  </a:lnTo>
                  <a:cubicBezTo>
                    <a:pt x="1264" y="1763"/>
                    <a:pt x="1272" y="1771"/>
                    <a:pt x="1288" y="1771"/>
                  </a:cubicBezTo>
                  <a:cubicBezTo>
                    <a:pt x="1304" y="1779"/>
                    <a:pt x="1304" y="1779"/>
                    <a:pt x="1312" y="1787"/>
                  </a:cubicBezTo>
                  <a:cubicBezTo>
                    <a:pt x="1312" y="1795"/>
                    <a:pt x="1320" y="1795"/>
                    <a:pt x="1343" y="1802"/>
                  </a:cubicBezTo>
                  <a:cubicBezTo>
                    <a:pt x="1359" y="1802"/>
                    <a:pt x="1391" y="1810"/>
                    <a:pt x="1414" y="1810"/>
                  </a:cubicBezTo>
                  <a:cubicBezTo>
                    <a:pt x="1438" y="1810"/>
                    <a:pt x="1454" y="1802"/>
                    <a:pt x="1454" y="1795"/>
                  </a:cubicBezTo>
                  <a:cubicBezTo>
                    <a:pt x="1462" y="1787"/>
                    <a:pt x="1462" y="1771"/>
                    <a:pt x="1454" y="1763"/>
                  </a:cubicBezTo>
                  <a:cubicBezTo>
                    <a:pt x="1454" y="1747"/>
                    <a:pt x="1454" y="1739"/>
                    <a:pt x="1462" y="1731"/>
                  </a:cubicBezTo>
                  <a:cubicBezTo>
                    <a:pt x="1478" y="1715"/>
                    <a:pt x="1501" y="1715"/>
                    <a:pt x="1517" y="1715"/>
                  </a:cubicBezTo>
                  <a:cubicBezTo>
                    <a:pt x="1533" y="1715"/>
                    <a:pt x="1557" y="1715"/>
                    <a:pt x="1565" y="1724"/>
                  </a:cubicBezTo>
                  <a:cubicBezTo>
                    <a:pt x="1565" y="1731"/>
                    <a:pt x="1573" y="1739"/>
                    <a:pt x="1581" y="1739"/>
                  </a:cubicBezTo>
                  <a:lnTo>
                    <a:pt x="1588" y="1739"/>
                  </a:lnTo>
                  <a:cubicBezTo>
                    <a:pt x="1596" y="1731"/>
                    <a:pt x="1604" y="1731"/>
                    <a:pt x="1604" y="1731"/>
                  </a:cubicBezTo>
                  <a:cubicBezTo>
                    <a:pt x="1612" y="1731"/>
                    <a:pt x="1612" y="1731"/>
                    <a:pt x="1612" y="1731"/>
                  </a:cubicBezTo>
                  <a:cubicBezTo>
                    <a:pt x="1612" y="1739"/>
                    <a:pt x="1620" y="1739"/>
                    <a:pt x="1612" y="1755"/>
                  </a:cubicBezTo>
                  <a:cubicBezTo>
                    <a:pt x="1612" y="1755"/>
                    <a:pt x="1612" y="1763"/>
                    <a:pt x="1612" y="1771"/>
                  </a:cubicBezTo>
                  <a:cubicBezTo>
                    <a:pt x="1604" y="1779"/>
                    <a:pt x="1604" y="1787"/>
                    <a:pt x="1604" y="1795"/>
                  </a:cubicBezTo>
                  <a:cubicBezTo>
                    <a:pt x="1612" y="1795"/>
                    <a:pt x="1612" y="1795"/>
                    <a:pt x="1620" y="1802"/>
                  </a:cubicBezTo>
                  <a:cubicBezTo>
                    <a:pt x="1620" y="1802"/>
                    <a:pt x="1628" y="1802"/>
                    <a:pt x="1636" y="1802"/>
                  </a:cubicBezTo>
                  <a:cubicBezTo>
                    <a:pt x="1644" y="1810"/>
                    <a:pt x="1652" y="1810"/>
                    <a:pt x="1660" y="1810"/>
                  </a:cubicBezTo>
                  <a:cubicBezTo>
                    <a:pt x="1667" y="1810"/>
                    <a:pt x="1675" y="1810"/>
                    <a:pt x="1675" y="1787"/>
                  </a:cubicBezTo>
                  <a:cubicBezTo>
                    <a:pt x="1683" y="1779"/>
                    <a:pt x="1683" y="1763"/>
                    <a:pt x="1683" y="1755"/>
                  </a:cubicBezTo>
                  <a:cubicBezTo>
                    <a:pt x="1683" y="1731"/>
                    <a:pt x="1691" y="1715"/>
                    <a:pt x="1699" y="1708"/>
                  </a:cubicBezTo>
                  <a:lnTo>
                    <a:pt x="1699" y="1708"/>
                  </a:lnTo>
                  <a:cubicBezTo>
                    <a:pt x="1707" y="1692"/>
                    <a:pt x="1707" y="1692"/>
                    <a:pt x="1699" y="1668"/>
                  </a:cubicBezTo>
                  <a:cubicBezTo>
                    <a:pt x="1691" y="1652"/>
                    <a:pt x="1691" y="1652"/>
                    <a:pt x="1675" y="1644"/>
                  </a:cubicBezTo>
                  <a:cubicBezTo>
                    <a:pt x="1675" y="1644"/>
                    <a:pt x="1667" y="1637"/>
                    <a:pt x="1660" y="1637"/>
                  </a:cubicBezTo>
                  <a:cubicBezTo>
                    <a:pt x="1636" y="1621"/>
                    <a:pt x="1612" y="1597"/>
                    <a:pt x="1620" y="1589"/>
                  </a:cubicBezTo>
                  <a:cubicBezTo>
                    <a:pt x="1620" y="1581"/>
                    <a:pt x="1620" y="1581"/>
                    <a:pt x="1628" y="1581"/>
                  </a:cubicBezTo>
                  <a:cubicBezTo>
                    <a:pt x="1628" y="1581"/>
                    <a:pt x="1628" y="1581"/>
                    <a:pt x="1636" y="1581"/>
                  </a:cubicBezTo>
                  <a:cubicBezTo>
                    <a:pt x="1652" y="1581"/>
                    <a:pt x="1652" y="1589"/>
                    <a:pt x="1667" y="1589"/>
                  </a:cubicBezTo>
                  <a:cubicBezTo>
                    <a:pt x="1675" y="1597"/>
                    <a:pt x="1683" y="1597"/>
                    <a:pt x="1691" y="1605"/>
                  </a:cubicBezTo>
                  <a:cubicBezTo>
                    <a:pt x="1715" y="1605"/>
                    <a:pt x="1731" y="1613"/>
                    <a:pt x="1739" y="1613"/>
                  </a:cubicBezTo>
                  <a:cubicBezTo>
                    <a:pt x="1754" y="1621"/>
                    <a:pt x="1770" y="1621"/>
                    <a:pt x="1778" y="1628"/>
                  </a:cubicBezTo>
                  <a:cubicBezTo>
                    <a:pt x="1794" y="1637"/>
                    <a:pt x="1810" y="1652"/>
                    <a:pt x="1810" y="1660"/>
                  </a:cubicBezTo>
                  <a:cubicBezTo>
                    <a:pt x="1810" y="1668"/>
                    <a:pt x="1810" y="1668"/>
                    <a:pt x="1802" y="1676"/>
                  </a:cubicBezTo>
                  <a:cubicBezTo>
                    <a:pt x="1786" y="1676"/>
                    <a:pt x="1786" y="1676"/>
                    <a:pt x="1786" y="1676"/>
                  </a:cubicBezTo>
                  <a:cubicBezTo>
                    <a:pt x="1786" y="1676"/>
                    <a:pt x="1786" y="1684"/>
                    <a:pt x="1794" y="1684"/>
                  </a:cubicBezTo>
                  <a:cubicBezTo>
                    <a:pt x="1802" y="1684"/>
                    <a:pt x="1818" y="1684"/>
                    <a:pt x="1826" y="1684"/>
                  </a:cubicBezTo>
                  <a:cubicBezTo>
                    <a:pt x="1834" y="1684"/>
                    <a:pt x="1834" y="1676"/>
                    <a:pt x="1841" y="1676"/>
                  </a:cubicBezTo>
                  <a:cubicBezTo>
                    <a:pt x="1841" y="1676"/>
                    <a:pt x="1849" y="1684"/>
                    <a:pt x="1857" y="1684"/>
                  </a:cubicBezTo>
                  <a:cubicBezTo>
                    <a:pt x="1857" y="1692"/>
                    <a:pt x="1857" y="1700"/>
                    <a:pt x="1857" y="1700"/>
                  </a:cubicBezTo>
                  <a:cubicBezTo>
                    <a:pt x="1857" y="1708"/>
                    <a:pt x="1857" y="1715"/>
                    <a:pt x="1873" y="1715"/>
                  </a:cubicBezTo>
                  <a:cubicBezTo>
                    <a:pt x="1881" y="1724"/>
                    <a:pt x="1905" y="1715"/>
                    <a:pt x="1913" y="1708"/>
                  </a:cubicBezTo>
                  <a:cubicBezTo>
                    <a:pt x="1920" y="1708"/>
                    <a:pt x="1928" y="1708"/>
                    <a:pt x="1936" y="1708"/>
                  </a:cubicBezTo>
                  <a:close/>
                </a:path>
              </a:pathLst>
            </a:custGeom>
            <a:solidFill>
              <a:schemeClr val="accent6"/>
            </a:solidFill>
            <a:ln>
              <a:solidFill>
                <a:schemeClr val="bg2"/>
              </a:solidFill>
            </a:ln>
            <a:effectLst/>
          </p:spPr>
          <p:txBody>
            <a:bodyPr wrap="none" anchor="ctr"/>
            <a:lstStyle/>
            <a:p>
              <a:endParaRPr lang="en-US"/>
            </a:p>
          </p:txBody>
        </p:sp>
        <p:sp>
          <p:nvSpPr>
            <p:cNvPr id="60" name="Freeform 508"/>
            <p:cNvSpPr>
              <a:spLocks noChangeArrowheads="1"/>
            </p:cNvSpPr>
            <p:nvPr/>
          </p:nvSpPr>
          <p:spPr bwMode="auto">
            <a:xfrm>
              <a:off x="4079069" y="2020882"/>
              <a:ext cx="884175" cy="868959"/>
            </a:xfrm>
            <a:custGeom>
              <a:avLst/>
              <a:gdLst>
                <a:gd name="T0" fmla="*/ 2055 w 2451"/>
                <a:gd name="T1" fmla="*/ 2712 h 2784"/>
                <a:gd name="T2" fmla="*/ 2055 w 2451"/>
                <a:gd name="T3" fmla="*/ 2712 h 2784"/>
                <a:gd name="T4" fmla="*/ 2023 w 2451"/>
                <a:gd name="T5" fmla="*/ 2601 h 2784"/>
                <a:gd name="T6" fmla="*/ 1936 w 2451"/>
                <a:gd name="T7" fmla="*/ 2475 h 2784"/>
                <a:gd name="T8" fmla="*/ 1778 w 2451"/>
                <a:gd name="T9" fmla="*/ 2316 h 2784"/>
                <a:gd name="T10" fmla="*/ 1691 w 2451"/>
                <a:gd name="T11" fmla="*/ 2293 h 2784"/>
                <a:gd name="T12" fmla="*/ 1659 w 2451"/>
                <a:gd name="T13" fmla="*/ 2277 h 2784"/>
                <a:gd name="T14" fmla="*/ 1596 w 2451"/>
                <a:gd name="T15" fmla="*/ 2229 h 2784"/>
                <a:gd name="T16" fmla="*/ 1509 w 2451"/>
                <a:gd name="T17" fmla="*/ 2174 h 2784"/>
                <a:gd name="T18" fmla="*/ 1470 w 2451"/>
                <a:gd name="T19" fmla="*/ 2071 h 2784"/>
                <a:gd name="T20" fmla="*/ 1494 w 2451"/>
                <a:gd name="T21" fmla="*/ 1969 h 2784"/>
                <a:gd name="T22" fmla="*/ 1494 w 2451"/>
                <a:gd name="T23" fmla="*/ 1889 h 2784"/>
                <a:gd name="T24" fmla="*/ 1485 w 2451"/>
                <a:gd name="T25" fmla="*/ 1787 h 2784"/>
                <a:gd name="T26" fmla="*/ 1438 w 2451"/>
                <a:gd name="T27" fmla="*/ 1724 h 2784"/>
                <a:gd name="T28" fmla="*/ 1485 w 2451"/>
                <a:gd name="T29" fmla="*/ 1613 h 2784"/>
                <a:gd name="T30" fmla="*/ 1612 w 2451"/>
                <a:gd name="T31" fmla="*/ 1542 h 2784"/>
                <a:gd name="T32" fmla="*/ 1612 w 2451"/>
                <a:gd name="T33" fmla="*/ 1360 h 2784"/>
                <a:gd name="T34" fmla="*/ 1604 w 2451"/>
                <a:gd name="T35" fmla="*/ 1249 h 2784"/>
                <a:gd name="T36" fmla="*/ 1675 w 2451"/>
                <a:gd name="T37" fmla="*/ 1186 h 2784"/>
                <a:gd name="T38" fmla="*/ 1691 w 2451"/>
                <a:gd name="T39" fmla="*/ 1154 h 2784"/>
                <a:gd name="T40" fmla="*/ 2071 w 2451"/>
                <a:gd name="T41" fmla="*/ 791 h 2784"/>
                <a:gd name="T42" fmla="*/ 2268 w 2451"/>
                <a:gd name="T43" fmla="*/ 672 h 2784"/>
                <a:gd name="T44" fmla="*/ 2450 w 2451"/>
                <a:gd name="T45" fmla="*/ 570 h 2784"/>
                <a:gd name="T46" fmla="*/ 2339 w 2451"/>
                <a:gd name="T47" fmla="*/ 577 h 2784"/>
                <a:gd name="T48" fmla="*/ 2268 w 2451"/>
                <a:gd name="T49" fmla="*/ 522 h 2784"/>
                <a:gd name="T50" fmla="*/ 2110 w 2451"/>
                <a:gd name="T51" fmla="*/ 546 h 2784"/>
                <a:gd name="T52" fmla="*/ 2062 w 2451"/>
                <a:gd name="T53" fmla="*/ 546 h 2784"/>
                <a:gd name="T54" fmla="*/ 2007 w 2451"/>
                <a:gd name="T55" fmla="*/ 475 h 2784"/>
                <a:gd name="T56" fmla="*/ 1865 w 2451"/>
                <a:gd name="T57" fmla="*/ 601 h 2784"/>
                <a:gd name="T58" fmla="*/ 1731 w 2451"/>
                <a:gd name="T59" fmla="*/ 538 h 2784"/>
                <a:gd name="T60" fmla="*/ 1620 w 2451"/>
                <a:gd name="T61" fmla="*/ 443 h 2784"/>
                <a:gd name="T62" fmla="*/ 1565 w 2451"/>
                <a:gd name="T63" fmla="*/ 506 h 2784"/>
                <a:gd name="T64" fmla="*/ 1501 w 2451"/>
                <a:gd name="T65" fmla="*/ 435 h 2784"/>
                <a:gd name="T66" fmla="*/ 1351 w 2451"/>
                <a:gd name="T67" fmla="*/ 332 h 2784"/>
                <a:gd name="T68" fmla="*/ 1154 w 2451"/>
                <a:gd name="T69" fmla="*/ 395 h 2784"/>
                <a:gd name="T70" fmla="*/ 1066 w 2451"/>
                <a:gd name="T71" fmla="*/ 388 h 2784"/>
                <a:gd name="T72" fmla="*/ 956 w 2451"/>
                <a:gd name="T73" fmla="*/ 356 h 2784"/>
                <a:gd name="T74" fmla="*/ 901 w 2451"/>
                <a:gd name="T75" fmla="*/ 332 h 2784"/>
                <a:gd name="T76" fmla="*/ 806 w 2451"/>
                <a:gd name="T77" fmla="*/ 301 h 2784"/>
                <a:gd name="T78" fmla="*/ 790 w 2451"/>
                <a:gd name="T79" fmla="*/ 166 h 2784"/>
                <a:gd name="T80" fmla="*/ 766 w 2451"/>
                <a:gd name="T81" fmla="*/ 48 h 2784"/>
                <a:gd name="T82" fmla="*/ 679 w 2451"/>
                <a:gd name="T83" fmla="*/ 0 h 2784"/>
                <a:gd name="T84" fmla="*/ 648 w 2451"/>
                <a:gd name="T85" fmla="*/ 119 h 2784"/>
                <a:gd name="T86" fmla="*/ 632 w 2451"/>
                <a:gd name="T87" fmla="*/ 151 h 2784"/>
                <a:gd name="T88" fmla="*/ 0 w 2451"/>
                <a:gd name="T89" fmla="*/ 182 h 2784"/>
                <a:gd name="T90" fmla="*/ 32 w 2451"/>
                <a:gd name="T91" fmla="*/ 293 h 2784"/>
                <a:gd name="T92" fmla="*/ 48 w 2451"/>
                <a:gd name="T93" fmla="*/ 372 h 2784"/>
                <a:gd name="T94" fmla="*/ 32 w 2451"/>
                <a:gd name="T95" fmla="*/ 585 h 2784"/>
                <a:gd name="T96" fmla="*/ 119 w 2451"/>
                <a:gd name="T97" fmla="*/ 830 h 2784"/>
                <a:gd name="T98" fmla="*/ 119 w 2451"/>
                <a:gd name="T99" fmla="*/ 1012 h 2784"/>
                <a:gd name="T100" fmla="*/ 127 w 2451"/>
                <a:gd name="T101" fmla="*/ 1162 h 2784"/>
                <a:gd name="T102" fmla="*/ 158 w 2451"/>
                <a:gd name="T103" fmla="*/ 1384 h 2784"/>
                <a:gd name="T104" fmla="*/ 205 w 2451"/>
                <a:gd name="T105" fmla="*/ 1439 h 2784"/>
                <a:gd name="T106" fmla="*/ 213 w 2451"/>
                <a:gd name="T107" fmla="*/ 1605 h 2784"/>
                <a:gd name="T108" fmla="*/ 158 w 2451"/>
                <a:gd name="T109" fmla="*/ 1739 h 2784"/>
                <a:gd name="T110" fmla="*/ 135 w 2451"/>
                <a:gd name="T111" fmla="*/ 1803 h 2784"/>
                <a:gd name="T112" fmla="*/ 158 w 2451"/>
                <a:gd name="T113" fmla="*/ 1858 h 2784"/>
                <a:gd name="T114" fmla="*/ 205 w 2451"/>
                <a:gd name="T115" fmla="*/ 1898 h 2784"/>
                <a:gd name="T116" fmla="*/ 260 w 2451"/>
                <a:gd name="T117" fmla="*/ 1913 h 2784"/>
                <a:gd name="T118" fmla="*/ 260 w 2451"/>
                <a:gd name="T119" fmla="*/ 2767 h 2784"/>
                <a:gd name="T120" fmla="*/ 2055 w 2451"/>
                <a:gd name="T121" fmla="*/ 2712 h 27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51" h="2784">
                  <a:moveTo>
                    <a:pt x="2055" y="2712"/>
                  </a:moveTo>
                  <a:lnTo>
                    <a:pt x="2055" y="2712"/>
                  </a:lnTo>
                  <a:cubicBezTo>
                    <a:pt x="2039" y="2680"/>
                    <a:pt x="2023" y="2641"/>
                    <a:pt x="2023" y="2601"/>
                  </a:cubicBezTo>
                  <a:cubicBezTo>
                    <a:pt x="2031" y="2538"/>
                    <a:pt x="1968" y="2475"/>
                    <a:pt x="1936" y="2475"/>
                  </a:cubicBezTo>
                  <a:cubicBezTo>
                    <a:pt x="1905" y="2467"/>
                    <a:pt x="1841" y="2380"/>
                    <a:pt x="1778" y="2316"/>
                  </a:cubicBezTo>
                  <a:cubicBezTo>
                    <a:pt x="1746" y="2285"/>
                    <a:pt x="1715" y="2293"/>
                    <a:pt x="1691" y="2293"/>
                  </a:cubicBezTo>
                  <a:cubicBezTo>
                    <a:pt x="1675" y="2293"/>
                    <a:pt x="1667" y="2293"/>
                    <a:pt x="1659" y="2277"/>
                  </a:cubicBezTo>
                  <a:cubicBezTo>
                    <a:pt x="1651" y="2238"/>
                    <a:pt x="1628" y="2253"/>
                    <a:pt x="1596" y="2229"/>
                  </a:cubicBezTo>
                  <a:cubicBezTo>
                    <a:pt x="1572" y="2214"/>
                    <a:pt x="1525" y="2214"/>
                    <a:pt x="1509" y="2174"/>
                  </a:cubicBezTo>
                  <a:cubicBezTo>
                    <a:pt x="1501" y="2143"/>
                    <a:pt x="1454" y="2143"/>
                    <a:pt x="1470" y="2071"/>
                  </a:cubicBezTo>
                  <a:cubicBezTo>
                    <a:pt x="1494" y="2008"/>
                    <a:pt x="1494" y="2016"/>
                    <a:pt x="1494" y="1969"/>
                  </a:cubicBezTo>
                  <a:cubicBezTo>
                    <a:pt x="1485" y="1929"/>
                    <a:pt x="1470" y="1921"/>
                    <a:pt x="1494" y="1889"/>
                  </a:cubicBezTo>
                  <a:cubicBezTo>
                    <a:pt x="1525" y="1866"/>
                    <a:pt x="1517" y="1811"/>
                    <a:pt x="1485" y="1787"/>
                  </a:cubicBezTo>
                  <a:cubicBezTo>
                    <a:pt x="1454" y="1771"/>
                    <a:pt x="1406" y="1771"/>
                    <a:pt x="1438" y="1724"/>
                  </a:cubicBezTo>
                  <a:cubicBezTo>
                    <a:pt x="1470" y="1668"/>
                    <a:pt x="1446" y="1652"/>
                    <a:pt x="1485" y="1613"/>
                  </a:cubicBezTo>
                  <a:cubicBezTo>
                    <a:pt x="1533" y="1581"/>
                    <a:pt x="1580" y="1597"/>
                    <a:pt x="1612" y="1542"/>
                  </a:cubicBezTo>
                  <a:cubicBezTo>
                    <a:pt x="1651" y="1487"/>
                    <a:pt x="1620" y="1399"/>
                    <a:pt x="1612" y="1360"/>
                  </a:cubicBezTo>
                  <a:cubicBezTo>
                    <a:pt x="1612" y="1321"/>
                    <a:pt x="1588" y="1257"/>
                    <a:pt x="1604" y="1249"/>
                  </a:cubicBezTo>
                  <a:cubicBezTo>
                    <a:pt x="1620" y="1249"/>
                    <a:pt x="1675" y="1186"/>
                    <a:pt x="1675" y="1186"/>
                  </a:cubicBezTo>
                  <a:cubicBezTo>
                    <a:pt x="1667" y="1178"/>
                    <a:pt x="1667" y="1178"/>
                    <a:pt x="1691" y="1154"/>
                  </a:cubicBezTo>
                  <a:cubicBezTo>
                    <a:pt x="1731" y="1131"/>
                    <a:pt x="2039" y="862"/>
                    <a:pt x="2071" y="791"/>
                  </a:cubicBezTo>
                  <a:cubicBezTo>
                    <a:pt x="2102" y="728"/>
                    <a:pt x="2205" y="696"/>
                    <a:pt x="2268" y="672"/>
                  </a:cubicBezTo>
                  <a:cubicBezTo>
                    <a:pt x="2300" y="664"/>
                    <a:pt x="2379" y="633"/>
                    <a:pt x="2450" y="570"/>
                  </a:cubicBezTo>
                  <a:cubicBezTo>
                    <a:pt x="2411" y="570"/>
                    <a:pt x="2363" y="577"/>
                    <a:pt x="2339" y="577"/>
                  </a:cubicBezTo>
                  <a:cubicBezTo>
                    <a:pt x="2316" y="577"/>
                    <a:pt x="2300" y="538"/>
                    <a:pt x="2268" y="522"/>
                  </a:cubicBezTo>
                  <a:cubicBezTo>
                    <a:pt x="2244" y="506"/>
                    <a:pt x="2142" y="538"/>
                    <a:pt x="2110" y="546"/>
                  </a:cubicBezTo>
                  <a:cubicBezTo>
                    <a:pt x="2078" y="554"/>
                    <a:pt x="2062" y="570"/>
                    <a:pt x="2062" y="546"/>
                  </a:cubicBezTo>
                  <a:cubicBezTo>
                    <a:pt x="2055" y="522"/>
                    <a:pt x="2039" y="490"/>
                    <a:pt x="2007" y="475"/>
                  </a:cubicBezTo>
                  <a:cubicBezTo>
                    <a:pt x="1976" y="451"/>
                    <a:pt x="1896" y="570"/>
                    <a:pt x="1865" y="601"/>
                  </a:cubicBezTo>
                  <a:cubicBezTo>
                    <a:pt x="1825" y="633"/>
                    <a:pt x="1754" y="577"/>
                    <a:pt x="1731" y="538"/>
                  </a:cubicBezTo>
                  <a:cubicBezTo>
                    <a:pt x="1707" y="498"/>
                    <a:pt x="1644" y="459"/>
                    <a:pt x="1620" y="443"/>
                  </a:cubicBezTo>
                  <a:cubicBezTo>
                    <a:pt x="1596" y="427"/>
                    <a:pt x="1596" y="498"/>
                    <a:pt x="1565" y="506"/>
                  </a:cubicBezTo>
                  <a:cubicBezTo>
                    <a:pt x="1533" y="514"/>
                    <a:pt x="1525" y="482"/>
                    <a:pt x="1501" y="435"/>
                  </a:cubicBezTo>
                  <a:cubicBezTo>
                    <a:pt x="1478" y="388"/>
                    <a:pt x="1422" y="364"/>
                    <a:pt x="1351" y="332"/>
                  </a:cubicBezTo>
                  <a:cubicBezTo>
                    <a:pt x="1280" y="301"/>
                    <a:pt x="1193" y="364"/>
                    <a:pt x="1154" y="395"/>
                  </a:cubicBezTo>
                  <a:cubicBezTo>
                    <a:pt x="1114" y="419"/>
                    <a:pt x="1090" y="427"/>
                    <a:pt x="1066" y="388"/>
                  </a:cubicBezTo>
                  <a:cubicBezTo>
                    <a:pt x="1043" y="356"/>
                    <a:pt x="972" y="364"/>
                    <a:pt x="956" y="356"/>
                  </a:cubicBezTo>
                  <a:cubicBezTo>
                    <a:pt x="932" y="348"/>
                    <a:pt x="956" y="309"/>
                    <a:pt x="901" y="332"/>
                  </a:cubicBezTo>
                  <a:cubicBezTo>
                    <a:pt x="845" y="356"/>
                    <a:pt x="837" y="324"/>
                    <a:pt x="806" y="301"/>
                  </a:cubicBezTo>
                  <a:cubicBezTo>
                    <a:pt x="766" y="285"/>
                    <a:pt x="806" y="182"/>
                    <a:pt x="790" y="166"/>
                  </a:cubicBezTo>
                  <a:cubicBezTo>
                    <a:pt x="782" y="151"/>
                    <a:pt x="766" y="87"/>
                    <a:pt x="766" y="48"/>
                  </a:cubicBezTo>
                  <a:cubicBezTo>
                    <a:pt x="758" y="16"/>
                    <a:pt x="719" y="0"/>
                    <a:pt x="679" y="0"/>
                  </a:cubicBezTo>
                  <a:cubicBezTo>
                    <a:pt x="640" y="0"/>
                    <a:pt x="648" y="79"/>
                    <a:pt x="648" y="119"/>
                  </a:cubicBezTo>
                  <a:cubicBezTo>
                    <a:pt x="655" y="151"/>
                    <a:pt x="632" y="151"/>
                    <a:pt x="632" y="151"/>
                  </a:cubicBezTo>
                  <a:cubicBezTo>
                    <a:pt x="426" y="166"/>
                    <a:pt x="213" y="174"/>
                    <a:pt x="0" y="182"/>
                  </a:cubicBezTo>
                  <a:cubicBezTo>
                    <a:pt x="0" y="222"/>
                    <a:pt x="16" y="277"/>
                    <a:pt x="32" y="293"/>
                  </a:cubicBezTo>
                  <a:cubicBezTo>
                    <a:pt x="56" y="324"/>
                    <a:pt x="56" y="348"/>
                    <a:pt x="48" y="372"/>
                  </a:cubicBezTo>
                  <a:cubicBezTo>
                    <a:pt x="40" y="388"/>
                    <a:pt x="0" y="490"/>
                    <a:pt x="32" y="585"/>
                  </a:cubicBezTo>
                  <a:cubicBezTo>
                    <a:pt x="63" y="680"/>
                    <a:pt x="103" y="799"/>
                    <a:pt x="119" y="830"/>
                  </a:cubicBezTo>
                  <a:cubicBezTo>
                    <a:pt x="143" y="862"/>
                    <a:pt x="127" y="941"/>
                    <a:pt x="119" y="1012"/>
                  </a:cubicBezTo>
                  <a:cubicBezTo>
                    <a:pt x="111" y="1083"/>
                    <a:pt x="127" y="1115"/>
                    <a:pt x="127" y="1162"/>
                  </a:cubicBezTo>
                  <a:cubicBezTo>
                    <a:pt x="127" y="1218"/>
                    <a:pt x="158" y="1344"/>
                    <a:pt x="158" y="1384"/>
                  </a:cubicBezTo>
                  <a:cubicBezTo>
                    <a:pt x="158" y="1415"/>
                    <a:pt x="190" y="1415"/>
                    <a:pt x="205" y="1439"/>
                  </a:cubicBezTo>
                  <a:cubicBezTo>
                    <a:pt x="221" y="1455"/>
                    <a:pt x="205" y="1558"/>
                    <a:pt x="213" y="1605"/>
                  </a:cubicBezTo>
                  <a:cubicBezTo>
                    <a:pt x="221" y="1645"/>
                    <a:pt x="182" y="1724"/>
                    <a:pt x="158" y="1739"/>
                  </a:cubicBezTo>
                  <a:cubicBezTo>
                    <a:pt x="127" y="1755"/>
                    <a:pt x="119" y="1787"/>
                    <a:pt x="135" y="1803"/>
                  </a:cubicBezTo>
                  <a:cubicBezTo>
                    <a:pt x="150" y="1818"/>
                    <a:pt x="158" y="1818"/>
                    <a:pt x="158" y="1858"/>
                  </a:cubicBezTo>
                  <a:cubicBezTo>
                    <a:pt x="158" y="1889"/>
                    <a:pt x="182" y="1898"/>
                    <a:pt x="205" y="1898"/>
                  </a:cubicBezTo>
                  <a:cubicBezTo>
                    <a:pt x="229" y="1898"/>
                    <a:pt x="260" y="1913"/>
                    <a:pt x="260" y="1913"/>
                  </a:cubicBezTo>
                  <a:cubicBezTo>
                    <a:pt x="260" y="2767"/>
                    <a:pt x="260" y="2767"/>
                    <a:pt x="260" y="2767"/>
                  </a:cubicBezTo>
                  <a:cubicBezTo>
                    <a:pt x="260" y="2767"/>
                    <a:pt x="1438" y="2783"/>
                    <a:pt x="2055" y="2712"/>
                  </a:cubicBezTo>
                </a:path>
              </a:pathLst>
            </a:custGeom>
            <a:solidFill>
              <a:schemeClr val="accent6"/>
            </a:solidFill>
            <a:ln>
              <a:solidFill>
                <a:schemeClr val="bg2"/>
              </a:solidFill>
            </a:ln>
            <a:effectLst/>
          </p:spPr>
          <p:txBody>
            <a:bodyPr wrap="none" anchor="ctr"/>
            <a:lstStyle/>
            <a:p>
              <a:endParaRPr lang="en-US"/>
            </a:p>
          </p:txBody>
        </p:sp>
        <p:sp>
          <p:nvSpPr>
            <p:cNvPr id="61" name="Freeform 509"/>
            <p:cNvSpPr>
              <a:spLocks noChangeArrowheads="1"/>
            </p:cNvSpPr>
            <p:nvPr/>
          </p:nvSpPr>
          <p:spPr bwMode="auto">
            <a:xfrm>
              <a:off x="4077479" y="2020882"/>
              <a:ext cx="888946" cy="867583"/>
            </a:xfrm>
            <a:custGeom>
              <a:avLst/>
              <a:gdLst>
                <a:gd name="T0" fmla="*/ 260 w 2467"/>
                <a:gd name="T1" fmla="*/ 2767 h 2776"/>
                <a:gd name="T2" fmla="*/ 151 w 2467"/>
                <a:gd name="T3" fmla="*/ 1818 h 2776"/>
                <a:gd name="T4" fmla="*/ 221 w 2467"/>
                <a:gd name="T5" fmla="*/ 1605 h 2776"/>
                <a:gd name="T6" fmla="*/ 166 w 2467"/>
                <a:gd name="T7" fmla="*/ 1384 h 2776"/>
                <a:gd name="T8" fmla="*/ 127 w 2467"/>
                <a:gd name="T9" fmla="*/ 1012 h 2776"/>
                <a:gd name="T10" fmla="*/ 40 w 2467"/>
                <a:gd name="T11" fmla="*/ 301 h 2776"/>
                <a:gd name="T12" fmla="*/ 640 w 2467"/>
                <a:gd name="T13" fmla="*/ 151 h 2776"/>
                <a:gd name="T14" fmla="*/ 687 w 2467"/>
                <a:gd name="T15" fmla="*/ 0 h 2776"/>
                <a:gd name="T16" fmla="*/ 814 w 2467"/>
                <a:gd name="T17" fmla="*/ 301 h 2776"/>
                <a:gd name="T18" fmla="*/ 932 w 2467"/>
                <a:gd name="T19" fmla="*/ 324 h 2776"/>
                <a:gd name="T20" fmla="*/ 1082 w 2467"/>
                <a:gd name="T21" fmla="*/ 388 h 2776"/>
                <a:gd name="T22" fmla="*/ 1320 w 2467"/>
                <a:gd name="T23" fmla="*/ 317 h 2776"/>
                <a:gd name="T24" fmla="*/ 1565 w 2467"/>
                <a:gd name="T25" fmla="*/ 506 h 2776"/>
                <a:gd name="T26" fmla="*/ 1628 w 2467"/>
                <a:gd name="T27" fmla="*/ 435 h 2776"/>
                <a:gd name="T28" fmla="*/ 1873 w 2467"/>
                <a:gd name="T29" fmla="*/ 601 h 2776"/>
                <a:gd name="T30" fmla="*/ 2070 w 2467"/>
                <a:gd name="T31" fmla="*/ 546 h 2776"/>
                <a:gd name="T32" fmla="*/ 2142 w 2467"/>
                <a:gd name="T33" fmla="*/ 538 h 2776"/>
                <a:gd name="T34" fmla="*/ 2347 w 2467"/>
                <a:gd name="T35" fmla="*/ 570 h 2776"/>
                <a:gd name="T36" fmla="*/ 2276 w 2467"/>
                <a:gd name="T37" fmla="*/ 680 h 2776"/>
                <a:gd name="T38" fmla="*/ 1707 w 2467"/>
                <a:gd name="T39" fmla="*/ 1162 h 2776"/>
                <a:gd name="T40" fmla="*/ 1683 w 2467"/>
                <a:gd name="T41" fmla="*/ 1186 h 2776"/>
                <a:gd name="T42" fmla="*/ 1628 w 2467"/>
                <a:gd name="T43" fmla="*/ 1392 h 2776"/>
                <a:gd name="T44" fmla="*/ 1470 w 2467"/>
                <a:gd name="T45" fmla="*/ 1668 h 2776"/>
                <a:gd name="T46" fmla="*/ 1493 w 2467"/>
                <a:gd name="T47" fmla="*/ 1787 h 2776"/>
                <a:gd name="T48" fmla="*/ 1502 w 2467"/>
                <a:gd name="T49" fmla="*/ 1969 h 2776"/>
                <a:gd name="T50" fmla="*/ 1525 w 2467"/>
                <a:gd name="T51" fmla="*/ 2174 h 2776"/>
                <a:gd name="T52" fmla="*/ 1675 w 2467"/>
                <a:gd name="T53" fmla="*/ 2277 h 2776"/>
                <a:gd name="T54" fmla="*/ 1786 w 2467"/>
                <a:gd name="T55" fmla="*/ 2316 h 2776"/>
                <a:gd name="T56" fmla="*/ 2063 w 2467"/>
                <a:gd name="T57" fmla="*/ 2712 h 2776"/>
                <a:gd name="T58" fmla="*/ 268 w 2467"/>
                <a:gd name="T59" fmla="*/ 2759 h 2776"/>
                <a:gd name="T60" fmla="*/ 2031 w 2467"/>
                <a:gd name="T61" fmla="*/ 2601 h 2776"/>
                <a:gd name="T62" fmla="*/ 1715 w 2467"/>
                <a:gd name="T63" fmla="*/ 2293 h 2776"/>
                <a:gd name="T64" fmla="*/ 1628 w 2467"/>
                <a:gd name="T65" fmla="*/ 2245 h 2776"/>
                <a:gd name="T66" fmla="*/ 1493 w 2467"/>
                <a:gd name="T67" fmla="*/ 2151 h 2776"/>
                <a:gd name="T68" fmla="*/ 1486 w 2467"/>
                <a:gd name="T69" fmla="*/ 1937 h 2776"/>
                <a:gd name="T70" fmla="*/ 1462 w 2467"/>
                <a:gd name="T71" fmla="*/ 1779 h 2776"/>
                <a:gd name="T72" fmla="*/ 1493 w 2467"/>
                <a:gd name="T73" fmla="*/ 1613 h 2776"/>
                <a:gd name="T74" fmla="*/ 1620 w 2467"/>
                <a:gd name="T75" fmla="*/ 1360 h 2776"/>
                <a:gd name="T76" fmla="*/ 1699 w 2467"/>
                <a:gd name="T77" fmla="*/ 1154 h 2776"/>
                <a:gd name="T78" fmla="*/ 2276 w 2467"/>
                <a:gd name="T79" fmla="*/ 672 h 2776"/>
                <a:gd name="T80" fmla="*/ 2276 w 2467"/>
                <a:gd name="T81" fmla="*/ 530 h 2776"/>
                <a:gd name="T82" fmla="*/ 2094 w 2467"/>
                <a:gd name="T83" fmla="*/ 554 h 2776"/>
                <a:gd name="T84" fmla="*/ 2007 w 2467"/>
                <a:gd name="T85" fmla="*/ 475 h 2776"/>
                <a:gd name="T86" fmla="*/ 1739 w 2467"/>
                <a:gd name="T87" fmla="*/ 538 h 2776"/>
                <a:gd name="T88" fmla="*/ 1604 w 2467"/>
                <a:gd name="T89" fmla="*/ 467 h 2776"/>
                <a:gd name="T90" fmla="*/ 1502 w 2467"/>
                <a:gd name="T91" fmla="*/ 435 h 2776"/>
                <a:gd name="T92" fmla="*/ 1162 w 2467"/>
                <a:gd name="T93" fmla="*/ 395 h 2776"/>
                <a:gd name="T94" fmla="*/ 964 w 2467"/>
                <a:gd name="T95" fmla="*/ 356 h 2776"/>
                <a:gd name="T96" fmla="*/ 877 w 2467"/>
                <a:gd name="T97" fmla="*/ 348 h 2776"/>
                <a:gd name="T98" fmla="*/ 798 w 2467"/>
                <a:gd name="T99" fmla="*/ 166 h 2776"/>
                <a:gd name="T100" fmla="*/ 663 w 2467"/>
                <a:gd name="T101" fmla="*/ 119 h 2776"/>
                <a:gd name="T102" fmla="*/ 40 w 2467"/>
                <a:gd name="T103" fmla="*/ 293 h 2776"/>
                <a:gd name="T104" fmla="*/ 135 w 2467"/>
                <a:gd name="T105" fmla="*/ 1012 h 2776"/>
                <a:gd name="T106" fmla="*/ 174 w 2467"/>
                <a:gd name="T107" fmla="*/ 1384 h 2776"/>
                <a:gd name="T108" fmla="*/ 229 w 2467"/>
                <a:gd name="T109" fmla="*/ 1597 h 2776"/>
                <a:gd name="T110" fmla="*/ 158 w 2467"/>
                <a:gd name="T111" fmla="*/ 1811 h 2776"/>
                <a:gd name="T112" fmla="*/ 268 w 2467"/>
                <a:gd name="T113" fmla="*/ 1913 h 2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67" h="2776">
                  <a:moveTo>
                    <a:pt x="553" y="2775"/>
                  </a:moveTo>
                  <a:lnTo>
                    <a:pt x="553" y="2775"/>
                  </a:lnTo>
                  <a:cubicBezTo>
                    <a:pt x="379" y="2775"/>
                    <a:pt x="268" y="2767"/>
                    <a:pt x="268" y="2767"/>
                  </a:cubicBezTo>
                  <a:cubicBezTo>
                    <a:pt x="260" y="2767"/>
                    <a:pt x="260" y="2767"/>
                    <a:pt x="260" y="2767"/>
                  </a:cubicBezTo>
                  <a:cubicBezTo>
                    <a:pt x="260" y="1913"/>
                    <a:pt x="260" y="1913"/>
                    <a:pt x="260" y="1913"/>
                  </a:cubicBezTo>
                  <a:cubicBezTo>
                    <a:pt x="252" y="1913"/>
                    <a:pt x="229" y="1898"/>
                    <a:pt x="213" y="1898"/>
                  </a:cubicBezTo>
                  <a:cubicBezTo>
                    <a:pt x="190" y="1898"/>
                    <a:pt x="166" y="1889"/>
                    <a:pt x="166" y="1858"/>
                  </a:cubicBezTo>
                  <a:cubicBezTo>
                    <a:pt x="166" y="1834"/>
                    <a:pt x="158" y="1826"/>
                    <a:pt x="151" y="1818"/>
                  </a:cubicBezTo>
                  <a:lnTo>
                    <a:pt x="143" y="1811"/>
                  </a:lnTo>
                  <a:cubicBezTo>
                    <a:pt x="135" y="1795"/>
                    <a:pt x="135" y="1787"/>
                    <a:pt x="135" y="1771"/>
                  </a:cubicBezTo>
                  <a:cubicBezTo>
                    <a:pt x="135" y="1763"/>
                    <a:pt x="151" y="1747"/>
                    <a:pt x="158" y="1739"/>
                  </a:cubicBezTo>
                  <a:cubicBezTo>
                    <a:pt x="190" y="1724"/>
                    <a:pt x="229" y="1645"/>
                    <a:pt x="221" y="1605"/>
                  </a:cubicBezTo>
                  <a:cubicBezTo>
                    <a:pt x="213" y="1581"/>
                    <a:pt x="213" y="1550"/>
                    <a:pt x="221" y="1526"/>
                  </a:cubicBezTo>
                  <a:cubicBezTo>
                    <a:pt x="221" y="1487"/>
                    <a:pt x="221" y="1447"/>
                    <a:pt x="213" y="1439"/>
                  </a:cubicBezTo>
                  <a:cubicBezTo>
                    <a:pt x="205" y="1431"/>
                    <a:pt x="198" y="1431"/>
                    <a:pt x="198" y="1423"/>
                  </a:cubicBezTo>
                  <a:cubicBezTo>
                    <a:pt x="182" y="1415"/>
                    <a:pt x="166" y="1407"/>
                    <a:pt x="166" y="1384"/>
                  </a:cubicBezTo>
                  <a:cubicBezTo>
                    <a:pt x="166" y="1360"/>
                    <a:pt x="158" y="1328"/>
                    <a:pt x="151" y="1289"/>
                  </a:cubicBezTo>
                  <a:cubicBezTo>
                    <a:pt x="143" y="1241"/>
                    <a:pt x="135" y="1194"/>
                    <a:pt x="135" y="1162"/>
                  </a:cubicBezTo>
                  <a:cubicBezTo>
                    <a:pt x="135" y="1147"/>
                    <a:pt x="135" y="1131"/>
                    <a:pt x="127" y="1115"/>
                  </a:cubicBezTo>
                  <a:cubicBezTo>
                    <a:pt x="127" y="1083"/>
                    <a:pt x="119" y="1060"/>
                    <a:pt x="127" y="1012"/>
                  </a:cubicBezTo>
                  <a:cubicBezTo>
                    <a:pt x="135" y="949"/>
                    <a:pt x="143" y="862"/>
                    <a:pt x="127" y="830"/>
                  </a:cubicBezTo>
                  <a:cubicBezTo>
                    <a:pt x="111" y="799"/>
                    <a:pt x="64" y="672"/>
                    <a:pt x="40" y="585"/>
                  </a:cubicBezTo>
                  <a:cubicBezTo>
                    <a:pt x="0" y="482"/>
                    <a:pt x="48" y="372"/>
                    <a:pt x="48" y="364"/>
                  </a:cubicBezTo>
                  <a:cubicBezTo>
                    <a:pt x="64" y="340"/>
                    <a:pt x="56" y="317"/>
                    <a:pt x="40" y="301"/>
                  </a:cubicBezTo>
                  <a:cubicBezTo>
                    <a:pt x="24" y="277"/>
                    <a:pt x="8" y="222"/>
                    <a:pt x="8" y="182"/>
                  </a:cubicBezTo>
                  <a:cubicBezTo>
                    <a:pt x="8" y="174"/>
                    <a:pt x="8" y="174"/>
                    <a:pt x="8" y="174"/>
                  </a:cubicBezTo>
                  <a:lnTo>
                    <a:pt x="8" y="174"/>
                  </a:lnTo>
                  <a:cubicBezTo>
                    <a:pt x="229" y="174"/>
                    <a:pt x="442" y="158"/>
                    <a:pt x="640" y="151"/>
                  </a:cubicBezTo>
                  <a:cubicBezTo>
                    <a:pt x="640" y="151"/>
                    <a:pt x="648" y="151"/>
                    <a:pt x="648" y="142"/>
                  </a:cubicBezTo>
                  <a:cubicBezTo>
                    <a:pt x="656" y="142"/>
                    <a:pt x="656" y="135"/>
                    <a:pt x="656" y="119"/>
                  </a:cubicBezTo>
                  <a:cubicBezTo>
                    <a:pt x="648" y="64"/>
                    <a:pt x="648" y="24"/>
                    <a:pt x="663" y="8"/>
                  </a:cubicBezTo>
                  <a:cubicBezTo>
                    <a:pt x="671" y="0"/>
                    <a:pt x="679" y="0"/>
                    <a:pt x="687" y="0"/>
                  </a:cubicBezTo>
                  <a:cubicBezTo>
                    <a:pt x="743" y="0"/>
                    <a:pt x="774" y="16"/>
                    <a:pt x="774" y="48"/>
                  </a:cubicBezTo>
                  <a:cubicBezTo>
                    <a:pt x="782" y="95"/>
                    <a:pt x="790" y="151"/>
                    <a:pt x="806" y="166"/>
                  </a:cubicBezTo>
                  <a:cubicBezTo>
                    <a:pt x="814" y="174"/>
                    <a:pt x="806" y="190"/>
                    <a:pt x="806" y="214"/>
                  </a:cubicBezTo>
                  <a:cubicBezTo>
                    <a:pt x="798" y="245"/>
                    <a:pt x="790" y="285"/>
                    <a:pt x="814" y="301"/>
                  </a:cubicBezTo>
                  <a:cubicBezTo>
                    <a:pt x="822" y="301"/>
                    <a:pt x="829" y="309"/>
                    <a:pt x="837" y="317"/>
                  </a:cubicBezTo>
                  <a:cubicBezTo>
                    <a:pt x="853" y="324"/>
                    <a:pt x="861" y="340"/>
                    <a:pt x="877" y="340"/>
                  </a:cubicBezTo>
                  <a:cubicBezTo>
                    <a:pt x="885" y="340"/>
                    <a:pt x="893" y="332"/>
                    <a:pt x="909" y="332"/>
                  </a:cubicBezTo>
                  <a:cubicBezTo>
                    <a:pt x="916" y="324"/>
                    <a:pt x="924" y="324"/>
                    <a:pt x="932" y="324"/>
                  </a:cubicBezTo>
                  <a:cubicBezTo>
                    <a:pt x="948" y="324"/>
                    <a:pt x="956" y="332"/>
                    <a:pt x="956" y="340"/>
                  </a:cubicBezTo>
                  <a:cubicBezTo>
                    <a:pt x="956" y="348"/>
                    <a:pt x="956" y="348"/>
                    <a:pt x="964" y="348"/>
                  </a:cubicBezTo>
                  <a:cubicBezTo>
                    <a:pt x="972" y="356"/>
                    <a:pt x="980" y="356"/>
                    <a:pt x="987" y="356"/>
                  </a:cubicBezTo>
                  <a:cubicBezTo>
                    <a:pt x="1019" y="356"/>
                    <a:pt x="1067" y="356"/>
                    <a:pt x="1082" y="388"/>
                  </a:cubicBezTo>
                  <a:cubicBezTo>
                    <a:pt x="1090" y="404"/>
                    <a:pt x="1098" y="411"/>
                    <a:pt x="1114" y="411"/>
                  </a:cubicBezTo>
                  <a:cubicBezTo>
                    <a:pt x="1122" y="411"/>
                    <a:pt x="1138" y="404"/>
                    <a:pt x="1162" y="388"/>
                  </a:cubicBezTo>
                  <a:cubicBezTo>
                    <a:pt x="1169" y="388"/>
                    <a:pt x="1177" y="380"/>
                    <a:pt x="1185" y="372"/>
                  </a:cubicBezTo>
                  <a:cubicBezTo>
                    <a:pt x="1217" y="348"/>
                    <a:pt x="1264" y="317"/>
                    <a:pt x="1320" y="317"/>
                  </a:cubicBezTo>
                  <a:cubicBezTo>
                    <a:pt x="1335" y="317"/>
                    <a:pt x="1351" y="317"/>
                    <a:pt x="1359" y="324"/>
                  </a:cubicBezTo>
                  <a:cubicBezTo>
                    <a:pt x="1430" y="356"/>
                    <a:pt x="1486" y="388"/>
                    <a:pt x="1509" y="435"/>
                  </a:cubicBezTo>
                  <a:cubicBezTo>
                    <a:pt x="1517" y="443"/>
                    <a:pt x="1517" y="443"/>
                    <a:pt x="1517" y="451"/>
                  </a:cubicBezTo>
                  <a:cubicBezTo>
                    <a:pt x="1533" y="482"/>
                    <a:pt x="1541" y="506"/>
                    <a:pt x="1565" y="506"/>
                  </a:cubicBezTo>
                  <a:cubicBezTo>
                    <a:pt x="1565" y="506"/>
                    <a:pt x="1573" y="506"/>
                    <a:pt x="1573" y="498"/>
                  </a:cubicBezTo>
                  <a:cubicBezTo>
                    <a:pt x="1588" y="498"/>
                    <a:pt x="1596" y="482"/>
                    <a:pt x="1604" y="459"/>
                  </a:cubicBezTo>
                  <a:cubicBezTo>
                    <a:pt x="1604" y="451"/>
                    <a:pt x="1612" y="435"/>
                    <a:pt x="1620" y="435"/>
                  </a:cubicBezTo>
                  <a:cubicBezTo>
                    <a:pt x="1628" y="435"/>
                    <a:pt x="1628" y="435"/>
                    <a:pt x="1628" y="435"/>
                  </a:cubicBezTo>
                  <a:cubicBezTo>
                    <a:pt x="1636" y="443"/>
                    <a:pt x="1636" y="443"/>
                    <a:pt x="1644" y="443"/>
                  </a:cubicBezTo>
                  <a:cubicBezTo>
                    <a:pt x="1667" y="467"/>
                    <a:pt x="1723" y="498"/>
                    <a:pt x="1746" y="538"/>
                  </a:cubicBezTo>
                  <a:cubicBezTo>
                    <a:pt x="1762" y="562"/>
                    <a:pt x="1810" y="609"/>
                    <a:pt x="1849" y="609"/>
                  </a:cubicBezTo>
                  <a:cubicBezTo>
                    <a:pt x="1857" y="609"/>
                    <a:pt x="1865" y="601"/>
                    <a:pt x="1873" y="601"/>
                  </a:cubicBezTo>
                  <a:cubicBezTo>
                    <a:pt x="1881" y="593"/>
                    <a:pt x="1897" y="570"/>
                    <a:pt x="1913" y="546"/>
                  </a:cubicBezTo>
                  <a:cubicBezTo>
                    <a:pt x="1952" y="506"/>
                    <a:pt x="1984" y="467"/>
                    <a:pt x="2007" y="467"/>
                  </a:cubicBezTo>
                  <a:cubicBezTo>
                    <a:pt x="2015" y="467"/>
                    <a:pt x="2015" y="467"/>
                    <a:pt x="2015" y="467"/>
                  </a:cubicBezTo>
                  <a:cubicBezTo>
                    <a:pt x="2055" y="490"/>
                    <a:pt x="2070" y="522"/>
                    <a:pt x="2070" y="546"/>
                  </a:cubicBezTo>
                  <a:cubicBezTo>
                    <a:pt x="2070" y="554"/>
                    <a:pt x="2079" y="554"/>
                    <a:pt x="2079" y="554"/>
                  </a:cubicBezTo>
                  <a:cubicBezTo>
                    <a:pt x="2079" y="554"/>
                    <a:pt x="2086" y="554"/>
                    <a:pt x="2094" y="546"/>
                  </a:cubicBezTo>
                  <a:cubicBezTo>
                    <a:pt x="2102" y="546"/>
                    <a:pt x="2110" y="546"/>
                    <a:pt x="2118" y="546"/>
                  </a:cubicBezTo>
                  <a:cubicBezTo>
                    <a:pt x="2118" y="538"/>
                    <a:pt x="2126" y="538"/>
                    <a:pt x="2142" y="538"/>
                  </a:cubicBezTo>
                  <a:cubicBezTo>
                    <a:pt x="2173" y="530"/>
                    <a:pt x="2221" y="514"/>
                    <a:pt x="2252" y="514"/>
                  </a:cubicBezTo>
                  <a:cubicBezTo>
                    <a:pt x="2260" y="514"/>
                    <a:pt x="2268" y="514"/>
                    <a:pt x="2276" y="522"/>
                  </a:cubicBezTo>
                  <a:cubicBezTo>
                    <a:pt x="2292" y="530"/>
                    <a:pt x="2300" y="538"/>
                    <a:pt x="2308" y="546"/>
                  </a:cubicBezTo>
                  <a:cubicBezTo>
                    <a:pt x="2324" y="562"/>
                    <a:pt x="2332" y="570"/>
                    <a:pt x="2347" y="570"/>
                  </a:cubicBezTo>
                  <a:cubicBezTo>
                    <a:pt x="2371" y="570"/>
                    <a:pt x="2419" y="570"/>
                    <a:pt x="2450" y="570"/>
                  </a:cubicBezTo>
                  <a:cubicBezTo>
                    <a:pt x="2466" y="570"/>
                    <a:pt x="2466" y="570"/>
                    <a:pt x="2466" y="570"/>
                  </a:cubicBezTo>
                  <a:cubicBezTo>
                    <a:pt x="2458" y="570"/>
                    <a:pt x="2458" y="570"/>
                    <a:pt x="2458" y="570"/>
                  </a:cubicBezTo>
                  <a:cubicBezTo>
                    <a:pt x="2387" y="641"/>
                    <a:pt x="2308" y="664"/>
                    <a:pt x="2276" y="680"/>
                  </a:cubicBezTo>
                  <a:cubicBezTo>
                    <a:pt x="2260" y="680"/>
                    <a:pt x="2260" y="680"/>
                    <a:pt x="2260" y="680"/>
                  </a:cubicBezTo>
                  <a:cubicBezTo>
                    <a:pt x="2205" y="704"/>
                    <a:pt x="2110" y="735"/>
                    <a:pt x="2079" y="799"/>
                  </a:cubicBezTo>
                  <a:cubicBezTo>
                    <a:pt x="2055" y="854"/>
                    <a:pt x="1841" y="1044"/>
                    <a:pt x="1707" y="1154"/>
                  </a:cubicBezTo>
                  <a:cubicBezTo>
                    <a:pt x="1707" y="1162"/>
                    <a:pt x="1707" y="1162"/>
                    <a:pt x="1707" y="1162"/>
                  </a:cubicBezTo>
                  <a:cubicBezTo>
                    <a:pt x="1699" y="1170"/>
                    <a:pt x="1683" y="1178"/>
                    <a:pt x="1683" y="1178"/>
                  </a:cubicBezTo>
                  <a:lnTo>
                    <a:pt x="1683" y="1178"/>
                  </a:lnTo>
                  <a:cubicBezTo>
                    <a:pt x="1683" y="1186"/>
                    <a:pt x="1683" y="1186"/>
                    <a:pt x="1683" y="1186"/>
                  </a:cubicBezTo>
                  <a:lnTo>
                    <a:pt x="1683" y="1186"/>
                  </a:lnTo>
                  <a:cubicBezTo>
                    <a:pt x="1675" y="1194"/>
                    <a:pt x="1628" y="1249"/>
                    <a:pt x="1612" y="1257"/>
                  </a:cubicBezTo>
                  <a:cubicBezTo>
                    <a:pt x="1604" y="1257"/>
                    <a:pt x="1612" y="1297"/>
                    <a:pt x="1620" y="1321"/>
                  </a:cubicBezTo>
                  <a:cubicBezTo>
                    <a:pt x="1620" y="1336"/>
                    <a:pt x="1620" y="1344"/>
                    <a:pt x="1628" y="1360"/>
                  </a:cubicBezTo>
                  <a:cubicBezTo>
                    <a:pt x="1628" y="1368"/>
                    <a:pt x="1628" y="1376"/>
                    <a:pt x="1628" y="1392"/>
                  </a:cubicBezTo>
                  <a:cubicBezTo>
                    <a:pt x="1636" y="1431"/>
                    <a:pt x="1652" y="1502"/>
                    <a:pt x="1620" y="1542"/>
                  </a:cubicBezTo>
                  <a:cubicBezTo>
                    <a:pt x="1604" y="1574"/>
                    <a:pt x="1580" y="1581"/>
                    <a:pt x="1557" y="1589"/>
                  </a:cubicBezTo>
                  <a:cubicBezTo>
                    <a:pt x="1533" y="1597"/>
                    <a:pt x="1517" y="1605"/>
                    <a:pt x="1502" y="1621"/>
                  </a:cubicBezTo>
                  <a:cubicBezTo>
                    <a:pt x="1478" y="1637"/>
                    <a:pt x="1470" y="1652"/>
                    <a:pt x="1470" y="1668"/>
                  </a:cubicBezTo>
                  <a:cubicBezTo>
                    <a:pt x="1470" y="1684"/>
                    <a:pt x="1462" y="1700"/>
                    <a:pt x="1446" y="1724"/>
                  </a:cubicBezTo>
                  <a:cubicBezTo>
                    <a:pt x="1438" y="1739"/>
                    <a:pt x="1438" y="1747"/>
                    <a:pt x="1438" y="1755"/>
                  </a:cubicBezTo>
                  <a:cubicBezTo>
                    <a:pt x="1446" y="1763"/>
                    <a:pt x="1454" y="1771"/>
                    <a:pt x="1470" y="1771"/>
                  </a:cubicBezTo>
                  <a:cubicBezTo>
                    <a:pt x="1478" y="1779"/>
                    <a:pt x="1486" y="1779"/>
                    <a:pt x="1493" y="1787"/>
                  </a:cubicBezTo>
                  <a:cubicBezTo>
                    <a:pt x="1517" y="1795"/>
                    <a:pt x="1525" y="1818"/>
                    <a:pt x="1525" y="1842"/>
                  </a:cubicBezTo>
                  <a:cubicBezTo>
                    <a:pt x="1525" y="1866"/>
                    <a:pt x="1517" y="1882"/>
                    <a:pt x="1509" y="1898"/>
                  </a:cubicBezTo>
                  <a:cubicBezTo>
                    <a:pt x="1486" y="1913"/>
                    <a:pt x="1493" y="1921"/>
                    <a:pt x="1493" y="1937"/>
                  </a:cubicBezTo>
                  <a:cubicBezTo>
                    <a:pt x="1502" y="1945"/>
                    <a:pt x="1502" y="1961"/>
                    <a:pt x="1502" y="1969"/>
                  </a:cubicBezTo>
                  <a:cubicBezTo>
                    <a:pt x="1509" y="2008"/>
                    <a:pt x="1509" y="2008"/>
                    <a:pt x="1493" y="2048"/>
                  </a:cubicBezTo>
                  <a:cubicBezTo>
                    <a:pt x="1493" y="2056"/>
                    <a:pt x="1486" y="2064"/>
                    <a:pt x="1486" y="2071"/>
                  </a:cubicBezTo>
                  <a:cubicBezTo>
                    <a:pt x="1470" y="2119"/>
                    <a:pt x="1486" y="2127"/>
                    <a:pt x="1502" y="2143"/>
                  </a:cubicBezTo>
                  <a:cubicBezTo>
                    <a:pt x="1509" y="2151"/>
                    <a:pt x="1517" y="2166"/>
                    <a:pt x="1525" y="2174"/>
                  </a:cubicBezTo>
                  <a:cubicBezTo>
                    <a:pt x="1533" y="2198"/>
                    <a:pt x="1557" y="2206"/>
                    <a:pt x="1580" y="2214"/>
                  </a:cubicBezTo>
                  <a:cubicBezTo>
                    <a:pt x="1588" y="2222"/>
                    <a:pt x="1596" y="2222"/>
                    <a:pt x="1604" y="2229"/>
                  </a:cubicBezTo>
                  <a:cubicBezTo>
                    <a:pt x="1620" y="2238"/>
                    <a:pt x="1628" y="2238"/>
                    <a:pt x="1636" y="2238"/>
                  </a:cubicBezTo>
                  <a:cubicBezTo>
                    <a:pt x="1652" y="2245"/>
                    <a:pt x="1667" y="2245"/>
                    <a:pt x="1675" y="2277"/>
                  </a:cubicBezTo>
                  <a:cubicBezTo>
                    <a:pt x="1675" y="2285"/>
                    <a:pt x="1683" y="2285"/>
                    <a:pt x="1691" y="2285"/>
                  </a:cubicBezTo>
                  <a:lnTo>
                    <a:pt x="1699" y="2285"/>
                  </a:lnTo>
                  <a:cubicBezTo>
                    <a:pt x="1707" y="2285"/>
                    <a:pt x="1715" y="2285"/>
                    <a:pt x="1715" y="2285"/>
                  </a:cubicBezTo>
                  <a:cubicBezTo>
                    <a:pt x="1731" y="2285"/>
                    <a:pt x="1762" y="2293"/>
                    <a:pt x="1786" y="2316"/>
                  </a:cubicBezTo>
                  <a:cubicBezTo>
                    <a:pt x="1810" y="2340"/>
                    <a:pt x="1833" y="2364"/>
                    <a:pt x="1857" y="2388"/>
                  </a:cubicBezTo>
                  <a:cubicBezTo>
                    <a:pt x="1897" y="2427"/>
                    <a:pt x="1928" y="2467"/>
                    <a:pt x="1944" y="2467"/>
                  </a:cubicBezTo>
                  <a:cubicBezTo>
                    <a:pt x="1984" y="2475"/>
                    <a:pt x="2039" y="2538"/>
                    <a:pt x="2039" y="2601"/>
                  </a:cubicBezTo>
                  <a:cubicBezTo>
                    <a:pt x="2031" y="2641"/>
                    <a:pt x="2047" y="2680"/>
                    <a:pt x="2063" y="2712"/>
                  </a:cubicBezTo>
                  <a:lnTo>
                    <a:pt x="2063" y="2712"/>
                  </a:lnTo>
                  <a:cubicBezTo>
                    <a:pt x="2063" y="2720"/>
                    <a:pt x="2063" y="2720"/>
                    <a:pt x="2063" y="2720"/>
                  </a:cubicBezTo>
                  <a:cubicBezTo>
                    <a:pt x="1636" y="2767"/>
                    <a:pt x="932" y="2775"/>
                    <a:pt x="553" y="2775"/>
                  </a:cubicBezTo>
                  <a:lnTo>
                    <a:pt x="268" y="2759"/>
                  </a:lnTo>
                  <a:lnTo>
                    <a:pt x="268" y="2759"/>
                  </a:lnTo>
                  <a:cubicBezTo>
                    <a:pt x="292" y="2767"/>
                    <a:pt x="394" y="2767"/>
                    <a:pt x="553" y="2767"/>
                  </a:cubicBezTo>
                  <a:cubicBezTo>
                    <a:pt x="932" y="2767"/>
                    <a:pt x="1628" y="2759"/>
                    <a:pt x="2055" y="2712"/>
                  </a:cubicBezTo>
                  <a:cubicBezTo>
                    <a:pt x="2039" y="2672"/>
                    <a:pt x="2023" y="2641"/>
                    <a:pt x="2031" y="2601"/>
                  </a:cubicBezTo>
                  <a:cubicBezTo>
                    <a:pt x="2031" y="2546"/>
                    <a:pt x="1976" y="2482"/>
                    <a:pt x="1944" y="2475"/>
                  </a:cubicBezTo>
                  <a:cubicBezTo>
                    <a:pt x="1928" y="2475"/>
                    <a:pt x="1889" y="2435"/>
                    <a:pt x="1849" y="2396"/>
                  </a:cubicBezTo>
                  <a:cubicBezTo>
                    <a:pt x="1826" y="2372"/>
                    <a:pt x="1802" y="2340"/>
                    <a:pt x="1786" y="2324"/>
                  </a:cubicBezTo>
                  <a:cubicBezTo>
                    <a:pt x="1754" y="2301"/>
                    <a:pt x="1731" y="2293"/>
                    <a:pt x="1715" y="2293"/>
                  </a:cubicBezTo>
                  <a:cubicBezTo>
                    <a:pt x="1715" y="2293"/>
                    <a:pt x="1707" y="2293"/>
                    <a:pt x="1699" y="2293"/>
                  </a:cubicBezTo>
                  <a:lnTo>
                    <a:pt x="1691" y="2293"/>
                  </a:lnTo>
                  <a:cubicBezTo>
                    <a:pt x="1683" y="2293"/>
                    <a:pt x="1667" y="2293"/>
                    <a:pt x="1667" y="2277"/>
                  </a:cubicBezTo>
                  <a:cubicBezTo>
                    <a:pt x="1659" y="2253"/>
                    <a:pt x="1652" y="2253"/>
                    <a:pt x="1628" y="2245"/>
                  </a:cubicBezTo>
                  <a:cubicBezTo>
                    <a:pt x="1620" y="2245"/>
                    <a:pt x="1612" y="2245"/>
                    <a:pt x="1604" y="2238"/>
                  </a:cubicBezTo>
                  <a:cubicBezTo>
                    <a:pt x="1596" y="2229"/>
                    <a:pt x="1588" y="2229"/>
                    <a:pt x="1573" y="2222"/>
                  </a:cubicBezTo>
                  <a:cubicBezTo>
                    <a:pt x="1549" y="2214"/>
                    <a:pt x="1525" y="2206"/>
                    <a:pt x="1517" y="2182"/>
                  </a:cubicBezTo>
                  <a:cubicBezTo>
                    <a:pt x="1509" y="2166"/>
                    <a:pt x="1502" y="2158"/>
                    <a:pt x="1493" y="2151"/>
                  </a:cubicBezTo>
                  <a:cubicBezTo>
                    <a:pt x="1478" y="2135"/>
                    <a:pt x="1462" y="2119"/>
                    <a:pt x="1478" y="2071"/>
                  </a:cubicBezTo>
                  <a:cubicBezTo>
                    <a:pt x="1478" y="2064"/>
                    <a:pt x="1486" y="2048"/>
                    <a:pt x="1486" y="2040"/>
                  </a:cubicBezTo>
                  <a:cubicBezTo>
                    <a:pt x="1502" y="2008"/>
                    <a:pt x="1502" y="2008"/>
                    <a:pt x="1493" y="1969"/>
                  </a:cubicBezTo>
                  <a:cubicBezTo>
                    <a:pt x="1493" y="1961"/>
                    <a:pt x="1493" y="1953"/>
                    <a:pt x="1486" y="1937"/>
                  </a:cubicBezTo>
                  <a:cubicBezTo>
                    <a:pt x="1486" y="1921"/>
                    <a:pt x="1478" y="1905"/>
                    <a:pt x="1502" y="1889"/>
                  </a:cubicBezTo>
                  <a:cubicBezTo>
                    <a:pt x="1517" y="1874"/>
                    <a:pt x="1517" y="1858"/>
                    <a:pt x="1517" y="1842"/>
                  </a:cubicBezTo>
                  <a:cubicBezTo>
                    <a:pt x="1517" y="1818"/>
                    <a:pt x="1509" y="1803"/>
                    <a:pt x="1493" y="1795"/>
                  </a:cubicBezTo>
                  <a:cubicBezTo>
                    <a:pt x="1486" y="1787"/>
                    <a:pt x="1478" y="1787"/>
                    <a:pt x="1462" y="1779"/>
                  </a:cubicBezTo>
                  <a:cubicBezTo>
                    <a:pt x="1454" y="1771"/>
                    <a:pt x="1438" y="1771"/>
                    <a:pt x="1430" y="1755"/>
                  </a:cubicBezTo>
                  <a:cubicBezTo>
                    <a:pt x="1430" y="1747"/>
                    <a:pt x="1430" y="1739"/>
                    <a:pt x="1446" y="1724"/>
                  </a:cubicBezTo>
                  <a:cubicBezTo>
                    <a:pt x="1454" y="1700"/>
                    <a:pt x="1462" y="1684"/>
                    <a:pt x="1462" y="1668"/>
                  </a:cubicBezTo>
                  <a:cubicBezTo>
                    <a:pt x="1462" y="1652"/>
                    <a:pt x="1470" y="1637"/>
                    <a:pt x="1493" y="1613"/>
                  </a:cubicBezTo>
                  <a:cubicBezTo>
                    <a:pt x="1517" y="1597"/>
                    <a:pt x="1533" y="1589"/>
                    <a:pt x="1549" y="1589"/>
                  </a:cubicBezTo>
                  <a:cubicBezTo>
                    <a:pt x="1573" y="1574"/>
                    <a:pt x="1596" y="1574"/>
                    <a:pt x="1620" y="1542"/>
                  </a:cubicBezTo>
                  <a:cubicBezTo>
                    <a:pt x="1644" y="1502"/>
                    <a:pt x="1628" y="1431"/>
                    <a:pt x="1620" y="1392"/>
                  </a:cubicBezTo>
                  <a:cubicBezTo>
                    <a:pt x="1620" y="1376"/>
                    <a:pt x="1620" y="1368"/>
                    <a:pt x="1620" y="1360"/>
                  </a:cubicBezTo>
                  <a:cubicBezTo>
                    <a:pt x="1612" y="1352"/>
                    <a:pt x="1612" y="1336"/>
                    <a:pt x="1612" y="1321"/>
                  </a:cubicBezTo>
                  <a:cubicBezTo>
                    <a:pt x="1604" y="1281"/>
                    <a:pt x="1596" y="1257"/>
                    <a:pt x="1612" y="1249"/>
                  </a:cubicBezTo>
                  <a:cubicBezTo>
                    <a:pt x="1620" y="1241"/>
                    <a:pt x="1659" y="1210"/>
                    <a:pt x="1675" y="1186"/>
                  </a:cubicBezTo>
                  <a:cubicBezTo>
                    <a:pt x="1675" y="1178"/>
                    <a:pt x="1683" y="1170"/>
                    <a:pt x="1699" y="1154"/>
                  </a:cubicBezTo>
                  <a:cubicBezTo>
                    <a:pt x="1707" y="1147"/>
                    <a:pt x="1707" y="1147"/>
                    <a:pt x="1707" y="1147"/>
                  </a:cubicBezTo>
                  <a:cubicBezTo>
                    <a:pt x="1920" y="957"/>
                    <a:pt x="2055" y="830"/>
                    <a:pt x="2070" y="791"/>
                  </a:cubicBezTo>
                  <a:cubicBezTo>
                    <a:pt x="2102" y="728"/>
                    <a:pt x="2197" y="696"/>
                    <a:pt x="2260" y="672"/>
                  </a:cubicBezTo>
                  <a:cubicBezTo>
                    <a:pt x="2276" y="672"/>
                    <a:pt x="2276" y="672"/>
                    <a:pt x="2276" y="672"/>
                  </a:cubicBezTo>
                  <a:cubicBezTo>
                    <a:pt x="2300" y="664"/>
                    <a:pt x="2379" y="633"/>
                    <a:pt x="2442" y="577"/>
                  </a:cubicBezTo>
                  <a:cubicBezTo>
                    <a:pt x="2410" y="577"/>
                    <a:pt x="2371" y="577"/>
                    <a:pt x="2347" y="577"/>
                  </a:cubicBezTo>
                  <a:cubicBezTo>
                    <a:pt x="2332" y="577"/>
                    <a:pt x="2316" y="562"/>
                    <a:pt x="2300" y="554"/>
                  </a:cubicBezTo>
                  <a:cubicBezTo>
                    <a:pt x="2292" y="546"/>
                    <a:pt x="2284" y="530"/>
                    <a:pt x="2276" y="530"/>
                  </a:cubicBezTo>
                  <a:cubicBezTo>
                    <a:pt x="2268" y="522"/>
                    <a:pt x="2260" y="522"/>
                    <a:pt x="2252" y="522"/>
                  </a:cubicBezTo>
                  <a:cubicBezTo>
                    <a:pt x="2221" y="522"/>
                    <a:pt x="2173" y="538"/>
                    <a:pt x="2142" y="546"/>
                  </a:cubicBezTo>
                  <a:cubicBezTo>
                    <a:pt x="2134" y="546"/>
                    <a:pt x="2126" y="546"/>
                    <a:pt x="2118" y="546"/>
                  </a:cubicBezTo>
                  <a:cubicBezTo>
                    <a:pt x="2110" y="554"/>
                    <a:pt x="2102" y="554"/>
                    <a:pt x="2094" y="554"/>
                  </a:cubicBezTo>
                  <a:cubicBezTo>
                    <a:pt x="2086" y="554"/>
                    <a:pt x="2086" y="562"/>
                    <a:pt x="2079" y="562"/>
                  </a:cubicBezTo>
                  <a:cubicBezTo>
                    <a:pt x="2070" y="562"/>
                    <a:pt x="2063" y="554"/>
                    <a:pt x="2063" y="546"/>
                  </a:cubicBezTo>
                  <a:cubicBezTo>
                    <a:pt x="2063" y="530"/>
                    <a:pt x="2055" y="498"/>
                    <a:pt x="2015" y="475"/>
                  </a:cubicBezTo>
                  <a:lnTo>
                    <a:pt x="2007" y="475"/>
                  </a:lnTo>
                  <a:cubicBezTo>
                    <a:pt x="1984" y="475"/>
                    <a:pt x="1952" y="514"/>
                    <a:pt x="1920" y="554"/>
                  </a:cubicBezTo>
                  <a:cubicBezTo>
                    <a:pt x="1904" y="577"/>
                    <a:pt x="1889" y="593"/>
                    <a:pt x="1873" y="609"/>
                  </a:cubicBezTo>
                  <a:cubicBezTo>
                    <a:pt x="1865" y="609"/>
                    <a:pt x="1857" y="617"/>
                    <a:pt x="1849" y="617"/>
                  </a:cubicBezTo>
                  <a:cubicBezTo>
                    <a:pt x="1810" y="617"/>
                    <a:pt x="1754" y="570"/>
                    <a:pt x="1739" y="538"/>
                  </a:cubicBezTo>
                  <a:cubicBezTo>
                    <a:pt x="1715" y="506"/>
                    <a:pt x="1667" y="475"/>
                    <a:pt x="1636" y="451"/>
                  </a:cubicBezTo>
                  <a:lnTo>
                    <a:pt x="1628" y="443"/>
                  </a:lnTo>
                  <a:cubicBezTo>
                    <a:pt x="1620" y="443"/>
                    <a:pt x="1620" y="443"/>
                    <a:pt x="1620" y="443"/>
                  </a:cubicBezTo>
                  <a:cubicBezTo>
                    <a:pt x="1620" y="443"/>
                    <a:pt x="1612" y="459"/>
                    <a:pt x="1604" y="467"/>
                  </a:cubicBezTo>
                  <a:cubicBezTo>
                    <a:pt x="1604" y="482"/>
                    <a:pt x="1596" y="506"/>
                    <a:pt x="1573" y="506"/>
                  </a:cubicBezTo>
                  <a:lnTo>
                    <a:pt x="1565" y="514"/>
                  </a:lnTo>
                  <a:cubicBezTo>
                    <a:pt x="1541" y="514"/>
                    <a:pt x="1525" y="490"/>
                    <a:pt x="1509" y="451"/>
                  </a:cubicBezTo>
                  <a:cubicBezTo>
                    <a:pt x="1509" y="451"/>
                    <a:pt x="1509" y="443"/>
                    <a:pt x="1502" y="435"/>
                  </a:cubicBezTo>
                  <a:cubicBezTo>
                    <a:pt x="1478" y="395"/>
                    <a:pt x="1430" y="364"/>
                    <a:pt x="1359" y="332"/>
                  </a:cubicBezTo>
                  <a:cubicBezTo>
                    <a:pt x="1343" y="324"/>
                    <a:pt x="1335" y="324"/>
                    <a:pt x="1320" y="324"/>
                  </a:cubicBezTo>
                  <a:cubicBezTo>
                    <a:pt x="1272" y="324"/>
                    <a:pt x="1225" y="356"/>
                    <a:pt x="1185" y="380"/>
                  </a:cubicBezTo>
                  <a:cubicBezTo>
                    <a:pt x="1177" y="388"/>
                    <a:pt x="1169" y="395"/>
                    <a:pt x="1162" y="395"/>
                  </a:cubicBezTo>
                  <a:cubicBezTo>
                    <a:pt x="1146" y="411"/>
                    <a:pt x="1130" y="419"/>
                    <a:pt x="1114" y="419"/>
                  </a:cubicBezTo>
                  <a:cubicBezTo>
                    <a:pt x="1098" y="419"/>
                    <a:pt x="1090" y="411"/>
                    <a:pt x="1074" y="388"/>
                  </a:cubicBezTo>
                  <a:cubicBezTo>
                    <a:pt x="1059" y="364"/>
                    <a:pt x="1019" y="364"/>
                    <a:pt x="987" y="364"/>
                  </a:cubicBezTo>
                  <a:cubicBezTo>
                    <a:pt x="980" y="364"/>
                    <a:pt x="964" y="364"/>
                    <a:pt x="964" y="356"/>
                  </a:cubicBezTo>
                  <a:cubicBezTo>
                    <a:pt x="956" y="356"/>
                    <a:pt x="948" y="348"/>
                    <a:pt x="948" y="340"/>
                  </a:cubicBezTo>
                  <a:cubicBezTo>
                    <a:pt x="948" y="332"/>
                    <a:pt x="940" y="332"/>
                    <a:pt x="932" y="332"/>
                  </a:cubicBezTo>
                  <a:cubicBezTo>
                    <a:pt x="932" y="332"/>
                    <a:pt x="916" y="332"/>
                    <a:pt x="909" y="340"/>
                  </a:cubicBezTo>
                  <a:cubicBezTo>
                    <a:pt x="901" y="340"/>
                    <a:pt x="885" y="348"/>
                    <a:pt x="877" y="348"/>
                  </a:cubicBezTo>
                  <a:cubicBezTo>
                    <a:pt x="861" y="348"/>
                    <a:pt x="845" y="332"/>
                    <a:pt x="829" y="324"/>
                  </a:cubicBezTo>
                  <a:cubicBezTo>
                    <a:pt x="822" y="317"/>
                    <a:pt x="814" y="309"/>
                    <a:pt x="806" y="309"/>
                  </a:cubicBezTo>
                  <a:cubicBezTo>
                    <a:pt x="782" y="293"/>
                    <a:pt x="790" y="253"/>
                    <a:pt x="798" y="214"/>
                  </a:cubicBezTo>
                  <a:cubicBezTo>
                    <a:pt x="798" y="198"/>
                    <a:pt x="806" y="174"/>
                    <a:pt x="798" y="166"/>
                  </a:cubicBezTo>
                  <a:cubicBezTo>
                    <a:pt x="782" y="151"/>
                    <a:pt x="774" y="87"/>
                    <a:pt x="774" y="48"/>
                  </a:cubicBezTo>
                  <a:cubicBezTo>
                    <a:pt x="766" y="8"/>
                    <a:pt x="703" y="8"/>
                    <a:pt x="687" y="8"/>
                  </a:cubicBezTo>
                  <a:cubicBezTo>
                    <a:pt x="679" y="8"/>
                    <a:pt x="671" y="8"/>
                    <a:pt x="671" y="8"/>
                  </a:cubicBezTo>
                  <a:cubicBezTo>
                    <a:pt x="663" y="24"/>
                    <a:pt x="656" y="48"/>
                    <a:pt x="663" y="119"/>
                  </a:cubicBezTo>
                  <a:cubicBezTo>
                    <a:pt x="663" y="135"/>
                    <a:pt x="663" y="142"/>
                    <a:pt x="656" y="151"/>
                  </a:cubicBezTo>
                  <a:cubicBezTo>
                    <a:pt x="648" y="158"/>
                    <a:pt x="640" y="158"/>
                    <a:pt x="640" y="158"/>
                  </a:cubicBezTo>
                  <a:cubicBezTo>
                    <a:pt x="442" y="166"/>
                    <a:pt x="229" y="174"/>
                    <a:pt x="16" y="182"/>
                  </a:cubicBezTo>
                  <a:cubicBezTo>
                    <a:pt x="16" y="222"/>
                    <a:pt x="24" y="277"/>
                    <a:pt x="40" y="293"/>
                  </a:cubicBezTo>
                  <a:cubicBezTo>
                    <a:pt x="71" y="324"/>
                    <a:pt x="64" y="348"/>
                    <a:pt x="56" y="372"/>
                  </a:cubicBezTo>
                  <a:cubicBezTo>
                    <a:pt x="56" y="372"/>
                    <a:pt x="8" y="482"/>
                    <a:pt x="48" y="585"/>
                  </a:cubicBezTo>
                  <a:cubicBezTo>
                    <a:pt x="71" y="672"/>
                    <a:pt x="119" y="791"/>
                    <a:pt x="135" y="830"/>
                  </a:cubicBezTo>
                  <a:cubicBezTo>
                    <a:pt x="151" y="862"/>
                    <a:pt x="143" y="941"/>
                    <a:pt x="135" y="1012"/>
                  </a:cubicBezTo>
                  <a:cubicBezTo>
                    <a:pt x="127" y="1060"/>
                    <a:pt x="135" y="1083"/>
                    <a:pt x="135" y="1107"/>
                  </a:cubicBezTo>
                  <a:cubicBezTo>
                    <a:pt x="143" y="1131"/>
                    <a:pt x="143" y="1147"/>
                    <a:pt x="143" y="1162"/>
                  </a:cubicBezTo>
                  <a:cubicBezTo>
                    <a:pt x="143" y="1194"/>
                    <a:pt x="151" y="1241"/>
                    <a:pt x="158" y="1289"/>
                  </a:cubicBezTo>
                  <a:cubicBezTo>
                    <a:pt x="166" y="1328"/>
                    <a:pt x="174" y="1360"/>
                    <a:pt x="174" y="1384"/>
                  </a:cubicBezTo>
                  <a:cubicBezTo>
                    <a:pt x="174" y="1407"/>
                    <a:pt x="182" y="1415"/>
                    <a:pt x="198" y="1423"/>
                  </a:cubicBezTo>
                  <a:cubicBezTo>
                    <a:pt x="206" y="1423"/>
                    <a:pt x="213" y="1431"/>
                    <a:pt x="213" y="1431"/>
                  </a:cubicBezTo>
                  <a:cubicBezTo>
                    <a:pt x="229" y="1447"/>
                    <a:pt x="229" y="1478"/>
                    <a:pt x="229" y="1526"/>
                  </a:cubicBezTo>
                  <a:cubicBezTo>
                    <a:pt x="221" y="1550"/>
                    <a:pt x="221" y="1581"/>
                    <a:pt x="229" y="1597"/>
                  </a:cubicBezTo>
                  <a:cubicBezTo>
                    <a:pt x="237" y="1645"/>
                    <a:pt x="198" y="1724"/>
                    <a:pt x="166" y="1747"/>
                  </a:cubicBezTo>
                  <a:cubicBezTo>
                    <a:pt x="151" y="1755"/>
                    <a:pt x="143" y="1763"/>
                    <a:pt x="143" y="1779"/>
                  </a:cubicBezTo>
                  <a:cubicBezTo>
                    <a:pt x="135" y="1787"/>
                    <a:pt x="143" y="1795"/>
                    <a:pt x="143" y="1803"/>
                  </a:cubicBezTo>
                  <a:cubicBezTo>
                    <a:pt x="151" y="1811"/>
                    <a:pt x="151" y="1811"/>
                    <a:pt x="158" y="1811"/>
                  </a:cubicBezTo>
                  <a:cubicBezTo>
                    <a:pt x="166" y="1818"/>
                    <a:pt x="174" y="1826"/>
                    <a:pt x="174" y="1858"/>
                  </a:cubicBezTo>
                  <a:cubicBezTo>
                    <a:pt x="174" y="1889"/>
                    <a:pt x="190" y="1889"/>
                    <a:pt x="213" y="1889"/>
                  </a:cubicBezTo>
                  <a:cubicBezTo>
                    <a:pt x="237" y="1889"/>
                    <a:pt x="268" y="1913"/>
                    <a:pt x="268" y="1913"/>
                  </a:cubicBezTo>
                  <a:lnTo>
                    <a:pt x="268" y="1913"/>
                  </a:lnTo>
                  <a:cubicBezTo>
                    <a:pt x="268" y="2759"/>
                    <a:pt x="268" y="2759"/>
                    <a:pt x="268" y="2759"/>
                  </a:cubicBezTo>
                  <a:lnTo>
                    <a:pt x="553" y="2775"/>
                  </a:lnTo>
                </a:path>
              </a:pathLst>
            </a:custGeom>
            <a:solidFill>
              <a:schemeClr val="accent6"/>
            </a:solidFill>
            <a:ln>
              <a:solidFill>
                <a:schemeClr val="bg2"/>
              </a:solidFill>
            </a:ln>
            <a:effectLst/>
          </p:spPr>
          <p:txBody>
            <a:bodyPr wrap="none" anchor="ctr"/>
            <a:lstStyle/>
            <a:p>
              <a:endParaRPr lang="en-US"/>
            </a:p>
          </p:txBody>
        </p:sp>
        <p:sp>
          <p:nvSpPr>
            <p:cNvPr id="62" name="Freeform 510"/>
            <p:cNvSpPr>
              <a:spLocks noChangeArrowheads="1"/>
            </p:cNvSpPr>
            <p:nvPr/>
          </p:nvSpPr>
          <p:spPr bwMode="auto">
            <a:xfrm>
              <a:off x="4142679" y="2867807"/>
              <a:ext cx="833287" cy="466842"/>
            </a:xfrm>
            <a:custGeom>
              <a:avLst/>
              <a:gdLst>
                <a:gd name="T0" fmla="*/ 1794 w 2309"/>
                <a:gd name="T1" fmla="*/ 1391 h 1495"/>
                <a:gd name="T2" fmla="*/ 1794 w 2309"/>
                <a:gd name="T3" fmla="*/ 1391 h 1495"/>
                <a:gd name="T4" fmla="*/ 1888 w 2309"/>
                <a:gd name="T5" fmla="*/ 1494 h 1495"/>
                <a:gd name="T6" fmla="*/ 1888 w 2309"/>
                <a:gd name="T7" fmla="*/ 1486 h 1495"/>
                <a:gd name="T8" fmla="*/ 1904 w 2309"/>
                <a:gd name="T9" fmla="*/ 1423 h 1495"/>
                <a:gd name="T10" fmla="*/ 1897 w 2309"/>
                <a:gd name="T11" fmla="*/ 1391 h 1495"/>
                <a:gd name="T12" fmla="*/ 1999 w 2309"/>
                <a:gd name="T13" fmla="*/ 1312 h 1495"/>
                <a:gd name="T14" fmla="*/ 2007 w 2309"/>
                <a:gd name="T15" fmla="*/ 1249 h 1495"/>
                <a:gd name="T16" fmla="*/ 2047 w 2309"/>
                <a:gd name="T17" fmla="*/ 1138 h 1495"/>
                <a:gd name="T18" fmla="*/ 1999 w 2309"/>
                <a:gd name="T19" fmla="*/ 1083 h 1495"/>
                <a:gd name="T20" fmla="*/ 1999 w 2309"/>
                <a:gd name="T21" fmla="*/ 988 h 1495"/>
                <a:gd name="T22" fmla="*/ 2055 w 2309"/>
                <a:gd name="T23" fmla="*/ 988 h 1495"/>
                <a:gd name="T24" fmla="*/ 2110 w 2309"/>
                <a:gd name="T25" fmla="*/ 980 h 1495"/>
                <a:gd name="T26" fmla="*/ 2181 w 2309"/>
                <a:gd name="T27" fmla="*/ 933 h 1495"/>
                <a:gd name="T28" fmla="*/ 2244 w 2309"/>
                <a:gd name="T29" fmla="*/ 869 h 1495"/>
                <a:gd name="T30" fmla="*/ 2292 w 2309"/>
                <a:gd name="T31" fmla="*/ 782 h 1495"/>
                <a:gd name="T32" fmla="*/ 2284 w 2309"/>
                <a:gd name="T33" fmla="*/ 648 h 1495"/>
                <a:gd name="T34" fmla="*/ 2213 w 2309"/>
                <a:gd name="T35" fmla="*/ 585 h 1495"/>
                <a:gd name="T36" fmla="*/ 2118 w 2309"/>
                <a:gd name="T37" fmla="*/ 482 h 1495"/>
                <a:gd name="T38" fmla="*/ 1991 w 2309"/>
                <a:gd name="T39" fmla="*/ 387 h 1495"/>
                <a:gd name="T40" fmla="*/ 1952 w 2309"/>
                <a:gd name="T41" fmla="*/ 308 h 1495"/>
                <a:gd name="T42" fmla="*/ 1912 w 2309"/>
                <a:gd name="T43" fmla="*/ 245 h 1495"/>
                <a:gd name="T44" fmla="*/ 1936 w 2309"/>
                <a:gd name="T45" fmla="*/ 126 h 1495"/>
                <a:gd name="T46" fmla="*/ 1897 w 2309"/>
                <a:gd name="T47" fmla="*/ 55 h 1495"/>
                <a:gd name="T48" fmla="*/ 1881 w 2309"/>
                <a:gd name="T49" fmla="*/ 0 h 1495"/>
                <a:gd name="T50" fmla="*/ 86 w 2309"/>
                <a:gd name="T51" fmla="*/ 55 h 1495"/>
                <a:gd name="T52" fmla="*/ 47 w 2309"/>
                <a:gd name="T53" fmla="*/ 71 h 1495"/>
                <a:gd name="T54" fmla="*/ 47 w 2309"/>
                <a:gd name="T55" fmla="*/ 150 h 1495"/>
                <a:gd name="T56" fmla="*/ 62 w 2309"/>
                <a:gd name="T57" fmla="*/ 197 h 1495"/>
                <a:gd name="T58" fmla="*/ 94 w 2309"/>
                <a:gd name="T59" fmla="*/ 245 h 1495"/>
                <a:gd name="T60" fmla="*/ 78 w 2309"/>
                <a:gd name="T61" fmla="*/ 316 h 1495"/>
                <a:gd name="T62" fmla="*/ 24 w 2309"/>
                <a:gd name="T63" fmla="*/ 395 h 1495"/>
                <a:gd name="T64" fmla="*/ 78 w 2309"/>
                <a:gd name="T65" fmla="*/ 482 h 1495"/>
                <a:gd name="T66" fmla="*/ 118 w 2309"/>
                <a:gd name="T67" fmla="*/ 585 h 1495"/>
                <a:gd name="T68" fmla="*/ 134 w 2309"/>
                <a:gd name="T69" fmla="*/ 664 h 1495"/>
                <a:gd name="T70" fmla="*/ 165 w 2309"/>
                <a:gd name="T71" fmla="*/ 735 h 1495"/>
                <a:gd name="T72" fmla="*/ 205 w 2309"/>
                <a:gd name="T73" fmla="*/ 822 h 1495"/>
                <a:gd name="T74" fmla="*/ 221 w 2309"/>
                <a:gd name="T75" fmla="*/ 972 h 1495"/>
                <a:gd name="T76" fmla="*/ 236 w 2309"/>
                <a:gd name="T77" fmla="*/ 988 h 1495"/>
                <a:gd name="T78" fmla="*/ 268 w 2309"/>
                <a:gd name="T79" fmla="*/ 1012 h 1495"/>
                <a:gd name="T80" fmla="*/ 268 w 2309"/>
                <a:gd name="T81" fmla="*/ 1051 h 1495"/>
                <a:gd name="T82" fmla="*/ 292 w 2309"/>
                <a:gd name="T83" fmla="*/ 1083 h 1495"/>
                <a:gd name="T84" fmla="*/ 300 w 2309"/>
                <a:gd name="T85" fmla="*/ 1130 h 1495"/>
                <a:gd name="T86" fmla="*/ 300 w 2309"/>
                <a:gd name="T87" fmla="*/ 1193 h 1495"/>
                <a:gd name="T88" fmla="*/ 315 w 2309"/>
                <a:gd name="T89" fmla="*/ 1249 h 1495"/>
                <a:gd name="T90" fmla="*/ 300 w 2309"/>
                <a:gd name="T91" fmla="*/ 1391 h 1495"/>
                <a:gd name="T92" fmla="*/ 331 w 2309"/>
                <a:gd name="T93" fmla="*/ 1399 h 1495"/>
                <a:gd name="T94" fmla="*/ 347 w 2309"/>
                <a:gd name="T95" fmla="*/ 1439 h 1495"/>
                <a:gd name="T96" fmla="*/ 1762 w 2309"/>
                <a:gd name="T97" fmla="*/ 1375 h 1495"/>
                <a:gd name="T98" fmla="*/ 1794 w 2309"/>
                <a:gd name="T99" fmla="*/ 1391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09" h="1495">
                  <a:moveTo>
                    <a:pt x="1794" y="1391"/>
                  </a:moveTo>
                  <a:lnTo>
                    <a:pt x="1794" y="1391"/>
                  </a:lnTo>
                  <a:cubicBezTo>
                    <a:pt x="1802" y="1407"/>
                    <a:pt x="1857" y="1454"/>
                    <a:pt x="1888" y="1494"/>
                  </a:cubicBezTo>
                  <a:cubicBezTo>
                    <a:pt x="1888" y="1486"/>
                    <a:pt x="1888" y="1486"/>
                    <a:pt x="1888" y="1486"/>
                  </a:cubicBezTo>
                  <a:cubicBezTo>
                    <a:pt x="1912" y="1462"/>
                    <a:pt x="1912" y="1446"/>
                    <a:pt x="1904" y="1423"/>
                  </a:cubicBezTo>
                  <a:cubicBezTo>
                    <a:pt x="1897" y="1407"/>
                    <a:pt x="1865" y="1399"/>
                    <a:pt x="1897" y="1391"/>
                  </a:cubicBezTo>
                  <a:cubicBezTo>
                    <a:pt x="1920" y="1375"/>
                    <a:pt x="1999" y="1351"/>
                    <a:pt x="1999" y="1312"/>
                  </a:cubicBezTo>
                  <a:cubicBezTo>
                    <a:pt x="1999" y="1265"/>
                    <a:pt x="1991" y="1257"/>
                    <a:pt x="2007" y="1249"/>
                  </a:cubicBezTo>
                  <a:cubicBezTo>
                    <a:pt x="2031" y="1233"/>
                    <a:pt x="2055" y="1170"/>
                    <a:pt x="2047" y="1138"/>
                  </a:cubicBezTo>
                  <a:cubicBezTo>
                    <a:pt x="2039" y="1114"/>
                    <a:pt x="1999" y="1114"/>
                    <a:pt x="1999" y="1083"/>
                  </a:cubicBezTo>
                  <a:cubicBezTo>
                    <a:pt x="1999" y="1051"/>
                    <a:pt x="1960" y="996"/>
                    <a:pt x="1999" y="988"/>
                  </a:cubicBezTo>
                  <a:cubicBezTo>
                    <a:pt x="2015" y="988"/>
                    <a:pt x="2039" y="988"/>
                    <a:pt x="2055" y="988"/>
                  </a:cubicBezTo>
                  <a:cubicBezTo>
                    <a:pt x="2078" y="988"/>
                    <a:pt x="2102" y="988"/>
                    <a:pt x="2110" y="980"/>
                  </a:cubicBezTo>
                  <a:cubicBezTo>
                    <a:pt x="2134" y="956"/>
                    <a:pt x="2150" y="956"/>
                    <a:pt x="2181" y="933"/>
                  </a:cubicBezTo>
                  <a:cubicBezTo>
                    <a:pt x="2213" y="917"/>
                    <a:pt x="2244" y="925"/>
                    <a:pt x="2244" y="869"/>
                  </a:cubicBezTo>
                  <a:cubicBezTo>
                    <a:pt x="2244" y="814"/>
                    <a:pt x="2276" y="814"/>
                    <a:pt x="2292" y="782"/>
                  </a:cubicBezTo>
                  <a:cubicBezTo>
                    <a:pt x="2308" y="743"/>
                    <a:pt x="2308" y="664"/>
                    <a:pt x="2284" y="648"/>
                  </a:cubicBezTo>
                  <a:cubicBezTo>
                    <a:pt x="2268" y="632"/>
                    <a:pt x="2213" y="624"/>
                    <a:pt x="2213" y="585"/>
                  </a:cubicBezTo>
                  <a:cubicBezTo>
                    <a:pt x="2205" y="553"/>
                    <a:pt x="2126" y="498"/>
                    <a:pt x="2118" y="482"/>
                  </a:cubicBezTo>
                  <a:cubicBezTo>
                    <a:pt x="2110" y="458"/>
                    <a:pt x="2102" y="387"/>
                    <a:pt x="1991" y="387"/>
                  </a:cubicBezTo>
                  <a:cubicBezTo>
                    <a:pt x="1873" y="379"/>
                    <a:pt x="1960" y="348"/>
                    <a:pt x="1952" y="308"/>
                  </a:cubicBezTo>
                  <a:cubicBezTo>
                    <a:pt x="1944" y="276"/>
                    <a:pt x="1904" y="316"/>
                    <a:pt x="1912" y="245"/>
                  </a:cubicBezTo>
                  <a:cubicBezTo>
                    <a:pt x="1920" y="174"/>
                    <a:pt x="1912" y="182"/>
                    <a:pt x="1936" y="126"/>
                  </a:cubicBezTo>
                  <a:cubicBezTo>
                    <a:pt x="1952" y="71"/>
                    <a:pt x="1904" y="87"/>
                    <a:pt x="1897" y="55"/>
                  </a:cubicBezTo>
                  <a:cubicBezTo>
                    <a:pt x="1897" y="39"/>
                    <a:pt x="1888" y="23"/>
                    <a:pt x="1881" y="0"/>
                  </a:cubicBezTo>
                  <a:cubicBezTo>
                    <a:pt x="1264" y="71"/>
                    <a:pt x="86" y="55"/>
                    <a:pt x="86" y="55"/>
                  </a:cubicBezTo>
                  <a:cubicBezTo>
                    <a:pt x="86" y="55"/>
                    <a:pt x="62" y="47"/>
                    <a:pt x="47" y="71"/>
                  </a:cubicBezTo>
                  <a:cubicBezTo>
                    <a:pt x="31" y="95"/>
                    <a:pt x="78" y="134"/>
                    <a:pt x="47" y="150"/>
                  </a:cubicBezTo>
                  <a:cubicBezTo>
                    <a:pt x="16" y="166"/>
                    <a:pt x="39" y="182"/>
                    <a:pt x="62" y="197"/>
                  </a:cubicBezTo>
                  <a:cubicBezTo>
                    <a:pt x="94" y="213"/>
                    <a:pt x="110" y="221"/>
                    <a:pt x="94" y="245"/>
                  </a:cubicBezTo>
                  <a:cubicBezTo>
                    <a:pt x="78" y="269"/>
                    <a:pt x="86" y="269"/>
                    <a:pt x="78" y="316"/>
                  </a:cubicBezTo>
                  <a:cubicBezTo>
                    <a:pt x="70" y="371"/>
                    <a:pt x="39" y="356"/>
                    <a:pt x="24" y="395"/>
                  </a:cubicBezTo>
                  <a:cubicBezTo>
                    <a:pt x="0" y="443"/>
                    <a:pt x="47" y="427"/>
                    <a:pt x="78" y="482"/>
                  </a:cubicBezTo>
                  <a:cubicBezTo>
                    <a:pt x="102" y="537"/>
                    <a:pt x="110" y="569"/>
                    <a:pt x="118" y="585"/>
                  </a:cubicBezTo>
                  <a:cubicBezTo>
                    <a:pt x="126" y="601"/>
                    <a:pt x="118" y="632"/>
                    <a:pt x="134" y="664"/>
                  </a:cubicBezTo>
                  <a:cubicBezTo>
                    <a:pt x="149" y="696"/>
                    <a:pt x="141" y="703"/>
                    <a:pt x="165" y="735"/>
                  </a:cubicBezTo>
                  <a:cubicBezTo>
                    <a:pt x="181" y="759"/>
                    <a:pt x="173" y="790"/>
                    <a:pt x="205" y="822"/>
                  </a:cubicBezTo>
                  <a:cubicBezTo>
                    <a:pt x="228" y="854"/>
                    <a:pt x="221" y="949"/>
                    <a:pt x="221" y="972"/>
                  </a:cubicBezTo>
                  <a:cubicBezTo>
                    <a:pt x="221" y="988"/>
                    <a:pt x="221" y="988"/>
                    <a:pt x="236" y="988"/>
                  </a:cubicBezTo>
                  <a:cubicBezTo>
                    <a:pt x="260" y="980"/>
                    <a:pt x="268" y="1012"/>
                    <a:pt x="268" y="1012"/>
                  </a:cubicBezTo>
                  <a:cubicBezTo>
                    <a:pt x="268" y="1012"/>
                    <a:pt x="276" y="1035"/>
                    <a:pt x="268" y="1051"/>
                  </a:cubicBezTo>
                  <a:cubicBezTo>
                    <a:pt x="268" y="1075"/>
                    <a:pt x="300" y="1067"/>
                    <a:pt x="292" y="1083"/>
                  </a:cubicBezTo>
                  <a:cubicBezTo>
                    <a:pt x="292" y="1107"/>
                    <a:pt x="292" y="1122"/>
                    <a:pt x="300" y="1130"/>
                  </a:cubicBezTo>
                  <a:cubicBezTo>
                    <a:pt x="315" y="1138"/>
                    <a:pt x="315" y="1170"/>
                    <a:pt x="300" y="1193"/>
                  </a:cubicBezTo>
                  <a:cubicBezTo>
                    <a:pt x="284" y="1217"/>
                    <a:pt x="292" y="1217"/>
                    <a:pt x="315" y="1249"/>
                  </a:cubicBezTo>
                  <a:cubicBezTo>
                    <a:pt x="347" y="1288"/>
                    <a:pt x="300" y="1367"/>
                    <a:pt x="300" y="1391"/>
                  </a:cubicBezTo>
                  <a:cubicBezTo>
                    <a:pt x="300" y="1415"/>
                    <a:pt x="315" y="1399"/>
                    <a:pt x="331" y="1399"/>
                  </a:cubicBezTo>
                  <a:cubicBezTo>
                    <a:pt x="339" y="1399"/>
                    <a:pt x="339" y="1423"/>
                    <a:pt x="347" y="1439"/>
                  </a:cubicBezTo>
                  <a:cubicBezTo>
                    <a:pt x="466" y="1439"/>
                    <a:pt x="1438" y="1423"/>
                    <a:pt x="1762" y="1375"/>
                  </a:cubicBezTo>
                  <a:cubicBezTo>
                    <a:pt x="1762" y="1375"/>
                    <a:pt x="1770" y="1360"/>
                    <a:pt x="1794" y="1391"/>
                  </a:cubicBezTo>
                </a:path>
              </a:pathLst>
            </a:custGeom>
            <a:solidFill>
              <a:schemeClr val="accent6"/>
            </a:solidFill>
            <a:ln>
              <a:solidFill>
                <a:schemeClr val="bg2"/>
              </a:solidFill>
            </a:ln>
            <a:effectLst/>
          </p:spPr>
          <p:txBody>
            <a:bodyPr wrap="none" anchor="ctr"/>
            <a:lstStyle/>
            <a:p>
              <a:endParaRPr lang="en-US"/>
            </a:p>
          </p:txBody>
        </p:sp>
        <p:sp>
          <p:nvSpPr>
            <p:cNvPr id="63" name="Freeform 511"/>
            <p:cNvSpPr>
              <a:spLocks noChangeArrowheads="1"/>
            </p:cNvSpPr>
            <p:nvPr/>
          </p:nvSpPr>
          <p:spPr bwMode="auto">
            <a:xfrm>
              <a:off x="4145860" y="2867807"/>
              <a:ext cx="831696" cy="466842"/>
            </a:xfrm>
            <a:custGeom>
              <a:avLst/>
              <a:gdLst>
                <a:gd name="T0" fmla="*/ 1778 w 2308"/>
                <a:gd name="T1" fmla="*/ 1391 h 1495"/>
                <a:gd name="T2" fmla="*/ 1754 w 2308"/>
                <a:gd name="T3" fmla="*/ 1375 h 1495"/>
                <a:gd name="T4" fmla="*/ 331 w 2308"/>
                <a:gd name="T5" fmla="*/ 1423 h 1495"/>
                <a:gd name="T6" fmla="*/ 292 w 2308"/>
                <a:gd name="T7" fmla="*/ 1391 h 1495"/>
                <a:gd name="T8" fmla="*/ 292 w 2308"/>
                <a:gd name="T9" fmla="*/ 1193 h 1495"/>
                <a:gd name="T10" fmla="*/ 260 w 2308"/>
                <a:gd name="T11" fmla="*/ 1051 h 1495"/>
                <a:gd name="T12" fmla="*/ 220 w 2308"/>
                <a:gd name="T13" fmla="*/ 988 h 1495"/>
                <a:gd name="T14" fmla="*/ 165 w 2308"/>
                <a:gd name="T15" fmla="*/ 767 h 1495"/>
                <a:gd name="T16" fmla="*/ 110 w 2308"/>
                <a:gd name="T17" fmla="*/ 616 h 1495"/>
                <a:gd name="T18" fmla="*/ 23 w 2308"/>
                <a:gd name="T19" fmla="*/ 434 h 1495"/>
                <a:gd name="T20" fmla="*/ 70 w 2308"/>
                <a:gd name="T21" fmla="*/ 276 h 1495"/>
                <a:gd name="T22" fmla="*/ 54 w 2308"/>
                <a:gd name="T23" fmla="*/ 205 h 1495"/>
                <a:gd name="T24" fmla="*/ 39 w 2308"/>
                <a:gd name="T25" fmla="*/ 110 h 1495"/>
                <a:gd name="T26" fmla="*/ 1865 w 2308"/>
                <a:gd name="T27" fmla="*/ 0 h 1495"/>
                <a:gd name="T28" fmla="*/ 1912 w 2308"/>
                <a:gd name="T29" fmla="*/ 79 h 1495"/>
                <a:gd name="T30" fmla="*/ 1928 w 2308"/>
                <a:gd name="T31" fmla="*/ 284 h 1495"/>
                <a:gd name="T32" fmla="*/ 1983 w 2308"/>
                <a:gd name="T33" fmla="*/ 379 h 1495"/>
                <a:gd name="T34" fmla="*/ 2205 w 2308"/>
                <a:gd name="T35" fmla="*/ 585 h 1495"/>
                <a:gd name="T36" fmla="*/ 2260 w 2308"/>
                <a:gd name="T37" fmla="*/ 814 h 1495"/>
                <a:gd name="T38" fmla="*/ 2149 w 2308"/>
                <a:gd name="T39" fmla="*/ 949 h 1495"/>
                <a:gd name="T40" fmla="*/ 2023 w 2308"/>
                <a:gd name="T41" fmla="*/ 988 h 1495"/>
                <a:gd name="T42" fmla="*/ 1991 w 2308"/>
                <a:gd name="T43" fmla="*/ 1083 h 1495"/>
                <a:gd name="T44" fmla="*/ 1991 w 2308"/>
                <a:gd name="T45" fmla="*/ 1273 h 1495"/>
                <a:gd name="T46" fmla="*/ 1880 w 2308"/>
                <a:gd name="T47" fmla="*/ 1399 h 1495"/>
                <a:gd name="T48" fmla="*/ 1880 w 2308"/>
                <a:gd name="T49" fmla="*/ 1494 h 1495"/>
                <a:gd name="T50" fmla="*/ 1786 w 2308"/>
                <a:gd name="T51" fmla="*/ 1391 h 1495"/>
                <a:gd name="T52" fmla="*/ 1873 w 2308"/>
                <a:gd name="T53" fmla="*/ 1399 h 1495"/>
                <a:gd name="T54" fmla="*/ 1983 w 2308"/>
                <a:gd name="T55" fmla="*/ 1280 h 1495"/>
                <a:gd name="T56" fmla="*/ 1983 w 2308"/>
                <a:gd name="T57" fmla="*/ 1083 h 1495"/>
                <a:gd name="T58" fmla="*/ 2023 w 2308"/>
                <a:gd name="T59" fmla="*/ 980 h 1495"/>
                <a:gd name="T60" fmla="*/ 2149 w 2308"/>
                <a:gd name="T61" fmla="*/ 949 h 1495"/>
                <a:gd name="T62" fmla="*/ 2260 w 2308"/>
                <a:gd name="T63" fmla="*/ 806 h 1495"/>
                <a:gd name="T64" fmla="*/ 2197 w 2308"/>
                <a:gd name="T65" fmla="*/ 585 h 1495"/>
                <a:gd name="T66" fmla="*/ 1983 w 2308"/>
                <a:gd name="T67" fmla="*/ 387 h 1495"/>
                <a:gd name="T68" fmla="*/ 1920 w 2308"/>
                <a:gd name="T69" fmla="*/ 292 h 1495"/>
                <a:gd name="T70" fmla="*/ 1912 w 2308"/>
                <a:gd name="T71" fmla="*/ 87 h 1495"/>
                <a:gd name="T72" fmla="*/ 363 w 2308"/>
                <a:gd name="T73" fmla="*/ 63 h 1495"/>
                <a:gd name="T74" fmla="*/ 47 w 2308"/>
                <a:gd name="T75" fmla="*/ 71 h 1495"/>
                <a:gd name="T76" fmla="*/ 54 w 2308"/>
                <a:gd name="T77" fmla="*/ 190 h 1495"/>
                <a:gd name="T78" fmla="*/ 86 w 2308"/>
                <a:gd name="T79" fmla="*/ 245 h 1495"/>
                <a:gd name="T80" fmla="*/ 16 w 2308"/>
                <a:gd name="T81" fmla="*/ 403 h 1495"/>
                <a:gd name="T82" fmla="*/ 110 w 2308"/>
                <a:gd name="T83" fmla="*/ 585 h 1495"/>
                <a:gd name="T84" fmla="*/ 157 w 2308"/>
                <a:gd name="T85" fmla="*/ 727 h 1495"/>
                <a:gd name="T86" fmla="*/ 213 w 2308"/>
                <a:gd name="T87" fmla="*/ 972 h 1495"/>
                <a:gd name="T88" fmla="*/ 268 w 2308"/>
                <a:gd name="T89" fmla="*/ 1012 h 1495"/>
                <a:gd name="T90" fmla="*/ 292 w 2308"/>
                <a:gd name="T91" fmla="*/ 1083 h 1495"/>
                <a:gd name="T92" fmla="*/ 315 w 2308"/>
                <a:gd name="T93" fmla="*/ 1249 h 1495"/>
                <a:gd name="T94" fmla="*/ 307 w 2308"/>
                <a:gd name="T95" fmla="*/ 1399 h 1495"/>
                <a:gd name="T96" fmla="*/ 1754 w 2308"/>
                <a:gd name="T97" fmla="*/ 1367 h 1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08" h="1495">
                  <a:moveTo>
                    <a:pt x="1880" y="1494"/>
                  </a:moveTo>
                  <a:lnTo>
                    <a:pt x="1880" y="1494"/>
                  </a:lnTo>
                  <a:lnTo>
                    <a:pt x="1880" y="1494"/>
                  </a:lnTo>
                  <a:cubicBezTo>
                    <a:pt x="1841" y="1454"/>
                    <a:pt x="1794" y="1407"/>
                    <a:pt x="1778" y="1391"/>
                  </a:cubicBezTo>
                  <a:cubicBezTo>
                    <a:pt x="1770" y="1375"/>
                    <a:pt x="1762" y="1375"/>
                    <a:pt x="1762" y="1375"/>
                  </a:cubicBezTo>
                  <a:lnTo>
                    <a:pt x="1762" y="1375"/>
                  </a:lnTo>
                  <a:lnTo>
                    <a:pt x="1762" y="1375"/>
                  </a:lnTo>
                  <a:cubicBezTo>
                    <a:pt x="1754" y="1375"/>
                    <a:pt x="1754" y="1375"/>
                    <a:pt x="1754" y="1375"/>
                  </a:cubicBezTo>
                  <a:cubicBezTo>
                    <a:pt x="1430" y="1431"/>
                    <a:pt x="450" y="1446"/>
                    <a:pt x="339" y="1446"/>
                  </a:cubicBezTo>
                  <a:cubicBezTo>
                    <a:pt x="331" y="1446"/>
                    <a:pt x="331" y="1446"/>
                    <a:pt x="331" y="1446"/>
                  </a:cubicBezTo>
                  <a:cubicBezTo>
                    <a:pt x="331" y="1439"/>
                    <a:pt x="331" y="1439"/>
                    <a:pt x="331" y="1439"/>
                  </a:cubicBezTo>
                  <a:cubicBezTo>
                    <a:pt x="331" y="1439"/>
                    <a:pt x="331" y="1431"/>
                    <a:pt x="331" y="1423"/>
                  </a:cubicBezTo>
                  <a:cubicBezTo>
                    <a:pt x="331" y="1415"/>
                    <a:pt x="331" y="1407"/>
                    <a:pt x="323" y="1407"/>
                  </a:cubicBezTo>
                  <a:lnTo>
                    <a:pt x="315" y="1407"/>
                  </a:lnTo>
                  <a:cubicBezTo>
                    <a:pt x="307" y="1407"/>
                    <a:pt x="307" y="1407"/>
                    <a:pt x="300" y="1407"/>
                  </a:cubicBezTo>
                  <a:cubicBezTo>
                    <a:pt x="292" y="1407"/>
                    <a:pt x="292" y="1391"/>
                    <a:pt x="292" y="1391"/>
                  </a:cubicBezTo>
                  <a:cubicBezTo>
                    <a:pt x="292" y="1383"/>
                    <a:pt x="300" y="1367"/>
                    <a:pt x="300" y="1351"/>
                  </a:cubicBezTo>
                  <a:cubicBezTo>
                    <a:pt x="307" y="1320"/>
                    <a:pt x="323" y="1280"/>
                    <a:pt x="307" y="1257"/>
                  </a:cubicBezTo>
                  <a:cubicBezTo>
                    <a:pt x="300" y="1249"/>
                    <a:pt x="300" y="1241"/>
                    <a:pt x="300" y="1241"/>
                  </a:cubicBezTo>
                  <a:cubicBezTo>
                    <a:pt x="276" y="1217"/>
                    <a:pt x="276" y="1217"/>
                    <a:pt x="292" y="1193"/>
                  </a:cubicBezTo>
                  <a:cubicBezTo>
                    <a:pt x="300" y="1170"/>
                    <a:pt x="300" y="1146"/>
                    <a:pt x="292" y="1138"/>
                  </a:cubicBezTo>
                  <a:cubicBezTo>
                    <a:pt x="276" y="1130"/>
                    <a:pt x="276" y="1107"/>
                    <a:pt x="284" y="1083"/>
                  </a:cubicBezTo>
                  <a:cubicBezTo>
                    <a:pt x="284" y="1075"/>
                    <a:pt x="284" y="1075"/>
                    <a:pt x="276" y="1075"/>
                  </a:cubicBezTo>
                  <a:cubicBezTo>
                    <a:pt x="268" y="1067"/>
                    <a:pt x="252" y="1067"/>
                    <a:pt x="260" y="1051"/>
                  </a:cubicBezTo>
                  <a:cubicBezTo>
                    <a:pt x="260" y="1035"/>
                    <a:pt x="260" y="1012"/>
                    <a:pt x="260" y="1012"/>
                  </a:cubicBezTo>
                  <a:cubicBezTo>
                    <a:pt x="252" y="1004"/>
                    <a:pt x="244" y="988"/>
                    <a:pt x="236" y="988"/>
                  </a:cubicBezTo>
                  <a:lnTo>
                    <a:pt x="228" y="988"/>
                  </a:lnTo>
                  <a:cubicBezTo>
                    <a:pt x="220" y="988"/>
                    <a:pt x="220" y="988"/>
                    <a:pt x="220" y="988"/>
                  </a:cubicBezTo>
                  <a:cubicBezTo>
                    <a:pt x="204" y="988"/>
                    <a:pt x="204" y="980"/>
                    <a:pt x="204" y="972"/>
                  </a:cubicBezTo>
                  <a:cubicBezTo>
                    <a:pt x="204" y="964"/>
                    <a:pt x="204" y="956"/>
                    <a:pt x="204" y="956"/>
                  </a:cubicBezTo>
                  <a:cubicBezTo>
                    <a:pt x="213" y="917"/>
                    <a:pt x="213" y="854"/>
                    <a:pt x="189" y="822"/>
                  </a:cubicBezTo>
                  <a:cubicBezTo>
                    <a:pt x="173" y="806"/>
                    <a:pt x="173" y="790"/>
                    <a:pt x="165" y="767"/>
                  </a:cubicBezTo>
                  <a:cubicBezTo>
                    <a:pt x="165" y="759"/>
                    <a:pt x="165" y="743"/>
                    <a:pt x="149" y="735"/>
                  </a:cubicBezTo>
                  <a:cubicBezTo>
                    <a:pt x="141" y="711"/>
                    <a:pt x="133" y="703"/>
                    <a:pt x="133" y="687"/>
                  </a:cubicBezTo>
                  <a:cubicBezTo>
                    <a:pt x="126" y="687"/>
                    <a:pt x="126" y="680"/>
                    <a:pt x="118" y="664"/>
                  </a:cubicBezTo>
                  <a:cubicBezTo>
                    <a:pt x="110" y="648"/>
                    <a:pt x="110" y="632"/>
                    <a:pt x="110" y="616"/>
                  </a:cubicBezTo>
                  <a:cubicBezTo>
                    <a:pt x="110" y="609"/>
                    <a:pt x="110" y="593"/>
                    <a:pt x="102" y="593"/>
                  </a:cubicBezTo>
                  <a:cubicBezTo>
                    <a:pt x="102" y="585"/>
                    <a:pt x="102" y="569"/>
                    <a:pt x="94" y="561"/>
                  </a:cubicBezTo>
                  <a:cubicBezTo>
                    <a:pt x="86" y="537"/>
                    <a:pt x="78" y="514"/>
                    <a:pt x="62" y="482"/>
                  </a:cubicBezTo>
                  <a:cubicBezTo>
                    <a:pt x="54" y="458"/>
                    <a:pt x="39" y="443"/>
                    <a:pt x="23" y="434"/>
                  </a:cubicBezTo>
                  <a:cubicBezTo>
                    <a:pt x="8" y="427"/>
                    <a:pt x="0" y="419"/>
                    <a:pt x="8" y="395"/>
                  </a:cubicBezTo>
                  <a:cubicBezTo>
                    <a:pt x="16" y="379"/>
                    <a:pt x="31" y="371"/>
                    <a:pt x="39" y="363"/>
                  </a:cubicBezTo>
                  <a:cubicBezTo>
                    <a:pt x="54" y="348"/>
                    <a:pt x="62" y="340"/>
                    <a:pt x="70" y="316"/>
                  </a:cubicBezTo>
                  <a:cubicBezTo>
                    <a:pt x="70" y="292"/>
                    <a:pt x="70" y="284"/>
                    <a:pt x="70" y="276"/>
                  </a:cubicBezTo>
                  <a:cubicBezTo>
                    <a:pt x="70" y="261"/>
                    <a:pt x="70" y="253"/>
                    <a:pt x="78" y="245"/>
                  </a:cubicBezTo>
                  <a:cubicBezTo>
                    <a:pt x="86" y="237"/>
                    <a:pt x="86" y="229"/>
                    <a:pt x="86" y="229"/>
                  </a:cubicBezTo>
                  <a:cubicBezTo>
                    <a:pt x="86" y="221"/>
                    <a:pt x="78" y="213"/>
                    <a:pt x="62" y="205"/>
                  </a:cubicBezTo>
                  <a:cubicBezTo>
                    <a:pt x="54" y="205"/>
                    <a:pt x="54" y="205"/>
                    <a:pt x="54" y="205"/>
                  </a:cubicBezTo>
                  <a:cubicBezTo>
                    <a:pt x="54" y="197"/>
                    <a:pt x="54" y="197"/>
                    <a:pt x="47" y="197"/>
                  </a:cubicBezTo>
                  <a:cubicBezTo>
                    <a:pt x="31" y="190"/>
                    <a:pt x="23" y="182"/>
                    <a:pt x="23" y="166"/>
                  </a:cubicBezTo>
                  <a:cubicBezTo>
                    <a:pt x="23" y="158"/>
                    <a:pt x="23" y="158"/>
                    <a:pt x="39" y="150"/>
                  </a:cubicBezTo>
                  <a:cubicBezTo>
                    <a:pt x="47" y="142"/>
                    <a:pt x="47" y="134"/>
                    <a:pt x="39" y="110"/>
                  </a:cubicBezTo>
                  <a:cubicBezTo>
                    <a:pt x="31" y="95"/>
                    <a:pt x="31" y="79"/>
                    <a:pt x="39" y="71"/>
                  </a:cubicBezTo>
                  <a:cubicBezTo>
                    <a:pt x="54" y="47"/>
                    <a:pt x="70" y="47"/>
                    <a:pt x="78" y="47"/>
                  </a:cubicBezTo>
                  <a:cubicBezTo>
                    <a:pt x="86" y="47"/>
                    <a:pt x="197" y="55"/>
                    <a:pt x="363" y="55"/>
                  </a:cubicBezTo>
                  <a:cubicBezTo>
                    <a:pt x="742" y="55"/>
                    <a:pt x="1446" y="47"/>
                    <a:pt x="1865" y="0"/>
                  </a:cubicBezTo>
                  <a:cubicBezTo>
                    <a:pt x="1873" y="0"/>
                    <a:pt x="1873" y="0"/>
                    <a:pt x="1873" y="0"/>
                  </a:cubicBezTo>
                  <a:cubicBezTo>
                    <a:pt x="1873" y="8"/>
                    <a:pt x="1873" y="8"/>
                    <a:pt x="1873" y="8"/>
                  </a:cubicBezTo>
                  <a:cubicBezTo>
                    <a:pt x="1880" y="23"/>
                    <a:pt x="1889" y="39"/>
                    <a:pt x="1896" y="55"/>
                  </a:cubicBezTo>
                  <a:cubicBezTo>
                    <a:pt x="1896" y="71"/>
                    <a:pt x="1904" y="71"/>
                    <a:pt x="1912" y="79"/>
                  </a:cubicBezTo>
                  <a:cubicBezTo>
                    <a:pt x="1928" y="87"/>
                    <a:pt x="1944" y="95"/>
                    <a:pt x="1928" y="126"/>
                  </a:cubicBezTo>
                  <a:cubicBezTo>
                    <a:pt x="1920" y="166"/>
                    <a:pt x="1920" y="174"/>
                    <a:pt x="1912" y="190"/>
                  </a:cubicBezTo>
                  <a:cubicBezTo>
                    <a:pt x="1912" y="205"/>
                    <a:pt x="1912" y="221"/>
                    <a:pt x="1912" y="245"/>
                  </a:cubicBezTo>
                  <a:cubicBezTo>
                    <a:pt x="1904" y="284"/>
                    <a:pt x="1912" y="284"/>
                    <a:pt x="1928" y="284"/>
                  </a:cubicBezTo>
                  <a:cubicBezTo>
                    <a:pt x="1936" y="292"/>
                    <a:pt x="1944" y="292"/>
                    <a:pt x="1952" y="308"/>
                  </a:cubicBezTo>
                  <a:cubicBezTo>
                    <a:pt x="1952" y="324"/>
                    <a:pt x="1944" y="340"/>
                    <a:pt x="1936" y="348"/>
                  </a:cubicBezTo>
                  <a:cubicBezTo>
                    <a:pt x="1928" y="356"/>
                    <a:pt x="1920" y="363"/>
                    <a:pt x="1928" y="371"/>
                  </a:cubicBezTo>
                  <a:cubicBezTo>
                    <a:pt x="1928" y="379"/>
                    <a:pt x="1952" y="379"/>
                    <a:pt x="1983" y="379"/>
                  </a:cubicBezTo>
                  <a:cubicBezTo>
                    <a:pt x="2086" y="387"/>
                    <a:pt x="2102" y="443"/>
                    <a:pt x="2110" y="474"/>
                  </a:cubicBezTo>
                  <a:lnTo>
                    <a:pt x="2110" y="474"/>
                  </a:lnTo>
                  <a:cubicBezTo>
                    <a:pt x="2118" y="482"/>
                    <a:pt x="2134" y="498"/>
                    <a:pt x="2149" y="514"/>
                  </a:cubicBezTo>
                  <a:cubicBezTo>
                    <a:pt x="2173" y="537"/>
                    <a:pt x="2205" y="561"/>
                    <a:pt x="2205" y="585"/>
                  </a:cubicBezTo>
                  <a:cubicBezTo>
                    <a:pt x="2205" y="609"/>
                    <a:pt x="2229" y="616"/>
                    <a:pt x="2252" y="632"/>
                  </a:cubicBezTo>
                  <a:cubicBezTo>
                    <a:pt x="2260" y="632"/>
                    <a:pt x="2276" y="640"/>
                    <a:pt x="2284" y="648"/>
                  </a:cubicBezTo>
                  <a:cubicBezTo>
                    <a:pt x="2300" y="664"/>
                    <a:pt x="2307" y="743"/>
                    <a:pt x="2284" y="782"/>
                  </a:cubicBezTo>
                  <a:cubicBezTo>
                    <a:pt x="2284" y="798"/>
                    <a:pt x="2268" y="806"/>
                    <a:pt x="2260" y="814"/>
                  </a:cubicBezTo>
                  <a:cubicBezTo>
                    <a:pt x="2252" y="822"/>
                    <a:pt x="2236" y="830"/>
                    <a:pt x="2236" y="869"/>
                  </a:cubicBezTo>
                  <a:cubicBezTo>
                    <a:pt x="2236" y="909"/>
                    <a:pt x="2220" y="925"/>
                    <a:pt x="2197" y="933"/>
                  </a:cubicBezTo>
                  <a:cubicBezTo>
                    <a:pt x="2189" y="933"/>
                    <a:pt x="2181" y="933"/>
                    <a:pt x="2181" y="940"/>
                  </a:cubicBezTo>
                  <a:cubicBezTo>
                    <a:pt x="2165" y="949"/>
                    <a:pt x="2157" y="949"/>
                    <a:pt x="2149" y="949"/>
                  </a:cubicBezTo>
                  <a:cubicBezTo>
                    <a:pt x="2134" y="956"/>
                    <a:pt x="2126" y="964"/>
                    <a:pt x="2110" y="980"/>
                  </a:cubicBezTo>
                  <a:cubicBezTo>
                    <a:pt x="2094" y="988"/>
                    <a:pt x="2078" y="996"/>
                    <a:pt x="2062" y="996"/>
                  </a:cubicBezTo>
                  <a:cubicBezTo>
                    <a:pt x="2062" y="996"/>
                    <a:pt x="2054" y="988"/>
                    <a:pt x="2047" y="988"/>
                  </a:cubicBezTo>
                  <a:cubicBezTo>
                    <a:pt x="2039" y="988"/>
                    <a:pt x="2031" y="988"/>
                    <a:pt x="2023" y="988"/>
                  </a:cubicBezTo>
                  <a:cubicBezTo>
                    <a:pt x="2007" y="988"/>
                    <a:pt x="1999" y="988"/>
                    <a:pt x="1999" y="996"/>
                  </a:cubicBezTo>
                  <a:cubicBezTo>
                    <a:pt x="1991" y="996"/>
                    <a:pt x="1983" y="996"/>
                    <a:pt x="1983" y="1004"/>
                  </a:cubicBezTo>
                  <a:cubicBezTo>
                    <a:pt x="1976" y="1012"/>
                    <a:pt x="1983" y="1027"/>
                    <a:pt x="1983" y="1051"/>
                  </a:cubicBezTo>
                  <a:cubicBezTo>
                    <a:pt x="1991" y="1059"/>
                    <a:pt x="1991" y="1075"/>
                    <a:pt x="1991" y="1083"/>
                  </a:cubicBezTo>
                  <a:cubicBezTo>
                    <a:pt x="1991" y="1099"/>
                    <a:pt x="1999" y="1107"/>
                    <a:pt x="2015" y="1114"/>
                  </a:cubicBezTo>
                  <a:cubicBezTo>
                    <a:pt x="2023" y="1122"/>
                    <a:pt x="2039" y="1130"/>
                    <a:pt x="2039" y="1138"/>
                  </a:cubicBezTo>
                  <a:cubicBezTo>
                    <a:pt x="2047" y="1170"/>
                    <a:pt x="2023" y="1233"/>
                    <a:pt x="1999" y="1249"/>
                  </a:cubicBezTo>
                  <a:cubicBezTo>
                    <a:pt x="1991" y="1257"/>
                    <a:pt x="1991" y="1265"/>
                    <a:pt x="1991" y="1273"/>
                  </a:cubicBezTo>
                  <a:cubicBezTo>
                    <a:pt x="1991" y="1280"/>
                    <a:pt x="1999" y="1296"/>
                    <a:pt x="1999" y="1312"/>
                  </a:cubicBezTo>
                  <a:cubicBezTo>
                    <a:pt x="1999" y="1344"/>
                    <a:pt x="1944" y="1367"/>
                    <a:pt x="1912" y="1383"/>
                  </a:cubicBezTo>
                  <a:cubicBezTo>
                    <a:pt x="1904" y="1383"/>
                    <a:pt x="1896" y="1391"/>
                    <a:pt x="1889" y="1391"/>
                  </a:cubicBezTo>
                  <a:cubicBezTo>
                    <a:pt x="1880" y="1399"/>
                    <a:pt x="1880" y="1399"/>
                    <a:pt x="1880" y="1399"/>
                  </a:cubicBezTo>
                  <a:cubicBezTo>
                    <a:pt x="1880" y="1399"/>
                    <a:pt x="1880" y="1407"/>
                    <a:pt x="1889" y="1407"/>
                  </a:cubicBezTo>
                  <a:cubicBezTo>
                    <a:pt x="1889" y="1415"/>
                    <a:pt x="1896" y="1415"/>
                    <a:pt x="1896" y="1423"/>
                  </a:cubicBezTo>
                  <a:cubicBezTo>
                    <a:pt x="1904" y="1439"/>
                    <a:pt x="1912" y="1462"/>
                    <a:pt x="1880" y="1486"/>
                  </a:cubicBezTo>
                  <a:cubicBezTo>
                    <a:pt x="1880" y="1494"/>
                    <a:pt x="1880" y="1494"/>
                    <a:pt x="1880" y="1494"/>
                  </a:cubicBezTo>
                  <a:lnTo>
                    <a:pt x="1880" y="1494"/>
                  </a:lnTo>
                  <a:lnTo>
                    <a:pt x="1762" y="1367"/>
                  </a:lnTo>
                  <a:lnTo>
                    <a:pt x="1762" y="1367"/>
                  </a:lnTo>
                  <a:cubicBezTo>
                    <a:pt x="1770" y="1367"/>
                    <a:pt x="1778" y="1375"/>
                    <a:pt x="1786" y="1391"/>
                  </a:cubicBezTo>
                  <a:cubicBezTo>
                    <a:pt x="1802" y="1407"/>
                    <a:pt x="1849" y="1454"/>
                    <a:pt x="1880" y="1486"/>
                  </a:cubicBezTo>
                  <a:cubicBezTo>
                    <a:pt x="1896" y="1462"/>
                    <a:pt x="1904" y="1446"/>
                    <a:pt x="1896" y="1431"/>
                  </a:cubicBezTo>
                  <a:cubicBezTo>
                    <a:pt x="1889" y="1423"/>
                    <a:pt x="1889" y="1415"/>
                    <a:pt x="1880" y="1415"/>
                  </a:cubicBezTo>
                  <a:cubicBezTo>
                    <a:pt x="1873" y="1407"/>
                    <a:pt x="1873" y="1407"/>
                    <a:pt x="1873" y="1399"/>
                  </a:cubicBezTo>
                  <a:cubicBezTo>
                    <a:pt x="1873" y="1391"/>
                    <a:pt x="1873" y="1391"/>
                    <a:pt x="1880" y="1383"/>
                  </a:cubicBezTo>
                  <a:cubicBezTo>
                    <a:pt x="1889" y="1383"/>
                    <a:pt x="1896" y="1375"/>
                    <a:pt x="1904" y="1375"/>
                  </a:cubicBezTo>
                  <a:cubicBezTo>
                    <a:pt x="1944" y="1360"/>
                    <a:pt x="1991" y="1344"/>
                    <a:pt x="1991" y="1312"/>
                  </a:cubicBezTo>
                  <a:cubicBezTo>
                    <a:pt x="1991" y="1296"/>
                    <a:pt x="1991" y="1288"/>
                    <a:pt x="1983" y="1280"/>
                  </a:cubicBezTo>
                  <a:cubicBezTo>
                    <a:pt x="1983" y="1265"/>
                    <a:pt x="1983" y="1257"/>
                    <a:pt x="1999" y="1241"/>
                  </a:cubicBezTo>
                  <a:cubicBezTo>
                    <a:pt x="2015" y="1233"/>
                    <a:pt x="2039" y="1170"/>
                    <a:pt x="2031" y="1146"/>
                  </a:cubicBezTo>
                  <a:cubicBezTo>
                    <a:pt x="2031" y="1130"/>
                    <a:pt x="2023" y="1122"/>
                    <a:pt x="2007" y="1114"/>
                  </a:cubicBezTo>
                  <a:cubicBezTo>
                    <a:pt x="1999" y="1107"/>
                    <a:pt x="1983" y="1099"/>
                    <a:pt x="1983" y="1083"/>
                  </a:cubicBezTo>
                  <a:cubicBezTo>
                    <a:pt x="1983" y="1075"/>
                    <a:pt x="1983" y="1059"/>
                    <a:pt x="1976" y="1051"/>
                  </a:cubicBezTo>
                  <a:cubicBezTo>
                    <a:pt x="1976" y="1027"/>
                    <a:pt x="1967" y="1012"/>
                    <a:pt x="1976" y="996"/>
                  </a:cubicBezTo>
                  <a:cubicBezTo>
                    <a:pt x="1976" y="988"/>
                    <a:pt x="1983" y="988"/>
                    <a:pt x="1991" y="988"/>
                  </a:cubicBezTo>
                  <a:cubicBezTo>
                    <a:pt x="1999" y="980"/>
                    <a:pt x="2007" y="980"/>
                    <a:pt x="2023" y="980"/>
                  </a:cubicBezTo>
                  <a:cubicBezTo>
                    <a:pt x="2031" y="980"/>
                    <a:pt x="2039" y="980"/>
                    <a:pt x="2047" y="988"/>
                  </a:cubicBezTo>
                  <a:cubicBezTo>
                    <a:pt x="2054" y="988"/>
                    <a:pt x="2062" y="988"/>
                    <a:pt x="2062" y="988"/>
                  </a:cubicBezTo>
                  <a:cubicBezTo>
                    <a:pt x="2086" y="988"/>
                    <a:pt x="2094" y="980"/>
                    <a:pt x="2102" y="972"/>
                  </a:cubicBezTo>
                  <a:cubicBezTo>
                    <a:pt x="2118" y="956"/>
                    <a:pt x="2134" y="949"/>
                    <a:pt x="2149" y="949"/>
                  </a:cubicBezTo>
                  <a:cubicBezTo>
                    <a:pt x="2157" y="940"/>
                    <a:pt x="2165" y="940"/>
                    <a:pt x="2173" y="933"/>
                  </a:cubicBezTo>
                  <a:cubicBezTo>
                    <a:pt x="2181" y="933"/>
                    <a:pt x="2189" y="925"/>
                    <a:pt x="2189" y="925"/>
                  </a:cubicBezTo>
                  <a:cubicBezTo>
                    <a:pt x="2213" y="917"/>
                    <a:pt x="2229" y="909"/>
                    <a:pt x="2229" y="869"/>
                  </a:cubicBezTo>
                  <a:cubicBezTo>
                    <a:pt x="2229" y="830"/>
                    <a:pt x="2244" y="822"/>
                    <a:pt x="2260" y="806"/>
                  </a:cubicBezTo>
                  <a:cubicBezTo>
                    <a:pt x="2268" y="798"/>
                    <a:pt x="2276" y="790"/>
                    <a:pt x="2284" y="782"/>
                  </a:cubicBezTo>
                  <a:cubicBezTo>
                    <a:pt x="2300" y="743"/>
                    <a:pt x="2292" y="664"/>
                    <a:pt x="2276" y="648"/>
                  </a:cubicBezTo>
                  <a:cubicBezTo>
                    <a:pt x="2268" y="648"/>
                    <a:pt x="2260" y="640"/>
                    <a:pt x="2252" y="640"/>
                  </a:cubicBezTo>
                  <a:cubicBezTo>
                    <a:pt x="2229" y="624"/>
                    <a:pt x="2197" y="609"/>
                    <a:pt x="2197" y="585"/>
                  </a:cubicBezTo>
                  <a:cubicBezTo>
                    <a:pt x="2197" y="569"/>
                    <a:pt x="2165" y="537"/>
                    <a:pt x="2142" y="514"/>
                  </a:cubicBezTo>
                  <a:cubicBezTo>
                    <a:pt x="2126" y="498"/>
                    <a:pt x="2110" y="490"/>
                    <a:pt x="2110" y="482"/>
                  </a:cubicBezTo>
                  <a:cubicBezTo>
                    <a:pt x="2102" y="474"/>
                    <a:pt x="2102" y="474"/>
                    <a:pt x="2102" y="474"/>
                  </a:cubicBezTo>
                  <a:cubicBezTo>
                    <a:pt x="2094" y="450"/>
                    <a:pt x="2086" y="387"/>
                    <a:pt x="1983" y="387"/>
                  </a:cubicBezTo>
                  <a:cubicBezTo>
                    <a:pt x="1944" y="387"/>
                    <a:pt x="1928" y="387"/>
                    <a:pt x="1920" y="371"/>
                  </a:cubicBezTo>
                  <a:cubicBezTo>
                    <a:pt x="1912" y="363"/>
                    <a:pt x="1920" y="356"/>
                    <a:pt x="1928" y="348"/>
                  </a:cubicBezTo>
                  <a:cubicBezTo>
                    <a:pt x="1936" y="340"/>
                    <a:pt x="1944" y="324"/>
                    <a:pt x="1944" y="308"/>
                  </a:cubicBezTo>
                  <a:cubicBezTo>
                    <a:pt x="1936" y="300"/>
                    <a:pt x="1936" y="300"/>
                    <a:pt x="1920" y="292"/>
                  </a:cubicBezTo>
                  <a:cubicBezTo>
                    <a:pt x="1904" y="292"/>
                    <a:pt x="1896" y="284"/>
                    <a:pt x="1904" y="245"/>
                  </a:cubicBezTo>
                  <a:cubicBezTo>
                    <a:pt x="1904" y="221"/>
                    <a:pt x="1904" y="205"/>
                    <a:pt x="1904" y="190"/>
                  </a:cubicBezTo>
                  <a:cubicBezTo>
                    <a:pt x="1912" y="174"/>
                    <a:pt x="1912" y="166"/>
                    <a:pt x="1920" y="126"/>
                  </a:cubicBezTo>
                  <a:cubicBezTo>
                    <a:pt x="1936" y="95"/>
                    <a:pt x="1920" y="95"/>
                    <a:pt x="1912" y="87"/>
                  </a:cubicBezTo>
                  <a:cubicBezTo>
                    <a:pt x="1904" y="79"/>
                    <a:pt x="1889" y="71"/>
                    <a:pt x="1889" y="55"/>
                  </a:cubicBezTo>
                  <a:cubicBezTo>
                    <a:pt x="1889" y="39"/>
                    <a:pt x="1880" y="32"/>
                    <a:pt x="1873" y="8"/>
                  </a:cubicBezTo>
                  <a:cubicBezTo>
                    <a:pt x="1865" y="8"/>
                    <a:pt x="1865" y="8"/>
                    <a:pt x="1865" y="8"/>
                  </a:cubicBezTo>
                  <a:cubicBezTo>
                    <a:pt x="1446" y="55"/>
                    <a:pt x="742" y="63"/>
                    <a:pt x="363" y="63"/>
                  </a:cubicBezTo>
                  <a:cubicBezTo>
                    <a:pt x="189" y="63"/>
                    <a:pt x="78" y="55"/>
                    <a:pt x="78" y="55"/>
                  </a:cubicBezTo>
                  <a:cubicBezTo>
                    <a:pt x="70" y="55"/>
                    <a:pt x="70" y="55"/>
                    <a:pt x="70" y="55"/>
                  </a:cubicBezTo>
                  <a:lnTo>
                    <a:pt x="70" y="55"/>
                  </a:lnTo>
                  <a:cubicBezTo>
                    <a:pt x="62" y="55"/>
                    <a:pt x="54" y="63"/>
                    <a:pt x="47" y="71"/>
                  </a:cubicBezTo>
                  <a:cubicBezTo>
                    <a:pt x="39" y="87"/>
                    <a:pt x="39" y="95"/>
                    <a:pt x="47" y="110"/>
                  </a:cubicBezTo>
                  <a:cubicBezTo>
                    <a:pt x="54" y="126"/>
                    <a:pt x="54" y="142"/>
                    <a:pt x="39" y="158"/>
                  </a:cubicBezTo>
                  <a:cubicBezTo>
                    <a:pt x="31" y="158"/>
                    <a:pt x="31" y="166"/>
                    <a:pt x="31" y="166"/>
                  </a:cubicBezTo>
                  <a:cubicBezTo>
                    <a:pt x="31" y="174"/>
                    <a:pt x="39" y="182"/>
                    <a:pt x="54" y="190"/>
                  </a:cubicBezTo>
                  <a:cubicBezTo>
                    <a:pt x="54" y="190"/>
                    <a:pt x="54" y="197"/>
                    <a:pt x="62" y="197"/>
                  </a:cubicBezTo>
                  <a:lnTo>
                    <a:pt x="62" y="197"/>
                  </a:lnTo>
                  <a:cubicBezTo>
                    <a:pt x="78" y="213"/>
                    <a:pt x="94" y="213"/>
                    <a:pt x="94" y="229"/>
                  </a:cubicBezTo>
                  <a:cubicBezTo>
                    <a:pt x="94" y="237"/>
                    <a:pt x="94" y="237"/>
                    <a:pt x="86" y="245"/>
                  </a:cubicBezTo>
                  <a:cubicBezTo>
                    <a:pt x="78" y="261"/>
                    <a:pt x="78" y="261"/>
                    <a:pt x="78" y="276"/>
                  </a:cubicBezTo>
                  <a:cubicBezTo>
                    <a:pt x="78" y="284"/>
                    <a:pt x="78" y="292"/>
                    <a:pt x="78" y="316"/>
                  </a:cubicBezTo>
                  <a:cubicBezTo>
                    <a:pt x="70" y="348"/>
                    <a:pt x="54" y="356"/>
                    <a:pt x="47" y="363"/>
                  </a:cubicBezTo>
                  <a:cubicBezTo>
                    <a:pt x="31" y="371"/>
                    <a:pt x="23" y="379"/>
                    <a:pt x="16" y="403"/>
                  </a:cubicBezTo>
                  <a:cubicBezTo>
                    <a:pt x="8" y="419"/>
                    <a:pt x="16" y="427"/>
                    <a:pt x="31" y="434"/>
                  </a:cubicBezTo>
                  <a:cubicBezTo>
                    <a:pt x="39" y="443"/>
                    <a:pt x="54" y="450"/>
                    <a:pt x="70" y="474"/>
                  </a:cubicBezTo>
                  <a:cubicBezTo>
                    <a:pt x="86" y="514"/>
                    <a:pt x="94" y="537"/>
                    <a:pt x="102" y="561"/>
                  </a:cubicBezTo>
                  <a:cubicBezTo>
                    <a:pt x="102" y="569"/>
                    <a:pt x="110" y="577"/>
                    <a:pt x="110" y="585"/>
                  </a:cubicBezTo>
                  <a:cubicBezTo>
                    <a:pt x="118" y="593"/>
                    <a:pt x="118" y="601"/>
                    <a:pt x="118" y="616"/>
                  </a:cubicBezTo>
                  <a:cubicBezTo>
                    <a:pt x="118" y="624"/>
                    <a:pt x="118" y="640"/>
                    <a:pt x="126" y="664"/>
                  </a:cubicBezTo>
                  <a:cubicBezTo>
                    <a:pt x="133" y="672"/>
                    <a:pt x="133" y="680"/>
                    <a:pt x="141" y="687"/>
                  </a:cubicBezTo>
                  <a:cubicBezTo>
                    <a:pt x="141" y="703"/>
                    <a:pt x="149" y="711"/>
                    <a:pt x="157" y="727"/>
                  </a:cubicBezTo>
                  <a:cubicBezTo>
                    <a:pt x="165" y="743"/>
                    <a:pt x="173" y="759"/>
                    <a:pt x="173" y="767"/>
                  </a:cubicBezTo>
                  <a:cubicBezTo>
                    <a:pt x="181" y="782"/>
                    <a:pt x="181" y="798"/>
                    <a:pt x="197" y="822"/>
                  </a:cubicBezTo>
                  <a:cubicBezTo>
                    <a:pt x="220" y="846"/>
                    <a:pt x="213" y="917"/>
                    <a:pt x="213" y="956"/>
                  </a:cubicBezTo>
                  <a:cubicBezTo>
                    <a:pt x="213" y="964"/>
                    <a:pt x="213" y="964"/>
                    <a:pt x="213" y="972"/>
                  </a:cubicBezTo>
                  <a:cubicBezTo>
                    <a:pt x="213" y="980"/>
                    <a:pt x="213" y="988"/>
                    <a:pt x="220" y="988"/>
                  </a:cubicBezTo>
                  <a:lnTo>
                    <a:pt x="228" y="980"/>
                  </a:lnTo>
                  <a:lnTo>
                    <a:pt x="236" y="980"/>
                  </a:lnTo>
                  <a:cubicBezTo>
                    <a:pt x="252" y="980"/>
                    <a:pt x="268" y="1012"/>
                    <a:pt x="268" y="1012"/>
                  </a:cubicBezTo>
                  <a:lnTo>
                    <a:pt x="268" y="1012"/>
                  </a:lnTo>
                  <a:cubicBezTo>
                    <a:pt x="268" y="1012"/>
                    <a:pt x="268" y="1035"/>
                    <a:pt x="268" y="1051"/>
                  </a:cubicBezTo>
                  <a:cubicBezTo>
                    <a:pt x="260" y="1059"/>
                    <a:pt x="268" y="1059"/>
                    <a:pt x="276" y="1067"/>
                  </a:cubicBezTo>
                  <a:cubicBezTo>
                    <a:pt x="284" y="1067"/>
                    <a:pt x="292" y="1075"/>
                    <a:pt x="292" y="1083"/>
                  </a:cubicBezTo>
                  <a:cubicBezTo>
                    <a:pt x="284" y="1107"/>
                    <a:pt x="284" y="1122"/>
                    <a:pt x="292" y="1130"/>
                  </a:cubicBezTo>
                  <a:cubicBezTo>
                    <a:pt x="307" y="1138"/>
                    <a:pt x="307" y="1170"/>
                    <a:pt x="292" y="1193"/>
                  </a:cubicBezTo>
                  <a:cubicBezTo>
                    <a:pt x="284" y="1217"/>
                    <a:pt x="284" y="1217"/>
                    <a:pt x="300" y="1233"/>
                  </a:cubicBezTo>
                  <a:cubicBezTo>
                    <a:pt x="307" y="1241"/>
                    <a:pt x="307" y="1241"/>
                    <a:pt x="315" y="1249"/>
                  </a:cubicBezTo>
                  <a:cubicBezTo>
                    <a:pt x="331" y="1273"/>
                    <a:pt x="315" y="1320"/>
                    <a:pt x="307" y="1351"/>
                  </a:cubicBezTo>
                  <a:cubicBezTo>
                    <a:pt x="300" y="1367"/>
                    <a:pt x="300" y="1383"/>
                    <a:pt x="300" y="1391"/>
                  </a:cubicBezTo>
                  <a:cubicBezTo>
                    <a:pt x="300" y="1399"/>
                    <a:pt x="300" y="1399"/>
                    <a:pt x="300" y="1399"/>
                  </a:cubicBezTo>
                  <a:cubicBezTo>
                    <a:pt x="307" y="1399"/>
                    <a:pt x="307" y="1399"/>
                    <a:pt x="307" y="1399"/>
                  </a:cubicBezTo>
                  <a:cubicBezTo>
                    <a:pt x="315" y="1399"/>
                    <a:pt x="315" y="1399"/>
                    <a:pt x="323" y="1399"/>
                  </a:cubicBezTo>
                  <a:cubicBezTo>
                    <a:pt x="331" y="1399"/>
                    <a:pt x="339" y="1407"/>
                    <a:pt x="339" y="1423"/>
                  </a:cubicBezTo>
                  <a:cubicBezTo>
                    <a:pt x="339" y="1431"/>
                    <a:pt x="339" y="1431"/>
                    <a:pt x="339" y="1439"/>
                  </a:cubicBezTo>
                  <a:cubicBezTo>
                    <a:pt x="466" y="1439"/>
                    <a:pt x="1430" y="1423"/>
                    <a:pt x="1754" y="1367"/>
                  </a:cubicBezTo>
                  <a:lnTo>
                    <a:pt x="1762" y="1367"/>
                  </a:lnTo>
                  <a:lnTo>
                    <a:pt x="1880" y="1494"/>
                  </a:lnTo>
                </a:path>
              </a:pathLst>
            </a:custGeom>
            <a:solidFill>
              <a:schemeClr val="accent6"/>
            </a:solidFill>
            <a:ln>
              <a:solidFill>
                <a:schemeClr val="bg2"/>
              </a:solidFill>
            </a:ln>
            <a:effectLst/>
          </p:spPr>
          <p:txBody>
            <a:bodyPr wrap="none" anchor="ctr"/>
            <a:lstStyle/>
            <a:p>
              <a:endParaRPr lang="en-US"/>
            </a:p>
          </p:txBody>
        </p:sp>
        <p:sp>
          <p:nvSpPr>
            <p:cNvPr id="64" name="Freeform 512"/>
            <p:cNvSpPr>
              <a:spLocks noChangeArrowheads="1"/>
            </p:cNvSpPr>
            <p:nvPr/>
          </p:nvSpPr>
          <p:spPr bwMode="auto">
            <a:xfrm>
              <a:off x="4430512" y="3899267"/>
              <a:ext cx="675854" cy="535697"/>
            </a:xfrm>
            <a:custGeom>
              <a:avLst/>
              <a:gdLst>
                <a:gd name="T0" fmla="*/ 1644 w 1874"/>
                <a:gd name="T1" fmla="*/ 198 h 1717"/>
                <a:gd name="T2" fmla="*/ 1644 w 1874"/>
                <a:gd name="T3" fmla="*/ 198 h 1717"/>
                <a:gd name="T4" fmla="*/ 1715 w 1874"/>
                <a:gd name="T5" fmla="*/ 79 h 1717"/>
                <a:gd name="T6" fmla="*/ 1644 w 1874"/>
                <a:gd name="T7" fmla="*/ 0 h 1717"/>
                <a:gd name="T8" fmla="*/ 0 w 1874"/>
                <a:gd name="T9" fmla="*/ 79 h 1717"/>
                <a:gd name="T10" fmla="*/ 79 w 1874"/>
                <a:gd name="T11" fmla="*/ 514 h 1717"/>
                <a:gd name="T12" fmla="*/ 87 w 1874"/>
                <a:gd name="T13" fmla="*/ 1399 h 1717"/>
                <a:gd name="T14" fmla="*/ 94 w 1874"/>
                <a:gd name="T15" fmla="*/ 1399 h 1717"/>
                <a:gd name="T16" fmla="*/ 134 w 1874"/>
                <a:gd name="T17" fmla="*/ 1463 h 1717"/>
                <a:gd name="T18" fmla="*/ 166 w 1874"/>
                <a:gd name="T19" fmla="*/ 1431 h 1717"/>
                <a:gd name="T20" fmla="*/ 229 w 1874"/>
                <a:gd name="T21" fmla="*/ 1439 h 1717"/>
                <a:gd name="T22" fmla="*/ 269 w 1874"/>
                <a:gd name="T23" fmla="*/ 1463 h 1717"/>
                <a:gd name="T24" fmla="*/ 269 w 1874"/>
                <a:gd name="T25" fmla="*/ 1716 h 1717"/>
                <a:gd name="T26" fmla="*/ 1407 w 1874"/>
                <a:gd name="T27" fmla="*/ 1684 h 1717"/>
                <a:gd name="T28" fmla="*/ 1407 w 1874"/>
                <a:gd name="T29" fmla="*/ 1668 h 1717"/>
                <a:gd name="T30" fmla="*/ 1407 w 1874"/>
                <a:gd name="T31" fmla="*/ 1613 h 1717"/>
                <a:gd name="T32" fmla="*/ 1415 w 1874"/>
                <a:gd name="T33" fmla="*/ 1557 h 1717"/>
                <a:gd name="T34" fmla="*/ 1391 w 1874"/>
                <a:gd name="T35" fmla="*/ 1494 h 1717"/>
                <a:gd name="T36" fmla="*/ 1375 w 1874"/>
                <a:gd name="T37" fmla="*/ 1431 h 1717"/>
                <a:gd name="T38" fmla="*/ 1375 w 1874"/>
                <a:gd name="T39" fmla="*/ 1360 h 1717"/>
                <a:gd name="T40" fmla="*/ 1399 w 1874"/>
                <a:gd name="T41" fmla="*/ 1297 h 1717"/>
                <a:gd name="T42" fmla="*/ 1399 w 1874"/>
                <a:gd name="T43" fmla="*/ 1218 h 1717"/>
                <a:gd name="T44" fmla="*/ 1439 w 1874"/>
                <a:gd name="T45" fmla="*/ 1186 h 1717"/>
                <a:gd name="T46" fmla="*/ 1462 w 1874"/>
                <a:gd name="T47" fmla="*/ 1154 h 1717"/>
                <a:gd name="T48" fmla="*/ 1462 w 1874"/>
                <a:gd name="T49" fmla="*/ 1123 h 1717"/>
                <a:gd name="T50" fmla="*/ 1462 w 1874"/>
                <a:gd name="T51" fmla="*/ 1083 h 1717"/>
                <a:gd name="T52" fmla="*/ 1533 w 1874"/>
                <a:gd name="T53" fmla="*/ 1020 h 1717"/>
                <a:gd name="T54" fmla="*/ 1573 w 1874"/>
                <a:gd name="T55" fmla="*/ 973 h 1717"/>
                <a:gd name="T56" fmla="*/ 1589 w 1874"/>
                <a:gd name="T57" fmla="*/ 901 h 1717"/>
                <a:gd name="T58" fmla="*/ 1612 w 1874"/>
                <a:gd name="T59" fmla="*/ 799 h 1717"/>
                <a:gd name="T60" fmla="*/ 1660 w 1874"/>
                <a:gd name="T61" fmla="*/ 767 h 1717"/>
                <a:gd name="T62" fmla="*/ 1676 w 1874"/>
                <a:gd name="T63" fmla="*/ 735 h 1717"/>
                <a:gd name="T64" fmla="*/ 1699 w 1874"/>
                <a:gd name="T65" fmla="*/ 688 h 1717"/>
                <a:gd name="T66" fmla="*/ 1739 w 1874"/>
                <a:gd name="T67" fmla="*/ 640 h 1717"/>
                <a:gd name="T68" fmla="*/ 1778 w 1874"/>
                <a:gd name="T69" fmla="*/ 585 h 1717"/>
                <a:gd name="T70" fmla="*/ 1723 w 1874"/>
                <a:gd name="T71" fmla="*/ 530 h 1717"/>
                <a:gd name="T72" fmla="*/ 1747 w 1874"/>
                <a:gd name="T73" fmla="*/ 474 h 1717"/>
                <a:gd name="T74" fmla="*/ 1778 w 1874"/>
                <a:gd name="T75" fmla="*/ 419 h 1717"/>
                <a:gd name="T76" fmla="*/ 1802 w 1874"/>
                <a:gd name="T77" fmla="*/ 396 h 1717"/>
                <a:gd name="T78" fmla="*/ 1810 w 1874"/>
                <a:gd name="T79" fmla="*/ 340 h 1717"/>
                <a:gd name="T80" fmla="*/ 1873 w 1874"/>
                <a:gd name="T81" fmla="*/ 229 h 1717"/>
                <a:gd name="T82" fmla="*/ 1676 w 1874"/>
                <a:gd name="T83" fmla="*/ 245 h 1717"/>
                <a:gd name="T84" fmla="*/ 1644 w 1874"/>
                <a:gd name="T85" fmla="*/ 198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74" h="1717">
                  <a:moveTo>
                    <a:pt x="1644" y="198"/>
                  </a:moveTo>
                  <a:lnTo>
                    <a:pt x="1644" y="198"/>
                  </a:lnTo>
                  <a:cubicBezTo>
                    <a:pt x="1668" y="166"/>
                    <a:pt x="1699" y="150"/>
                    <a:pt x="1715" y="79"/>
                  </a:cubicBezTo>
                  <a:cubicBezTo>
                    <a:pt x="1739" y="16"/>
                    <a:pt x="1644" y="0"/>
                    <a:pt x="1644" y="0"/>
                  </a:cubicBezTo>
                  <a:cubicBezTo>
                    <a:pt x="1383" y="32"/>
                    <a:pt x="213" y="71"/>
                    <a:pt x="0" y="79"/>
                  </a:cubicBezTo>
                  <a:cubicBezTo>
                    <a:pt x="16" y="198"/>
                    <a:pt x="39" y="348"/>
                    <a:pt x="79" y="514"/>
                  </a:cubicBezTo>
                  <a:cubicBezTo>
                    <a:pt x="87" y="1399"/>
                    <a:pt x="87" y="1399"/>
                    <a:pt x="87" y="1399"/>
                  </a:cubicBezTo>
                  <a:cubicBezTo>
                    <a:pt x="87" y="1399"/>
                    <a:pt x="87" y="1399"/>
                    <a:pt x="94" y="1399"/>
                  </a:cubicBezTo>
                  <a:cubicBezTo>
                    <a:pt x="126" y="1407"/>
                    <a:pt x="110" y="1447"/>
                    <a:pt x="134" y="1463"/>
                  </a:cubicBezTo>
                  <a:cubicBezTo>
                    <a:pt x="158" y="1486"/>
                    <a:pt x="150" y="1439"/>
                    <a:pt x="166" y="1431"/>
                  </a:cubicBezTo>
                  <a:cubicBezTo>
                    <a:pt x="174" y="1431"/>
                    <a:pt x="197" y="1439"/>
                    <a:pt x="229" y="1439"/>
                  </a:cubicBezTo>
                  <a:cubicBezTo>
                    <a:pt x="253" y="1439"/>
                    <a:pt x="269" y="1463"/>
                    <a:pt x="269" y="1463"/>
                  </a:cubicBezTo>
                  <a:cubicBezTo>
                    <a:pt x="269" y="1716"/>
                    <a:pt x="269" y="1716"/>
                    <a:pt x="269" y="1716"/>
                  </a:cubicBezTo>
                  <a:cubicBezTo>
                    <a:pt x="1407" y="1684"/>
                    <a:pt x="1407" y="1684"/>
                    <a:pt x="1407" y="1684"/>
                  </a:cubicBezTo>
                  <a:cubicBezTo>
                    <a:pt x="1407" y="1676"/>
                    <a:pt x="1407" y="1676"/>
                    <a:pt x="1407" y="1668"/>
                  </a:cubicBezTo>
                  <a:cubicBezTo>
                    <a:pt x="1391" y="1621"/>
                    <a:pt x="1423" y="1637"/>
                    <a:pt x="1407" y="1613"/>
                  </a:cubicBezTo>
                  <a:cubicBezTo>
                    <a:pt x="1399" y="1597"/>
                    <a:pt x="1407" y="1581"/>
                    <a:pt x="1415" y="1557"/>
                  </a:cubicBezTo>
                  <a:cubicBezTo>
                    <a:pt x="1423" y="1534"/>
                    <a:pt x="1415" y="1526"/>
                    <a:pt x="1391" y="1494"/>
                  </a:cubicBezTo>
                  <a:cubicBezTo>
                    <a:pt x="1367" y="1471"/>
                    <a:pt x="1359" y="1447"/>
                    <a:pt x="1375" y="1431"/>
                  </a:cubicBezTo>
                  <a:cubicBezTo>
                    <a:pt x="1391" y="1415"/>
                    <a:pt x="1375" y="1384"/>
                    <a:pt x="1375" y="1360"/>
                  </a:cubicBezTo>
                  <a:cubicBezTo>
                    <a:pt x="1375" y="1344"/>
                    <a:pt x="1375" y="1313"/>
                    <a:pt x="1399" y="1297"/>
                  </a:cubicBezTo>
                  <a:cubicBezTo>
                    <a:pt x="1430" y="1289"/>
                    <a:pt x="1407" y="1249"/>
                    <a:pt x="1399" y="1218"/>
                  </a:cubicBezTo>
                  <a:cubicBezTo>
                    <a:pt x="1399" y="1186"/>
                    <a:pt x="1415" y="1186"/>
                    <a:pt x="1439" y="1186"/>
                  </a:cubicBezTo>
                  <a:cubicBezTo>
                    <a:pt x="1462" y="1186"/>
                    <a:pt x="1470" y="1170"/>
                    <a:pt x="1462" y="1154"/>
                  </a:cubicBezTo>
                  <a:cubicBezTo>
                    <a:pt x="1454" y="1146"/>
                    <a:pt x="1454" y="1139"/>
                    <a:pt x="1462" y="1123"/>
                  </a:cubicBezTo>
                  <a:cubicBezTo>
                    <a:pt x="1478" y="1115"/>
                    <a:pt x="1470" y="1107"/>
                    <a:pt x="1462" y="1083"/>
                  </a:cubicBezTo>
                  <a:cubicBezTo>
                    <a:pt x="1462" y="1051"/>
                    <a:pt x="1502" y="1028"/>
                    <a:pt x="1533" y="1020"/>
                  </a:cubicBezTo>
                  <a:cubicBezTo>
                    <a:pt x="1565" y="1012"/>
                    <a:pt x="1573" y="996"/>
                    <a:pt x="1573" y="973"/>
                  </a:cubicBezTo>
                  <a:cubicBezTo>
                    <a:pt x="1573" y="941"/>
                    <a:pt x="1573" y="917"/>
                    <a:pt x="1589" y="901"/>
                  </a:cubicBezTo>
                  <a:cubicBezTo>
                    <a:pt x="1604" y="886"/>
                    <a:pt x="1612" y="830"/>
                    <a:pt x="1612" y="799"/>
                  </a:cubicBezTo>
                  <a:cubicBezTo>
                    <a:pt x="1620" y="767"/>
                    <a:pt x="1644" y="767"/>
                    <a:pt x="1660" y="767"/>
                  </a:cubicBezTo>
                  <a:cubicBezTo>
                    <a:pt x="1676" y="759"/>
                    <a:pt x="1676" y="767"/>
                    <a:pt x="1676" y="735"/>
                  </a:cubicBezTo>
                  <a:cubicBezTo>
                    <a:pt x="1676" y="696"/>
                    <a:pt x="1699" y="688"/>
                    <a:pt x="1699" y="688"/>
                  </a:cubicBezTo>
                  <a:cubicBezTo>
                    <a:pt x="1699" y="688"/>
                    <a:pt x="1707" y="656"/>
                    <a:pt x="1739" y="640"/>
                  </a:cubicBezTo>
                  <a:cubicBezTo>
                    <a:pt x="1763" y="625"/>
                    <a:pt x="1786" y="633"/>
                    <a:pt x="1778" y="585"/>
                  </a:cubicBezTo>
                  <a:cubicBezTo>
                    <a:pt x="1763" y="538"/>
                    <a:pt x="1723" y="554"/>
                    <a:pt x="1723" y="530"/>
                  </a:cubicBezTo>
                  <a:cubicBezTo>
                    <a:pt x="1723" y="506"/>
                    <a:pt x="1715" y="490"/>
                    <a:pt x="1747" y="474"/>
                  </a:cubicBezTo>
                  <a:cubicBezTo>
                    <a:pt x="1770" y="467"/>
                    <a:pt x="1770" y="443"/>
                    <a:pt x="1778" y="419"/>
                  </a:cubicBezTo>
                  <a:cubicBezTo>
                    <a:pt x="1778" y="396"/>
                    <a:pt x="1786" y="411"/>
                    <a:pt x="1802" y="396"/>
                  </a:cubicBezTo>
                  <a:cubicBezTo>
                    <a:pt x="1818" y="380"/>
                    <a:pt x="1778" y="348"/>
                    <a:pt x="1810" y="340"/>
                  </a:cubicBezTo>
                  <a:cubicBezTo>
                    <a:pt x="1842" y="332"/>
                    <a:pt x="1873" y="261"/>
                    <a:pt x="1873" y="229"/>
                  </a:cubicBezTo>
                  <a:cubicBezTo>
                    <a:pt x="1810" y="229"/>
                    <a:pt x="1707" y="237"/>
                    <a:pt x="1676" y="245"/>
                  </a:cubicBezTo>
                  <a:cubicBezTo>
                    <a:pt x="1628" y="253"/>
                    <a:pt x="1628" y="229"/>
                    <a:pt x="1644" y="198"/>
                  </a:cubicBezTo>
                </a:path>
              </a:pathLst>
            </a:custGeom>
            <a:solidFill>
              <a:schemeClr val="accent6"/>
            </a:solidFill>
            <a:ln>
              <a:solidFill>
                <a:schemeClr val="bg2"/>
              </a:solidFill>
            </a:ln>
            <a:effectLst/>
          </p:spPr>
          <p:txBody>
            <a:bodyPr wrap="none" anchor="ctr"/>
            <a:lstStyle/>
            <a:p>
              <a:endParaRPr lang="en-US"/>
            </a:p>
          </p:txBody>
        </p:sp>
        <p:sp>
          <p:nvSpPr>
            <p:cNvPr id="65" name="Freeform 513"/>
            <p:cNvSpPr>
              <a:spLocks noChangeArrowheads="1"/>
            </p:cNvSpPr>
            <p:nvPr/>
          </p:nvSpPr>
          <p:spPr bwMode="auto">
            <a:xfrm>
              <a:off x="4430512" y="3896512"/>
              <a:ext cx="675854" cy="538452"/>
            </a:xfrm>
            <a:custGeom>
              <a:avLst/>
              <a:gdLst>
                <a:gd name="T0" fmla="*/ 260 w 1874"/>
                <a:gd name="T1" fmla="*/ 1471 h 1725"/>
                <a:gd name="T2" fmla="*/ 166 w 1874"/>
                <a:gd name="T3" fmla="*/ 1447 h 1725"/>
                <a:gd name="T4" fmla="*/ 126 w 1874"/>
                <a:gd name="T5" fmla="*/ 1479 h 1725"/>
                <a:gd name="T6" fmla="*/ 87 w 1874"/>
                <a:gd name="T7" fmla="*/ 1415 h 1725"/>
                <a:gd name="T8" fmla="*/ 79 w 1874"/>
                <a:gd name="T9" fmla="*/ 522 h 1725"/>
                <a:gd name="T10" fmla="*/ 0 w 1874"/>
                <a:gd name="T11" fmla="*/ 87 h 1725"/>
                <a:gd name="T12" fmla="*/ 1644 w 1874"/>
                <a:gd name="T13" fmla="*/ 0 h 1725"/>
                <a:gd name="T14" fmla="*/ 1668 w 1874"/>
                <a:gd name="T15" fmla="*/ 182 h 1725"/>
                <a:gd name="T16" fmla="*/ 1676 w 1874"/>
                <a:gd name="T17" fmla="*/ 245 h 1725"/>
                <a:gd name="T18" fmla="*/ 1873 w 1874"/>
                <a:gd name="T19" fmla="*/ 237 h 1725"/>
                <a:gd name="T20" fmla="*/ 1802 w 1874"/>
                <a:gd name="T21" fmla="*/ 372 h 1725"/>
                <a:gd name="T22" fmla="*/ 1778 w 1874"/>
                <a:gd name="T23" fmla="*/ 427 h 1725"/>
                <a:gd name="T24" fmla="*/ 1731 w 1874"/>
                <a:gd name="T25" fmla="*/ 522 h 1725"/>
                <a:gd name="T26" fmla="*/ 1778 w 1874"/>
                <a:gd name="T27" fmla="*/ 593 h 1725"/>
                <a:gd name="T28" fmla="*/ 1699 w 1874"/>
                <a:gd name="T29" fmla="*/ 696 h 1725"/>
                <a:gd name="T30" fmla="*/ 1683 w 1874"/>
                <a:gd name="T31" fmla="*/ 743 h 1725"/>
                <a:gd name="T32" fmla="*/ 1652 w 1874"/>
                <a:gd name="T33" fmla="*/ 775 h 1725"/>
                <a:gd name="T34" fmla="*/ 1589 w 1874"/>
                <a:gd name="T35" fmla="*/ 909 h 1725"/>
                <a:gd name="T36" fmla="*/ 1470 w 1874"/>
                <a:gd name="T37" fmla="*/ 1083 h 1725"/>
                <a:gd name="T38" fmla="*/ 1462 w 1874"/>
                <a:gd name="T39" fmla="*/ 1154 h 1725"/>
                <a:gd name="T40" fmla="*/ 1439 w 1874"/>
                <a:gd name="T41" fmla="*/ 1202 h 1725"/>
                <a:gd name="T42" fmla="*/ 1407 w 1874"/>
                <a:gd name="T43" fmla="*/ 1226 h 1725"/>
                <a:gd name="T44" fmla="*/ 1375 w 1874"/>
                <a:gd name="T45" fmla="*/ 1368 h 1725"/>
                <a:gd name="T46" fmla="*/ 1391 w 1874"/>
                <a:gd name="T47" fmla="*/ 1502 h 1725"/>
                <a:gd name="T48" fmla="*/ 1415 w 1874"/>
                <a:gd name="T49" fmla="*/ 1581 h 1725"/>
                <a:gd name="T50" fmla="*/ 1407 w 1874"/>
                <a:gd name="T51" fmla="*/ 1676 h 1725"/>
                <a:gd name="T52" fmla="*/ 1407 w 1874"/>
                <a:gd name="T53" fmla="*/ 1692 h 1725"/>
                <a:gd name="T54" fmla="*/ 166 w 1874"/>
                <a:gd name="T55" fmla="*/ 1439 h 1725"/>
                <a:gd name="T56" fmla="*/ 269 w 1874"/>
                <a:gd name="T57" fmla="*/ 1463 h 1725"/>
                <a:gd name="T58" fmla="*/ 276 w 1874"/>
                <a:gd name="T59" fmla="*/ 1716 h 1725"/>
                <a:gd name="T60" fmla="*/ 1407 w 1874"/>
                <a:gd name="T61" fmla="*/ 1637 h 1725"/>
                <a:gd name="T62" fmla="*/ 1415 w 1874"/>
                <a:gd name="T63" fmla="*/ 1565 h 1725"/>
                <a:gd name="T64" fmla="*/ 1375 w 1874"/>
                <a:gd name="T65" fmla="*/ 1439 h 1725"/>
                <a:gd name="T66" fmla="*/ 1399 w 1874"/>
                <a:gd name="T67" fmla="*/ 1305 h 1725"/>
                <a:gd name="T68" fmla="*/ 1399 w 1874"/>
                <a:gd name="T69" fmla="*/ 1202 h 1725"/>
                <a:gd name="T70" fmla="*/ 1462 w 1874"/>
                <a:gd name="T71" fmla="*/ 1178 h 1725"/>
                <a:gd name="T72" fmla="*/ 1462 w 1874"/>
                <a:gd name="T73" fmla="*/ 1131 h 1725"/>
                <a:gd name="T74" fmla="*/ 1533 w 1874"/>
                <a:gd name="T75" fmla="*/ 1028 h 1725"/>
                <a:gd name="T76" fmla="*/ 1612 w 1874"/>
                <a:gd name="T77" fmla="*/ 822 h 1725"/>
                <a:gd name="T78" fmla="*/ 1660 w 1874"/>
                <a:gd name="T79" fmla="*/ 767 h 1725"/>
                <a:gd name="T80" fmla="*/ 1699 w 1874"/>
                <a:gd name="T81" fmla="*/ 696 h 1725"/>
                <a:gd name="T82" fmla="*/ 1770 w 1874"/>
                <a:gd name="T83" fmla="*/ 593 h 1725"/>
                <a:gd name="T84" fmla="*/ 1723 w 1874"/>
                <a:gd name="T85" fmla="*/ 522 h 1725"/>
                <a:gd name="T86" fmla="*/ 1770 w 1874"/>
                <a:gd name="T87" fmla="*/ 427 h 1725"/>
                <a:gd name="T88" fmla="*/ 1794 w 1874"/>
                <a:gd name="T89" fmla="*/ 380 h 1725"/>
                <a:gd name="T90" fmla="*/ 1865 w 1874"/>
                <a:gd name="T91" fmla="*/ 237 h 1725"/>
                <a:gd name="T92" fmla="*/ 1644 w 1874"/>
                <a:gd name="T93" fmla="*/ 206 h 1725"/>
                <a:gd name="T94" fmla="*/ 1707 w 1874"/>
                <a:gd name="T95" fmla="*/ 48 h 1725"/>
                <a:gd name="T96" fmla="*/ 87 w 1874"/>
                <a:gd name="T97" fmla="*/ 522 h 1725"/>
                <a:gd name="T98" fmla="*/ 94 w 1874"/>
                <a:gd name="T99" fmla="*/ 1407 h 1725"/>
                <a:gd name="T100" fmla="*/ 142 w 1874"/>
                <a:gd name="T101" fmla="*/ 1471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74" h="1725">
                  <a:moveTo>
                    <a:pt x="269" y="1724"/>
                  </a:moveTo>
                  <a:lnTo>
                    <a:pt x="269" y="1724"/>
                  </a:lnTo>
                  <a:cubicBezTo>
                    <a:pt x="260" y="1471"/>
                    <a:pt x="260" y="1471"/>
                    <a:pt x="260" y="1471"/>
                  </a:cubicBezTo>
                  <a:cubicBezTo>
                    <a:pt x="260" y="1463"/>
                    <a:pt x="253" y="1447"/>
                    <a:pt x="229" y="1447"/>
                  </a:cubicBezTo>
                  <a:cubicBezTo>
                    <a:pt x="213" y="1447"/>
                    <a:pt x="197" y="1447"/>
                    <a:pt x="189" y="1447"/>
                  </a:cubicBezTo>
                  <a:cubicBezTo>
                    <a:pt x="174" y="1447"/>
                    <a:pt x="166" y="1447"/>
                    <a:pt x="166" y="1447"/>
                  </a:cubicBezTo>
                  <a:cubicBezTo>
                    <a:pt x="166" y="1447"/>
                    <a:pt x="158" y="1455"/>
                    <a:pt x="158" y="1463"/>
                  </a:cubicBezTo>
                  <a:cubicBezTo>
                    <a:pt x="158" y="1471"/>
                    <a:pt x="150" y="1479"/>
                    <a:pt x="142" y="1479"/>
                  </a:cubicBezTo>
                  <a:cubicBezTo>
                    <a:pt x="142" y="1479"/>
                    <a:pt x="134" y="1479"/>
                    <a:pt x="126" y="1479"/>
                  </a:cubicBezTo>
                  <a:cubicBezTo>
                    <a:pt x="118" y="1463"/>
                    <a:pt x="118" y="1455"/>
                    <a:pt x="110" y="1439"/>
                  </a:cubicBezTo>
                  <a:cubicBezTo>
                    <a:pt x="110" y="1423"/>
                    <a:pt x="110" y="1415"/>
                    <a:pt x="94" y="1415"/>
                  </a:cubicBezTo>
                  <a:cubicBezTo>
                    <a:pt x="87" y="1415"/>
                    <a:pt x="87" y="1415"/>
                    <a:pt x="87" y="1415"/>
                  </a:cubicBezTo>
                  <a:cubicBezTo>
                    <a:pt x="79" y="1415"/>
                    <a:pt x="79" y="1415"/>
                    <a:pt x="79" y="1415"/>
                  </a:cubicBezTo>
                  <a:cubicBezTo>
                    <a:pt x="79" y="1407"/>
                    <a:pt x="79" y="1407"/>
                    <a:pt x="79" y="1407"/>
                  </a:cubicBezTo>
                  <a:cubicBezTo>
                    <a:pt x="79" y="522"/>
                    <a:pt x="79" y="522"/>
                    <a:pt x="79" y="522"/>
                  </a:cubicBezTo>
                  <a:cubicBezTo>
                    <a:pt x="39" y="380"/>
                    <a:pt x="16" y="237"/>
                    <a:pt x="0" y="87"/>
                  </a:cubicBezTo>
                  <a:lnTo>
                    <a:pt x="0" y="87"/>
                  </a:lnTo>
                  <a:lnTo>
                    <a:pt x="0" y="87"/>
                  </a:lnTo>
                  <a:cubicBezTo>
                    <a:pt x="229" y="79"/>
                    <a:pt x="1391" y="40"/>
                    <a:pt x="1644" y="0"/>
                  </a:cubicBezTo>
                  <a:lnTo>
                    <a:pt x="1644" y="0"/>
                  </a:lnTo>
                  <a:lnTo>
                    <a:pt x="1644" y="0"/>
                  </a:lnTo>
                  <a:cubicBezTo>
                    <a:pt x="1644" y="0"/>
                    <a:pt x="1692" y="8"/>
                    <a:pt x="1715" y="40"/>
                  </a:cubicBezTo>
                  <a:cubicBezTo>
                    <a:pt x="1723" y="56"/>
                    <a:pt x="1723" y="71"/>
                    <a:pt x="1715" y="95"/>
                  </a:cubicBezTo>
                  <a:cubicBezTo>
                    <a:pt x="1707" y="142"/>
                    <a:pt x="1683" y="166"/>
                    <a:pt x="1668" y="182"/>
                  </a:cubicBezTo>
                  <a:cubicBezTo>
                    <a:pt x="1660" y="190"/>
                    <a:pt x="1652" y="198"/>
                    <a:pt x="1644" y="206"/>
                  </a:cubicBezTo>
                  <a:cubicBezTo>
                    <a:pt x="1636" y="222"/>
                    <a:pt x="1636" y="237"/>
                    <a:pt x="1636" y="245"/>
                  </a:cubicBezTo>
                  <a:cubicBezTo>
                    <a:pt x="1644" y="245"/>
                    <a:pt x="1652" y="253"/>
                    <a:pt x="1676" y="245"/>
                  </a:cubicBezTo>
                  <a:cubicBezTo>
                    <a:pt x="1715" y="245"/>
                    <a:pt x="1826" y="237"/>
                    <a:pt x="1873" y="229"/>
                  </a:cubicBezTo>
                  <a:lnTo>
                    <a:pt x="1873" y="229"/>
                  </a:lnTo>
                  <a:cubicBezTo>
                    <a:pt x="1873" y="237"/>
                    <a:pt x="1873" y="237"/>
                    <a:pt x="1873" y="237"/>
                  </a:cubicBezTo>
                  <a:cubicBezTo>
                    <a:pt x="1873" y="269"/>
                    <a:pt x="1842" y="340"/>
                    <a:pt x="1810" y="348"/>
                  </a:cubicBezTo>
                  <a:cubicBezTo>
                    <a:pt x="1810" y="356"/>
                    <a:pt x="1802" y="356"/>
                    <a:pt x="1802" y="356"/>
                  </a:cubicBezTo>
                  <a:cubicBezTo>
                    <a:pt x="1802" y="364"/>
                    <a:pt x="1802" y="372"/>
                    <a:pt x="1802" y="372"/>
                  </a:cubicBezTo>
                  <a:cubicBezTo>
                    <a:pt x="1810" y="388"/>
                    <a:pt x="1810" y="395"/>
                    <a:pt x="1802" y="404"/>
                  </a:cubicBezTo>
                  <a:cubicBezTo>
                    <a:pt x="1794" y="411"/>
                    <a:pt x="1794" y="411"/>
                    <a:pt x="1786" y="419"/>
                  </a:cubicBezTo>
                  <a:cubicBezTo>
                    <a:pt x="1786" y="419"/>
                    <a:pt x="1786" y="419"/>
                    <a:pt x="1778" y="427"/>
                  </a:cubicBezTo>
                  <a:cubicBezTo>
                    <a:pt x="1778" y="435"/>
                    <a:pt x="1778" y="435"/>
                    <a:pt x="1778" y="435"/>
                  </a:cubicBezTo>
                  <a:cubicBezTo>
                    <a:pt x="1778" y="459"/>
                    <a:pt x="1770" y="475"/>
                    <a:pt x="1747" y="490"/>
                  </a:cubicBezTo>
                  <a:cubicBezTo>
                    <a:pt x="1723" y="498"/>
                    <a:pt x="1723" y="506"/>
                    <a:pt x="1731" y="522"/>
                  </a:cubicBezTo>
                  <a:cubicBezTo>
                    <a:pt x="1731" y="530"/>
                    <a:pt x="1731" y="530"/>
                    <a:pt x="1731" y="538"/>
                  </a:cubicBezTo>
                  <a:cubicBezTo>
                    <a:pt x="1731" y="538"/>
                    <a:pt x="1731" y="546"/>
                    <a:pt x="1739" y="546"/>
                  </a:cubicBezTo>
                  <a:cubicBezTo>
                    <a:pt x="1755" y="554"/>
                    <a:pt x="1770" y="562"/>
                    <a:pt x="1778" y="593"/>
                  </a:cubicBezTo>
                  <a:cubicBezTo>
                    <a:pt x="1786" y="633"/>
                    <a:pt x="1778" y="633"/>
                    <a:pt x="1755" y="641"/>
                  </a:cubicBezTo>
                  <a:cubicBezTo>
                    <a:pt x="1755" y="641"/>
                    <a:pt x="1747" y="648"/>
                    <a:pt x="1739" y="648"/>
                  </a:cubicBezTo>
                  <a:cubicBezTo>
                    <a:pt x="1715" y="672"/>
                    <a:pt x="1699" y="696"/>
                    <a:pt x="1699" y="696"/>
                  </a:cubicBezTo>
                  <a:lnTo>
                    <a:pt x="1699" y="696"/>
                  </a:lnTo>
                  <a:lnTo>
                    <a:pt x="1699" y="696"/>
                  </a:lnTo>
                  <a:cubicBezTo>
                    <a:pt x="1699" y="696"/>
                    <a:pt x="1683" y="704"/>
                    <a:pt x="1683" y="743"/>
                  </a:cubicBezTo>
                  <a:cubicBezTo>
                    <a:pt x="1683" y="767"/>
                    <a:pt x="1683" y="775"/>
                    <a:pt x="1668" y="775"/>
                  </a:cubicBezTo>
                  <a:cubicBezTo>
                    <a:pt x="1660" y="775"/>
                    <a:pt x="1660" y="775"/>
                    <a:pt x="1660" y="775"/>
                  </a:cubicBezTo>
                  <a:lnTo>
                    <a:pt x="1652" y="775"/>
                  </a:lnTo>
                  <a:cubicBezTo>
                    <a:pt x="1636" y="775"/>
                    <a:pt x="1620" y="775"/>
                    <a:pt x="1620" y="807"/>
                  </a:cubicBezTo>
                  <a:cubicBezTo>
                    <a:pt x="1620" y="807"/>
                    <a:pt x="1620" y="815"/>
                    <a:pt x="1620" y="822"/>
                  </a:cubicBezTo>
                  <a:cubicBezTo>
                    <a:pt x="1612" y="854"/>
                    <a:pt x="1604" y="901"/>
                    <a:pt x="1589" y="909"/>
                  </a:cubicBezTo>
                  <a:cubicBezTo>
                    <a:pt x="1573" y="925"/>
                    <a:pt x="1573" y="949"/>
                    <a:pt x="1573" y="981"/>
                  </a:cubicBezTo>
                  <a:cubicBezTo>
                    <a:pt x="1573" y="1004"/>
                    <a:pt x="1565" y="1028"/>
                    <a:pt x="1533" y="1036"/>
                  </a:cubicBezTo>
                  <a:cubicBezTo>
                    <a:pt x="1510" y="1044"/>
                    <a:pt x="1462" y="1059"/>
                    <a:pt x="1470" y="1083"/>
                  </a:cubicBezTo>
                  <a:cubicBezTo>
                    <a:pt x="1470" y="1091"/>
                    <a:pt x="1470" y="1099"/>
                    <a:pt x="1470" y="1107"/>
                  </a:cubicBezTo>
                  <a:cubicBezTo>
                    <a:pt x="1478" y="1115"/>
                    <a:pt x="1478" y="1123"/>
                    <a:pt x="1470" y="1139"/>
                  </a:cubicBezTo>
                  <a:cubicBezTo>
                    <a:pt x="1462" y="1139"/>
                    <a:pt x="1462" y="1147"/>
                    <a:pt x="1462" y="1154"/>
                  </a:cubicBezTo>
                  <a:lnTo>
                    <a:pt x="1462" y="1162"/>
                  </a:lnTo>
                  <a:cubicBezTo>
                    <a:pt x="1470" y="1170"/>
                    <a:pt x="1470" y="1178"/>
                    <a:pt x="1470" y="1186"/>
                  </a:cubicBezTo>
                  <a:cubicBezTo>
                    <a:pt x="1462" y="1194"/>
                    <a:pt x="1454" y="1202"/>
                    <a:pt x="1439" y="1202"/>
                  </a:cubicBezTo>
                  <a:cubicBezTo>
                    <a:pt x="1430" y="1202"/>
                    <a:pt x="1430" y="1202"/>
                    <a:pt x="1430" y="1202"/>
                  </a:cubicBezTo>
                  <a:cubicBezTo>
                    <a:pt x="1423" y="1202"/>
                    <a:pt x="1415" y="1202"/>
                    <a:pt x="1407" y="1202"/>
                  </a:cubicBezTo>
                  <a:cubicBezTo>
                    <a:pt x="1407" y="1210"/>
                    <a:pt x="1399" y="1218"/>
                    <a:pt x="1407" y="1226"/>
                  </a:cubicBezTo>
                  <a:cubicBezTo>
                    <a:pt x="1407" y="1234"/>
                    <a:pt x="1407" y="1241"/>
                    <a:pt x="1415" y="1249"/>
                  </a:cubicBezTo>
                  <a:cubicBezTo>
                    <a:pt x="1423" y="1273"/>
                    <a:pt x="1423" y="1297"/>
                    <a:pt x="1407" y="1312"/>
                  </a:cubicBezTo>
                  <a:cubicBezTo>
                    <a:pt x="1383" y="1321"/>
                    <a:pt x="1375" y="1344"/>
                    <a:pt x="1375" y="1368"/>
                  </a:cubicBezTo>
                  <a:cubicBezTo>
                    <a:pt x="1375" y="1376"/>
                    <a:pt x="1375" y="1384"/>
                    <a:pt x="1383" y="1392"/>
                  </a:cubicBezTo>
                  <a:cubicBezTo>
                    <a:pt x="1383" y="1407"/>
                    <a:pt x="1391" y="1431"/>
                    <a:pt x="1375" y="1439"/>
                  </a:cubicBezTo>
                  <a:cubicBezTo>
                    <a:pt x="1359" y="1455"/>
                    <a:pt x="1375" y="1486"/>
                    <a:pt x="1391" y="1502"/>
                  </a:cubicBezTo>
                  <a:cubicBezTo>
                    <a:pt x="1399" y="1510"/>
                    <a:pt x="1399" y="1518"/>
                    <a:pt x="1407" y="1518"/>
                  </a:cubicBezTo>
                  <a:cubicBezTo>
                    <a:pt x="1423" y="1534"/>
                    <a:pt x="1430" y="1550"/>
                    <a:pt x="1423" y="1565"/>
                  </a:cubicBezTo>
                  <a:cubicBezTo>
                    <a:pt x="1423" y="1574"/>
                    <a:pt x="1415" y="1581"/>
                    <a:pt x="1415" y="1581"/>
                  </a:cubicBezTo>
                  <a:cubicBezTo>
                    <a:pt x="1407" y="1597"/>
                    <a:pt x="1407" y="1605"/>
                    <a:pt x="1415" y="1621"/>
                  </a:cubicBezTo>
                  <a:cubicBezTo>
                    <a:pt x="1415" y="1629"/>
                    <a:pt x="1415" y="1637"/>
                    <a:pt x="1415" y="1645"/>
                  </a:cubicBezTo>
                  <a:cubicBezTo>
                    <a:pt x="1407" y="1645"/>
                    <a:pt x="1399" y="1652"/>
                    <a:pt x="1407" y="1676"/>
                  </a:cubicBezTo>
                  <a:cubicBezTo>
                    <a:pt x="1407" y="1684"/>
                    <a:pt x="1407" y="1684"/>
                    <a:pt x="1407" y="1684"/>
                  </a:cubicBezTo>
                  <a:cubicBezTo>
                    <a:pt x="1415" y="1692"/>
                    <a:pt x="1415" y="1692"/>
                    <a:pt x="1415" y="1692"/>
                  </a:cubicBezTo>
                  <a:cubicBezTo>
                    <a:pt x="1407" y="1692"/>
                    <a:pt x="1407" y="1692"/>
                    <a:pt x="1407" y="1692"/>
                  </a:cubicBezTo>
                  <a:lnTo>
                    <a:pt x="269" y="1724"/>
                  </a:lnTo>
                  <a:close/>
                  <a:moveTo>
                    <a:pt x="166" y="1439"/>
                  </a:moveTo>
                  <a:lnTo>
                    <a:pt x="166" y="1439"/>
                  </a:lnTo>
                  <a:cubicBezTo>
                    <a:pt x="174" y="1439"/>
                    <a:pt x="182" y="1439"/>
                    <a:pt x="189" y="1439"/>
                  </a:cubicBezTo>
                  <a:cubicBezTo>
                    <a:pt x="197" y="1439"/>
                    <a:pt x="213" y="1447"/>
                    <a:pt x="229" y="1447"/>
                  </a:cubicBezTo>
                  <a:cubicBezTo>
                    <a:pt x="253" y="1447"/>
                    <a:pt x="269" y="1463"/>
                    <a:pt x="269" y="1463"/>
                  </a:cubicBezTo>
                  <a:lnTo>
                    <a:pt x="269" y="1463"/>
                  </a:lnTo>
                  <a:lnTo>
                    <a:pt x="269" y="1463"/>
                  </a:lnTo>
                  <a:cubicBezTo>
                    <a:pt x="276" y="1716"/>
                    <a:pt x="276" y="1716"/>
                    <a:pt x="276" y="1716"/>
                  </a:cubicBezTo>
                  <a:cubicBezTo>
                    <a:pt x="1399" y="1684"/>
                    <a:pt x="1399" y="1684"/>
                    <a:pt x="1399" y="1684"/>
                  </a:cubicBezTo>
                  <a:cubicBezTo>
                    <a:pt x="1399" y="1684"/>
                    <a:pt x="1399" y="1684"/>
                    <a:pt x="1399" y="1676"/>
                  </a:cubicBezTo>
                  <a:cubicBezTo>
                    <a:pt x="1391" y="1652"/>
                    <a:pt x="1399" y="1645"/>
                    <a:pt x="1407" y="1637"/>
                  </a:cubicBezTo>
                  <a:lnTo>
                    <a:pt x="1407" y="1629"/>
                  </a:lnTo>
                  <a:cubicBezTo>
                    <a:pt x="1399" y="1605"/>
                    <a:pt x="1399" y="1597"/>
                    <a:pt x="1407" y="1581"/>
                  </a:cubicBezTo>
                  <a:cubicBezTo>
                    <a:pt x="1407" y="1574"/>
                    <a:pt x="1415" y="1574"/>
                    <a:pt x="1415" y="1565"/>
                  </a:cubicBezTo>
                  <a:cubicBezTo>
                    <a:pt x="1423" y="1550"/>
                    <a:pt x="1415" y="1542"/>
                    <a:pt x="1399" y="1526"/>
                  </a:cubicBezTo>
                  <a:cubicBezTo>
                    <a:pt x="1399" y="1518"/>
                    <a:pt x="1391" y="1510"/>
                    <a:pt x="1383" y="1510"/>
                  </a:cubicBezTo>
                  <a:cubicBezTo>
                    <a:pt x="1352" y="1463"/>
                    <a:pt x="1359" y="1447"/>
                    <a:pt x="1375" y="1439"/>
                  </a:cubicBezTo>
                  <a:cubicBezTo>
                    <a:pt x="1383" y="1431"/>
                    <a:pt x="1375" y="1407"/>
                    <a:pt x="1375" y="1392"/>
                  </a:cubicBezTo>
                  <a:cubicBezTo>
                    <a:pt x="1367" y="1384"/>
                    <a:pt x="1367" y="1376"/>
                    <a:pt x="1367" y="1368"/>
                  </a:cubicBezTo>
                  <a:cubicBezTo>
                    <a:pt x="1367" y="1360"/>
                    <a:pt x="1367" y="1321"/>
                    <a:pt x="1399" y="1305"/>
                  </a:cubicBezTo>
                  <a:cubicBezTo>
                    <a:pt x="1415" y="1297"/>
                    <a:pt x="1415" y="1281"/>
                    <a:pt x="1407" y="1257"/>
                  </a:cubicBezTo>
                  <a:cubicBezTo>
                    <a:pt x="1399" y="1249"/>
                    <a:pt x="1399" y="1234"/>
                    <a:pt x="1399" y="1226"/>
                  </a:cubicBezTo>
                  <a:cubicBezTo>
                    <a:pt x="1399" y="1218"/>
                    <a:pt x="1399" y="1202"/>
                    <a:pt x="1399" y="1202"/>
                  </a:cubicBezTo>
                  <a:cubicBezTo>
                    <a:pt x="1407" y="1194"/>
                    <a:pt x="1423" y="1194"/>
                    <a:pt x="1430" y="1194"/>
                  </a:cubicBezTo>
                  <a:cubicBezTo>
                    <a:pt x="1439" y="1194"/>
                    <a:pt x="1439" y="1194"/>
                    <a:pt x="1439" y="1194"/>
                  </a:cubicBezTo>
                  <a:cubicBezTo>
                    <a:pt x="1454" y="1194"/>
                    <a:pt x="1454" y="1186"/>
                    <a:pt x="1462" y="1178"/>
                  </a:cubicBezTo>
                  <a:lnTo>
                    <a:pt x="1462" y="1170"/>
                  </a:lnTo>
                  <a:cubicBezTo>
                    <a:pt x="1454" y="1162"/>
                    <a:pt x="1454" y="1154"/>
                    <a:pt x="1454" y="1154"/>
                  </a:cubicBezTo>
                  <a:cubicBezTo>
                    <a:pt x="1454" y="1147"/>
                    <a:pt x="1454" y="1139"/>
                    <a:pt x="1462" y="1131"/>
                  </a:cubicBezTo>
                  <a:cubicBezTo>
                    <a:pt x="1470" y="1123"/>
                    <a:pt x="1470" y="1123"/>
                    <a:pt x="1462" y="1107"/>
                  </a:cubicBezTo>
                  <a:cubicBezTo>
                    <a:pt x="1462" y="1099"/>
                    <a:pt x="1462" y="1099"/>
                    <a:pt x="1462" y="1091"/>
                  </a:cubicBezTo>
                  <a:cubicBezTo>
                    <a:pt x="1454" y="1052"/>
                    <a:pt x="1525" y="1028"/>
                    <a:pt x="1533" y="1028"/>
                  </a:cubicBezTo>
                  <a:cubicBezTo>
                    <a:pt x="1565" y="1020"/>
                    <a:pt x="1565" y="1004"/>
                    <a:pt x="1565" y="981"/>
                  </a:cubicBezTo>
                  <a:cubicBezTo>
                    <a:pt x="1565" y="949"/>
                    <a:pt x="1565" y="917"/>
                    <a:pt x="1589" y="909"/>
                  </a:cubicBezTo>
                  <a:cubicBezTo>
                    <a:pt x="1604" y="894"/>
                    <a:pt x="1604" y="854"/>
                    <a:pt x="1612" y="822"/>
                  </a:cubicBezTo>
                  <a:cubicBezTo>
                    <a:pt x="1612" y="815"/>
                    <a:pt x="1612" y="807"/>
                    <a:pt x="1612" y="807"/>
                  </a:cubicBezTo>
                  <a:cubicBezTo>
                    <a:pt x="1612" y="775"/>
                    <a:pt x="1636" y="767"/>
                    <a:pt x="1652" y="767"/>
                  </a:cubicBezTo>
                  <a:cubicBezTo>
                    <a:pt x="1652" y="767"/>
                    <a:pt x="1652" y="767"/>
                    <a:pt x="1660" y="767"/>
                  </a:cubicBezTo>
                  <a:cubicBezTo>
                    <a:pt x="1660" y="767"/>
                    <a:pt x="1660" y="767"/>
                    <a:pt x="1668" y="767"/>
                  </a:cubicBezTo>
                  <a:cubicBezTo>
                    <a:pt x="1676" y="767"/>
                    <a:pt x="1676" y="767"/>
                    <a:pt x="1676" y="743"/>
                  </a:cubicBezTo>
                  <a:cubicBezTo>
                    <a:pt x="1676" y="704"/>
                    <a:pt x="1692" y="696"/>
                    <a:pt x="1699" y="696"/>
                  </a:cubicBezTo>
                  <a:cubicBezTo>
                    <a:pt x="1699" y="688"/>
                    <a:pt x="1707" y="664"/>
                    <a:pt x="1731" y="648"/>
                  </a:cubicBezTo>
                  <a:cubicBezTo>
                    <a:pt x="1739" y="641"/>
                    <a:pt x="1747" y="641"/>
                    <a:pt x="1755" y="633"/>
                  </a:cubicBezTo>
                  <a:cubicBezTo>
                    <a:pt x="1770" y="633"/>
                    <a:pt x="1778" y="625"/>
                    <a:pt x="1770" y="593"/>
                  </a:cubicBezTo>
                  <a:cubicBezTo>
                    <a:pt x="1770" y="569"/>
                    <a:pt x="1755" y="562"/>
                    <a:pt x="1739" y="554"/>
                  </a:cubicBezTo>
                  <a:cubicBezTo>
                    <a:pt x="1731" y="554"/>
                    <a:pt x="1723" y="546"/>
                    <a:pt x="1723" y="538"/>
                  </a:cubicBezTo>
                  <a:cubicBezTo>
                    <a:pt x="1723" y="530"/>
                    <a:pt x="1723" y="530"/>
                    <a:pt x="1723" y="522"/>
                  </a:cubicBezTo>
                  <a:cubicBezTo>
                    <a:pt x="1715" y="506"/>
                    <a:pt x="1715" y="490"/>
                    <a:pt x="1747" y="482"/>
                  </a:cubicBezTo>
                  <a:cubicBezTo>
                    <a:pt x="1770" y="467"/>
                    <a:pt x="1770" y="459"/>
                    <a:pt x="1770" y="435"/>
                  </a:cubicBezTo>
                  <a:lnTo>
                    <a:pt x="1770" y="427"/>
                  </a:lnTo>
                  <a:cubicBezTo>
                    <a:pt x="1778" y="411"/>
                    <a:pt x="1778" y="411"/>
                    <a:pt x="1786" y="411"/>
                  </a:cubicBezTo>
                  <a:lnTo>
                    <a:pt x="1794" y="404"/>
                  </a:lnTo>
                  <a:cubicBezTo>
                    <a:pt x="1802" y="395"/>
                    <a:pt x="1802" y="388"/>
                    <a:pt x="1794" y="380"/>
                  </a:cubicBezTo>
                  <a:cubicBezTo>
                    <a:pt x="1794" y="372"/>
                    <a:pt x="1794" y="364"/>
                    <a:pt x="1794" y="356"/>
                  </a:cubicBezTo>
                  <a:cubicBezTo>
                    <a:pt x="1802" y="348"/>
                    <a:pt x="1802" y="348"/>
                    <a:pt x="1810" y="348"/>
                  </a:cubicBezTo>
                  <a:cubicBezTo>
                    <a:pt x="1834" y="340"/>
                    <a:pt x="1865" y="269"/>
                    <a:pt x="1865" y="237"/>
                  </a:cubicBezTo>
                  <a:cubicBezTo>
                    <a:pt x="1818" y="245"/>
                    <a:pt x="1715" y="253"/>
                    <a:pt x="1676" y="253"/>
                  </a:cubicBezTo>
                  <a:cubicBezTo>
                    <a:pt x="1652" y="261"/>
                    <a:pt x="1636" y="253"/>
                    <a:pt x="1628" y="245"/>
                  </a:cubicBezTo>
                  <a:cubicBezTo>
                    <a:pt x="1628" y="237"/>
                    <a:pt x="1628" y="222"/>
                    <a:pt x="1644" y="206"/>
                  </a:cubicBezTo>
                  <a:cubicBezTo>
                    <a:pt x="1644" y="198"/>
                    <a:pt x="1652" y="190"/>
                    <a:pt x="1660" y="182"/>
                  </a:cubicBezTo>
                  <a:cubicBezTo>
                    <a:pt x="1676" y="158"/>
                    <a:pt x="1699" y="142"/>
                    <a:pt x="1715" y="87"/>
                  </a:cubicBezTo>
                  <a:cubicBezTo>
                    <a:pt x="1715" y="71"/>
                    <a:pt x="1715" y="56"/>
                    <a:pt x="1707" y="48"/>
                  </a:cubicBezTo>
                  <a:cubicBezTo>
                    <a:pt x="1692" y="16"/>
                    <a:pt x="1652" y="8"/>
                    <a:pt x="1644" y="8"/>
                  </a:cubicBezTo>
                  <a:cubicBezTo>
                    <a:pt x="1391" y="48"/>
                    <a:pt x="245" y="87"/>
                    <a:pt x="7" y="95"/>
                  </a:cubicBezTo>
                  <a:cubicBezTo>
                    <a:pt x="23" y="237"/>
                    <a:pt x="47" y="380"/>
                    <a:pt x="87" y="522"/>
                  </a:cubicBezTo>
                  <a:lnTo>
                    <a:pt x="87" y="522"/>
                  </a:lnTo>
                  <a:cubicBezTo>
                    <a:pt x="87" y="1407"/>
                    <a:pt x="87" y="1407"/>
                    <a:pt x="87" y="1407"/>
                  </a:cubicBezTo>
                  <a:lnTo>
                    <a:pt x="94" y="1407"/>
                  </a:lnTo>
                  <a:cubicBezTo>
                    <a:pt x="110" y="1407"/>
                    <a:pt x="118" y="1423"/>
                    <a:pt x="118" y="1439"/>
                  </a:cubicBezTo>
                  <a:cubicBezTo>
                    <a:pt x="126" y="1447"/>
                    <a:pt x="126" y="1463"/>
                    <a:pt x="134" y="1471"/>
                  </a:cubicBezTo>
                  <a:cubicBezTo>
                    <a:pt x="142" y="1471"/>
                    <a:pt x="142" y="1471"/>
                    <a:pt x="142" y="1471"/>
                  </a:cubicBezTo>
                  <a:cubicBezTo>
                    <a:pt x="142" y="1471"/>
                    <a:pt x="150" y="1463"/>
                    <a:pt x="150" y="1455"/>
                  </a:cubicBezTo>
                  <a:cubicBezTo>
                    <a:pt x="150" y="1447"/>
                    <a:pt x="158" y="1439"/>
                    <a:pt x="166" y="1439"/>
                  </a:cubicBezTo>
                  <a:close/>
                </a:path>
              </a:pathLst>
            </a:custGeom>
            <a:solidFill>
              <a:schemeClr val="accent6"/>
            </a:solidFill>
            <a:ln>
              <a:solidFill>
                <a:schemeClr val="bg2"/>
              </a:solidFill>
            </a:ln>
            <a:effectLst/>
          </p:spPr>
          <p:txBody>
            <a:bodyPr wrap="none" anchor="ctr"/>
            <a:lstStyle/>
            <a:p>
              <a:endParaRPr lang="en-US"/>
            </a:p>
          </p:txBody>
        </p:sp>
        <p:sp>
          <p:nvSpPr>
            <p:cNvPr id="66" name="Freeform 514"/>
            <p:cNvSpPr>
              <a:spLocks noChangeArrowheads="1"/>
            </p:cNvSpPr>
            <p:nvPr/>
          </p:nvSpPr>
          <p:spPr bwMode="auto">
            <a:xfrm>
              <a:off x="4268307" y="3291959"/>
              <a:ext cx="912799" cy="685803"/>
            </a:xfrm>
            <a:custGeom>
              <a:avLst/>
              <a:gdLst>
                <a:gd name="T0" fmla="*/ 2498 w 2531"/>
                <a:gd name="T1" fmla="*/ 1674 h 2197"/>
                <a:gd name="T2" fmla="*/ 2498 w 2531"/>
                <a:gd name="T3" fmla="*/ 1674 h 2197"/>
                <a:gd name="T4" fmla="*/ 2474 w 2531"/>
                <a:gd name="T5" fmla="*/ 1674 h 2197"/>
                <a:gd name="T6" fmla="*/ 2403 w 2531"/>
                <a:gd name="T7" fmla="*/ 1643 h 2197"/>
                <a:gd name="T8" fmla="*/ 2348 w 2531"/>
                <a:gd name="T9" fmla="*/ 1540 h 2197"/>
                <a:gd name="T10" fmla="*/ 2372 w 2531"/>
                <a:gd name="T11" fmla="*/ 1485 h 2197"/>
                <a:gd name="T12" fmla="*/ 2324 w 2531"/>
                <a:gd name="T13" fmla="*/ 1374 h 2197"/>
                <a:gd name="T14" fmla="*/ 2261 w 2531"/>
                <a:gd name="T15" fmla="*/ 1335 h 2197"/>
                <a:gd name="T16" fmla="*/ 2166 w 2531"/>
                <a:gd name="T17" fmla="*/ 1271 h 2197"/>
                <a:gd name="T18" fmla="*/ 1984 w 2531"/>
                <a:gd name="T19" fmla="*/ 1035 h 2197"/>
                <a:gd name="T20" fmla="*/ 2048 w 2531"/>
                <a:gd name="T21" fmla="*/ 806 h 2197"/>
                <a:gd name="T22" fmla="*/ 1984 w 2531"/>
                <a:gd name="T23" fmla="*/ 782 h 2197"/>
                <a:gd name="T24" fmla="*/ 1953 w 2531"/>
                <a:gd name="T25" fmla="*/ 782 h 2197"/>
                <a:gd name="T26" fmla="*/ 1905 w 2531"/>
                <a:gd name="T27" fmla="*/ 774 h 2197"/>
                <a:gd name="T28" fmla="*/ 1850 w 2531"/>
                <a:gd name="T29" fmla="*/ 766 h 2197"/>
                <a:gd name="T30" fmla="*/ 1810 w 2531"/>
                <a:gd name="T31" fmla="*/ 632 h 2197"/>
                <a:gd name="T32" fmla="*/ 1684 w 2531"/>
                <a:gd name="T33" fmla="*/ 537 h 2197"/>
                <a:gd name="T34" fmla="*/ 1534 w 2531"/>
                <a:gd name="T35" fmla="*/ 339 h 2197"/>
                <a:gd name="T36" fmla="*/ 1541 w 2531"/>
                <a:gd name="T37" fmla="*/ 134 h 2197"/>
                <a:gd name="T38" fmla="*/ 1447 w 2531"/>
                <a:gd name="T39" fmla="*/ 31 h 2197"/>
                <a:gd name="T40" fmla="*/ 1415 w 2531"/>
                <a:gd name="T41" fmla="*/ 15 h 2197"/>
                <a:gd name="T42" fmla="*/ 0 w 2531"/>
                <a:gd name="T43" fmla="*/ 79 h 2197"/>
                <a:gd name="T44" fmla="*/ 8 w 2531"/>
                <a:gd name="T45" fmla="*/ 110 h 2197"/>
                <a:gd name="T46" fmla="*/ 16 w 2531"/>
                <a:gd name="T47" fmla="*/ 150 h 2197"/>
                <a:gd name="T48" fmla="*/ 95 w 2531"/>
                <a:gd name="T49" fmla="*/ 229 h 2197"/>
                <a:gd name="T50" fmla="*/ 103 w 2531"/>
                <a:gd name="T51" fmla="*/ 308 h 2197"/>
                <a:gd name="T52" fmla="*/ 150 w 2531"/>
                <a:gd name="T53" fmla="*/ 339 h 2197"/>
                <a:gd name="T54" fmla="*/ 229 w 2531"/>
                <a:gd name="T55" fmla="*/ 426 h 2197"/>
                <a:gd name="T56" fmla="*/ 253 w 2531"/>
                <a:gd name="T57" fmla="*/ 403 h 2197"/>
                <a:gd name="T58" fmla="*/ 293 w 2531"/>
                <a:gd name="T59" fmla="*/ 411 h 2197"/>
                <a:gd name="T60" fmla="*/ 324 w 2531"/>
                <a:gd name="T61" fmla="*/ 458 h 2197"/>
                <a:gd name="T62" fmla="*/ 300 w 2531"/>
                <a:gd name="T63" fmla="*/ 490 h 2197"/>
                <a:gd name="T64" fmla="*/ 229 w 2531"/>
                <a:gd name="T65" fmla="*/ 553 h 2197"/>
                <a:gd name="T66" fmla="*/ 293 w 2531"/>
                <a:gd name="T67" fmla="*/ 608 h 2197"/>
                <a:gd name="T68" fmla="*/ 324 w 2531"/>
                <a:gd name="T69" fmla="*/ 664 h 2197"/>
                <a:gd name="T70" fmla="*/ 380 w 2531"/>
                <a:gd name="T71" fmla="*/ 727 h 2197"/>
                <a:gd name="T72" fmla="*/ 427 w 2531"/>
                <a:gd name="T73" fmla="*/ 837 h 2197"/>
                <a:gd name="T74" fmla="*/ 427 w 2531"/>
                <a:gd name="T75" fmla="*/ 1777 h 2197"/>
                <a:gd name="T76" fmla="*/ 451 w 2531"/>
                <a:gd name="T77" fmla="*/ 2022 h 2197"/>
                <a:gd name="T78" fmla="*/ 2095 w 2531"/>
                <a:gd name="T79" fmla="*/ 1943 h 2197"/>
                <a:gd name="T80" fmla="*/ 2166 w 2531"/>
                <a:gd name="T81" fmla="*/ 2022 h 2197"/>
                <a:gd name="T82" fmla="*/ 2095 w 2531"/>
                <a:gd name="T83" fmla="*/ 2141 h 2197"/>
                <a:gd name="T84" fmla="*/ 2127 w 2531"/>
                <a:gd name="T85" fmla="*/ 2188 h 2197"/>
                <a:gd name="T86" fmla="*/ 2324 w 2531"/>
                <a:gd name="T87" fmla="*/ 2172 h 2197"/>
                <a:gd name="T88" fmla="*/ 2316 w 2531"/>
                <a:gd name="T89" fmla="*/ 2157 h 2197"/>
                <a:gd name="T90" fmla="*/ 2316 w 2531"/>
                <a:gd name="T91" fmla="*/ 2109 h 2197"/>
                <a:gd name="T92" fmla="*/ 2332 w 2531"/>
                <a:gd name="T93" fmla="*/ 2030 h 2197"/>
                <a:gd name="T94" fmla="*/ 2364 w 2531"/>
                <a:gd name="T95" fmla="*/ 1967 h 2197"/>
                <a:gd name="T96" fmla="*/ 2356 w 2531"/>
                <a:gd name="T97" fmla="*/ 1896 h 2197"/>
                <a:gd name="T98" fmla="*/ 2411 w 2531"/>
                <a:gd name="T99" fmla="*/ 1888 h 2197"/>
                <a:gd name="T100" fmla="*/ 2451 w 2531"/>
                <a:gd name="T101" fmla="*/ 1864 h 2197"/>
                <a:gd name="T102" fmla="*/ 2474 w 2531"/>
                <a:gd name="T103" fmla="*/ 1840 h 2197"/>
                <a:gd name="T104" fmla="*/ 2490 w 2531"/>
                <a:gd name="T105" fmla="*/ 1769 h 2197"/>
                <a:gd name="T106" fmla="*/ 2498 w 2531"/>
                <a:gd name="T107" fmla="*/ 1674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31" h="2197">
                  <a:moveTo>
                    <a:pt x="2498" y="1674"/>
                  </a:moveTo>
                  <a:lnTo>
                    <a:pt x="2498" y="1674"/>
                  </a:lnTo>
                  <a:cubicBezTo>
                    <a:pt x="2490" y="1666"/>
                    <a:pt x="2482" y="1674"/>
                    <a:pt x="2474" y="1674"/>
                  </a:cubicBezTo>
                  <a:cubicBezTo>
                    <a:pt x="2451" y="1674"/>
                    <a:pt x="2419" y="1674"/>
                    <a:pt x="2403" y="1643"/>
                  </a:cubicBezTo>
                  <a:cubicBezTo>
                    <a:pt x="2380" y="1595"/>
                    <a:pt x="2324" y="1564"/>
                    <a:pt x="2348" y="1540"/>
                  </a:cubicBezTo>
                  <a:cubicBezTo>
                    <a:pt x="2364" y="1516"/>
                    <a:pt x="2395" y="1532"/>
                    <a:pt x="2372" y="1485"/>
                  </a:cubicBezTo>
                  <a:cubicBezTo>
                    <a:pt x="2356" y="1445"/>
                    <a:pt x="2324" y="1406"/>
                    <a:pt x="2324" y="1374"/>
                  </a:cubicBezTo>
                  <a:cubicBezTo>
                    <a:pt x="2324" y="1350"/>
                    <a:pt x="2285" y="1366"/>
                    <a:pt x="2261" y="1335"/>
                  </a:cubicBezTo>
                  <a:cubicBezTo>
                    <a:pt x="2237" y="1303"/>
                    <a:pt x="2182" y="1303"/>
                    <a:pt x="2166" y="1271"/>
                  </a:cubicBezTo>
                  <a:cubicBezTo>
                    <a:pt x="2150" y="1240"/>
                    <a:pt x="1929" y="1129"/>
                    <a:pt x="1984" y="1035"/>
                  </a:cubicBezTo>
                  <a:cubicBezTo>
                    <a:pt x="2048" y="940"/>
                    <a:pt x="2079" y="837"/>
                    <a:pt x="2048" y="806"/>
                  </a:cubicBezTo>
                  <a:cubicBezTo>
                    <a:pt x="2008" y="782"/>
                    <a:pt x="1984" y="766"/>
                    <a:pt x="1984" y="782"/>
                  </a:cubicBezTo>
                  <a:cubicBezTo>
                    <a:pt x="1984" y="798"/>
                    <a:pt x="1961" y="798"/>
                    <a:pt x="1953" y="782"/>
                  </a:cubicBezTo>
                  <a:cubicBezTo>
                    <a:pt x="1945" y="774"/>
                    <a:pt x="1929" y="766"/>
                    <a:pt x="1905" y="774"/>
                  </a:cubicBezTo>
                  <a:cubicBezTo>
                    <a:pt x="1881" y="790"/>
                    <a:pt x="1874" y="814"/>
                    <a:pt x="1850" y="766"/>
                  </a:cubicBezTo>
                  <a:cubicBezTo>
                    <a:pt x="1834" y="719"/>
                    <a:pt x="1834" y="640"/>
                    <a:pt x="1810" y="632"/>
                  </a:cubicBezTo>
                  <a:cubicBezTo>
                    <a:pt x="1787" y="624"/>
                    <a:pt x="1692" y="577"/>
                    <a:pt x="1684" y="537"/>
                  </a:cubicBezTo>
                  <a:cubicBezTo>
                    <a:pt x="1684" y="490"/>
                    <a:pt x="1541" y="395"/>
                    <a:pt x="1534" y="339"/>
                  </a:cubicBezTo>
                  <a:cubicBezTo>
                    <a:pt x="1526" y="284"/>
                    <a:pt x="1526" y="158"/>
                    <a:pt x="1541" y="134"/>
                  </a:cubicBezTo>
                  <a:cubicBezTo>
                    <a:pt x="1510" y="94"/>
                    <a:pt x="1455" y="47"/>
                    <a:pt x="1447" y="31"/>
                  </a:cubicBezTo>
                  <a:cubicBezTo>
                    <a:pt x="1423" y="0"/>
                    <a:pt x="1415" y="15"/>
                    <a:pt x="1415" y="15"/>
                  </a:cubicBezTo>
                  <a:cubicBezTo>
                    <a:pt x="1091" y="63"/>
                    <a:pt x="119" y="79"/>
                    <a:pt x="0" y="79"/>
                  </a:cubicBezTo>
                  <a:cubicBezTo>
                    <a:pt x="0" y="94"/>
                    <a:pt x="0" y="102"/>
                    <a:pt x="8" y="110"/>
                  </a:cubicBezTo>
                  <a:cubicBezTo>
                    <a:pt x="32" y="142"/>
                    <a:pt x="8" y="110"/>
                    <a:pt x="16" y="150"/>
                  </a:cubicBezTo>
                  <a:cubicBezTo>
                    <a:pt x="24" y="181"/>
                    <a:pt x="55" y="197"/>
                    <a:pt x="95" y="229"/>
                  </a:cubicBezTo>
                  <a:cubicBezTo>
                    <a:pt x="127" y="260"/>
                    <a:pt x="103" y="276"/>
                    <a:pt x="103" y="308"/>
                  </a:cubicBezTo>
                  <a:cubicBezTo>
                    <a:pt x="103" y="339"/>
                    <a:pt x="134" y="331"/>
                    <a:pt x="150" y="339"/>
                  </a:cubicBezTo>
                  <a:cubicBezTo>
                    <a:pt x="158" y="355"/>
                    <a:pt x="214" y="403"/>
                    <a:pt x="229" y="426"/>
                  </a:cubicBezTo>
                  <a:cubicBezTo>
                    <a:pt x="253" y="442"/>
                    <a:pt x="253" y="426"/>
                    <a:pt x="253" y="403"/>
                  </a:cubicBezTo>
                  <a:cubicBezTo>
                    <a:pt x="253" y="379"/>
                    <a:pt x="293" y="387"/>
                    <a:pt x="293" y="411"/>
                  </a:cubicBezTo>
                  <a:cubicBezTo>
                    <a:pt x="293" y="434"/>
                    <a:pt x="316" y="434"/>
                    <a:pt x="324" y="458"/>
                  </a:cubicBezTo>
                  <a:cubicBezTo>
                    <a:pt x="340" y="482"/>
                    <a:pt x="324" y="482"/>
                    <a:pt x="300" y="490"/>
                  </a:cubicBezTo>
                  <a:cubicBezTo>
                    <a:pt x="277" y="497"/>
                    <a:pt x="261" y="521"/>
                    <a:pt x="229" y="553"/>
                  </a:cubicBezTo>
                  <a:cubicBezTo>
                    <a:pt x="205" y="577"/>
                    <a:pt x="253" y="584"/>
                    <a:pt x="293" y="608"/>
                  </a:cubicBezTo>
                  <a:cubicBezTo>
                    <a:pt x="324" y="632"/>
                    <a:pt x="324" y="632"/>
                    <a:pt x="324" y="664"/>
                  </a:cubicBezTo>
                  <a:cubicBezTo>
                    <a:pt x="324" y="695"/>
                    <a:pt x="356" y="703"/>
                    <a:pt x="380" y="727"/>
                  </a:cubicBezTo>
                  <a:cubicBezTo>
                    <a:pt x="395" y="750"/>
                    <a:pt x="435" y="711"/>
                    <a:pt x="427" y="837"/>
                  </a:cubicBezTo>
                  <a:cubicBezTo>
                    <a:pt x="419" y="964"/>
                    <a:pt x="427" y="1777"/>
                    <a:pt x="427" y="1777"/>
                  </a:cubicBezTo>
                  <a:cubicBezTo>
                    <a:pt x="427" y="1777"/>
                    <a:pt x="435" y="1872"/>
                    <a:pt x="451" y="2022"/>
                  </a:cubicBezTo>
                  <a:cubicBezTo>
                    <a:pt x="664" y="2014"/>
                    <a:pt x="1834" y="1975"/>
                    <a:pt x="2095" y="1943"/>
                  </a:cubicBezTo>
                  <a:cubicBezTo>
                    <a:pt x="2095" y="1943"/>
                    <a:pt x="2190" y="1959"/>
                    <a:pt x="2166" y="2022"/>
                  </a:cubicBezTo>
                  <a:cubicBezTo>
                    <a:pt x="2150" y="2093"/>
                    <a:pt x="2119" y="2109"/>
                    <a:pt x="2095" y="2141"/>
                  </a:cubicBezTo>
                  <a:cubicBezTo>
                    <a:pt x="2079" y="2172"/>
                    <a:pt x="2079" y="2196"/>
                    <a:pt x="2127" y="2188"/>
                  </a:cubicBezTo>
                  <a:cubicBezTo>
                    <a:pt x="2158" y="2180"/>
                    <a:pt x="2261" y="2172"/>
                    <a:pt x="2324" y="2172"/>
                  </a:cubicBezTo>
                  <a:cubicBezTo>
                    <a:pt x="2324" y="2164"/>
                    <a:pt x="2324" y="2164"/>
                    <a:pt x="2316" y="2157"/>
                  </a:cubicBezTo>
                  <a:cubicBezTo>
                    <a:pt x="2308" y="2133"/>
                    <a:pt x="2293" y="2125"/>
                    <a:pt x="2316" y="2109"/>
                  </a:cubicBezTo>
                  <a:cubicBezTo>
                    <a:pt x="2332" y="2093"/>
                    <a:pt x="2308" y="2046"/>
                    <a:pt x="2332" y="2030"/>
                  </a:cubicBezTo>
                  <a:cubicBezTo>
                    <a:pt x="2364" y="2006"/>
                    <a:pt x="2348" y="1991"/>
                    <a:pt x="2364" y="1967"/>
                  </a:cubicBezTo>
                  <a:cubicBezTo>
                    <a:pt x="2372" y="1951"/>
                    <a:pt x="2316" y="1888"/>
                    <a:pt x="2356" y="1896"/>
                  </a:cubicBezTo>
                  <a:cubicBezTo>
                    <a:pt x="2395" y="1904"/>
                    <a:pt x="2411" y="1904"/>
                    <a:pt x="2411" y="1888"/>
                  </a:cubicBezTo>
                  <a:cubicBezTo>
                    <a:pt x="2411" y="1880"/>
                    <a:pt x="2435" y="1864"/>
                    <a:pt x="2451" y="1864"/>
                  </a:cubicBezTo>
                  <a:cubicBezTo>
                    <a:pt x="2459" y="1872"/>
                    <a:pt x="2459" y="1888"/>
                    <a:pt x="2474" y="1840"/>
                  </a:cubicBezTo>
                  <a:cubicBezTo>
                    <a:pt x="2490" y="1793"/>
                    <a:pt x="2459" y="1769"/>
                    <a:pt x="2490" y="1769"/>
                  </a:cubicBezTo>
                  <a:cubicBezTo>
                    <a:pt x="2530" y="1769"/>
                    <a:pt x="2506" y="1682"/>
                    <a:pt x="2498" y="1674"/>
                  </a:cubicBezTo>
                </a:path>
              </a:pathLst>
            </a:custGeom>
            <a:solidFill>
              <a:schemeClr val="accent6"/>
            </a:solidFill>
            <a:ln>
              <a:solidFill>
                <a:schemeClr val="bg2"/>
              </a:solidFill>
            </a:ln>
            <a:effectLst/>
          </p:spPr>
          <p:txBody>
            <a:bodyPr wrap="none" anchor="ctr"/>
            <a:lstStyle/>
            <a:p>
              <a:endParaRPr lang="en-US"/>
            </a:p>
          </p:txBody>
        </p:sp>
        <p:sp>
          <p:nvSpPr>
            <p:cNvPr id="67" name="Freeform 586"/>
            <p:cNvSpPr>
              <a:spLocks noChangeArrowheads="1"/>
            </p:cNvSpPr>
            <p:nvPr/>
          </p:nvSpPr>
          <p:spPr bwMode="auto">
            <a:xfrm>
              <a:off x="5042756" y="3768440"/>
              <a:ext cx="1135433" cy="345656"/>
            </a:xfrm>
            <a:custGeom>
              <a:avLst/>
              <a:gdLst>
                <a:gd name="T0" fmla="*/ 2340 w 3148"/>
                <a:gd name="T1" fmla="*/ 751 h 1108"/>
                <a:gd name="T2" fmla="*/ 2340 w 3148"/>
                <a:gd name="T3" fmla="*/ 751 h 1108"/>
                <a:gd name="T4" fmla="*/ 2340 w 3148"/>
                <a:gd name="T5" fmla="*/ 664 h 1108"/>
                <a:gd name="T6" fmla="*/ 2419 w 3148"/>
                <a:gd name="T7" fmla="*/ 617 h 1108"/>
                <a:gd name="T8" fmla="*/ 2530 w 3148"/>
                <a:gd name="T9" fmla="*/ 593 h 1108"/>
                <a:gd name="T10" fmla="*/ 2680 w 3148"/>
                <a:gd name="T11" fmla="*/ 459 h 1108"/>
                <a:gd name="T12" fmla="*/ 2720 w 3148"/>
                <a:gd name="T13" fmla="*/ 395 h 1108"/>
                <a:gd name="T14" fmla="*/ 2791 w 3148"/>
                <a:gd name="T15" fmla="*/ 356 h 1108"/>
                <a:gd name="T16" fmla="*/ 2807 w 3148"/>
                <a:gd name="T17" fmla="*/ 309 h 1108"/>
                <a:gd name="T18" fmla="*/ 2862 w 3148"/>
                <a:gd name="T19" fmla="*/ 348 h 1108"/>
                <a:gd name="T20" fmla="*/ 2917 w 3148"/>
                <a:gd name="T21" fmla="*/ 245 h 1108"/>
                <a:gd name="T22" fmla="*/ 3004 w 3148"/>
                <a:gd name="T23" fmla="*/ 261 h 1108"/>
                <a:gd name="T24" fmla="*/ 3076 w 3148"/>
                <a:gd name="T25" fmla="*/ 174 h 1108"/>
                <a:gd name="T26" fmla="*/ 3131 w 3148"/>
                <a:gd name="T27" fmla="*/ 111 h 1108"/>
                <a:gd name="T28" fmla="*/ 3139 w 3148"/>
                <a:gd name="T29" fmla="*/ 0 h 1108"/>
                <a:gd name="T30" fmla="*/ 2981 w 3148"/>
                <a:gd name="T31" fmla="*/ 24 h 1108"/>
                <a:gd name="T32" fmla="*/ 941 w 3148"/>
                <a:gd name="T33" fmla="*/ 253 h 1108"/>
                <a:gd name="T34" fmla="*/ 894 w 3148"/>
                <a:gd name="T35" fmla="*/ 285 h 1108"/>
                <a:gd name="T36" fmla="*/ 838 w 3148"/>
                <a:gd name="T37" fmla="*/ 261 h 1108"/>
                <a:gd name="T38" fmla="*/ 759 w 3148"/>
                <a:gd name="T39" fmla="*/ 269 h 1108"/>
                <a:gd name="T40" fmla="*/ 759 w 3148"/>
                <a:gd name="T41" fmla="*/ 356 h 1108"/>
                <a:gd name="T42" fmla="*/ 261 w 3148"/>
                <a:gd name="T43" fmla="*/ 372 h 1108"/>
                <a:gd name="T44" fmla="*/ 206 w 3148"/>
                <a:gd name="T45" fmla="*/ 372 h 1108"/>
                <a:gd name="T46" fmla="*/ 214 w 3148"/>
                <a:gd name="T47" fmla="*/ 443 h 1108"/>
                <a:gd name="T48" fmla="*/ 182 w 3148"/>
                <a:gd name="T49" fmla="*/ 506 h 1108"/>
                <a:gd name="T50" fmla="*/ 166 w 3148"/>
                <a:gd name="T51" fmla="*/ 585 h 1108"/>
                <a:gd name="T52" fmla="*/ 166 w 3148"/>
                <a:gd name="T53" fmla="*/ 633 h 1108"/>
                <a:gd name="T54" fmla="*/ 111 w 3148"/>
                <a:gd name="T55" fmla="*/ 759 h 1108"/>
                <a:gd name="T56" fmla="*/ 103 w 3148"/>
                <a:gd name="T57" fmla="*/ 815 h 1108"/>
                <a:gd name="T58" fmla="*/ 79 w 3148"/>
                <a:gd name="T59" fmla="*/ 838 h 1108"/>
                <a:gd name="T60" fmla="*/ 48 w 3148"/>
                <a:gd name="T61" fmla="*/ 893 h 1108"/>
                <a:gd name="T62" fmla="*/ 24 w 3148"/>
                <a:gd name="T63" fmla="*/ 949 h 1108"/>
                <a:gd name="T64" fmla="*/ 79 w 3148"/>
                <a:gd name="T65" fmla="*/ 1004 h 1108"/>
                <a:gd name="T66" fmla="*/ 40 w 3148"/>
                <a:gd name="T67" fmla="*/ 1059 h 1108"/>
                <a:gd name="T68" fmla="*/ 0 w 3148"/>
                <a:gd name="T69" fmla="*/ 1107 h 1108"/>
                <a:gd name="T70" fmla="*/ 2246 w 3148"/>
                <a:gd name="T71" fmla="*/ 893 h 1108"/>
                <a:gd name="T72" fmla="*/ 2246 w 3148"/>
                <a:gd name="T73" fmla="*/ 783 h 1108"/>
                <a:gd name="T74" fmla="*/ 2340 w 3148"/>
                <a:gd name="T75" fmla="*/ 751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48" h="1108">
                  <a:moveTo>
                    <a:pt x="2340" y="751"/>
                  </a:moveTo>
                  <a:lnTo>
                    <a:pt x="2340" y="751"/>
                  </a:lnTo>
                  <a:cubicBezTo>
                    <a:pt x="2356" y="728"/>
                    <a:pt x="2348" y="696"/>
                    <a:pt x="2340" y="664"/>
                  </a:cubicBezTo>
                  <a:cubicBezTo>
                    <a:pt x="2333" y="633"/>
                    <a:pt x="2356" y="656"/>
                    <a:pt x="2419" y="617"/>
                  </a:cubicBezTo>
                  <a:cubicBezTo>
                    <a:pt x="2475" y="569"/>
                    <a:pt x="2499" y="625"/>
                    <a:pt x="2530" y="593"/>
                  </a:cubicBezTo>
                  <a:cubicBezTo>
                    <a:pt x="2562" y="562"/>
                    <a:pt x="2641" y="467"/>
                    <a:pt x="2680" y="459"/>
                  </a:cubicBezTo>
                  <a:cubicBezTo>
                    <a:pt x="2720" y="459"/>
                    <a:pt x="2720" y="411"/>
                    <a:pt x="2720" y="395"/>
                  </a:cubicBezTo>
                  <a:cubicBezTo>
                    <a:pt x="2720" y="372"/>
                    <a:pt x="2775" y="380"/>
                    <a:pt x="2791" y="356"/>
                  </a:cubicBezTo>
                  <a:cubicBezTo>
                    <a:pt x="2807" y="332"/>
                    <a:pt x="2783" y="309"/>
                    <a:pt x="2807" y="309"/>
                  </a:cubicBezTo>
                  <a:cubicBezTo>
                    <a:pt x="2830" y="309"/>
                    <a:pt x="2815" y="356"/>
                    <a:pt x="2862" y="348"/>
                  </a:cubicBezTo>
                  <a:cubicBezTo>
                    <a:pt x="2910" y="340"/>
                    <a:pt x="2878" y="285"/>
                    <a:pt x="2917" y="245"/>
                  </a:cubicBezTo>
                  <a:cubicBezTo>
                    <a:pt x="2965" y="206"/>
                    <a:pt x="3004" y="245"/>
                    <a:pt x="3004" y="261"/>
                  </a:cubicBezTo>
                  <a:cubicBezTo>
                    <a:pt x="3012" y="285"/>
                    <a:pt x="3060" y="222"/>
                    <a:pt x="3076" y="174"/>
                  </a:cubicBezTo>
                  <a:cubicBezTo>
                    <a:pt x="3091" y="127"/>
                    <a:pt x="3107" y="150"/>
                    <a:pt x="3131" y="111"/>
                  </a:cubicBezTo>
                  <a:cubicBezTo>
                    <a:pt x="3147" y="79"/>
                    <a:pt x="3139" y="32"/>
                    <a:pt x="3139" y="0"/>
                  </a:cubicBezTo>
                  <a:cubicBezTo>
                    <a:pt x="3099" y="0"/>
                    <a:pt x="3036" y="8"/>
                    <a:pt x="2981" y="24"/>
                  </a:cubicBezTo>
                  <a:cubicBezTo>
                    <a:pt x="2910" y="32"/>
                    <a:pt x="1637" y="222"/>
                    <a:pt x="941" y="253"/>
                  </a:cubicBezTo>
                  <a:cubicBezTo>
                    <a:pt x="941" y="253"/>
                    <a:pt x="901" y="261"/>
                    <a:pt x="894" y="285"/>
                  </a:cubicBezTo>
                  <a:cubicBezTo>
                    <a:pt x="886" y="301"/>
                    <a:pt x="862" y="277"/>
                    <a:pt x="838" y="261"/>
                  </a:cubicBezTo>
                  <a:cubicBezTo>
                    <a:pt x="823" y="253"/>
                    <a:pt x="759" y="245"/>
                    <a:pt x="759" y="269"/>
                  </a:cubicBezTo>
                  <a:cubicBezTo>
                    <a:pt x="759" y="293"/>
                    <a:pt x="791" y="348"/>
                    <a:pt x="759" y="356"/>
                  </a:cubicBezTo>
                  <a:cubicBezTo>
                    <a:pt x="728" y="356"/>
                    <a:pt x="356" y="388"/>
                    <a:pt x="261" y="372"/>
                  </a:cubicBezTo>
                  <a:cubicBezTo>
                    <a:pt x="253" y="380"/>
                    <a:pt x="237" y="380"/>
                    <a:pt x="206" y="372"/>
                  </a:cubicBezTo>
                  <a:cubicBezTo>
                    <a:pt x="166" y="364"/>
                    <a:pt x="222" y="427"/>
                    <a:pt x="214" y="443"/>
                  </a:cubicBezTo>
                  <a:cubicBezTo>
                    <a:pt x="198" y="467"/>
                    <a:pt x="214" y="482"/>
                    <a:pt x="182" y="506"/>
                  </a:cubicBezTo>
                  <a:cubicBezTo>
                    <a:pt x="158" y="522"/>
                    <a:pt x="182" y="569"/>
                    <a:pt x="166" y="585"/>
                  </a:cubicBezTo>
                  <a:cubicBezTo>
                    <a:pt x="143" y="601"/>
                    <a:pt x="158" y="609"/>
                    <a:pt x="166" y="633"/>
                  </a:cubicBezTo>
                  <a:cubicBezTo>
                    <a:pt x="174" y="664"/>
                    <a:pt x="143" y="751"/>
                    <a:pt x="111" y="759"/>
                  </a:cubicBezTo>
                  <a:cubicBezTo>
                    <a:pt x="79" y="767"/>
                    <a:pt x="119" y="799"/>
                    <a:pt x="103" y="815"/>
                  </a:cubicBezTo>
                  <a:cubicBezTo>
                    <a:pt x="87" y="830"/>
                    <a:pt x="79" y="815"/>
                    <a:pt x="79" y="838"/>
                  </a:cubicBezTo>
                  <a:cubicBezTo>
                    <a:pt x="71" y="862"/>
                    <a:pt x="71" y="886"/>
                    <a:pt x="48" y="893"/>
                  </a:cubicBezTo>
                  <a:cubicBezTo>
                    <a:pt x="16" y="909"/>
                    <a:pt x="24" y="925"/>
                    <a:pt x="24" y="949"/>
                  </a:cubicBezTo>
                  <a:cubicBezTo>
                    <a:pt x="24" y="973"/>
                    <a:pt x="64" y="957"/>
                    <a:pt x="79" y="1004"/>
                  </a:cubicBezTo>
                  <a:cubicBezTo>
                    <a:pt x="87" y="1052"/>
                    <a:pt x="64" y="1044"/>
                    <a:pt x="40" y="1059"/>
                  </a:cubicBezTo>
                  <a:cubicBezTo>
                    <a:pt x="8" y="1075"/>
                    <a:pt x="0" y="1107"/>
                    <a:pt x="0" y="1107"/>
                  </a:cubicBezTo>
                  <a:cubicBezTo>
                    <a:pt x="593" y="1083"/>
                    <a:pt x="1645" y="957"/>
                    <a:pt x="2246" y="893"/>
                  </a:cubicBezTo>
                  <a:cubicBezTo>
                    <a:pt x="2246" y="846"/>
                    <a:pt x="2246" y="791"/>
                    <a:pt x="2246" y="783"/>
                  </a:cubicBezTo>
                  <a:cubicBezTo>
                    <a:pt x="2246" y="759"/>
                    <a:pt x="2317" y="767"/>
                    <a:pt x="2340" y="751"/>
                  </a:cubicBezTo>
                </a:path>
              </a:pathLst>
            </a:custGeom>
            <a:solidFill>
              <a:schemeClr val="accent6"/>
            </a:solidFill>
            <a:ln>
              <a:solidFill>
                <a:schemeClr val="bg2"/>
              </a:solidFill>
            </a:ln>
            <a:effectLst/>
          </p:spPr>
          <p:txBody>
            <a:bodyPr wrap="none" anchor="ctr"/>
            <a:lstStyle/>
            <a:p>
              <a:endParaRPr lang="en-US"/>
            </a:p>
          </p:txBody>
        </p:sp>
        <p:sp>
          <p:nvSpPr>
            <p:cNvPr id="68" name="Freeform 587"/>
            <p:cNvSpPr>
              <a:spLocks noChangeArrowheads="1"/>
            </p:cNvSpPr>
            <p:nvPr/>
          </p:nvSpPr>
          <p:spPr bwMode="auto">
            <a:xfrm>
              <a:off x="5041165" y="3765686"/>
              <a:ext cx="1137023" cy="348410"/>
            </a:xfrm>
            <a:custGeom>
              <a:avLst/>
              <a:gdLst>
                <a:gd name="T0" fmla="*/ 0 w 3155"/>
                <a:gd name="T1" fmla="*/ 1115 h 1116"/>
                <a:gd name="T2" fmla="*/ 78 w 3155"/>
                <a:gd name="T3" fmla="*/ 1012 h 1116"/>
                <a:gd name="T4" fmla="*/ 31 w 3155"/>
                <a:gd name="T5" fmla="*/ 941 h 1116"/>
                <a:gd name="T6" fmla="*/ 78 w 3155"/>
                <a:gd name="T7" fmla="*/ 846 h 1116"/>
                <a:gd name="T8" fmla="*/ 102 w 3155"/>
                <a:gd name="T9" fmla="*/ 799 h 1116"/>
                <a:gd name="T10" fmla="*/ 150 w 3155"/>
                <a:gd name="T11" fmla="*/ 728 h 1116"/>
                <a:gd name="T12" fmla="*/ 173 w 3155"/>
                <a:gd name="T13" fmla="*/ 585 h 1116"/>
                <a:gd name="T14" fmla="*/ 205 w 3155"/>
                <a:gd name="T15" fmla="*/ 475 h 1116"/>
                <a:gd name="T16" fmla="*/ 197 w 3155"/>
                <a:gd name="T17" fmla="*/ 380 h 1116"/>
                <a:gd name="T18" fmla="*/ 268 w 3155"/>
                <a:gd name="T19" fmla="*/ 380 h 1116"/>
                <a:gd name="T20" fmla="*/ 750 w 3155"/>
                <a:gd name="T21" fmla="*/ 356 h 1116"/>
                <a:gd name="T22" fmla="*/ 766 w 3155"/>
                <a:gd name="T23" fmla="*/ 309 h 1116"/>
                <a:gd name="T24" fmla="*/ 853 w 3155"/>
                <a:gd name="T25" fmla="*/ 269 h 1116"/>
                <a:gd name="T26" fmla="*/ 901 w 3155"/>
                <a:gd name="T27" fmla="*/ 285 h 1116"/>
                <a:gd name="T28" fmla="*/ 2988 w 3155"/>
                <a:gd name="T29" fmla="*/ 24 h 1116"/>
                <a:gd name="T30" fmla="*/ 3146 w 3155"/>
                <a:gd name="T31" fmla="*/ 8 h 1116"/>
                <a:gd name="T32" fmla="*/ 3083 w 3155"/>
                <a:gd name="T33" fmla="*/ 182 h 1116"/>
                <a:gd name="T34" fmla="*/ 2964 w 3155"/>
                <a:gd name="T35" fmla="*/ 237 h 1116"/>
                <a:gd name="T36" fmla="*/ 2869 w 3155"/>
                <a:gd name="T37" fmla="*/ 364 h 1116"/>
                <a:gd name="T38" fmla="*/ 2806 w 3155"/>
                <a:gd name="T39" fmla="*/ 324 h 1116"/>
                <a:gd name="T40" fmla="*/ 2758 w 3155"/>
                <a:gd name="T41" fmla="*/ 388 h 1116"/>
                <a:gd name="T42" fmla="*/ 2569 w 3155"/>
                <a:gd name="T43" fmla="*/ 577 h 1116"/>
                <a:gd name="T44" fmla="*/ 2498 w 3155"/>
                <a:gd name="T45" fmla="*/ 609 h 1116"/>
                <a:gd name="T46" fmla="*/ 2363 w 3155"/>
                <a:gd name="T47" fmla="*/ 656 h 1116"/>
                <a:gd name="T48" fmla="*/ 2347 w 3155"/>
                <a:gd name="T49" fmla="*/ 759 h 1116"/>
                <a:gd name="T50" fmla="*/ 2260 w 3155"/>
                <a:gd name="T51" fmla="*/ 838 h 1116"/>
                <a:gd name="T52" fmla="*/ 2253 w 3155"/>
                <a:gd name="T53" fmla="*/ 901 h 1116"/>
                <a:gd name="T54" fmla="*/ 205 w 3155"/>
                <a:gd name="T55" fmla="*/ 380 h 1116"/>
                <a:gd name="T56" fmla="*/ 213 w 3155"/>
                <a:gd name="T57" fmla="*/ 411 h 1116"/>
                <a:gd name="T58" fmla="*/ 197 w 3155"/>
                <a:gd name="T59" fmla="*/ 514 h 1116"/>
                <a:gd name="T60" fmla="*/ 173 w 3155"/>
                <a:gd name="T61" fmla="*/ 625 h 1116"/>
                <a:gd name="T62" fmla="*/ 118 w 3155"/>
                <a:gd name="T63" fmla="*/ 767 h 1116"/>
                <a:gd name="T64" fmla="*/ 110 w 3155"/>
                <a:gd name="T65" fmla="*/ 823 h 1116"/>
                <a:gd name="T66" fmla="*/ 86 w 3155"/>
                <a:gd name="T67" fmla="*/ 854 h 1116"/>
                <a:gd name="T68" fmla="*/ 39 w 3155"/>
                <a:gd name="T69" fmla="*/ 957 h 1116"/>
                <a:gd name="T70" fmla="*/ 63 w 3155"/>
                <a:gd name="T71" fmla="*/ 1060 h 1116"/>
                <a:gd name="T72" fmla="*/ 2253 w 3155"/>
                <a:gd name="T73" fmla="*/ 894 h 1116"/>
                <a:gd name="T74" fmla="*/ 2300 w 3155"/>
                <a:gd name="T75" fmla="*/ 767 h 1116"/>
                <a:gd name="T76" fmla="*/ 2347 w 3155"/>
                <a:gd name="T77" fmla="*/ 672 h 1116"/>
                <a:gd name="T78" fmla="*/ 2474 w 3155"/>
                <a:gd name="T79" fmla="*/ 601 h 1116"/>
                <a:gd name="T80" fmla="*/ 2537 w 3155"/>
                <a:gd name="T81" fmla="*/ 601 h 1116"/>
                <a:gd name="T82" fmla="*/ 2727 w 3155"/>
                <a:gd name="T83" fmla="*/ 403 h 1116"/>
                <a:gd name="T84" fmla="*/ 2798 w 3155"/>
                <a:gd name="T85" fmla="*/ 332 h 1116"/>
                <a:gd name="T86" fmla="*/ 2837 w 3155"/>
                <a:gd name="T87" fmla="*/ 332 h 1116"/>
                <a:gd name="T88" fmla="*/ 2924 w 3155"/>
                <a:gd name="T89" fmla="*/ 253 h 1116"/>
                <a:gd name="T90" fmla="*/ 3019 w 3155"/>
                <a:gd name="T91" fmla="*/ 269 h 1116"/>
                <a:gd name="T92" fmla="*/ 3130 w 3155"/>
                <a:gd name="T93" fmla="*/ 119 h 1116"/>
                <a:gd name="T94" fmla="*/ 948 w 3155"/>
                <a:gd name="T95" fmla="*/ 261 h 1116"/>
                <a:gd name="T96" fmla="*/ 853 w 3155"/>
                <a:gd name="T97" fmla="*/ 277 h 1116"/>
                <a:gd name="T98" fmla="*/ 766 w 3155"/>
                <a:gd name="T99" fmla="*/ 277 h 1116"/>
                <a:gd name="T100" fmla="*/ 766 w 3155"/>
                <a:gd name="T101" fmla="*/ 364 h 1116"/>
                <a:gd name="T102" fmla="*/ 268 w 3155"/>
                <a:gd name="T103" fmla="*/ 388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55" h="1116">
                  <a:moveTo>
                    <a:pt x="0" y="1115"/>
                  </a:moveTo>
                  <a:lnTo>
                    <a:pt x="0" y="1115"/>
                  </a:lnTo>
                  <a:lnTo>
                    <a:pt x="0" y="1115"/>
                  </a:lnTo>
                  <a:cubicBezTo>
                    <a:pt x="7" y="1115"/>
                    <a:pt x="15" y="1083"/>
                    <a:pt x="39" y="1067"/>
                  </a:cubicBezTo>
                  <a:cubicBezTo>
                    <a:pt x="47" y="1060"/>
                    <a:pt x="55" y="1060"/>
                    <a:pt x="63" y="1052"/>
                  </a:cubicBezTo>
                  <a:cubicBezTo>
                    <a:pt x="78" y="1052"/>
                    <a:pt x="86" y="1044"/>
                    <a:pt x="78" y="1012"/>
                  </a:cubicBezTo>
                  <a:cubicBezTo>
                    <a:pt x="78" y="988"/>
                    <a:pt x="63" y="981"/>
                    <a:pt x="47" y="973"/>
                  </a:cubicBezTo>
                  <a:cubicBezTo>
                    <a:pt x="39" y="973"/>
                    <a:pt x="31" y="965"/>
                    <a:pt x="31" y="957"/>
                  </a:cubicBezTo>
                  <a:cubicBezTo>
                    <a:pt x="31" y="949"/>
                    <a:pt x="31" y="949"/>
                    <a:pt x="31" y="941"/>
                  </a:cubicBezTo>
                  <a:cubicBezTo>
                    <a:pt x="23" y="925"/>
                    <a:pt x="23" y="909"/>
                    <a:pt x="55" y="901"/>
                  </a:cubicBezTo>
                  <a:cubicBezTo>
                    <a:pt x="78" y="886"/>
                    <a:pt x="78" y="878"/>
                    <a:pt x="78" y="854"/>
                  </a:cubicBezTo>
                  <a:lnTo>
                    <a:pt x="78" y="846"/>
                  </a:lnTo>
                  <a:cubicBezTo>
                    <a:pt x="86" y="830"/>
                    <a:pt x="86" y="830"/>
                    <a:pt x="94" y="830"/>
                  </a:cubicBezTo>
                  <a:lnTo>
                    <a:pt x="102" y="823"/>
                  </a:lnTo>
                  <a:cubicBezTo>
                    <a:pt x="110" y="814"/>
                    <a:pt x="110" y="807"/>
                    <a:pt x="102" y="799"/>
                  </a:cubicBezTo>
                  <a:cubicBezTo>
                    <a:pt x="102" y="791"/>
                    <a:pt x="102" y="783"/>
                    <a:pt x="102" y="775"/>
                  </a:cubicBezTo>
                  <a:cubicBezTo>
                    <a:pt x="110" y="767"/>
                    <a:pt x="110" y="767"/>
                    <a:pt x="118" y="767"/>
                  </a:cubicBezTo>
                  <a:cubicBezTo>
                    <a:pt x="126" y="759"/>
                    <a:pt x="142" y="751"/>
                    <a:pt x="150" y="728"/>
                  </a:cubicBezTo>
                  <a:cubicBezTo>
                    <a:pt x="165" y="696"/>
                    <a:pt x="181" y="664"/>
                    <a:pt x="173" y="648"/>
                  </a:cubicBezTo>
                  <a:cubicBezTo>
                    <a:pt x="173" y="641"/>
                    <a:pt x="165" y="633"/>
                    <a:pt x="165" y="625"/>
                  </a:cubicBezTo>
                  <a:cubicBezTo>
                    <a:pt x="158" y="609"/>
                    <a:pt x="158" y="601"/>
                    <a:pt x="173" y="585"/>
                  </a:cubicBezTo>
                  <a:cubicBezTo>
                    <a:pt x="181" y="585"/>
                    <a:pt x="173" y="570"/>
                    <a:pt x="173" y="554"/>
                  </a:cubicBezTo>
                  <a:cubicBezTo>
                    <a:pt x="173" y="538"/>
                    <a:pt x="173" y="522"/>
                    <a:pt x="189" y="506"/>
                  </a:cubicBezTo>
                  <a:cubicBezTo>
                    <a:pt x="205" y="498"/>
                    <a:pt x="205" y="483"/>
                    <a:pt x="205" y="475"/>
                  </a:cubicBezTo>
                  <a:cubicBezTo>
                    <a:pt x="213" y="467"/>
                    <a:pt x="213" y="459"/>
                    <a:pt x="213" y="451"/>
                  </a:cubicBezTo>
                  <a:cubicBezTo>
                    <a:pt x="213" y="443"/>
                    <a:pt x="213" y="427"/>
                    <a:pt x="205" y="419"/>
                  </a:cubicBezTo>
                  <a:cubicBezTo>
                    <a:pt x="197" y="403"/>
                    <a:pt x="189" y="388"/>
                    <a:pt x="197" y="380"/>
                  </a:cubicBezTo>
                  <a:cubicBezTo>
                    <a:pt x="197" y="372"/>
                    <a:pt x="205" y="372"/>
                    <a:pt x="213" y="372"/>
                  </a:cubicBezTo>
                  <a:cubicBezTo>
                    <a:pt x="244" y="380"/>
                    <a:pt x="260" y="388"/>
                    <a:pt x="268" y="380"/>
                  </a:cubicBezTo>
                  <a:lnTo>
                    <a:pt x="268" y="380"/>
                  </a:lnTo>
                  <a:lnTo>
                    <a:pt x="268" y="380"/>
                  </a:lnTo>
                  <a:cubicBezTo>
                    <a:pt x="284" y="380"/>
                    <a:pt x="300" y="380"/>
                    <a:pt x="331" y="380"/>
                  </a:cubicBezTo>
                  <a:cubicBezTo>
                    <a:pt x="411" y="380"/>
                    <a:pt x="553" y="372"/>
                    <a:pt x="750" y="356"/>
                  </a:cubicBezTo>
                  <a:cubicBezTo>
                    <a:pt x="758" y="356"/>
                    <a:pt x="758" y="356"/>
                    <a:pt x="766" y="356"/>
                  </a:cubicBezTo>
                  <a:cubicBezTo>
                    <a:pt x="766" y="356"/>
                    <a:pt x="774" y="356"/>
                    <a:pt x="774" y="348"/>
                  </a:cubicBezTo>
                  <a:cubicBezTo>
                    <a:pt x="782" y="340"/>
                    <a:pt x="774" y="324"/>
                    <a:pt x="766" y="309"/>
                  </a:cubicBezTo>
                  <a:cubicBezTo>
                    <a:pt x="766" y="293"/>
                    <a:pt x="758" y="285"/>
                    <a:pt x="758" y="277"/>
                  </a:cubicBezTo>
                  <a:cubicBezTo>
                    <a:pt x="758" y="269"/>
                    <a:pt x="774" y="261"/>
                    <a:pt x="798" y="261"/>
                  </a:cubicBezTo>
                  <a:cubicBezTo>
                    <a:pt x="822" y="261"/>
                    <a:pt x="837" y="261"/>
                    <a:pt x="853" y="269"/>
                  </a:cubicBezTo>
                  <a:cubicBezTo>
                    <a:pt x="853" y="269"/>
                    <a:pt x="853" y="277"/>
                    <a:pt x="861" y="277"/>
                  </a:cubicBezTo>
                  <a:cubicBezTo>
                    <a:pt x="869" y="285"/>
                    <a:pt x="885" y="293"/>
                    <a:pt x="893" y="293"/>
                  </a:cubicBezTo>
                  <a:cubicBezTo>
                    <a:pt x="893" y="293"/>
                    <a:pt x="893" y="293"/>
                    <a:pt x="901" y="285"/>
                  </a:cubicBezTo>
                  <a:cubicBezTo>
                    <a:pt x="908" y="269"/>
                    <a:pt x="948" y="253"/>
                    <a:pt x="948" y="253"/>
                  </a:cubicBezTo>
                  <a:lnTo>
                    <a:pt x="948" y="253"/>
                  </a:lnTo>
                  <a:cubicBezTo>
                    <a:pt x="1628" y="222"/>
                    <a:pt x="2909" y="40"/>
                    <a:pt x="2988" y="24"/>
                  </a:cubicBezTo>
                  <a:cubicBezTo>
                    <a:pt x="3059" y="8"/>
                    <a:pt x="3114" y="8"/>
                    <a:pt x="3146" y="0"/>
                  </a:cubicBezTo>
                  <a:lnTo>
                    <a:pt x="3146" y="0"/>
                  </a:lnTo>
                  <a:cubicBezTo>
                    <a:pt x="3146" y="8"/>
                    <a:pt x="3146" y="8"/>
                    <a:pt x="3146" y="8"/>
                  </a:cubicBezTo>
                  <a:cubicBezTo>
                    <a:pt x="3154" y="40"/>
                    <a:pt x="3154" y="87"/>
                    <a:pt x="3138" y="119"/>
                  </a:cubicBezTo>
                  <a:cubicBezTo>
                    <a:pt x="3130" y="143"/>
                    <a:pt x="3114" y="150"/>
                    <a:pt x="3106" y="150"/>
                  </a:cubicBezTo>
                  <a:cubicBezTo>
                    <a:pt x="3098" y="158"/>
                    <a:pt x="3090" y="158"/>
                    <a:pt x="3083" y="182"/>
                  </a:cubicBezTo>
                  <a:cubicBezTo>
                    <a:pt x="3075" y="222"/>
                    <a:pt x="3035" y="277"/>
                    <a:pt x="3019" y="277"/>
                  </a:cubicBezTo>
                  <a:lnTo>
                    <a:pt x="3011" y="277"/>
                  </a:lnTo>
                  <a:cubicBezTo>
                    <a:pt x="3011" y="261"/>
                    <a:pt x="2988" y="237"/>
                    <a:pt x="2964" y="237"/>
                  </a:cubicBezTo>
                  <a:cubicBezTo>
                    <a:pt x="2948" y="237"/>
                    <a:pt x="2940" y="245"/>
                    <a:pt x="2932" y="253"/>
                  </a:cubicBezTo>
                  <a:cubicBezTo>
                    <a:pt x="2909" y="277"/>
                    <a:pt x="2909" y="293"/>
                    <a:pt x="2909" y="317"/>
                  </a:cubicBezTo>
                  <a:cubicBezTo>
                    <a:pt x="2901" y="340"/>
                    <a:pt x="2901" y="356"/>
                    <a:pt x="2869" y="364"/>
                  </a:cubicBezTo>
                  <a:cubicBezTo>
                    <a:pt x="2837" y="364"/>
                    <a:pt x="2830" y="348"/>
                    <a:pt x="2830" y="332"/>
                  </a:cubicBezTo>
                  <a:cubicBezTo>
                    <a:pt x="2822" y="324"/>
                    <a:pt x="2822" y="324"/>
                    <a:pt x="2814" y="324"/>
                  </a:cubicBezTo>
                  <a:lnTo>
                    <a:pt x="2806" y="324"/>
                  </a:lnTo>
                  <a:lnTo>
                    <a:pt x="2806" y="332"/>
                  </a:lnTo>
                  <a:cubicBezTo>
                    <a:pt x="2806" y="340"/>
                    <a:pt x="2806" y="356"/>
                    <a:pt x="2798" y="364"/>
                  </a:cubicBezTo>
                  <a:cubicBezTo>
                    <a:pt x="2790" y="380"/>
                    <a:pt x="2774" y="380"/>
                    <a:pt x="2758" y="388"/>
                  </a:cubicBezTo>
                  <a:cubicBezTo>
                    <a:pt x="2743" y="388"/>
                    <a:pt x="2735" y="388"/>
                    <a:pt x="2735" y="403"/>
                  </a:cubicBezTo>
                  <a:cubicBezTo>
                    <a:pt x="2735" y="443"/>
                    <a:pt x="2719" y="475"/>
                    <a:pt x="2687" y="475"/>
                  </a:cubicBezTo>
                  <a:cubicBezTo>
                    <a:pt x="2656" y="475"/>
                    <a:pt x="2608" y="538"/>
                    <a:pt x="2569" y="577"/>
                  </a:cubicBezTo>
                  <a:cubicBezTo>
                    <a:pt x="2561" y="585"/>
                    <a:pt x="2553" y="593"/>
                    <a:pt x="2545" y="601"/>
                  </a:cubicBezTo>
                  <a:cubicBezTo>
                    <a:pt x="2537" y="609"/>
                    <a:pt x="2529" y="617"/>
                    <a:pt x="2513" y="617"/>
                  </a:cubicBezTo>
                  <a:cubicBezTo>
                    <a:pt x="2513" y="617"/>
                    <a:pt x="2506" y="609"/>
                    <a:pt x="2498" y="609"/>
                  </a:cubicBezTo>
                  <a:cubicBezTo>
                    <a:pt x="2490" y="609"/>
                    <a:pt x="2482" y="609"/>
                    <a:pt x="2474" y="609"/>
                  </a:cubicBezTo>
                  <a:cubicBezTo>
                    <a:pt x="2458" y="609"/>
                    <a:pt x="2442" y="617"/>
                    <a:pt x="2426" y="625"/>
                  </a:cubicBezTo>
                  <a:cubicBezTo>
                    <a:pt x="2395" y="648"/>
                    <a:pt x="2379" y="656"/>
                    <a:pt x="2363" y="656"/>
                  </a:cubicBezTo>
                  <a:cubicBezTo>
                    <a:pt x="2347" y="656"/>
                    <a:pt x="2347" y="656"/>
                    <a:pt x="2347" y="672"/>
                  </a:cubicBezTo>
                  <a:cubicBezTo>
                    <a:pt x="2355" y="680"/>
                    <a:pt x="2355" y="688"/>
                    <a:pt x="2355" y="688"/>
                  </a:cubicBezTo>
                  <a:cubicBezTo>
                    <a:pt x="2363" y="720"/>
                    <a:pt x="2363" y="743"/>
                    <a:pt x="2347" y="759"/>
                  </a:cubicBezTo>
                  <a:cubicBezTo>
                    <a:pt x="2340" y="767"/>
                    <a:pt x="2316" y="775"/>
                    <a:pt x="2300" y="775"/>
                  </a:cubicBezTo>
                  <a:cubicBezTo>
                    <a:pt x="2276" y="775"/>
                    <a:pt x="2260" y="783"/>
                    <a:pt x="2260" y="791"/>
                  </a:cubicBezTo>
                  <a:cubicBezTo>
                    <a:pt x="2260" y="799"/>
                    <a:pt x="2260" y="814"/>
                    <a:pt x="2260" y="838"/>
                  </a:cubicBezTo>
                  <a:cubicBezTo>
                    <a:pt x="2260" y="854"/>
                    <a:pt x="2260" y="878"/>
                    <a:pt x="2260" y="901"/>
                  </a:cubicBezTo>
                  <a:lnTo>
                    <a:pt x="2260" y="901"/>
                  </a:lnTo>
                  <a:cubicBezTo>
                    <a:pt x="2253" y="901"/>
                    <a:pt x="2253" y="901"/>
                    <a:pt x="2253" y="901"/>
                  </a:cubicBezTo>
                  <a:cubicBezTo>
                    <a:pt x="1810" y="957"/>
                    <a:pt x="632" y="1091"/>
                    <a:pt x="7" y="1115"/>
                  </a:cubicBezTo>
                  <a:lnTo>
                    <a:pt x="0" y="1115"/>
                  </a:lnTo>
                  <a:close/>
                  <a:moveTo>
                    <a:pt x="205" y="380"/>
                  </a:moveTo>
                  <a:lnTo>
                    <a:pt x="205" y="380"/>
                  </a:lnTo>
                  <a:cubicBezTo>
                    <a:pt x="205" y="380"/>
                    <a:pt x="205" y="380"/>
                    <a:pt x="197" y="380"/>
                  </a:cubicBezTo>
                  <a:cubicBezTo>
                    <a:pt x="197" y="388"/>
                    <a:pt x="205" y="403"/>
                    <a:pt x="213" y="411"/>
                  </a:cubicBezTo>
                  <a:cubicBezTo>
                    <a:pt x="221" y="427"/>
                    <a:pt x="221" y="443"/>
                    <a:pt x="221" y="459"/>
                  </a:cubicBezTo>
                  <a:cubicBezTo>
                    <a:pt x="221" y="459"/>
                    <a:pt x="221" y="467"/>
                    <a:pt x="213" y="475"/>
                  </a:cubicBezTo>
                  <a:cubicBezTo>
                    <a:pt x="213" y="490"/>
                    <a:pt x="213" y="498"/>
                    <a:pt x="197" y="514"/>
                  </a:cubicBezTo>
                  <a:cubicBezTo>
                    <a:pt x="181" y="522"/>
                    <a:pt x="181" y="538"/>
                    <a:pt x="181" y="554"/>
                  </a:cubicBezTo>
                  <a:cubicBezTo>
                    <a:pt x="181" y="570"/>
                    <a:pt x="181" y="585"/>
                    <a:pt x="173" y="593"/>
                  </a:cubicBezTo>
                  <a:cubicBezTo>
                    <a:pt x="165" y="601"/>
                    <a:pt x="165" y="609"/>
                    <a:pt x="173" y="625"/>
                  </a:cubicBezTo>
                  <a:cubicBezTo>
                    <a:pt x="173" y="625"/>
                    <a:pt x="181" y="633"/>
                    <a:pt x="181" y="641"/>
                  </a:cubicBezTo>
                  <a:cubicBezTo>
                    <a:pt x="189" y="664"/>
                    <a:pt x="173" y="704"/>
                    <a:pt x="158" y="736"/>
                  </a:cubicBezTo>
                  <a:cubicBezTo>
                    <a:pt x="150" y="751"/>
                    <a:pt x="134" y="767"/>
                    <a:pt x="118" y="767"/>
                  </a:cubicBezTo>
                  <a:cubicBezTo>
                    <a:pt x="118" y="775"/>
                    <a:pt x="110" y="775"/>
                    <a:pt x="110" y="775"/>
                  </a:cubicBezTo>
                  <a:cubicBezTo>
                    <a:pt x="110" y="783"/>
                    <a:pt x="110" y="791"/>
                    <a:pt x="110" y="791"/>
                  </a:cubicBezTo>
                  <a:cubicBezTo>
                    <a:pt x="118" y="807"/>
                    <a:pt x="118" y="814"/>
                    <a:pt x="110" y="823"/>
                  </a:cubicBezTo>
                  <a:cubicBezTo>
                    <a:pt x="102" y="830"/>
                    <a:pt x="102" y="830"/>
                    <a:pt x="94" y="838"/>
                  </a:cubicBezTo>
                  <a:cubicBezTo>
                    <a:pt x="94" y="838"/>
                    <a:pt x="94" y="838"/>
                    <a:pt x="86" y="846"/>
                  </a:cubicBezTo>
                  <a:cubicBezTo>
                    <a:pt x="86" y="854"/>
                    <a:pt x="86" y="854"/>
                    <a:pt x="86" y="854"/>
                  </a:cubicBezTo>
                  <a:cubicBezTo>
                    <a:pt x="86" y="878"/>
                    <a:pt x="78" y="894"/>
                    <a:pt x="55" y="909"/>
                  </a:cubicBezTo>
                  <a:cubicBezTo>
                    <a:pt x="31" y="917"/>
                    <a:pt x="31" y="925"/>
                    <a:pt x="39" y="941"/>
                  </a:cubicBezTo>
                  <a:cubicBezTo>
                    <a:pt x="39" y="949"/>
                    <a:pt x="39" y="949"/>
                    <a:pt x="39" y="957"/>
                  </a:cubicBezTo>
                  <a:cubicBezTo>
                    <a:pt x="39" y="957"/>
                    <a:pt x="39" y="965"/>
                    <a:pt x="47" y="965"/>
                  </a:cubicBezTo>
                  <a:cubicBezTo>
                    <a:pt x="63" y="973"/>
                    <a:pt x="78" y="981"/>
                    <a:pt x="86" y="1012"/>
                  </a:cubicBezTo>
                  <a:cubicBezTo>
                    <a:pt x="94" y="1052"/>
                    <a:pt x="86" y="1052"/>
                    <a:pt x="63" y="1060"/>
                  </a:cubicBezTo>
                  <a:cubicBezTo>
                    <a:pt x="63" y="1060"/>
                    <a:pt x="55" y="1067"/>
                    <a:pt x="47" y="1067"/>
                  </a:cubicBezTo>
                  <a:cubicBezTo>
                    <a:pt x="31" y="1083"/>
                    <a:pt x="15" y="1099"/>
                    <a:pt x="15" y="1107"/>
                  </a:cubicBezTo>
                  <a:cubicBezTo>
                    <a:pt x="640" y="1083"/>
                    <a:pt x="1802" y="949"/>
                    <a:pt x="2253" y="894"/>
                  </a:cubicBezTo>
                  <a:cubicBezTo>
                    <a:pt x="2253" y="878"/>
                    <a:pt x="2253" y="854"/>
                    <a:pt x="2253" y="838"/>
                  </a:cubicBezTo>
                  <a:cubicBezTo>
                    <a:pt x="2253" y="814"/>
                    <a:pt x="2253" y="799"/>
                    <a:pt x="2253" y="791"/>
                  </a:cubicBezTo>
                  <a:cubicBezTo>
                    <a:pt x="2253" y="775"/>
                    <a:pt x="2276" y="767"/>
                    <a:pt x="2300" y="767"/>
                  </a:cubicBezTo>
                  <a:cubicBezTo>
                    <a:pt x="2316" y="767"/>
                    <a:pt x="2331" y="759"/>
                    <a:pt x="2340" y="751"/>
                  </a:cubicBezTo>
                  <a:cubicBezTo>
                    <a:pt x="2355" y="736"/>
                    <a:pt x="2355" y="720"/>
                    <a:pt x="2347" y="696"/>
                  </a:cubicBezTo>
                  <a:cubicBezTo>
                    <a:pt x="2347" y="688"/>
                    <a:pt x="2347" y="680"/>
                    <a:pt x="2347" y="672"/>
                  </a:cubicBezTo>
                  <a:cubicBezTo>
                    <a:pt x="2340" y="648"/>
                    <a:pt x="2347" y="648"/>
                    <a:pt x="2363" y="648"/>
                  </a:cubicBezTo>
                  <a:cubicBezTo>
                    <a:pt x="2371" y="648"/>
                    <a:pt x="2395" y="641"/>
                    <a:pt x="2418" y="617"/>
                  </a:cubicBezTo>
                  <a:cubicBezTo>
                    <a:pt x="2442" y="609"/>
                    <a:pt x="2458" y="601"/>
                    <a:pt x="2474" y="601"/>
                  </a:cubicBezTo>
                  <a:cubicBezTo>
                    <a:pt x="2482" y="601"/>
                    <a:pt x="2490" y="601"/>
                    <a:pt x="2498" y="601"/>
                  </a:cubicBezTo>
                  <a:cubicBezTo>
                    <a:pt x="2506" y="609"/>
                    <a:pt x="2513" y="609"/>
                    <a:pt x="2513" y="609"/>
                  </a:cubicBezTo>
                  <a:cubicBezTo>
                    <a:pt x="2521" y="609"/>
                    <a:pt x="2529" y="601"/>
                    <a:pt x="2537" y="601"/>
                  </a:cubicBezTo>
                  <a:cubicBezTo>
                    <a:pt x="2545" y="593"/>
                    <a:pt x="2553" y="577"/>
                    <a:pt x="2561" y="570"/>
                  </a:cubicBezTo>
                  <a:cubicBezTo>
                    <a:pt x="2600" y="530"/>
                    <a:pt x="2656" y="467"/>
                    <a:pt x="2687" y="467"/>
                  </a:cubicBezTo>
                  <a:cubicBezTo>
                    <a:pt x="2711" y="467"/>
                    <a:pt x="2727" y="443"/>
                    <a:pt x="2727" y="403"/>
                  </a:cubicBezTo>
                  <a:cubicBezTo>
                    <a:pt x="2727" y="388"/>
                    <a:pt x="2743" y="380"/>
                    <a:pt x="2758" y="380"/>
                  </a:cubicBezTo>
                  <a:cubicBezTo>
                    <a:pt x="2774" y="372"/>
                    <a:pt x="2782" y="372"/>
                    <a:pt x="2790" y="364"/>
                  </a:cubicBezTo>
                  <a:cubicBezTo>
                    <a:pt x="2798" y="348"/>
                    <a:pt x="2798" y="340"/>
                    <a:pt x="2798" y="332"/>
                  </a:cubicBezTo>
                  <a:cubicBezTo>
                    <a:pt x="2798" y="324"/>
                    <a:pt x="2798" y="324"/>
                    <a:pt x="2798" y="317"/>
                  </a:cubicBezTo>
                  <a:cubicBezTo>
                    <a:pt x="2806" y="317"/>
                    <a:pt x="2806" y="317"/>
                    <a:pt x="2814" y="317"/>
                  </a:cubicBezTo>
                  <a:cubicBezTo>
                    <a:pt x="2830" y="317"/>
                    <a:pt x="2830" y="324"/>
                    <a:pt x="2837" y="332"/>
                  </a:cubicBezTo>
                  <a:cubicBezTo>
                    <a:pt x="2837" y="348"/>
                    <a:pt x="2846" y="356"/>
                    <a:pt x="2869" y="356"/>
                  </a:cubicBezTo>
                  <a:cubicBezTo>
                    <a:pt x="2893" y="348"/>
                    <a:pt x="2893" y="340"/>
                    <a:pt x="2901" y="317"/>
                  </a:cubicBezTo>
                  <a:cubicBezTo>
                    <a:pt x="2901" y="293"/>
                    <a:pt x="2901" y="269"/>
                    <a:pt x="2924" y="253"/>
                  </a:cubicBezTo>
                  <a:cubicBezTo>
                    <a:pt x="2932" y="237"/>
                    <a:pt x="2948" y="230"/>
                    <a:pt x="2964" y="230"/>
                  </a:cubicBezTo>
                  <a:cubicBezTo>
                    <a:pt x="2996" y="230"/>
                    <a:pt x="3019" y="261"/>
                    <a:pt x="3019" y="269"/>
                  </a:cubicBezTo>
                  <a:lnTo>
                    <a:pt x="3019" y="269"/>
                  </a:lnTo>
                  <a:cubicBezTo>
                    <a:pt x="3027" y="269"/>
                    <a:pt x="3067" y="222"/>
                    <a:pt x="3083" y="182"/>
                  </a:cubicBezTo>
                  <a:cubicBezTo>
                    <a:pt x="3090" y="158"/>
                    <a:pt x="3098" y="150"/>
                    <a:pt x="3106" y="143"/>
                  </a:cubicBezTo>
                  <a:cubicBezTo>
                    <a:pt x="3114" y="143"/>
                    <a:pt x="3122" y="135"/>
                    <a:pt x="3130" y="119"/>
                  </a:cubicBezTo>
                  <a:cubicBezTo>
                    <a:pt x="3146" y="87"/>
                    <a:pt x="3146" y="48"/>
                    <a:pt x="3138" y="8"/>
                  </a:cubicBezTo>
                  <a:cubicBezTo>
                    <a:pt x="3098" y="16"/>
                    <a:pt x="3035" y="24"/>
                    <a:pt x="2988" y="32"/>
                  </a:cubicBezTo>
                  <a:cubicBezTo>
                    <a:pt x="2909" y="48"/>
                    <a:pt x="1628" y="230"/>
                    <a:pt x="948" y="261"/>
                  </a:cubicBezTo>
                  <a:cubicBezTo>
                    <a:pt x="940" y="269"/>
                    <a:pt x="908" y="277"/>
                    <a:pt x="901" y="293"/>
                  </a:cubicBezTo>
                  <a:cubicBezTo>
                    <a:pt x="901" y="301"/>
                    <a:pt x="893" y="301"/>
                    <a:pt x="893" y="301"/>
                  </a:cubicBezTo>
                  <a:cubicBezTo>
                    <a:pt x="877" y="301"/>
                    <a:pt x="869" y="293"/>
                    <a:pt x="853" y="277"/>
                  </a:cubicBezTo>
                  <a:cubicBezTo>
                    <a:pt x="853" y="277"/>
                    <a:pt x="853" y="277"/>
                    <a:pt x="845" y="277"/>
                  </a:cubicBezTo>
                  <a:cubicBezTo>
                    <a:pt x="837" y="269"/>
                    <a:pt x="822" y="269"/>
                    <a:pt x="798" y="269"/>
                  </a:cubicBezTo>
                  <a:cubicBezTo>
                    <a:pt x="782" y="269"/>
                    <a:pt x="766" y="269"/>
                    <a:pt x="766" y="277"/>
                  </a:cubicBezTo>
                  <a:cubicBezTo>
                    <a:pt x="766" y="285"/>
                    <a:pt x="774" y="293"/>
                    <a:pt x="774" y="309"/>
                  </a:cubicBezTo>
                  <a:cubicBezTo>
                    <a:pt x="782" y="324"/>
                    <a:pt x="790" y="340"/>
                    <a:pt x="782" y="356"/>
                  </a:cubicBezTo>
                  <a:cubicBezTo>
                    <a:pt x="774" y="364"/>
                    <a:pt x="774" y="364"/>
                    <a:pt x="766" y="364"/>
                  </a:cubicBezTo>
                  <a:cubicBezTo>
                    <a:pt x="758" y="364"/>
                    <a:pt x="758" y="364"/>
                    <a:pt x="750" y="364"/>
                  </a:cubicBezTo>
                  <a:cubicBezTo>
                    <a:pt x="553" y="380"/>
                    <a:pt x="411" y="388"/>
                    <a:pt x="331" y="388"/>
                  </a:cubicBezTo>
                  <a:cubicBezTo>
                    <a:pt x="300" y="388"/>
                    <a:pt x="284" y="388"/>
                    <a:pt x="268" y="388"/>
                  </a:cubicBezTo>
                  <a:cubicBezTo>
                    <a:pt x="260" y="396"/>
                    <a:pt x="244" y="388"/>
                    <a:pt x="213" y="380"/>
                  </a:cubicBezTo>
                  <a:lnTo>
                    <a:pt x="205" y="380"/>
                  </a:lnTo>
                  <a:close/>
                </a:path>
              </a:pathLst>
            </a:custGeom>
            <a:solidFill>
              <a:schemeClr val="accent6"/>
            </a:solidFill>
            <a:ln>
              <a:solidFill>
                <a:schemeClr val="bg2"/>
              </a:solidFill>
            </a:ln>
            <a:effectLst/>
          </p:spPr>
          <p:txBody>
            <a:bodyPr wrap="none" anchor="ctr"/>
            <a:lstStyle/>
            <a:p>
              <a:endParaRPr lang="en-US"/>
            </a:p>
          </p:txBody>
        </p:sp>
        <p:sp>
          <p:nvSpPr>
            <p:cNvPr id="69" name="Freeform 588"/>
            <p:cNvSpPr>
              <a:spLocks noChangeArrowheads="1"/>
            </p:cNvSpPr>
            <p:nvPr/>
          </p:nvSpPr>
          <p:spPr bwMode="auto">
            <a:xfrm>
              <a:off x="5852189" y="3641746"/>
              <a:ext cx="1179960" cy="459956"/>
            </a:xfrm>
            <a:custGeom>
              <a:avLst/>
              <a:gdLst>
                <a:gd name="T0" fmla="*/ 3249 w 3273"/>
                <a:gd name="T1" fmla="*/ 308 h 1472"/>
                <a:gd name="T2" fmla="*/ 3122 w 3273"/>
                <a:gd name="T3" fmla="*/ 119 h 1472"/>
                <a:gd name="T4" fmla="*/ 3067 w 3273"/>
                <a:gd name="T5" fmla="*/ 8 h 1472"/>
                <a:gd name="T6" fmla="*/ 917 w 3273"/>
                <a:gd name="T7" fmla="*/ 403 h 1472"/>
                <a:gd name="T8" fmla="*/ 885 w 3273"/>
                <a:gd name="T9" fmla="*/ 514 h 1472"/>
                <a:gd name="T10" fmla="*/ 758 w 3273"/>
                <a:gd name="T11" fmla="*/ 664 h 1472"/>
                <a:gd name="T12" fmla="*/ 616 w 3273"/>
                <a:gd name="T13" fmla="*/ 751 h 1472"/>
                <a:gd name="T14" fmla="*/ 545 w 3273"/>
                <a:gd name="T15" fmla="*/ 759 h 1472"/>
                <a:gd name="T16" fmla="*/ 434 w 3273"/>
                <a:gd name="T17" fmla="*/ 862 h 1472"/>
                <a:gd name="T18" fmla="*/ 173 w 3273"/>
                <a:gd name="T19" fmla="*/ 1020 h 1472"/>
                <a:gd name="T20" fmla="*/ 94 w 3273"/>
                <a:gd name="T21" fmla="*/ 1154 h 1472"/>
                <a:gd name="T22" fmla="*/ 0 w 3273"/>
                <a:gd name="T23" fmla="*/ 1296 h 1472"/>
                <a:gd name="T24" fmla="*/ 584 w 3273"/>
                <a:gd name="T25" fmla="*/ 1186 h 1472"/>
                <a:gd name="T26" fmla="*/ 1233 w 3273"/>
                <a:gd name="T27" fmla="*/ 1036 h 1472"/>
                <a:gd name="T28" fmla="*/ 1328 w 3273"/>
                <a:gd name="T29" fmla="*/ 1083 h 1472"/>
                <a:gd name="T30" fmla="*/ 1810 w 3273"/>
                <a:gd name="T31" fmla="*/ 1099 h 1472"/>
                <a:gd name="T32" fmla="*/ 2332 w 3273"/>
                <a:gd name="T33" fmla="*/ 1455 h 1472"/>
                <a:gd name="T34" fmla="*/ 2521 w 3273"/>
                <a:gd name="T35" fmla="*/ 1368 h 1472"/>
                <a:gd name="T36" fmla="*/ 2680 w 3273"/>
                <a:gd name="T37" fmla="*/ 1059 h 1472"/>
                <a:gd name="T38" fmla="*/ 2687 w 3273"/>
                <a:gd name="T39" fmla="*/ 1036 h 1472"/>
                <a:gd name="T40" fmla="*/ 2758 w 3273"/>
                <a:gd name="T41" fmla="*/ 1004 h 1472"/>
                <a:gd name="T42" fmla="*/ 2838 w 3273"/>
                <a:gd name="T43" fmla="*/ 980 h 1472"/>
                <a:gd name="T44" fmla="*/ 2917 w 3273"/>
                <a:gd name="T45" fmla="*/ 909 h 1472"/>
                <a:gd name="T46" fmla="*/ 2988 w 3273"/>
                <a:gd name="T47" fmla="*/ 909 h 1472"/>
                <a:gd name="T48" fmla="*/ 3027 w 3273"/>
                <a:gd name="T49" fmla="*/ 933 h 1472"/>
                <a:gd name="T50" fmla="*/ 3075 w 3273"/>
                <a:gd name="T51" fmla="*/ 798 h 1472"/>
                <a:gd name="T52" fmla="*/ 3051 w 3273"/>
                <a:gd name="T53" fmla="*/ 751 h 1472"/>
                <a:gd name="T54" fmla="*/ 2996 w 3273"/>
                <a:gd name="T55" fmla="*/ 759 h 1472"/>
                <a:gd name="T56" fmla="*/ 2956 w 3273"/>
                <a:gd name="T57" fmla="*/ 798 h 1472"/>
                <a:gd name="T58" fmla="*/ 2846 w 3273"/>
                <a:gd name="T59" fmla="*/ 822 h 1472"/>
                <a:gd name="T60" fmla="*/ 2933 w 3273"/>
                <a:gd name="T61" fmla="*/ 719 h 1472"/>
                <a:gd name="T62" fmla="*/ 2893 w 3273"/>
                <a:gd name="T63" fmla="*/ 640 h 1472"/>
                <a:gd name="T64" fmla="*/ 2877 w 3273"/>
                <a:gd name="T65" fmla="*/ 601 h 1472"/>
                <a:gd name="T66" fmla="*/ 2972 w 3273"/>
                <a:gd name="T67" fmla="*/ 593 h 1472"/>
                <a:gd name="T68" fmla="*/ 3130 w 3273"/>
                <a:gd name="T69" fmla="*/ 490 h 1472"/>
                <a:gd name="T70" fmla="*/ 3193 w 3273"/>
                <a:gd name="T71" fmla="*/ 427 h 1472"/>
                <a:gd name="T72" fmla="*/ 3146 w 3273"/>
                <a:gd name="T73" fmla="*/ 292 h 1472"/>
                <a:gd name="T74" fmla="*/ 3083 w 3273"/>
                <a:gd name="T75" fmla="*/ 340 h 1472"/>
                <a:gd name="T76" fmla="*/ 3051 w 3273"/>
                <a:gd name="T77" fmla="*/ 395 h 1472"/>
                <a:gd name="T78" fmla="*/ 3019 w 3273"/>
                <a:gd name="T79" fmla="*/ 285 h 1472"/>
                <a:gd name="T80" fmla="*/ 2893 w 3273"/>
                <a:gd name="T81" fmla="*/ 316 h 1472"/>
                <a:gd name="T82" fmla="*/ 2766 w 3273"/>
                <a:gd name="T83" fmla="*/ 292 h 1472"/>
                <a:gd name="T84" fmla="*/ 2846 w 3273"/>
                <a:gd name="T85" fmla="*/ 316 h 1472"/>
                <a:gd name="T86" fmla="*/ 2972 w 3273"/>
                <a:gd name="T87" fmla="*/ 237 h 1472"/>
                <a:gd name="T88" fmla="*/ 3011 w 3273"/>
                <a:gd name="T89" fmla="*/ 166 h 1472"/>
                <a:gd name="T90" fmla="*/ 3098 w 3273"/>
                <a:gd name="T91" fmla="*/ 198 h 1472"/>
                <a:gd name="T92" fmla="*/ 3067 w 3273"/>
                <a:gd name="T93" fmla="*/ 111 h 1472"/>
                <a:gd name="T94" fmla="*/ 3027 w 3273"/>
                <a:gd name="T95" fmla="*/ 24 h 1472"/>
                <a:gd name="T96" fmla="*/ 3122 w 3273"/>
                <a:gd name="T97" fmla="*/ 142 h 1472"/>
                <a:gd name="T98" fmla="*/ 3225 w 3273"/>
                <a:gd name="T99" fmla="*/ 308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73" h="1472">
                  <a:moveTo>
                    <a:pt x="3249" y="308"/>
                  </a:moveTo>
                  <a:lnTo>
                    <a:pt x="3249" y="308"/>
                  </a:lnTo>
                  <a:cubicBezTo>
                    <a:pt x="3225" y="285"/>
                    <a:pt x="3209" y="269"/>
                    <a:pt x="3193" y="237"/>
                  </a:cubicBezTo>
                  <a:cubicBezTo>
                    <a:pt x="3170" y="206"/>
                    <a:pt x="3146" y="142"/>
                    <a:pt x="3122" y="119"/>
                  </a:cubicBezTo>
                  <a:cubicBezTo>
                    <a:pt x="3106" y="103"/>
                    <a:pt x="3106" y="71"/>
                    <a:pt x="3083" y="24"/>
                  </a:cubicBezTo>
                  <a:cubicBezTo>
                    <a:pt x="3075" y="16"/>
                    <a:pt x="3067" y="8"/>
                    <a:pt x="3067" y="8"/>
                  </a:cubicBezTo>
                  <a:cubicBezTo>
                    <a:pt x="2893" y="48"/>
                    <a:pt x="1889" y="285"/>
                    <a:pt x="1011" y="395"/>
                  </a:cubicBezTo>
                  <a:cubicBezTo>
                    <a:pt x="1011" y="395"/>
                    <a:pt x="940" y="411"/>
                    <a:pt x="917" y="403"/>
                  </a:cubicBezTo>
                  <a:cubicBezTo>
                    <a:pt x="909" y="403"/>
                    <a:pt x="901" y="403"/>
                    <a:pt x="893" y="403"/>
                  </a:cubicBezTo>
                  <a:cubicBezTo>
                    <a:pt x="893" y="435"/>
                    <a:pt x="901" y="482"/>
                    <a:pt x="885" y="514"/>
                  </a:cubicBezTo>
                  <a:cubicBezTo>
                    <a:pt x="861" y="553"/>
                    <a:pt x="845" y="530"/>
                    <a:pt x="830" y="577"/>
                  </a:cubicBezTo>
                  <a:cubicBezTo>
                    <a:pt x="814" y="625"/>
                    <a:pt x="766" y="688"/>
                    <a:pt x="758" y="664"/>
                  </a:cubicBezTo>
                  <a:cubicBezTo>
                    <a:pt x="758" y="648"/>
                    <a:pt x="719" y="609"/>
                    <a:pt x="671" y="648"/>
                  </a:cubicBezTo>
                  <a:cubicBezTo>
                    <a:pt x="632" y="688"/>
                    <a:pt x="664" y="743"/>
                    <a:pt x="616" y="751"/>
                  </a:cubicBezTo>
                  <a:cubicBezTo>
                    <a:pt x="569" y="759"/>
                    <a:pt x="584" y="712"/>
                    <a:pt x="561" y="712"/>
                  </a:cubicBezTo>
                  <a:cubicBezTo>
                    <a:pt x="537" y="712"/>
                    <a:pt x="561" y="735"/>
                    <a:pt x="545" y="759"/>
                  </a:cubicBezTo>
                  <a:cubicBezTo>
                    <a:pt x="529" y="783"/>
                    <a:pt x="474" y="775"/>
                    <a:pt x="474" y="798"/>
                  </a:cubicBezTo>
                  <a:cubicBezTo>
                    <a:pt x="474" y="814"/>
                    <a:pt x="474" y="862"/>
                    <a:pt x="434" y="862"/>
                  </a:cubicBezTo>
                  <a:cubicBezTo>
                    <a:pt x="395" y="870"/>
                    <a:pt x="316" y="965"/>
                    <a:pt x="284" y="996"/>
                  </a:cubicBezTo>
                  <a:cubicBezTo>
                    <a:pt x="253" y="1028"/>
                    <a:pt x="229" y="972"/>
                    <a:pt x="173" y="1020"/>
                  </a:cubicBezTo>
                  <a:cubicBezTo>
                    <a:pt x="110" y="1059"/>
                    <a:pt x="87" y="1036"/>
                    <a:pt x="94" y="1067"/>
                  </a:cubicBezTo>
                  <a:cubicBezTo>
                    <a:pt x="102" y="1099"/>
                    <a:pt x="110" y="1131"/>
                    <a:pt x="94" y="1154"/>
                  </a:cubicBezTo>
                  <a:cubicBezTo>
                    <a:pt x="71" y="1170"/>
                    <a:pt x="0" y="1162"/>
                    <a:pt x="0" y="1186"/>
                  </a:cubicBezTo>
                  <a:cubicBezTo>
                    <a:pt x="0" y="1194"/>
                    <a:pt x="0" y="1249"/>
                    <a:pt x="0" y="1296"/>
                  </a:cubicBezTo>
                  <a:cubicBezTo>
                    <a:pt x="253" y="1265"/>
                    <a:pt x="426" y="1241"/>
                    <a:pt x="450" y="1241"/>
                  </a:cubicBezTo>
                  <a:cubicBezTo>
                    <a:pt x="529" y="1241"/>
                    <a:pt x="537" y="1209"/>
                    <a:pt x="584" y="1186"/>
                  </a:cubicBezTo>
                  <a:cubicBezTo>
                    <a:pt x="632" y="1154"/>
                    <a:pt x="774" y="1083"/>
                    <a:pt x="814" y="1075"/>
                  </a:cubicBezTo>
                  <a:cubicBezTo>
                    <a:pt x="845" y="1075"/>
                    <a:pt x="1233" y="1020"/>
                    <a:pt x="1233" y="1036"/>
                  </a:cubicBezTo>
                  <a:cubicBezTo>
                    <a:pt x="1233" y="1051"/>
                    <a:pt x="1209" y="1059"/>
                    <a:pt x="1257" y="1067"/>
                  </a:cubicBezTo>
                  <a:cubicBezTo>
                    <a:pt x="1304" y="1075"/>
                    <a:pt x="1312" y="1059"/>
                    <a:pt x="1328" y="1083"/>
                  </a:cubicBezTo>
                  <a:cubicBezTo>
                    <a:pt x="1343" y="1099"/>
                    <a:pt x="1367" y="1178"/>
                    <a:pt x="1367" y="1178"/>
                  </a:cubicBezTo>
                  <a:cubicBezTo>
                    <a:pt x="1810" y="1099"/>
                    <a:pt x="1810" y="1099"/>
                    <a:pt x="1810" y="1099"/>
                  </a:cubicBezTo>
                  <a:cubicBezTo>
                    <a:pt x="2300" y="1471"/>
                    <a:pt x="2300" y="1471"/>
                    <a:pt x="2300" y="1471"/>
                  </a:cubicBezTo>
                  <a:cubicBezTo>
                    <a:pt x="2308" y="1462"/>
                    <a:pt x="2316" y="1462"/>
                    <a:pt x="2332" y="1455"/>
                  </a:cubicBezTo>
                  <a:cubicBezTo>
                    <a:pt x="2387" y="1439"/>
                    <a:pt x="2371" y="1439"/>
                    <a:pt x="2427" y="1431"/>
                  </a:cubicBezTo>
                  <a:cubicBezTo>
                    <a:pt x="2482" y="1423"/>
                    <a:pt x="2513" y="1439"/>
                    <a:pt x="2521" y="1368"/>
                  </a:cubicBezTo>
                  <a:cubicBezTo>
                    <a:pt x="2529" y="1296"/>
                    <a:pt x="2656" y="1123"/>
                    <a:pt x="2680" y="1099"/>
                  </a:cubicBezTo>
                  <a:cubicBezTo>
                    <a:pt x="2711" y="1083"/>
                    <a:pt x="2687" y="1075"/>
                    <a:pt x="2680" y="1059"/>
                  </a:cubicBezTo>
                  <a:cubicBezTo>
                    <a:pt x="2680" y="1043"/>
                    <a:pt x="2671" y="1020"/>
                    <a:pt x="2680" y="1020"/>
                  </a:cubicBezTo>
                  <a:cubicBezTo>
                    <a:pt x="2695" y="1012"/>
                    <a:pt x="2680" y="1020"/>
                    <a:pt x="2687" y="1036"/>
                  </a:cubicBezTo>
                  <a:cubicBezTo>
                    <a:pt x="2695" y="1051"/>
                    <a:pt x="2719" y="1067"/>
                    <a:pt x="2727" y="1059"/>
                  </a:cubicBezTo>
                  <a:cubicBezTo>
                    <a:pt x="2735" y="1043"/>
                    <a:pt x="2751" y="1028"/>
                    <a:pt x="2758" y="1004"/>
                  </a:cubicBezTo>
                  <a:cubicBezTo>
                    <a:pt x="2758" y="972"/>
                    <a:pt x="2774" y="956"/>
                    <a:pt x="2782" y="972"/>
                  </a:cubicBezTo>
                  <a:cubicBezTo>
                    <a:pt x="2790" y="980"/>
                    <a:pt x="2822" y="988"/>
                    <a:pt x="2838" y="980"/>
                  </a:cubicBezTo>
                  <a:cubicBezTo>
                    <a:pt x="2846" y="972"/>
                    <a:pt x="2901" y="965"/>
                    <a:pt x="2909" y="956"/>
                  </a:cubicBezTo>
                  <a:cubicBezTo>
                    <a:pt x="2924" y="941"/>
                    <a:pt x="2909" y="925"/>
                    <a:pt x="2917" y="909"/>
                  </a:cubicBezTo>
                  <a:cubicBezTo>
                    <a:pt x="2924" y="901"/>
                    <a:pt x="2917" y="917"/>
                    <a:pt x="2948" y="917"/>
                  </a:cubicBezTo>
                  <a:cubicBezTo>
                    <a:pt x="2980" y="909"/>
                    <a:pt x="2980" y="893"/>
                    <a:pt x="2988" y="909"/>
                  </a:cubicBezTo>
                  <a:cubicBezTo>
                    <a:pt x="3004" y="925"/>
                    <a:pt x="2996" y="941"/>
                    <a:pt x="3004" y="956"/>
                  </a:cubicBezTo>
                  <a:cubicBezTo>
                    <a:pt x="3011" y="965"/>
                    <a:pt x="3004" y="980"/>
                    <a:pt x="3027" y="933"/>
                  </a:cubicBezTo>
                  <a:cubicBezTo>
                    <a:pt x="3043" y="885"/>
                    <a:pt x="3067" y="838"/>
                    <a:pt x="3083" y="822"/>
                  </a:cubicBezTo>
                  <a:cubicBezTo>
                    <a:pt x="3098" y="806"/>
                    <a:pt x="3091" y="791"/>
                    <a:pt x="3075" y="798"/>
                  </a:cubicBezTo>
                  <a:cubicBezTo>
                    <a:pt x="3059" y="806"/>
                    <a:pt x="3051" y="830"/>
                    <a:pt x="3059" y="798"/>
                  </a:cubicBezTo>
                  <a:cubicBezTo>
                    <a:pt x="3059" y="767"/>
                    <a:pt x="3075" y="735"/>
                    <a:pt x="3051" y="751"/>
                  </a:cubicBezTo>
                  <a:cubicBezTo>
                    <a:pt x="3027" y="767"/>
                    <a:pt x="3035" y="822"/>
                    <a:pt x="3011" y="798"/>
                  </a:cubicBezTo>
                  <a:cubicBezTo>
                    <a:pt x="2996" y="783"/>
                    <a:pt x="2996" y="783"/>
                    <a:pt x="2996" y="759"/>
                  </a:cubicBezTo>
                  <a:cubicBezTo>
                    <a:pt x="2996" y="735"/>
                    <a:pt x="2980" y="704"/>
                    <a:pt x="2980" y="735"/>
                  </a:cubicBezTo>
                  <a:cubicBezTo>
                    <a:pt x="2972" y="775"/>
                    <a:pt x="2988" y="791"/>
                    <a:pt x="2956" y="798"/>
                  </a:cubicBezTo>
                  <a:cubicBezTo>
                    <a:pt x="2924" y="806"/>
                    <a:pt x="2924" y="822"/>
                    <a:pt x="2893" y="830"/>
                  </a:cubicBezTo>
                  <a:cubicBezTo>
                    <a:pt x="2853" y="830"/>
                    <a:pt x="2822" y="830"/>
                    <a:pt x="2846" y="822"/>
                  </a:cubicBezTo>
                  <a:cubicBezTo>
                    <a:pt x="2869" y="814"/>
                    <a:pt x="2885" y="830"/>
                    <a:pt x="2901" y="798"/>
                  </a:cubicBezTo>
                  <a:cubicBezTo>
                    <a:pt x="2924" y="759"/>
                    <a:pt x="2917" y="759"/>
                    <a:pt x="2933" y="719"/>
                  </a:cubicBezTo>
                  <a:cubicBezTo>
                    <a:pt x="2956" y="688"/>
                    <a:pt x="2988" y="680"/>
                    <a:pt x="2956" y="664"/>
                  </a:cubicBezTo>
                  <a:cubicBezTo>
                    <a:pt x="2933" y="648"/>
                    <a:pt x="2940" y="656"/>
                    <a:pt x="2893" y="640"/>
                  </a:cubicBezTo>
                  <a:cubicBezTo>
                    <a:pt x="2846" y="625"/>
                    <a:pt x="2790" y="617"/>
                    <a:pt x="2806" y="609"/>
                  </a:cubicBezTo>
                  <a:cubicBezTo>
                    <a:pt x="2830" y="601"/>
                    <a:pt x="2853" y="609"/>
                    <a:pt x="2877" y="601"/>
                  </a:cubicBezTo>
                  <a:cubicBezTo>
                    <a:pt x="2901" y="585"/>
                    <a:pt x="2885" y="561"/>
                    <a:pt x="2909" y="569"/>
                  </a:cubicBezTo>
                  <a:cubicBezTo>
                    <a:pt x="2933" y="577"/>
                    <a:pt x="2909" y="585"/>
                    <a:pt x="2972" y="593"/>
                  </a:cubicBezTo>
                  <a:cubicBezTo>
                    <a:pt x="3043" y="601"/>
                    <a:pt x="3043" y="601"/>
                    <a:pt x="3051" y="601"/>
                  </a:cubicBezTo>
                  <a:cubicBezTo>
                    <a:pt x="3067" y="601"/>
                    <a:pt x="3122" y="553"/>
                    <a:pt x="3130" y="490"/>
                  </a:cubicBezTo>
                  <a:cubicBezTo>
                    <a:pt x="3138" y="427"/>
                    <a:pt x="3146" y="459"/>
                    <a:pt x="3162" y="451"/>
                  </a:cubicBezTo>
                  <a:cubicBezTo>
                    <a:pt x="3177" y="451"/>
                    <a:pt x="3193" y="451"/>
                    <a:pt x="3193" y="427"/>
                  </a:cubicBezTo>
                  <a:cubicBezTo>
                    <a:pt x="3186" y="395"/>
                    <a:pt x="3177" y="364"/>
                    <a:pt x="3177" y="332"/>
                  </a:cubicBezTo>
                  <a:cubicBezTo>
                    <a:pt x="3177" y="301"/>
                    <a:pt x="3154" y="292"/>
                    <a:pt x="3146" y="292"/>
                  </a:cubicBezTo>
                  <a:cubicBezTo>
                    <a:pt x="3138" y="292"/>
                    <a:pt x="3106" y="285"/>
                    <a:pt x="3106" y="308"/>
                  </a:cubicBezTo>
                  <a:cubicBezTo>
                    <a:pt x="3106" y="324"/>
                    <a:pt x="3067" y="316"/>
                    <a:pt x="3083" y="340"/>
                  </a:cubicBezTo>
                  <a:cubicBezTo>
                    <a:pt x="3098" y="364"/>
                    <a:pt x="3106" y="395"/>
                    <a:pt x="3083" y="411"/>
                  </a:cubicBezTo>
                  <a:cubicBezTo>
                    <a:pt x="3059" y="435"/>
                    <a:pt x="3043" y="435"/>
                    <a:pt x="3051" y="395"/>
                  </a:cubicBezTo>
                  <a:cubicBezTo>
                    <a:pt x="3067" y="348"/>
                    <a:pt x="3091" y="340"/>
                    <a:pt x="3067" y="316"/>
                  </a:cubicBezTo>
                  <a:cubicBezTo>
                    <a:pt x="3043" y="292"/>
                    <a:pt x="3035" y="269"/>
                    <a:pt x="3019" y="285"/>
                  </a:cubicBezTo>
                  <a:cubicBezTo>
                    <a:pt x="2996" y="301"/>
                    <a:pt x="2964" y="301"/>
                    <a:pt x="2964" y="332"/>
                  </a:cubicBezTo>
                  <a:cubicBezTo>
                    <a:pt x="2956" y="356"/>
                    <a:pt x="2901" y="301"/>
                    <a:pt x="2893" y="316"/>
                  </a:cubicBezTo>
                  <a:cubicBezTo>
                    <a:pt x="2885" y="340"/>
                    <a:pt x="2861" y="372"/>
                    <a:pt x="2822" y="356"/>
                  </a:cubicBezTo>
                  <a:cubicBezTo>
                    <a:pt x="2790" y="340"/>
                    <a:pt x="2766" y="316"/>
                    <a:pt x="2766" y="292"/>
                  </a:cubicBezTo>
                  <a:cubicBezTo>
                    <a:pt x="2758" y="277"/>
                    <a:pt x="2766" y="301"/>
                    <a:pt x="2798" y="308"/>
                  </a:cubicBezTo>
                  <a:cubicBezTo>
                    <a:pt x="2822" y="308"/>
                    <a:pt x="2822" y="324"/>
                    <a:pt x="2846" y="316"/>
                  </a:cubicBezTo>
                  <a:cubicBezTo>
                    <a:pt x="2869" y="301"/>
                    <a:pt x="2901" y="308"/>
                    <a:pt x="2909" y="277"/>
                  </a:cubicBezTo>
                  <a:cubicBezTo>
                    <a:pt x="2924" y="253"/>
                    <a:pt x="2940" y="245"/>
                    <a:pt x="2972" y="237"/>
                  </a:cubicBezTo>
                  <a:cubicBezTo>
                    <a:pt x="3011" y="229"/>
                    <a:pt x="3035" y="214"/>
                    <a:pt x="3011" y="198"/>
                  </a:cubicBezTo>
                  <a:cubicBezTo>
                    <a:pt x="2988" y="182"/>
                    <a:pt x="2980" y="150"/>
                    <a:pt x="3011" y="166"/>
                  </a:cubicBezTo>
                  <a:cubicBezTo>
                    <a:pt x="3035" y="182"/>
                    <a:pt x="3067" y="206"/>
                    <a:pt x="3075" y="198"/>
                  </a:cubicBezTo>
                  <a:cubicBezTo>
                    <a:pt x="3091" y="190"/>
                    <a:pt x="3091" y="198"/>
                    <a:pt x="3098" y="198"/>
                  </a:cubicBezTo>
                  <a:cubicBezTo>
                    <a:pt x="3106" y="206"/>
                    <a:pt x="3146" y="221"/>
                    <a:pt x="3114" y="198"/>
                  </a:cubicBezTo>
                  <a:cubicBezTo>
                    <a:pt x="3091" y="166"/>
                    <a:pt x="3083" y="126"/>
                    <a:pt x="3067" y="111"/>
                  </a:cubicBezTo>
                  <a:cubicBezTo>
                    <a:pt x="3051" y="87"/>
                    <a:pt x="3027" y="87"/>
                    <a:pt x="3011" y="63"/>
                  </a:cubicBezTo>
                  <a:cubicBezTo>
                    <a:pt x="3004" y="39"/>
                    <a:pt x="2996" y="0"/>
                    <a:pt x="3027" y="24"/>
                  </a:cubicBezTo>
                  <a:cubicBezTo>
                    <a:pt x="3059" y="39"/>
                    <a:pt x="3059" y="32"/>
                    <a:pt x="3075" y="71"/>
                  </a:cubicBezTo>
                  <a:cubicBezTo>
                    <a:pt x="3091" y="111"/>
                    <a:pt x="3106" y="126"/>
                    <a:pt x="3122" y="142"/>
                  </a:cubicBezTo>
                  <a:cubicBezTo>
                    <a:pt x="3130" y="166"/>
                    <a:pt x="3138" y="182"/>
                    <a:pt x="3162" y="229"/>
                  </a:cubicBezTo>
                  <a:cubicBezTo>
                    <a:pt x="3193" y="269"/>
                    <a:pt x="3209" y="292"/>
                    <a:pt x="3225" y="308"/>
                  </a:cubicBezTo>
                  <a:cubicBezTo>
                    <a:pt x="3241" y="324"/>
                    <a:pt x="3272" y="332"/>
                    <a:pt x="3249" y="308"/>
                  </a:cubicBezTo>
                </a:path>
              </a:pathLst>
            </a:custGeom>
            <a:solidFill>
              <a:schemeClr val="accent6"/>
            </a:solidFill>
            <a:ln>
              <a:solidFill>
                <a:schemeClr val="bg2"/>
              </a:solidFill>
            </a:ln>
            <a:effectLst/>
          </p:spPr>
          <p:txBody>
            <a:bodyPr wrap="none" anchor="ctr"/>
            <a:lstStyle/>
            <a:p>
              <a:endParaRPr lang="en-US"/>
            </a:p>
          </p:txBody>
        </p:sp>
        <p:sp>
          <p:nvSpPr>
            <p:cNvPr id="70" name="Freeform 589"/>
            <p:cNvSpPr>
              <a:spLocks noChangeArrowheads="1"/>
            </p:cNvSpPr>
            <p:nvPr/>
          </p:nvSpPr>
          <p:spPr bwMode="auto">
            <a:xfrm>
              <a:off x="5852189" y="3641746"/>
              <a:ext cx="1176779" cy="461334"/>
            </a:xfrm>
            <a:custGeom>
              <a:avLst/>
              <a:gdLst>
                <a:gd name="T0" fmla="*/ 1296 w 3265"/>
                <a:gd name="T1" fmla="*/ 1075 h 1479"/>
                <a:gd name="T2" fmla="*/ 814 w 3265"/>
                <a:gd name="T3" fmla="*/ 1083 h 1479"/>
                <a:gd name="T4" fmla="*/ 0 w 3265"/>
                <a:gd name="T5" fmla="*/ 1233 h 1479"/>
                <a:gd name="T6" fmla="*/ 165 w 3265"/>
                <a:gd name="T7" fmla="*/ 1012 h 1479"/>
                <a:gd name="T8" fmla="*/ 474 w 3265"/>
                <a:gd name="T9" fmla="*/ 798 h 1479"/>
                <a:gd name="T10" fmla="*/ 616 w 3265"/>
                <a:gd name="T11" fmla="*/ 751 h 1479"/>
                <a:gd name="T12" fmla="*/ 853 w 3265"/>
                <a:gd name="T13" fmla="*/ 538 h 1479"/>
                <a:gd name="T14" fmla="*/ 1011 w 3265"/>
                <a:gd name="T15" fmla="*/ 395 h 1479"/>
                <a:gd name="T16" fmla="*/ 3162 w 3265"/>
                <a:gd name="T17" fmla="*/ 182 h 1479"/>
                <a:gd name="T18" fmla="*/ 3114 w 3265"/>
                <a:gd name="T19" fmla="*/ 150 h 1479"/>
                <a:gd name="T20" fmla="*/ 3043 w 3265"/>
                <a:gd name="T21" fmla="*/ 87 h 1479"/>
                <a:gd name="T22" fmla="*/ 3091 w 3265"/>
                <a:gd name="T23" fmla="*/ 198 h 1479"/>
                <a:gd name="T24" fmla="*/ 2996 w 3265"/>
                <a:gd name="T25" fmla="*/ 166 h 1479"/>
                <a:gd name="T26" fmla="*/ 2830 w 3265"/>
                <a:gd name="T27" fmla="*/ 324 h 1479"/>
                <a:gd name="T28" fmla="*/ 2901 w 3265"/>
                <a:gd name="T29" fmla="*/ 308 h 1479"/>
                <a:gd name="T30" fmla="*/ 3051 w 3265"/>
                <a:gd name="T31" fmla="*/ 292 h 1479"/>
                <a:gd name="T32" fmla="*/ 3146 w 3265"/>
                <a:gd name="T33" fmla="*/ 292 h 1479"/>
                <a:gd name="T34" fmla="*/ 3154 w 3265"/>
                <a:gd name="T35" fmla="*/ 451 h 1479"/>
                <a:gd name="T36" fmla="*/ 2909 w 3265"/>
                <a:gd name="T37" fmla="*/ 577 h 1479"/>
                <a:gd name="T38" fmla="*/ 2814 w 3265"/>
                <a:gd name="T39" fmla="*/ 609 h 1479"/>
                <a:gd name="T40" fmla="*/ 2972 w 3265"/>
                <a:gd name="T41" fmla="*/ 672 h 1479"/>
                <a:gd name="T42" fmla="*/ 2846 w 3265"/>
                <a:gd name="T43" fmla="*/ 830 h 1479"/>
                <a:gd name="T44" fmla="*/ 2980 w 3265"/>
                <a:gd name="T45" fmla="*/ 719 h 1479"/>
                <a:gd name="T46" fmla="*/ 3067 w 3265"/>
                <a:gd name="T47" fmla="*/ 743 h 1479"/>
                <a:gd name="T48" fmla="*/ 3083 w 3265"/>
                <a:gd name="T49" fmla="*/ 830 h 1479"/>
                <a:gd name="T50" fmla="*/ 2980 w 3265"/>
                <a:gd name="T51" fmla="*/ 909 h 1479"/>
                <a:gd name="T52" fmla="*/ 2909 w 3265"/>
                <a:gd name="T53" fmla="*/ 956 h 1479"/>
                <a:gd name="T54" fmla="*/ 2735 w 3265"/>
                <a:gd name="T55" fmla="*/ 1051 h 1479"/>
                <a:gd name="T56" fmla="*/ 2695 w 3265"/>
                <a:gd name="T57" fmla="*/ 1067 h 1479"/>
                <a:gd name="T58" fmla="*/ 2332 w 3265"/>
                <a:gd name="T59" fmla="*/ 1455 h 1479"/>
                <a:gd name="T60" fmla="*/ 2332 w 3265"/>
                <a:gd name="T61" fmla="*/ 1455 h 1479"/>
                <a:gd name="T62" fmla="*/ 2687 w 3265"/>
                <a:gd name="T63" fmla="*/ 1067 h 1479"/>
                <a:gd name="T64" fmla="*/ 2719 w 3265"/>
                <a:gd name="T65" fmla="*/ 1059 h 1479"/>
                <a:gd name="T66" fmla="*/ 2830 w 3265"/>
                <a:gd name="T67" fmla="*/ 980 h 1479"/>
                <a:gd name="T68" fmla="*/ 2948 w 3265"/>
                <a:gd name="T69" fmla="*/ 909 h 1479"/>
                <a:gd name="T70" fmla="*/ 3019 w 3265"/>
                <a:gd name="T71" fmla="*/ 933 h 1479"/>
                <a:gd name="T72" fmla="*/ 3051 w 3265"/>
                <a:gd name="T73" fmla="*/ 798 h 1479"/>
                <a:gd name="T74" fmla="*/ 3011 w 3265"/>
                <a:gd name="T75" fmla="*/ 798 h 1479"/>
                <a:gd name="T76" fmla="*/ 2893 w 3265"/>
                <a:gd name="T77" fmla="*/ 830 h 1479"/>
                <a:gd name="T78" fmla="*/ 2933 w 3265"/>
                <a:gd name="T79" fmla="*/ 719 h 1479"/>
                <a:gd name="T80" fmla="*/ 2838 w 3265"/>
                <a:gd name="T81" fmla="*/ 625 h 1479"/>
                <a:gd name="T82" fmla="*/ 2893 w 3265"/>
                <a:gd name="T83" fmla="*/ 577 h 1479"/>
                <a:gd name="T84" fmla="*/ 3146 w 3265"/>
                <a:gd name="T85" fmla="*/ 443 h 1479"/>
                <a:gd name="T86" fmla="*/ 3177 w 3265"/>
                <a:gd name="T87" fmla="*/ 332 h 1479"/>
                <a:gd name="T88" fmla="*/ 3083 w 3265"/>
                <a:gd name="T89" fmla="*/ 340 h 1479"/>
                <a:gd name="T90" fmla="*/ 3051 w 3265"/>
                <a:gd name="T91" fmla="*/ 301 h 1479"/>
                <a:gd name="T92" fmla="*/ 2901 w 3265"/>
                <a:gd name="T93" fmla="*/ 316 h 1479"/>
                <a:gd name="T94" fmla="*/ 2766 w 3265"/>
                <a:gd name="T95" fmla="*/ 285 h 1479"/>
                <a:gd name="T96" fmla="*/ 2972 w 3265"/>
                <a:gd name="T97" fmla="*/ 237 h 1479"/>
                <a:gd name="T98" fmla="*/ 3075 w 3265"/>
                <a:gd name="T99" fmla="*/ 190 h 1479"/>
                <a:gd name="T100" fmla="*/ 3043 w 3265"/>
                <a:gd name="T101" fmla="*/ 95 h 1479"/>
                <a:gd name="T102" fmla="*/ 885 w 3265"/>
                <a:gd name="T103" fmla="*/ 514 h 1479"/>
                <a:gd name="T104" fmla="*/ 656 w 3265"/>
                <a:gd name="T105" fmla="*/ 712 h 1479"/>
                <a:gd name="T106" fmla="*/ 505 w 3265"/>
                <a:gd name="T107" fmla="*/ 783 h 1479"/>
                <a:gd name="T108" fmla="*/ 221 w 3265"/>
                <a:gd name="T109" fmla="*/ 1004 h 1479"/>
                <a:gd name="T110" fmla="*/ 7 w 3265"/>
                <a:gd name="T111" fmla="*/ 1186 h 1479"/>
                <a:gd name="T112" fmla="*/ 814 w 3265"/>
                <a:gd name="T113" fmla="*/ 1075 h 1479"/>
                <a:gd name="T114" fmla="*/ 1296 w 3265"/>
                <a:gd name="T115" fmla="*/ 1067 h 1479"/>
                <a:gd name="T116" fmla="*/ 3059 w 3265"/>
                <a:gd name="T117" fmla="*/ 395 h 1479"/>
                <a:gd name="T118" fmla="*/ 3027 w 3265"/>
                <a:gd name="T119" fmla="*/ 16 h 1479"/>
                <a:gd name="T120" fmla="*/ 3249 w 3265"/>
                <a:gd name="T121" fmla="*/ 324 h 1479"/>
                <a:gd name="T122" fmla="*/ 3059 w 3265"/>
                <a:gd name="T123" fmla="*/ 8 h 1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65" h="1479">
                  <a:moveTo>
                    <a:pt x="2300" y="1478"/>
                  </a:moveTo>
                  <a:lnTo>
                    <a:pt x="2300" y="1478"/>
                  </a:lnTo>
                  <a:cubicBezTo>
                    <a:pt x="1810" y="1107"/>
                    <a:pt x="1810" y="1107"/>
                    <a:pt x="1810" y="1107"/>
                  </a:cubicBezTo>
                  <a:cubicBezTo>
                    <a:pt x="1367" y="1178"/>
                    <a:pt x="1367" y="1178"/>
                    <a:pt x="1367" y="1178"/>
                  </a:cubicBezTo>
                  <a:lnTo>
                    <a:pt x="1367" y="1178"/>
                  </a:lnTo>
                  <a:cubicBezTo>
                    <a:pt x="1367" y="1178"/>
                    <a:pt x="1343" y="1099"/>
                    <a:pt x="1328" y="1083"/>
                  </a:cubicBezTo>
                  <a:cubicBezTo>
                    <a:pt x="1320" y="1075"/>
                    <a:pt x="1312" y="1075"/>
                    <a:pt x="1296" y="1075"/>
                  </a:cubicBezTo>
                  <a:cubicBezTo>
                    <a:pt x="1288" y="1075"/>
                    <a:pt x="1288" y="1075"/>
                    <a:pt x="1280" y="1075"/>
                  </a:cubicBezTo>
                  <a:cubicBezTo>
                    <a:pt x="1272" y="1075"/>
                    <a:pt x="1264" y="1075"/>
                    <a:pt x="1257" y="1075"/>
                  </a:cubicBezTo>
                  <a:cubicBezTo>
                    <a:pt x="1233" y="1067"/>
                    <a:pt x="1225" y="1067"/>
                    <a:pt x="1225" y="1059"/>
                  </a:cubicBezTo>
                  <a:cubicBezTo>
                    <a:pt x="1225" y="1059"/>
                    <a:pt x="1225" y="1051"/>
                    <a:pt x="1225" y="1043"/>
                  </a:cubicBezTo>
                  <a:cubicBezTo>
                    <a:pt x="1225" y="1043"/>
                    <a:pt x="1225" y="1043"/>
                    <a:pt x="1225" y="1036"/>
                  </a:cubicBezTo>
                  <a:cubicBezTo>
                    <a:pt x="1225" y="1036"/>
                    <a:pt x="1225" y="1036"/>
                    <a:pt x="1209" y="1036"/>
                  </a:cubicBezTo>
                  <a:cubicBezTo>
                    <a:pt x="1130" y="1036"/>
                    <a:pt x="837" y="1075"/>
                    <a:pt x="814" y="1083"/>
                  </a:cubicBezTo>
                  <a:cubicBezTo>
                    <a:pt x="782" y="1083"/>
                    <a:pt x="640" y="1154"/>
                    <a:pt x="584" y="1186"/>
                  </a:cubicBezTo>
                  <a:cubicBezTo>
                    <a:pt x="577" y="1194"/>
                    <a:pt x="569" y="1202"/>
                    <a:pt x="553" y="1209"/>
                  </a:cubicBezTo>
                  <a:cubicBezTo>
                    <a:pt x="529" y="1225"/>
                    <a:pt x="505" y="1249"/>
                    <a:pt x="450" y="1249"/>
                  </a:cubicBezTo>
                  <a:cubicBezTo>
                    <a:pt x="426" y="1249"/>
                    <a:pt x="308" y="1265"/>
                    <a:pt x="126" y="1281"/>
                  </a:cubicBezTo>
                  <a:cubicBezTo>
                    <a:pt x="0" y="1296"/>
                    <a:pt x="0" y="1296"/>
                    <a:pt x="0" y="1296"/>
                  </a:cubicBezTo>
                  <a:lnTo>
                    <a:pt x="0" y="1296"/>
                  </a:lnTo>
                  <a:cubicBezTo>
                    <a:pt x="0" y="1273"/>
                    <a:pt x="0" y="1249"/>
                    <a:pt x="0" y="1233"/>
                  </a:cubicBezTo>
                  <a:cubicBezTo>
                    <a:pt x="0" y="1209"/>
                    <a:pt x="0" y="1194"/>
                    <a:pt x="0" y="1186"/>
                  </a:cubicBezTo>
                  <a:cubicBezTo>
                    <a:pt x="0" y="1170"/>
                    <a:pt x="23" y="1162"/>
                    <a:pt x="47" y="1162"/>
                  </a:cubicBezTo>
                  <a:cubicBezTo>
                    <a:pt x="63" y="1162"/>
                    <a:pt x="78" y="1154"/>
                    <a:pt x="87" y="1146"/>
                  </a:cubicBezTo>
                  <a:cubicBezTo>
                    <a:pt x="102" y="1131"/>
                    <a:pt x="102" y="1115"/>
                    <a:pt x="94" y="1091"/>
                  </a:cubicBezTo>
                  <a:cubicBezTo>
                    <a:pt x="94" y="1083"/>
                    <a:pt x="94" y="1075"/>
                    <a:pt x="94" y="1067"/>
                  </a:cubicBezTo>
                  <a:cubicBezTo>
                    <a:pt x="87" y="1043"/>
                    <a:pt x="94" y="1043"/>
                    <a:pt x="110" y="1043"/>
                  </a:cubicBezTo>
                  <a:cubicBezTo>
                    <a:pt x="118" y="1043"/>
                    <a:pt x="142" y="1036"/>
                    <a:pt x="165" y="1012"/>
                  </a:cubicBezTo>
                  <a:cubicBezTo>
                    <a:pt x="189" y="1004"/>
                    <a:pt x="205" y="996"/>
                    <a:pt x="221" y="996"/>
                  </a:cubicBezTo>
                  <a:cubicBezTo>
                    <a:pt x="229" y="996"/>
                    <a:pt x="237" y="996"/>
                    <a:pt x="245" y="996"/>
                  </a:cubicBezTo>
                  <a:cubicBezTo>
                    <a:pt x="253" y="1004"/>
                    <a:pt x="260" y="1004"/>
                    <a:pt x="260" y="1004"/>
                  </a:cubicBezTo>
                  <a:cubicBezTo>
                    <a:pt x="268" y="1004"/>
                    <a:pt x="276" y="996"/>
                    <a:pt x="284" y="996"/>
                  </a:cubicBezTo>
                  <a:cubicBezTo>
                    <a:pt x="292" y="988"/>
                    <a:pt x="300" y="972"/>
                    <a:pt x="308" y="965"/>
                  </a:cubicBezTo>
                  <a:cubicBezTo>
                    <a:pt x="347" y="925"/>
                    <a:pt x="403" y="862"/>
                    <a:pt x="434" y="862"/>
                  </a:cubicBezTo>
                  <a:cubicBezTo>
                    <a:pt x="458" y="862"/>
                    <a:pt x="474" y="838"/>
                    <a:pt x="474" y="798"/>
                  </a:cubicBezTo>
                  <a:cubicBezTo>
                    <a:pt x="474" y="783"/>
                    <a:pt x="490" y="775"/>
                    <a:pt x="505" y="775"/>
                  </a:cubicBezTo>
                  <a:cubicBezTo>
                    <a:pt x="521" y="767"/>
                    <a:pt x="529" y="767"/>
                    <a:pt x="537" y="759"/>
                  </a:cubicBezTo>
                  <a:cubicBezTo>
                    <a:pt x="545" y="743"/>
                    <a:pt x="545" y="735"/>
                    <a:pt x="545" y="727"/>
                  </a:cubicBezTo>
                  <a:cubicBezTo>
                    <a:pt x="545" y="719"/>
                    <a:pt x="545" y="719"/>
                    <a:pt x="545" y="712"/>
                  </a:cubicBezTo>
                  <a:cubicBezTo>
                    <a:pt x="553" y="712"/>
                    <a:pt x="553" y="712"/>
                    <a:pt x="561" y="712"/>
                  </a:cubicBezTo>
                  <a:cubicBezTo>
                    <a:pt x="577" y="712"/>
                    <a:pt x="577" y="719"/>
                    <a:pt x="584" y="727"/>
                  </a:cubicBezTo>
                  <a:cubicBezTo>
                    <a:pt x="584" y="743"/>
                    <a:pt x="593" y="751"/>
                    <a:pt x="616" y="751"/>
                  </a:cubicBezTo>
                  <a:cubicBezTo>
                    <a:pt x="640" y="743"/>
                    <a:pt x="640" y="735"/>
                    <a:pt x="648" y="712"/>
                  </a:cubicBezTo>
                  <a:cubicBezTo>
                    <a:pt x="648" y="688"/>
                    <a:pt x="648" y="664"/>
                    <a:pt x="671" y="648"/>
                  </a:cubicBezTo>
                  <a:cubicBezTo>
                    <a:pt x="679" y="632"/>
                    <a:pt x="695" y="625"/>
                    <a:pt x="711" y="625"/>
                  </a:cubicBezTo>
                  <a:cubicBezTo>
                    <a:pt x="743" y="625"/>
                    <a:pt x="766" y="656"/>
                    <a:pt x="766" y="664"/>
                  </a:cubicBezTo>
                  <a:lnTo>
                    <a:pt x="766" y="664"/>
                  </a:lnTo>
                  <a:cubicBezTo>
                    <a:pt x="774" y="664"/>
                    <a:pt x="814" y="617"/>
                    <a:pt x="830" y="577"/>
                  </a:cubicBezTo>
                  <a:cubicBezTo>
                    <a:pt x="837" y="553"/>
                    <a:pt x="845" y="545"/>
                    <a:pt x="853" y="538"/>
                  </a:cubicBezTo>
                  <a:cubicBezTo>
                    <a:pt x="861" y="538"/>
                    <a:pt x="869" y="530"/>
                    <a:pt x="877" y="514"/>
                  </a:cubicBezTo>
                  <a:cubicBezTo>
                    <a:pt x="893" y="482"/>
                    <a:pt x="893" y="435"/>
                    <a:pt x="885" y="403"/>
                  </a:cubicBezTo>
                  <a:cubicBezTo>
                    <a:pt x="885" y="395"/>
                    <a:pt x="885" y="395"/>
                    <a:pt x="885" y="395"/>
                  </a:cubicBezTo>
                  <a:cubicBezTo>
                    <a:pt x="893" y="395"/>
                    <a:pt x="893" y="395"/>
                    <a:pt x="893" y="395"/>
                  </a:cubicBezTo>
                  <a:cubicBezTo>
                    <a:pt x="901" y="395"/>
                    <a:pt x="909" y="403"/>
                    <a:pt x="917" y="403"/>
                  </a:cubicBezTo>
                  <a:cubicBezTo>
                    <a:pt x="924" y="403"/>
                    <a:pt x="924" y="403"/>
                    <a:pt x="932" y="403"/>
                  </a:cubicBezTo>
                  <a:cubicBezTo>
                    <a:pt x="964" y="403"/>
                    <a:pt x="1011" y="395"/>
                    <a:pt x="1011" y="395"/>
                  </a:cubicBezTo>
                  <a:cubicBezTo>
                    <a:pt x="1881" y="277"/>
                    <a:pt x="2869" y="48"/>
                    <a:pt x="3059" y="0"/>
                  </a:cubicBezTo>
                  <a:cubicBezTo>
                    <a:pt x="3067" y="0"/>
                    <a:pt x="3067" y="0"/>
                    <a:pt x="3067" y="0"/>
                  </a:cubicBezTo>
                  <a:lnTo>
                    <a:pt x="3067" y="0"/>
                  </a:lnTo>
                  <a:cubicBezTo>
                    <a:pt x="3067" y="8"/>
                    <a:pt x="3075" y="16"/>
                    <a:pt x="3083" y="24"/>
                  </a:cubicBezTo>
                  <a:cubicBezTo>
                    <a:pt x="3091" y="48"/>
                    <a:pt x="3098" y="63"/>
                    <a:pt x="3106" y="79"/>
                  </a:cubicBezTo>
                  <a:cubicBezTo>
                    <a:pt x="3114" y="95"/>
                    <a:pt x="3122" y="111"/>
                    <a:pt x="3130" y="119"/>
                  </a:cubicBezTo>
                  <a:cubicBezTo>
                    <a:pt x="3138" y="134"/>
                    <a:pt x="3154" y="158"/>
                    <a:pt x="3162" y="182"/>
                  </a:cubicBezTo>
                  <a:cubicBezTo>
                    <a:pt x="3177" y="198"/>
                    <a:pt x="3186" y="221"/>
                    <a:pt x="3193" y="237"/>
                  </a:cubicBezTo>
                  <a:cubicBezTo>
                    <a:pt x="3217" y="269"/>
                    <a:pt x="3225" y="285"/>
                    <a:pt x="3249" y="308"/>
                  </a:cubicBezTo>
                  <a:cubicBezTo>
                    <a:pt x="3257" y="316"/>
                    <a:pt x="3264" y="324"/>
                    <a:pt x="3257" y="324"/>
                  </a:cubicBezTo>
                  <a:lnTo>
                    <a:pt x="3257" y="332"/>
                  </a:lnTo>
                  <a:cubicBezTo>
                    <a:pt x="3249" y="332"/>
                    <a:pt x="3233" y="316"/>
                    <a:pt x="3225" y="308"/>
                  </a:cubicBezTo>
                  <a:cubicBezTo>
                    <a:pt x="3201" y="292"/>
                    <a:pt x="3186" y="269"/>
                    <a:pt x="3162" y="229"/>
                  </a:cubicBezTo>
                  <a:cubicBezTo>
                    <a:pt x="3138" y="190"/>
                    <a:pt x="3130" y="166"/>
                    <a:pt x="3114" y="150"/>
                  </a:cubicBezTo>
                  <a:cubicBezTo>
                    <a:pt x="3114" y="142"/>
                    <a:pt x="3106" y="134"/>
                    <a:pt x="3098" y="126"/>
                  </a:cubicBezTo>
                  <a:cubicBezTo>
                    <a:pt x="3091" y="111"/>
                    <a:pt x="3083" y="95"/>
                    <a:pt x="3075" y="71"/>
                  </a:cubicBezTo>
                  <a:cubicBezTo>
                    <a:pt x="3059" y="39"/>
                    <a:pt x="3059" y="39"/>
                    <a:pt x="3035" y="32"/>
                  </a:cubicBezTo>
                  <a:lnTo>
                    <a:pt x="3027" y="24"/>
                  </a:lnTo>
                  <a:cubicBezTo>
                    <a:pt x="3011" y="16"/>
                    <a:pt x="3011" y="16"/>
                    <a:pt x="3011" y="24"/>
                  </a:cubicBezTo>
                  <a:cubicBezTo>
                    <a:pt x="3011" y="24"/>
                    <a:pt x="3004" y="32"/>
                    <a:pt x="3019" y="63"/>
                  </a:cubicBezTo>
                  <a:cubicBezTo>
                    <a:pt x="3027" y="71"/>
                    <a:pt x="3035" y="79"/>
                    <a:pt x="3043" y="87"/>
                  </a:cubicBezTo>
                  <a:cubicBezTo>
                    <a:pt x="3051" y="95"/>
                    <a:pt x="3059" y="103"/>
                    <a:pt x="3067" y="111"/>
                  </a:cubicBezTo>
                  <a:cubicBezTo>
                    <a:pt x="3083" y="119"/>
                    <a:pt x="3083" y="126"/>
                    <a:pt x="3091" y="142"/>
                  </a:cubicBezTo>
                  <a:cubicBezTo>
                    <a:pt x="3098" y="158"/>
                    <a:pt x="3106" y="182"/>
                    <a:pt x="3122" y="190"/>
                  </a:cubicBezTo>
                  <a:cubicBezTo>
                    <a:pt x="3130" y="206"/>
                    <a:pt x="3130" y="206"/>
                    <a:pt x="3130" y="214"/>
                  </a:cubicBezTo>
                  <a:cubicBezTo>
                    <a:pt x="3130" y="214"/>
                    <a:pt x="3130" y="214"/>
                    <a:pt x="3122" y="214"/>
                  </a:cubicBezTo>
                  <a:cubicBezTo>
                    <a:pt x="3114" y="214"/>
                    <a:pt x="3106" y="206"/>
                    <a:pt x="3098" y="206"/>
                  </a:cubicBezTo>
                  <a:lnTo>
                    <a:pt x="3091" y="198"/>
                  </a:lnTo>
                  <a:cubicBezTo>
                    <a:pt x="3091" y="198"/>
                    <a:pt x="3091" y="198"/>
                    <a:pt x="3083" y="198"/>
                  </a:cubicBezTo>
                  <a:cubicBezTo>
                    <a:pt x="3083" y="198"/>
                    <a:pt x="3083" y="198"/>
                    <a:pt x="3075" y="198"/>
                  </a:cubicBezTo>
                  <a:cubicBezTo>
                    <a:pt x="3075" y="198"/>
                    <a:pt x="3075" y="198"/>
                    <a:pt x="3067" y="198"/>
                  </a:cubicBezTo>
                  <a:cubicBezTo>
                    <a:pt x="3059" y="198"/>
                    <a:pt x="3043" y="190"/>
                    <a:pt x="3027" y="182"/>
                  </a:cubicBezTo>
                  <a:cubicBezTo>
                    <a:pt x="3019" y="174"/>
                    <a:pt x="3011" y="174"/>
                    <a:pt x="3011" y="166"/>
                  </a:cubicBezTo>
                  <a:cubicBezTo>
                    <a:pt x="3004" y="166"/>
                    <a:pt x="2996" y="166"/>
                    <a:pt x="2996" y="166"/>
                  </a:cubicBezTo>
                  <a:lnTo>
                    <a:pt x="2996" y="166"/>
                  </a:lnTo>
                  <a:cubicBezTo>
                    <a:pt x="2996" y="174"/>
                    <a:pt x="3004" y="182"/>
                    <a:pt x="3011" y="190"/>
                  </a:cubicBezTo>
                  <a:cubicBezTo>
                    <a:pt x="3027" y="198"/>
                    <a:pt x="3027" y="206"/>
                    <a:pt x="3027" y="214"/>
                  </a:cubicBezTo>
                  <a:cubicBezTo>
                    <a:pt x="3019" y="221"/>
                    <a:pt x="3004" y="237"/>
                    <a:pt x="2980" y="245"/>
                  </a:cubicBezTo>
                  <a:cubicBezTo>
                    <a:pt x="2940" y="245"/>
                    <a:pt x="2924" y="253"/>
                    <a:pt x="2917" y="285"/>
                  </a:cubicBezTo>
                  <a:cubicBezTo>
                    <a:pt x="2909" y="301"/>
                    <a:pt x="2885" y="308"/>
                    <a:pt x="2869" y="308"/>
                  </a:cubicBezTo>
                  <a:cubicBezTo>
                    <a:pt x="2861" y="308"/>
                    <a:pt x="2853" y="316"/>
                    <a:pt x="2846" y="316"/>
                  </a:cubicBezTo>
                  <a:cubicBezTo>
                    <a:pt x="2838" y="324"/>
                    <a:pt x="2838" y="324"/>
                    <a:pt x="2830" y="324"/>
                  </a:cubicBezTo>
                  <a:cubicBezTo>
                    <a:pt x="2830" y="324"/>
                    <a:pt x="2822" y="324"/>
                    <a:pt x="2814" y="316"/>
                  </a:cubicBezTo>
                  <a:cubicBezTo>
                    <a:pt x="2814" y="316"/>
                    <a:pt x="2806" y="308"/>
                    <a:pt x="2798" y="308"/>
                  </a:cubicBezTo>
                  <a:cubicBezTo>
                    <a:pt x="2782" y="308"/>
                    <a:pt x="2774" y="301"/>
                    <a:pt x="2766" y="301"/>
                  </a:cubicBezTo>
                  <a:cubicBezTo>
                    <a:pt x="2774" y="308"/>
                    <a:pt x="2790" y="332"/>
                    <a:pt x="2830" y="348"/>
                  </a:cubicBezTo>
                  <a:cubicBezTo>
                    <a:pt x="2830" y="356"/>
                    <a:pt x="2838" y="356"/>
                    <a:pt x="2846" y="356"/>
                  </a:cubicBezTo>
                  <a:cubicBezTo>
                    <a:pt x="2869" y="356"/>
                    <a:pt x="2885" y="332"/>
                    <a:pt x="2893" y="316"/>
                  </a:cubicBezTo>
                  <a:cubicBezTo>
                    <a:pt x="2893" y="308"/>
                    <a:pt x="2901" y="308"/>
                    <a:pt x="2901" y="308"/>
                  </a:cubicBezTo>
                  <a:cubicBezTo>
                    <a:pt x="2909" y="308"/>
                    <a:pt x="2917" y="316"/>
                    <a:pt x="2933" y="324"/>
                  </a:cubicBezTo>
                  <a:cubicBezTo>
                    <a:pt x="2940" y="324"/>
                    <a:pt x="2948" y="332"/>
                    <a:pt x="2956" y="332"/>
                  </a:cubicBezTo>
                  <a:cubicBezTo>
                    <a:pt x="2956" y="332"/>
                    <a:pt x="2956" y="332"/>
                    <a:pt x="2956" y="324"/>
                  </a:cubicBezTo>
                  <a:cubicBezTo>
                    <a:pt x="2964" y="308"/>
                    <a:pt x="2972" y="301"/>
                    <a:pt x="2988" y="301"/>
                  </a:cubicBezTo>
                  <a:cubicBezTo>
                    <a:pt x="2996" y="292"/>
                    <a:pt x="3004" y="292"/>
                    <a:pt x="3011" y="285"/>
                  </a:cubicBezTo>
                  <a:cubicBezTo>
                    <a:pt x="3019" y="277"/>
                    <a:pt x="3027" y="277"/>
                    <a:pt x="3027" y="277"/>
                  </a:cubicBezTo>
                  <a:cubicBezTo>
                    <a:pt x="3035" y="277"/>
                    <a:pt x="3043" y="285"/>
                    <a:pt x="3051" y="292"/>
                  </a:cubicBezTo>
                  <a:cubicBezTo>
                    <a:pt x="3059" y="301"/>
                    <a:pt x="3067" y="308"/>
                    <a:pt x="3067" y="316"/>
                  </a:cubicBezTo>
                  <a:cubicBezTo>
                    <a:pt x="3075" y="316"/>
                    <a:pt x="3075" y="324"/>
                    <a:pt x="3075" y="324"/>
                  </a:cubicBezTo>
                  <a:cubicBezTo>
                    <a:pt x="3083" y="324"/>
                    <a:pt x="3083" y="316"/>
                    <a:pt x="3091" y="316"/>
                  </a:cubicBezTo>
                  <a:cubicBezTo>
                    <a:pt x="3098" y="316"/>
                    <a:pt x="3098" y="316"/>
                    <a:pt x="3098" y="308"/>
                  </a:cubicBezTo>
                  <a:cubicBezTo>
                    <a:pt x="3098" y="292"/>
                    <a:pt x="3114" y="285"/>
                    <a:pt x="3130" y="285"/>
                  </a:cubicBezTo>
                  <a:cubicBezTo>
                    <a:pt x="3138" y="285"/>
                    <a:pt x="3138" y="285"/>
                    <a:pt x="3146" y="285"/>
                  </a:cubicBezTo>
                  <a:cubicBezTo>
                    <a:pt x="3146" y="292"/>
                    <a:pt x="3146" y="292"/>
                    <a:pt x="3146" y="292"/>
                  </a:cubicBezTo>
                  <a:cubicBezTo>
                    <a:pt x="3154" y="292"/>
                    <a:pt x="3177" y="301"/>
                    <a:pt x="3186" y="332"/>
                  </a:cubicBezTo>
                  <a:cubicBezTo>
                    <a:pt x="3186" y="348"/>
                    <a:pt x="3186" y="372"/>
                    <a:pt x="3193" y="395"/>
                  </a:cubicBezTo>
                  <a:cubicBezTo>
                    <a:pt x="3193" y="403"/>
                    <a:pt x="3193" y="411"/>
                    <a:pt x="3193" y="427"/>
                  </a:cubicBezTo>
                  <a:cubicBezTo>
                    <a:pt x="3201" y="435"/>
                    <a:pt x="3193" y="443"/>
                    <a:pt x="3193" y="451"/>
                  </a:cubicBezTo>
                  <a:cubicBezTo>
                    <a:pt x="3186" y="459"/>
                    <a:pt x="3177" y="459"/>
                    <a:pt x="3170" y="459"/>
                  </a:cubicBezTo>
                  <a:cubicBezTo>
                    <a:pt x="3162" y="459"/>
                    <a:pt x="3162" y="459"/>
                    <a:pt x="3162" y="459"/>
                  </a:cubicBezTo>
                  <a:cubicBezTo>
                    <a:pt x="3162" y="459"/>
                    <a:pt x="3154" y="459"/>
                    <a:pt x="3154" y="451"/>
                  </a:cubicBezTo>
                  <a:cubicBezTo>
                    <a:pt x="3146" y="451"/>
                    <a:pt x="3146" y="451"/>
                    <a:pt x="3146" y="451"/>
                  </a:cubicBezTo>
                  <a:cubicBezTo>
                    <a:pt x="3138" y="451"/>
                    <a:pt x="3138" y="459"/>
                    <a:pt x="3130" y="490"/>
                  </a:cubicBezTo>
                  <a:cubicBezTo>
                    <a:pt x="3130" y="561"/>
                    <a:pt x="3067" y="601"/>
                    <a:pt x="3059" y="601"/>
                  </a:cubicBezTo>
                  <a:cubicBezTo>
                    <a:pt x="3051" y="601"/>
                    <a:pt x="3043" y="601"/>
                    <a:pt x="3027" y="601"/>
                  </a:cubicBezTo>
                  <a:cubicBezTo>
                    <a:pt x="3019" y="601"/>
                    <a:pt x="3004" y="601"/>
                    <a:pt x="2972" y="593"/>
                  </a:cubicBezTo>
                  <a:cubicBezTo>
                    <a:pt x="2933" y="585"/>
                    <a:pt x="2924" y="585"/>
                    <a:pt x="2924" y="577"/>
                  </a:cubicBezTo>
                  <a:cubicBezTo>
                    <a:pt x="2917" y="577"/>
                    <a:pt x="2917" y="577"/>
                    <a:pt x="2909" y="577"/>
                  </a:cubicBezTo>
                  <a:cubicBezTo>
                    <a:pt x="2909" y="569"/>
                    <a:pt x="2901" y="569"/>
                    <a:pt x="2901" y="569"/>
                  </a:cubicBezTo>
                  <a:cubicBezTo>
                    <a:pt x="2901" y="569"/>
                    <a:pt x="2901" y="569"/>
                    <a:pt x="2893" y="577"/>
                  </a:cubicBezTo>
                  <a:cubicBezTo>
                    <a:pt x="2893" y="585"/>
                    <a:pt x="2893" y="593"/>
                    <a:pt x="2877" y="601"/>
                  </a:cubicBezTo>
                  <a:cubicBezTo>
                    <a:pt x="2869" y="609"/>
                    <a:pt x="2861" y="609"/>
                    <a:pt x="2853" y="609"/>
                  </a:cubicBezTo>
                  <a:cubicBezTo>
                    <a:pt x="2846" y="609"/>
                    <a:pt x="2846" y="609"/>
                    <a:pt x="2838" y="609"/>
                  </a:cubicBezTo>
                  <a:lnTo>
                    <a:pt x="2830" y="609"/>
                  </a:lnTo>
                  <a:cubicBezTo>
                    <a:pt x="2822" y="609"/>
                    <a:pt x="2814" y="609"/>
                    <a:pt x="2814" y="609"/>
                  </a:cubicBezTo>
                  <a:lnTo>
                    <a:pt x="2814" y="609"/>
                  </a:lnTo>
                  <a:cubicBezTo>
                    <a:pt x="2814" y="617"/>
                    <a:pt x="2830" y="617"/>
                    <a:pt x="2846" y="625"/>
                  </a:cubicBezTo>
                  <a:cubicBezTo>
                    <a:pt x="2861" y="625"/>
                    <a:pt x="2877" y="632"/>
                    <a:pt x="2893" y="632"/>
                  </a:cubicBezTo>
                  <a:cubicBezTo>
                    <a:pt x="2909" y="640"/>
                    <a:pt x="2917" y="640"/>
                    <a:pt x="2924" y="640"/>
                  </a:cubicBezTo>
                  <a:cubicBezTo>
                    <a:pt x="2940" y="648"/>
                    <a:pt x="2940" y="648"/>
                    <a:pt x="2956" y="656"/>
                  </a:cubicBezTo>
                  <a:cubicBezTo>
                    <a:pt x="2964" y="664"/>
                    <a:pt x="2964" y="664"/>
                    <a:pt x="2964" y="664"/>
                  </a:cubicBezTo>
                  <a:cubicBezTo>
                    <a:pt x="2972" y="664"/>
                    <a:pt x="2972" y="672"/>
                    <a:pt x="2972" y="672"/>
                  </a:cubicBezTo>
                  <a:cubicBezTo>
                    <a:pt x="2972" y="680"/>
                    <a:pt x="2972" y="688"/>
                    <a:pt x="2964" y="696"/>
                  </a:cubicBezTo>
                  <a:cubicBezTo>
                    <a:pt x="2956" y="704"/>
                    <a:pt x="2948" y="712"/>
                    <a:pt x="2940" y="727"/>
                  </a:cubicBezTo>
                  <a:cubicBezTo>
                    <a:pt x="2933" y="735"/>
                    <a:pt x="2933" y="751"/>
                    <a:pt x="2924" y="759"/>
                  </a:cubicBezTo>
                  <a:cubicBezTo>
                    <a:pt x="2924" y="767"/>
                    <a:pt x="2917" y="775"/>
                    <a:pt x="2909" y="798"/>
                  </a:cubicBezTo>
                  <a:cubicBezTo>
                    <a:pt x="2893" y="822"/>
                    <a:pt x="2877" y="822"/>
                    <a:pt x="2861" y="822"/>
                  </a:cubicBezTo>
                  <a:cubicBezTo>
                    <a:pt x="2853" y="822"/>
                    <a:pt x="2853" y="822"/>
                    <a:pt x="2846" y="830"/>
                  </a:cubicBezTo>
                  <a:lnTo>
                    <a:pt x="2846" y="830"/>
                  </a:lnTo>
                  <a:cubicBezTo>
                    <a:pt x="2846" y="830"/>
                    <a:pt x="2846" y="830"/>
                    <a:pt x="2853" y="830"/>
                  </a:cubicBezTo>
                  <a:cubicBezTo>
                    <a:pt x="2861" y="830"/>
                    <a:pt x="2877" y="830"/>
                    <a:pt x="2885" y="822"/>
                  </a:cubicBezTo>
                  <a:cubicBezTo>
                    <a:pt x="2909" y="822"/>
                    <a:pt x="2917" y="814"/>
                    <a:pt x="2924" y="806"/>
                  </a:cubicBezTo>
                  <a:cubicBezTo>
                    <a:pt x="2933" y="806"/>
                    <a:pt x="2940" y="798"/>
                    <a:pt x="2956" y="798"/>
                  </a:cubicBezTo>
                  <a:cubicBezTo>
                    <a:pt x="2972" y="791"/>
                    <a:pt x="2972" y="783"/>
                    <a:pt x="2972" y="759"/>
                  </a:cubicBezTo>
                  <a:cubicBezTo>
                    <a:pt x="2972" y="759"/>
                    <a:pt x="2972" y="743"/>
                    <a:pt x="2972" y="735"/>
                  </a:cubicBezTo>
                  <a:cubicBezTo>
                    <a:pt x="2972" y="735"/>
                    <a:pt x="2972" y="719"/>
                    <a:pt x="2980" y="719"/>
                  </a:cubicBezTo>
                  <a:cubicBezTo>
                    <a:pt x="2996" y="719"/>
                    <a:pt x="3004" y="743"/>
                    <a:pt x="3004" y="759"/>
                  </a:cubicBezTo>
                  <a:cubicBezTo>
                    <a:pt x="3004" y="783"/>
                    <a:pt x="3004" y="783"/>
                    <a:pt x="3019" y="798"/>
                  </a:cubicBezTo>
                  <a:lnTo>
                    <a:pt x="3019" y="798"/>
                  </a:lnTo>
                  <a:cubicBezTo>
                    <a:pt x="3019" y="806"/>
                    <a:pt x="3019" y="806"/>
                    <a:pt x="3019" y="806"/>
                  </a:cubicBezTo>
                  <a:cubicBezTo>
                    <a:pt x="3027" y="806"/>
                    <a:pt x="3027" y="791"/>
                    <a:pt x="3027" y="783"/>
                  </a:cubicBezTo>
                  <a:cubicBezTo>
                    <a:pt x="3035" y="775"/>
                    <a:pt x="3035" y="759"/>
                    <a:pt x="3051" y="751"/>
                  </a:cubicBezTo>
                  <a:cubicBezTo>
                    <a:pt x="3059" y="743"/>
                    <a:pt x="3059" y="743"/>
                    <a:pt x="3067" y="743"/>
                  </a:cubicBezTo>
                  <a:cubicBezTo>
                    <a:pt x="3067" y="751"/>
                    <a:pt x="3067" y="759"/>
                    <a:pt x="3067" y="775"/>
                  </a:cubicBezTo>
                  <a:cubicBezTo>
                    <a:pt x="3059" y="783"/>
                    <a:pt x="3059" y="791"/>
                    <a:pt x="3059" y="798"/>
                  </a:cubicBezTo>
                  <a:cubicBezTo>
                    <a:pt x="3059" y="806"/>
                    <a:pt x="3059" y="806"/>
                    <a:pt x="3059" y="806"/>
                  </a:cubicBezTo>
                  <a:lnTo>
                    <a:pt x="3059" y="806"/>
                  </a:lnTo>
                  <a:cubicBezTo>
                    <a:pt x="3067" y="806"/>
                    <a:pt x="3067" y="798"/>
                    <a:pt x="3075" y="798"/>
                  </a:cubicBezTo>
                  <a:cubicBezTo>
                    <a:pt x="3083" y="791"/>
                    <a:pt x="3091" y="798"/>
                    <a:pt x="3098" y="806"/>
                  </a:cubicBezTo>
                  <a:cubicBezTo>
                    <a:pt x="3098" y="806"/>
                    <a:pt x="3098" y="822"/>
                    <a:pt x="3083" y="830"/>
                  </a:cubicBezTo>
                  <a:cubicBezTo>
                    <a:pt x="3067" y="846"/>
                    <a:pt x="3043" y="893"/>
                    <a:pt x="3027" y="933"/>
                  </a:cubicBezTo>
                  <a:cubicBezTo>
                    <a:pt x="3019" y="965"/>
                    <a:pt x="3011" y="972"/>
                    <a:pt x="3011" y="972"/>
                  </a:cubicBezTo>
                  <a:cubicBezTo>
                    <a:pt x="3004" y="972"/>
                    <a:pt x="3004" y="965"/>
                    <a:pt x="3004" y="965"/>
                  </a:cubicBezTo>
                  <a:cubicBezTo>
                    <a:pt x="3004" y="965"/>
                    <a:pt x="3004" y="956"/>
                    <a:pt x="2996" y="956"/>
                  </a:cubicBezTo>
                  <a:cubicBezTo>
                    <a:pt x="2996" y="949"/>
                    <a:pt x="2996" y="941"/>
                    <a:pt x="2996" y="933"/>
                  </a:cubicBezTo>
                  <a:cubicBezTo>
                    <a:pt x="2996" y="925"/>
                    <a:pt x="2996" y="917"/>
                    <a:pt x="2988" y="909"/>
                  </a:cubicBezTo>
                  <a:cubicBezTo>
                    <a:pt x="2980" y="909"/>
                    <a:pt x="2980" y="909"/>
                    <a:pt x="2980" y="909"/>
                  </a:cubicBezTo>
                  <a:lnTo>
                    <a:pt x="2980" y="909"/>
                  </a:lnTo>
                  <a:cubicBezTo>
                    <a:pt x="2972" y="909"/>
                    <a:pt x="2964" y="917"/>
                    <a:pt x="2948" y="917"/>
                  </a:cubicBezTo>
                  <a:cubicBezTo>
                    <a:pt x="2933" y="917"/>
                    <a:pt x="2924" y="917"/>
                    <a:pt x="2924" y="909"/>
                  </a:cubicBezTo>
                  <a:lnTo>
                    <a:pt x="2924" y="909"/>
                  </a:lnTo>
                  <a:cubicBezTo>
                    <a:pt x="2917" y="909"/>
                    <a:pt x="2917" y="909"/>
                    <a:pt x="2917" y="909"/>
                  </a:cubicBezTo>
                  <a:cubicBezTo>
                    <a:pt x="2917" y="917"/>
                    <a:pt x="2917" y="925"/>
                    <a:pt x="2917" y="933"/>
                  </a:cubicBezTo>
                  <a:cubicBezTo>
                    <a:pt x="2917" y="941"/>
                    <a:pt x="2924" y="949"/>
                    <a:pt x="2909" y="956"/>
                  </a:cubicBezTo>
                  <a:cubicBezTo>
                    <a:pt x="2909" y="965"/>
                    <a:pt x="2885" y="965"/>
                    <a:pt x="2869" y="972"/>
                  </a:cubicBezTo>
                  <a:cubicBezTo>
                    <a:pt x="2853" y="980"/>
                    <a:pt x="2846" y="980"/>
                    <a:pt x="2838" y="988"/>
                  </a:cubicBezTo>
                  <a:cubicBezTo>
                    <a:pt x="2830" y="988"/>
                    <a:pt x="2830" y="988"/>
                    <a:pt x="2822" y="988"/>
                  </a:cubicBezTo>
                  <a:cubicBezTo>
                    <a:pt x="2806" y="988"/>
                    <a:pt x="2790" y="980"/>
                    <a:pt x="2782" y="972"/>
                  </a:cubicBezTo>
                  <a:lnTo>
                    <a:pt x="2774" y="972"/>
                  </a:lnTo>
                  <a:cubicBezTo>
                    <a:pt x="2774" y="972"/>
                    <a:pt x="2766" y="980"/>
                    <a:pt x="2758" y="1004"/>
                  </a:cubicBezTo>
                  <a:cubicBezTo>
                    <a:pt x="2758" y="1020"/>
                    <a:pt x="2743" y="1036"/>
                    <a:pt x="2735" y="1051"/>
                  </a:cubicBezTo>
                  <a:cubicBezTo>
                    <a:pt x="2735" y="1051"/>
                    <a:pt x="2735" y="1059"/>
                    <a:pt x="2727" y="1059"/>
                  </a:cubicBezTo>
                  <a:cubicBezTo>
                    <a:pt x="2727" y="1059"/>
                    <a:pt x="2727" y="1067"/>
                    <a:pt x="2719" y="1067"/>
                  </a:cubicBezTo>
                  <a:cubicBezTo>
                    <a:pt x="2711" y="1067"/>
                    <a:pt x="2695" y="1051"/>
                    <a:pt x="2687" y="1036"/>
                  </a:cubicBezTo>
                  <a:cubicBezTo>
                    <a:pt x="2680" y="1036"/>
                    <a:pt x="2680" y="1028"/>
                    <a:pt x="2687" y="1020"/>
                  </a:cubicBezTo>
                  <a:cubicBezTo>
                    <a:pt x="2680" y="1020"/>
                    <a:pt x="2680" y="1020"/>
                    <a:pt x="2680" y="1020"/>
                  </a:cubicBezTo>
                  <a:cubicBezTo>
                    <a:pt x="2680" y="1028"/>
                    <a:pt x="2680" y="1043"/>
                    <a:pt x="2687" y="1059"/>
                  </a:cubicBezTo>
                  <a:cubicBezTo>
                    <a:pt x="2687" y="1059"/>
                    <a:pt x="2687" y="1059"/>
                    <a:pt x="2695" y="1067"/>
                  </a:cubicBezTo>
                  <a:cubicBezTo>
                    <a:pt x="2695" y="1075"/>
                    <a:pt x="2703" y="1075"/>
                    <a:pt x="2703" y="1083"/>
                  </a:cubicBezTo>
                  <a:cubicBezTo>
                    <a:pt x="2703" y="1091"/>
                    <a:pt x="2695" y="1099"/>
                    <a:pt x="2687" y="1107"/>
                  </a:cubicBezTo>
                  <a:cubicBezTo>
                    <a:pt x="2656" y="1123"/>
                    <a:pt x="2529" y="1296"/>
                    <a:pt x="2521" y="1368"/>
                  </a:cubicBezTo>
                  <a:cubicBezTo>
                    <a:pt x="2521" y="1431"/>
                    <a:pt x="2498" y="1431"/>
                    <a:pt x="2458" y="1431"/>
                  </a:cubicBezTo>
                  <a:cubicBezTo>
                    <a:pt x="2450" y="1431"/>
                    <a:pt x="2442" y="1431"/>
                    <a:pt x="2427" y="1431"/>
                  </a:cubicBezTo>
                  <a:cubicBezTo>
                    <a:pt x="2395" y="1439"/>
                    <a:pt x="2387" y="1439"/>
                    <a:pt x="2371" y="1447"/>
                  </a:cubicBezTo>
                  <a:cubicBezTo>
                    <a:pt x="2363" y="1447"/>
                    <a:pt x="2347" y="1455"/>
                    <a:pt x="2332" y="1455"/>
                  </a:cubicBezTo>
                  <a:cubicBezTo>
                    <a:pt x="2316" y="1462"/>
                    <a:pt x="2308" y="1471"/>
                    <a:pt x="2300" y="1471"/>
                  </a:cubicBezTo>
                  <a:lnTo>
                    <a:pt x="2300" y="1478"/>
                  </a:lnTo>
                  <a:close/>
                  <a:moveTo>
                    <a:pt x="1810" y="1099"/>
                  </a:moveTo>
                  <a:lnTo>
                    <a:pt x="1810" y="1099"/>
                  </a:lnTo>
                  <a:lnTo>
                    <a:pt x="1810" y="1099"/>
                  </a:lnTo>
                  <a:cubicBezTo>
                    <a:pt x="2300" y="1462"/>
                    <a:pt x="2300" y="1462"/>
                    <a:pt x="2300" y="1462"/>
                  </a:cubicBezTo>
                  <a:cubicBezTo>
                    <a:pt x="2308" y="1462"/>
                    <a:pt x="2316" y="1455"/>
                    <a:pt x="2332" y="1455"/>
                  </a:cubicBezTo>
                  <a:cubicBezTo>
                    <a:pt x="2347" y="1447"/>
                    <a:pt x="2355" y="1447"/>
                    <a:pt x="2363" y="1439"/>
                  </a:cubicBezTo>
                  <a:cubicBezTo>
                    <a:pt x="2387" y="1431"/>
                    <a:pt x="2387" y="1431"/>
                    <a:pt x="2427" y="1423"/>
                  </a:cubicBezTo>
                  <a:cubicBezTo>
                    <a:pt x="2442" y="1423"/>
                    <a:pt x="2450" y="1423"/>
                    <a:pt x="2458" y="1423"/>
                  </a:cubicBezTo>
                  <a:cubicBezTo>
                    <a:pt x="2498" y="1423"/>
                    <a:pt x="2513" y="1423"/>
                    <a:pt x="2521" y="1368"/>
                  </a:cubicBezTo>
                  <a:cubicBezTo>
                    <a:pt x="2521" y="1296"/>
                    <a:pt x="2648" y="1115"/>
                    <a:pt x="2680" y="1099"/>
                  </a:cubicBezTo>
                  <a:cubicBezTo>
                    <a:pt x="2687" y="1091"/>
                    <a:pt x="2695" y="1091"/>
                    <a:pt x="2695" y="1083"/>
                  </a:cubicBezTo>
                  <a:cubicBezTo>
                    <a:pt x="2695" y="1083"/>
                    <a:pt x="2687" y="1075"/>
                    <a:pt x="2687" y="1067"/>
                  </a:cubicBezTo>
                  <a:cubicBezTo>
                    <a:pt x="2687" y="1067"/>
                    <a:pt x="2680" y="1067"/>
                    <a:pt x="2680" y="1059"/>
                  </a:cubicBezTo>
                  <a:cubicBezTo>
                    <a:pt x="2671" y="1051"/>
                    <a:pt x="2671" y="1028"/>
                    <a:pt x="2680" y="1020"/>
                  </a:cubicBezTo>
                  <a:lnTo>
                    <a:pt x="2680" y="1012"/>
                  </a:lnTo>
                  <a:cubicBezTo>
                    <a:pt x="2687" y="1012"/>
                    <a:pt x="2687" y="1012"/>
                    <a:pt x="2687" y="1012"/>
                  </a:cubicBezTo>
                  <a:cubicBezTo>
                    <a:pt x="2695" y="1020"/>
                    <a:pt x="2687" y="1020"/>
                    <a:pt x="2687" y="1020"/>
                  </a:cubicBezTo>
                  <a:cubicBezTo>
                    <a:pt x="2687" y="1028"/>
                    <a:pt x="2687" y="1028"/>
                    <a:pt x="2695" y="1036"/>
                  </a:cubicBezTo>
                  <a:cubicBezTo>
                    <a:pt x="2703" y="1043"/>
                    <a:pt x="2711" y="1059"/>
                    <a:pt x="2719" y="1059"/>
                  </a:cubicBezTo>
                  <a:lnTo>
                    <a:pt x="2727" y="1059"/>
                  </a:lnTo>
                  <a:cubicBezTo>
                    <a:pt x="2727" y="1051"/>
                    <a:pt x="2727" y="1051"/>
                    <a:pt x="2735" y="1043"/>
                  </a:cubicBezTo>
                  <a:cubicBezTo>
                    <a:pt x="2735" y="1036"/>
                    <a:pt x="2751" y="1020"/>
                    <a:pt x="2751" y="1004"/>
                  </a:cubicBezTo>
                  <a:cubicBezTo>
                    <a:pt x="2758" y="980"/>
                    <a:pt x="2766" y="965"/>
                    <a:pt x="2774" y="965"/>
                  </a:cubicBezTo>
                  <a:cubicBezTo>
                    <a:pt x="2782" y="965"/>
                    <a:pt x="2782" y="965"/>
                    <a:pt x="2782" y="972"/>
                  </a:cubicBezTo>
                  <a:cubicBezTo>
                    <a:pt x="2790" y="980"/>
                    <a:pt x="2806" y="980"/>
                    <a:pt x="2822" y="980"/>
                  </a:cubicBezTo>
                  <a:cubicBezTo>
                    <a:pt x="2830" y="980"/>
                    <a:pt x="2830" y="980"/>
                    <a:pt x="2830" y="980"/>
                  </a:cubicBezTo>
                  <a:cubicBezTo>
                    <a:pt x="2838" y="972"/>
                    <a:pt x="2853" y="972"/>
                    <a:pt x="2869" y="965"/>
                  </a:cubicBezTo>
                  <a:cubicBezTo>
                    <a:pt x="2885" y="965"/>
                    <a:pt x="2901" y="956"/>
                    <a:pt x="2909" y="949"/>
                  </a:cubicBezTo>
                  <a:cubicBezTo>
                    <a:pt x="2917" y="949"/>
                    <a:pt x="2909" y="941"/>
                    <a:pt x="2909" y="933"/>
                  </a:cubicBezTo>
                  <a:cubicBezTo>
                    <a:pt x="2909" y="925"/>
                    <a:pt x="2909" y="917"/>
                    <a:pt x="2917" y="909"/>
                  </a:cubicBezTo>
                  <a:cubicBezTo>
                    <a:pt x="2917" y="909"/>
                    <a:pt x="2917" y="901"/>
                    <a:pt x="2924" y="901"/>
                  </a:cubicBezTo>
                  <a:cubicBezTo>
                    <a:pt x="2924" y="901"/>
                    <a:pt x="2924" y="901"/>
                    <a:pt x="2924" y="909"/>
                  </a:cubicBezTo>
                  <a:cubicBezTo>
                    <a:pt x="2933" y="909"/>
                    <a:pt x="2933" y="909"/>
                    <a:pt x="2948" y="909"/>
                  </a:cubicBezTo>
                  <a:cubicBezTo>
                    <a:pt x="2964" y="909"/>
                    <a:pt x="2972" y="909"/>
                    <a:pt x="2972" y="901"/>
                  </a:cubicBezTo>
                  <a:cubicBezTo>
                    <a:pt x="2980" y="901"/>
                    <a:pt x="2980" y="901"/>
                    <a:pt x="2980" y="901"/>
                  </a:cubicBezTo>
                  <a:cubicBezTo>
                    <a:pt x="2988" y="901"/>
                    <a:pt x="2988" y="901"/>
                    <a:pt x="2996" y="909"/>
                  </a:cubicBezTo>
                  <a:cubicBezTo>
                    <a:pt x="3004" y="917"/>
                    <a:pt x="3004" y="925"/>
                    <a:pt x="3004" y="933"/>
                  </a:cubicBezTo>
                  <a:cubicBezTo>
                    <a:pt x="3004" y="941"/>
                    <a:pt x="3004" y="949"/>
                    <a:pt x="3004" y="956"/>
                  </a:cubicBezTo>
                  <a:cubicBezTo>
                    <a:pt x="3004" y="956"/>
                    <a:pt x="3011" y="956"/>
                    <a:pt x="3011" y="965"/>
                  </a:cubicBezTo>
                  <a:cubicBezTo>
                    <a:pt x="3011" y="956"/>
                    <a:pt x="3019" y="941"/>
                    <a:pt x="3019" y="933"/>
                  </a:cubicBezTo>
                  <a:cubicBezTo>
                    <a:pt x="3035" y="885"/>
                    <a:pt x="3067" y="838"/>
                    <a:pt x="3083" y="822"/>
                  </a:cubicBezTo>
                  <a:cubicBezTo>
                    <a:pt x="3091" y="814"/>
                    <a:pt x="3091" y="806"/>
                    <a:pt x="3091" y="806"/>
                  </a:cubicBezTo>
                  <a:cubicBezTo>
                    <a:pt x="3091" y="806"/>
                    <a:pt x="3083" y="798"/>
                    <a:pt x="3075" y="806"/>
                  </a:cubicBezTo>
                  <a:lnTo>
                    <a:pt x="3067" y="814"/>
                  </a:lnTo>
                  <a:lnTo>
                    <a:pt x="3059" y="822"/>
                  </a:lnTo>
                  <a:cubicBezTo>
                    <a:pt x="3059" y="822"/>
                    <a:pt x="3059" y="814"/>
                    <a:pt x="3051" y="814"/>
                  </a:cubicBezTo>
                  <a:cubicBezTo>
                    <a:pt x="3051" y="814"/>
                    <a:pt x="3051" y="806"/>
                    <a:pt x="3051" y="798"/>
                  </a:cubicBezTo>
                  <a:cubicBezTo>
                    <a:pt x="3051" y="791"/>
                    <a:pt x="3051" y="783"/>
                    <a:pt x="3059" y="775"/>
                  </a:cubicBezTo>
                  <a:cubicBezTo>
                    <a:pt x="3059" y="767"/>
                    <a:pt x="3059" y="751"/>
                    <a:pt x="3059" y="751"/>
                  </a:cubicBezTo>
                  <a:cubicBezTo>
                    <a:pt x="3059" y="751"/>
                    <a:pt x="3059" y="751"/>
                    <a:pt x="3051" y="751"/>
                  </a:cubicBezTo>
                  <a:cubicBezTo>
                    <a:pt x="3043" y="759"/>
                    <a:pt x="3043" y="775"/>
                    <a:pt x="3035" y="791"/>
                  </a:cubicBezTo>
                  <a:cubicBezTo>
                    <a:pt x="3035" y="798"/>
                    <a:pt x="3027" y="806"/>
                    <a:pt x="3019" y="806"/>
                  </a:cubicBezTo>
                  <a:cubicBezTo>
                    <a:pt x="3019" y="806"/>
                    <a:pt x="3019" y="806"/>
                    <a:pt x="3011" y="806"/>
                  </a:cubicBezTo>
                  <a:cubicBezTo>
                    <a:pt x="3011" y="798"/>
                    <a:pt x="3011" y="798"/>
                    <a:pt x="3011" y="798"/>
                  </a:cubicBezTo>
                  <a:cubicBezTo>
                    <a:pt x="2996" y="783"/>
                    <a:pt x="2996" y="783"/>
                    <a:pt x="2996" y="759"/>
                  </a:cubicBezTo>
                  <a:cubicBezTo>
                    <a:pt x="2996" y="743"/>
                    <a:pt x="2988" y="727"/>
                    <a:pt x="2980" y="727"/>
                  </a:cubicBezTo>
                  <a:cubicBezTo>
                    <a:pt x="2980" y="727"/>
                    <a:pt x="2980" y="727"/>
                    <a:pt x="2980" y="735"/>
                  </a:cubicBezTo>
                  <a:cubicBezTo>
                    <a:pt x="2980" y="751"/>
                    <a:pt x="2980" y="759"/>
                    <a:pt x="2980" y="759"/>
                  </a:cubicBezTo>
                  <a:cubicBezTo>
                    <a:pt x="2980" y="783"/>
                    <a:pt x="2980" y="798"/>
                    <a:pt x="2956" y="806"/>
                  </a:cubicBezTo>
                  <a:cubicBezTo>
                    <a:pt x="2948" y="806"/>
                    <a:pt x="2940" y="814"/>
                    <a:pt x="2933" y="814"/>
                  </a:cubicBezTo>
                  <a:cubicBezTo>
                    <a:pt x="2917" y="822"/>
                    <a:pt x="2909" y="830"/>
                    <a:pt x="2893" y="830"/>
                  </a:cubicBezTo>
                  <a:cubicBezTo>
                    <a:pt x="2877" y="830"/>
                    <a:pt x="2861" y="838"/>
                    <a:pt x="2853" y="838"/>
                  </a:cubicBezTo>
                  <a:cubicBezTo>
                    <a:pt x="2838" y="838"/>
                    <a:pt x="2830" y="830"/>
                    <a:pt x="2830" y="830"/>
                  </a:cubicBezTo>
                  <a:cubicBezTo>
                    <a:pt x="2830" y="822"/>
                    <a:pt x="2838" y="822"/>
                    <a:pt x="2838" y="822"/>
                  </a:cubicBezTo>
                  <a:cubicBezTo>
                    <a:pt x="2846" y="814"/>
                    <a:pt x="2853" y="814"/>
                    <a:pt x="2861" y="814"/>
                  </a:cubicBezTo>
                  <a:cubicBezTo>
                    <a:pt x="2877" y="814"/>
                    <a:pt x="2885" y="814"/>
                    <a:pt x="2901" y="791"/>
                  </a:cubicBezTo>
                  <a:cubicBezTo>
                    <a:pt x="2909" y="775"/>
                    <a:pt x="2917" y="767"/>
                    <a:pt x="2917" y="751"/>
                  </a:cubicBezTo>
                  <a:cubicBezTo>
                    <a:pt x="2924" y="743"/>
                    <a:pt x="2924" y="735"/>
                    <a:pt x="2933" y="719"/>
                  </a:cubicBezTo>
                  <a:cubicBezTo>
                    <a:pt x="2940" y="712"/>
                    <a:pt x="2948" y="696"/>
                    <a:pt x="2956" y="696"/>
                  </a:cubicBezTo>
                  <a:cubicBezTo>
                    <a:pt x="2964" y="688"/>
                    <a:pt x="2964" y="680"/>
                    <a:pt x="2964" y="680"/>
                  </a:cubicBezTo>
                  <a:cubicBezTo>
                    <a:pt x="2964" y="672"/>
                    <a:pt x="2964" y="672"/>
                    <a:pt x="2956" y="664"/>
                  </a:cubicBezTo>
                  <a:lnTo>
                    <a:pt x="2956" y="664"/>
                  </a:lnTo>
                  <a:cubicBezTo>
                    <a:pt x="2940" y="656"/>
                    <a:pt x="2940" y="656"/>
                    <a:pt x="2917" y="648"/>
                  </a:cubicBezTo>
                  <a:cubicBezTo>
                    <a:pt x="2917" y="648"/>
                    <a:pt x="2901" y="648"/>
                    <a:pt x="2893" y="640"/>
                  </a:cubicBezTo>
                  <a:cubicBezTo>
                    <a:pt x="2877" y="632"/>
                    <a:pt x="2853" y="632"/>
                    <a:pt x="2838" y="625"/>
                  </a:cubicBezTo>
                  <a:cubicBezTo>
                    <a:pt x="2814" y="625"/>
                    <a:pt x="2806" y="617"/>
                    <a:pt x="2798" y="617"/>
                  </a:cubicBezTo>
                  <a:cubicBezTo>
                    <a:pt x="2798" y="609"/>
                    <a:pt x="2806" y="609"/>
                    <a:pt x="2806" y="609"/>
                  </a:cubicBezTo>
                  <a:cubicBezTo>
                    <a:pt x="2814" y="601"/>
                    <a:pt x="2822" y="601"/>
                    <a:pt x="2830" y="601"/>
                  </a:cubicBezTo>
                  <a:lnTo>
                    <a:pt x="2838" y="601"/>
                  </a:lnTo>
                  <a:cubicBezTo>
                    <a:pt x="2846" y="601"/>
                    <a:pt x="2846" y="601"/>
                    <a:pt x="2853" y="601"/>
                  </a:cubicBezTo>
                  <a:cubicBezTo>
                    <a:pt x="2861" y="601"/>
                    <a:pt x="2869" y="601"/>
                    <a:pt x="2877" y="593"/>
                  </a:cubicBezTo>
                  <a:cubicBezTo>
                    <a:pt x="2885" y="593"/>
                    <a:pt x="2885" y="585"/>
                    <a:pt x="2893" y="577"/>
                  </a:cubicBezTo>
                  <a:cubicBezTo>
                    <a:pt x="2893" y="569"/>
                    <a:pt x="2893" y="561"/>
                    <a:pt x="2917" y="569"/>
                  </a:cubicBezTo>
                  <a:cubicBezTo>
                    <a:pt x="2924" y="569"/>
                    <a:pt x="2924" y="569"/>
                    <a:pt x="2924" y="577"/>
                  </a:cubicBezTo>
                  <a:cubicBezTo>
                    <a:pt x="2933" y="577"/>
                    <a:pt x="2933" y="577"/>
                    <a:pt x="2972" y="585"/>
                  </a:cubicBezTo>
                  <a:cubicBezTo>
                    <a:pt x="3004" y="593"/>
                    <a:pt x="3019" y="593"/>
                    <a:pt x="3027" y="593"/>
                  </a:cubicBezTo>
                  <a:cubicBezTo>
                    <a:pt x="3043" y="593"/>
                    <a:pt x="3051" y="601"/>
                    <a:pt x="3051" y="593"/>
                  </a:cubicBezTo>
                  <a:cubicBezTo>
                    <a:pt x="3067" y="593"/>
                    <a:pt x="3122" y="553"/>
                    <a:pt x="3130" y="490"/>
                  </a:cubicBezTo>
                  <a:cubicBezTo>
                    <a:pt x="3130" y="459"/>
                    <a:pt x="3130" y="443"/>
                    <a:pt x="3146" y="443"/>
                  </a:cubicBezTo>
                  <a:cubicBezTo>
                    <a:pt x="3146" y="443"/>
                    <a:pt x="3146" y="443"/>
                    <a:pt x="3154" y="451"/>
                  </a:cubicBezTo>
                  <a:lnTo>
                    <a:pt x="3162" y="451"/>
                  </a:lnTo>
                  <a:cubicBezTo>
                    <a:pt x="3170" y="451"/>
                    <a:pt x="3170" y="451"/>
                    <a:pt x="3170" y="451"/>
                  </a:cubicBezTo>
                  <a:cubicBezTo>
                    <a:pt x="3177" y="451"/>
                    <a:pt x="3186" y="451"/>
                    <a:pt x="3186" y="443"/>
                  </a:cubicBezTo>
                  <a:cubicBezTo>
                    <a:pt x="3193" y="443"/>
                    <a:pt x="3193" y="435"/>
                    <a:pt x="3186" y="427"/>
                  </a:cubicBezTo>
                  <a:cubicBezTo>
                    <a:pt x="3186" y="419"/>
                    <a:pt x="3186" y="403"/>
                    <a:pt x="3186" y="395"/>
                  </a:cubicBezTo>
                  <a:cubicBezTo>
                    <a:pt x="3177" y="372"/>
                    <a:pt x="3177" y="356"/>
                    <a:pt x="3177" y="332"/>
                  </a:cubicBezTo>
                  <a:cubicBezTo>
                    <a:pt x="3177" y="308"/>
                    <a:pt x="3154" y="301"/>
                    <a:pt x="3146" y="301"/>
                  </a:cubicBezTo>
                  <a:cubicBezTo>
                    <a:pt x="3146" y="292"/>
                    <a:pt x="3146" y="292"/>
                    <a:pt x="3138" y="292"/>
                  </a:cubicBezTo>
                  <a:lnTo>
                    <a:pt x="3130" y="292"/>
                  </a:lnTo>
                  <a:cubicBezTo>
                    <a:pt x="3122" y="292"/>
                    <a:pt x="3106" y="292"/>
                    <a:pt x="3106" y="308"/>
                  </a:cubicBezTo>
                  <a:cubicBezTo>
                    <a:pt x="3106" y="316"/>
                    <a:pt x="3098" y="324"/>
                    <a:pt x="3091" y="324"/>
                  </a:cubicBezTo>
                  <a:cubicBezTo>
                    <a:pt x="3091" y="324"/>
                    <a:pt x="3083" y="324"/>
                    <a:pt x="3083" y="332"/>
                  </a:cubicBezTo>
                  <a:cubicBezTo>
                    <a:pt x="3083" y="332"/>
                    <a:pt x="3083" y="332"/>
                    <a:pt x="3083" y="340"/>
                  </a:cubicBezTo>
                  <a:cubicBezTo>
                    <a:pt x="3098" y="364"/>
                    <a:pt x="3114" y="395"/>
                    <a:pt x="3091" y="419"/>
                  </a:cubicBezTo>
                  <a:cubicBezTo>
                    <a:pt x="3075" y="427"/>
                    <a:pt x="3067" y="435"/>
                    <a:pt x="3059" y="435"/>
                  </a:cubicBezTo>
                  <a:lnTo>
                    <a:pt x="3051" y="427"/>
                  </a:lnTo>
                  <a:cubicBezTo>
                    <a:pt x="3051" y="419"/>
                    <a:pt x="3051" y="411"/>
                    <a:pt x="3051" y="395"/>
                  </a:cubicBezTo>
                  <a:cubicBezTo>
                    <a:pt x="3051" y="372"/>
                    <a:pt x="3059" y="364"/>
                    <a:pt x="3067" y="348"/>
                  </a:cubicBezTo>
                  <a:cubicBezTo>
                    <a:pt x="3075" y="340"/>
                    <a:pt x="3075" y="332"/>
                    <a:pt x="3067" y="316"/>
                  </a:cubicBezTo>
                  <a:cubicBezTo>
                    <a:pt x="3059" y="308"/>
                    <a:pt x="3051" y="308"/>
                    <a:pt x="3051" y="301"/>
                  </a:cubicBezTo>
                  <a:cubicBezTo>
                    <a:pt x="3043" y="292"/>
                    <a:pt x="3035" y="285"/>
                    <a:pt x="3027" y="285"/>
                  </a:cubicBezTo>
                  <a:cubicBezTo>
                    <a:pt x="3027" y="285"/>
                    <a:pt x="3019" y="285"/>
                    <a:pt x="3019" y="292"/>
                  </a:cubicBezTo>
                  <a:cubicBezTo>
                    <a:pt x="3011" y="292"/>
                    <a:pt x="3004" y="301"/>
                    <a:pt x="2996" y="301"/>
                  </a:cubicBezTo>
                  <a:cubicBezTo>
                    <a:pt x="2980" y="308"/>
                    <a:pt x="2964" y="316"/>
                    <a:pt x="2964" y="332"/>
                  </a:cubicBezTo>
                  <a:cubicBezTo>
                    <a:pt x="2964" y="340"/>
                    <a:pt x="2956" y="340"/>
                    <a:pt x="2956" y="340"/>
                  </a:cubicBezTo>
                  <a:cubicBezTo>
                    <a:pt x="2948" y="340"/>
                    <a:pt x="2940" y="332"/>
                    <a:pt x="2924" y="324"/>
                  </a:cubicBezTo>
                  <a:cubicBezTo>
                    <a:pt x="2917" y="324"/>
                    <a:pt x="2909" y="316"/>
                    <a:pt x="2901" y="316"/>
                  </a:cubicBezTo>
                  <a:lnTo>
                    <a:pt x="2901" y="316"/>
                  </a:lnTo>
                  <a:cubicBezTo>
                    <a:pt x="2893" y="340"/>
                    <a:pt x="2869" y="364"/>
                    <a:pt x="2846" y="364"/>
                  </a:cubicBezTo>
                  <a:cubicBezTo>
                    <a:pt x="2838" y="364"/>
                    <a:pt x="2830" y="364"/>
                    <a:pt x="2822" y="356"/>
                  </a:cubicBezTo>
                  <a:cubicBezTo>
                    <a:pt x="2790" y="340"/>
                    <a:pt x="2766" y="316"/>
                    <a:pt x="2758" y="292"/>
                  </a:cubicBezTo>
                  <a:lnTo>
                    <a:pt x="2758" y="285"/>
                  </a:lnTo>
                  <a:lnTo>
                    <a:pt x="2758" y="285"/>
                  </a:lnTo>
                  <a:cubicBezTo>
                    <a:pt x="2766" y="285"/>
                    <a:pt x="2766" y="285"/>
                    <a:pt x="2766" y="285"/>
                  </a:cubicBezTo>
                  <a:lnTo>
                    <a:pt x="2766" y="285"/>
                  </a:lnTo>
                  <a:cubicBezTo>
                    <a:pt x="2774" y="292"/>
                    <a:pt x="2782" y="301"/>
                    <a:pt x="2798" y="301"/>
                  </a:cubicBezTo>
                  <a:cubicBezTo>
                    <a:pt x="2806" y="308"/>
                    <a:pt x="2814" y="308"/>
                    <a:pt x="2822" y="308"/>
                  </a:cubicBezTo>
                  <a:cubicBezTo>
                    <a:pt x="2830" y="316"/>
                    <a:pt x="2830" y="316"/>
                    <a:pt x="2846" y="308"/>
                  </a:cubicBezTo>
                  <a:cubicBezTo>
                    <a:pt x="2853" y="308"/>
                    <a:pt x="2861" y="308"/>
                    <a:pt x="2869" y="301"/>
                  </a:cubicBezTo>
                  <a:cubicBezTo>
                    <a:pt x="2885" y="301"/>
                    <a:pt x="2901" y="292"/>
                    <a:pt x="2909" y="277"/>
                  </a:cubicBezTo>
                  <a:cubicBezTo>
                    <a:pt x="2924" y="245"/>
                    <a:pt x="2940" y="237"/>
                    <a:pt x="2972" y="237"/>
                  </a:cubicBezTo>
                  <a:cubicBezTo>
                    <a:pt x="2996" y="229"/>
                    <a:pt x="3011" y="221"/>
                    <a:pt x="3019" y="214"/>
                  </a:cubicBezTo>
                  <a:cubicBezTo>
                    <a:pt x="3019" y="206"/>
                    <a:pt x="3011" y="206"/>
                    <a:pt x="3011" y="198"/>
                  </a:cubicBezTo>
                  <a:cubicBezTo>
                    <a:pt x="2996" y="190"/>
                    <a:pt x="2988" y="174"/>
                    <a:pt x="2988" y="166"/>
                  </a:cubicBezTo>
                  <a:cubicBezTo>
                    <a:pt x="2988" y="158"/>
                    <a:pt x="2996" y="158"/>
                    <a:pt x="3011" y="166"/>
                  </a:cubicBezTo>
                  <a:cubicBezTo>
                    <a:pt x="3019" y="166"/>
                    <a:pt x="3027" y="174"/>
                    <a:pt x="3027" y="174"/>
                  </a:cubicBezTo>
                  <a:cubicBezTo>
                    <a:pt x="3043" y="182"/>
                    <a:pt x="3059" y="190"/>
                    <a:pt x="3067" y="190"/>
                  </a:cubicBezTo>
                  <a:cubicBezTo>
                    <a:pt x="3075" y="190"/>
                    <a:pt x="3075" y="190"/>
                    <a:pt x="3075" y="190"/>
                  </a:cubicBezTo>
                  <a:cubicBezTo>
                    <a:pt x="3083" y="190"/>
                    <a:pt x="3091" y="190"/>
                    <a:pt x="3098" y="198"/>
                  </a:cubicBezTo>
                  <a:cubicBezTo>
                    <a:pt x="3098" y="198"/>
                    <a:pt x="3098" y="198"/>
                    <a:pt x="3106" y="198"/>
                  </a:cubicBezTo>
                  <a:cubicBezTo>
                    <a:pt x="3106" y="206"/>
                    <a:pt x="3114" y="206"/>
                    <a:pt x="3122" y="206"/>
                  </a:cubicBezTo>
                  <a:cubicBezTo>
                    <a:pt x="3122" y="206"/>
                    <a:pt x="3114" y="206"/>
                    <a:pt x="3114" y="198"/>
                  </a:cubicBezTo>
                  <a:cubicBezTo>
                    <a:pt x="3098" y="182"/>
                    <a:pt x="3091" y="166"/>
                    <a:pt x="3083" y="150"/>
                  </a:cubicBezTo>
                  <a:cubicBezTo>
                    <a:pt x="3075" y="134"/>
                    <a:pt x="3075" y="119"/>
                    <a:pt x="3067" y="111"/>
                  </a:cubicBezTo>
                  <a:cubicBezTo>
                    <a:pt x="3059" y="103"/>
                    <a:pt x="3051" y="103"/>
                    <a:pt x="3043" y="95"/>
                  </a:cubicBezTo>
                  <a:cubicBezTo>
                    <a:pt x="3027" y="87"/>
                    <a:pt x="3019" y="79"/>
                    <a:pt x="3011" y="63"/>
                  </a:cubicBezTo>
                  <a:cubicBezTo>
                    <a:pt x="3004" y="39"/>
                    <a:pt x="3004" y="24"/>
                    <a:pt x="3004" y="24"/>
                  </a:cubicBezTo>
                  <a:cubicBezTo>
                    <a:pt x="2719" y="87"/>
                    <a:pt x="1818" y="292"/>
                    <a:pt x="1011" y="403"/>
                  </a:cubicBezTo>
                  <a:cubicBezTo>
                    <a:pt x="1011" y="403"/>
                    <a:pt x="964" y="411"/>
                    <a:pt x="932" y="411"/>
                  </a:cubicBezTo>
                  <a:cubicBezTo>
                    <a:pt x="924" y="411"/>
                    <a:pt x="917" y="411"/>
                    <a:pt x="917" y="411"/>
                  </a:cubicBezTo>
                  <a:cubicBezTo>
                    <a:pt x="909" y="403"/>
                    <a:pt x="901" y="403"/>
                    <a:pt x="893" y="403"/>
                  </a:cubicBezTo>
                  <a:cubicBezTo>
                    <a:pt x="901" y="443"/>
                    <a:pt x="901" y="490"/>
                    <a:pt x="885" y="514"/>
                  </a:cubicBezTo>
                  <a:cubicBezTo>
                    <a:pt x="877" y="538"/>
                    <a:pt x="861" y="545"/>
                    <a:pt x="853" y="545"/>
                  </a:cubicBezTo>
                  <a:cubicBezTo>
                    <a:pt x="845" y="553"/>
                    <a:pt x="837" y="553"/>
                    <a:pt x="830" y="577"/>
                  </a:cubicBezTo>
                  <a:cubicBezTo>
                    <a:pt x="822" y="617"/>
                    <a:pt x="782" y="672"/>
                    <a:pt x="766" y="672"/>
                  </a:cubicBezTo>
                  <a:lnTo>
                    <a:pt x="758" y="672"/>
                  </a:lnTo>
                  <a:cubicBezTo>
                    <a:pt x="758" y="656"/>
                    <a:pt x="735" y="632"/>
                    <a:pt x="711" y="632"/>
                  </a:cubicBezTo>
                  <a:cubicBezTo>
                    <a:pt x="695" y="632"/>
                    <a:pt x="687" y="640"/>
                    <a:pt x="679" y="648"/>
                  </a:cubicBezTo>
                  <a:cubicBezTo>
                    <a:pt x="656" y="672"/>
                    <a:pt x="656" y="688"/>
                    <a:pt x="656" y="712"/>
                  </a:cubicBezTo>
                  <a:cubicBezTo>
                    <a:pt x="648" y="735"/>
                    <a:pt x="648" y="751"/>
                    <a:pt x="616" y="759"/>
                  </a:cubicBezTo>
                  <a:cubicBezTo>
                    <a:pt x="584" y="759"/>
                    <a:pt x="577" y="743"/>
                    <a:pt x="577" y="727"/>
                  </a:cubicBezTo>
                  <a:cubicBezTo>
                    <a:pt x="569" y="719"/>
                    <a:pt x="569" y="719"/>
                    <a:pt x="561" y="719"/>
                  </a:cubicBezTo>
                  <a:lnTo>
                    <a:pt x="553" y="719"/>
                  </a:lnTo>
                  <a:lnTo>
                    <a:pt x="553" y="727"/>
                  </a:lnTo>
                  <a:cubicBezTo>
                    <a:pt x="553" y="735"/>
                    <a:pt x="553" y="751"/>
                    <a:pt x="545" y="759"/>
                  </a:cubicBezTo>
                  <a:cubicBezTo>
                    <a:pt x="537" y="775"/>
                    <a:pt x="521" y="775"/>
                    <a:pt x="505" y="783"/>
                  </a:cubicBezTo>
                  <a:cubicBezTo>
                    <a:pt x="490" y="783"/>
                    <a:pt x="482" y="783"/>
                    <a:pt x="482" y="798"/>
                  </a:cubicBezTo>
                  <a:cubicBezTo>
                    <a:pt x="482" y="838"/>
                    <a:pt x="466" y="870"/>
                    <a:pt x="434" y="870"/>
                  </a:cubicBezTo>
                  <a:cubicBezTo>
                    <a:pt x="403" y="870"/>
                    <a:pt x="355" y="933"/>
                    <a:pt x="316" y="972"/>
                  </a:cubicBezTo>
                  <a:cubicBezTo>
                    <a:pt x="308" y="980"/>
                    <a:pt x="300" y="988"/>
                    <a:pt x="292" y="996"/>
                  </a:cubicBezTo>
                  <a:cubicBezTo>
                    <a:pt x="284" y="1004"/>
                    <a:pt x="276" y="1012"/>
                    <a:pt x="260" y="1012"/>
                  </a:cubicBezTo>
                  <a:cubicBezTo>
                    <a:pt x="260" y="1012"/>
                    <a:pt x="253" y="1004"/>
                    <a:pt x="245" y="1004"/>
                  </a:cubicBezTo>
                  <a:cubicBezTo>
                    <a:pt x="237" y="1004"/>
                    <a:pt x="229" y="1004"/>
                    <a:pt x="221" y="1004"/>
                  </a:cubicBezTo>
                  <a:cubicBezTo>
                    <a:pt x="205" y="1004"/>
                    <a:pt x="189" y="1012"/>
                    <a:pt x="173" y="1020"/>
                  </a:cubicBezTo>
                  <a:cubicBezTo>
                    <a:pt x="142" y="1043"/>
                    <a:pt x="126" y="1051"/>
                    <a:pt x="110" y="1051"/>
                  </a:cubicBezTo>
                  <a:cubicBezTo>
                    <a:pt x="94" y="1051"/>
                    <a:pt x="94" y="1051"/>
                    <a:pt x="94" y="1067"/>
                  </a:cubicBezTo>
                  <a:cubicBezTo>
                    <a:pt x="102" y="1075"/>
                    <a:pt x="102" y="1083"/>
                    <a:pt x="102" y="1083"/>
                  </a:cubicBezTo>
                  <a:cubicBezTo>
                    <a:pt x="110" y="1115"/>
                    <a:pt x="110" y="1138"/>
                    <a:pt x="94" y="1154"/>
                  </a:cubicBezTo>
                  <a:cubicBezTo>
                    <a:pt x="87" y="1162"/>
                    <a:pt x="63" y="1170"/>
                    <a:pt x="47" y="1170"/>
                  </a:cubicBezTo>
                  <a:cubicBezTo>
                    <a:pt x="23" y="1170"/>
                    <a:pt x="7" y="1178"/>
                    <a:pt x="7" y="1186"/>
                  </a:cubicBezTo>
                  <a:cubicBezTo>
                    <a:pt x="7" y="1194"/>
                    <a:pt x="7" y="1209"/>
                    <a:pt x="7" y="1233"/>
                  </a:cubicBezTo>
                  <a:cubicBezTo>
                    <a:pt x="7" y="1249"/>
                    <a:pt x="7" y="1273"/>
                    <a:pt x="7" y="1289"/>
                  </a:cubicBezTo>
                  <a:cubicBezTo>
                    <a:pt x="126" y="1273"/>
                    <a:pt x="126" y="1273"/>
                    <a:pt x="126" y="1273"/>
                  </a:cubicBezTo>
                  <a:cubicBezTo>
                    <a:pt x="308" y="1257"/>
                    <a:pt x="426" y="1241"/>
                    <a:pt x="450" y="1241"/>
                  </a:cubicBezTo>
                  <a:cubicBezTo>
                    <a:pt x="505" y="1241"/>
                    <a:pt x="529" y="1225"/>
                    <a:pt x="553" y="1202"/>
                  </a:cubicBezTo>
                  <a:cubicBezTo>
                    <a:pt x="561" y="1194"/>
                    <a:pt x="569" y="1186"/>
                    <a:pt x="584" y="1178"/>
                  </a:cubicBezTo>
                  <a:cubicBezTo>
                    <a:pt x="632" y="1154"/>
                    <a:pt x="774" y="1083"/>
                    <a:pt x="814" y="1075"/>
                  </a:cubicBezTo>
                  <a:cubicBezTo>
                    <a:pt x="837" y="1067"/>
                    <a:pt x="1130" y="1028"/>
                    <a:pt x="1209" y="1028"/>
                  </a:cubicBezTo>
                  <a:cubicBezTo>
                    <a:pt x="1225" y="1028"/>
                    <a:pt x="1233" y="1028"/>
                    <a:pt x="1233" y="1036"/>
                  </a:cubicBezTo>
                  <a:cubicBezTo>
                    <a:pt x="1233" y="1043"/>
                    <a:pt x="1233" y="1043"/>
                    <a:pt x="1233" y="1051"/>
                  </a:cubicBezTo>
                  <a:lnTo>
                    <a:pt x="1233" y="1059"/>
                  </a:lnTo>
                  <a:cubicBezTo>
                    <a:pt x="1233" y="1059"/>
                    <a:pt x="1241" y="1059"/>
                    <a:pt x="1257" y="1067"/>
                  </a:cubicBezTo>
                  <a:cubicBezTo>
                    <a:pt x="1264" y="1067"/>
                    <a:pt x="1272" y="1067"/>
                    <a:pt x="1280" y="1067"/>
                  </a:cubicBezTo>
                  <a:cubicBezTo>
                    <a:pt x="1288" y="1067"/>
                    <a:pt x="1288" y="1067"/>
                    <a:pt x="1296" y="1067"/>
                  </a:cubicBezTo>
                  <a:cubicBezTo>
                    <a:pt x="1312" y="1067"/>
                    <a:pt x="1320" y="1067"/>
                    <a:pt x="1328" y="1075"/>
                  </a:cubicBezTo>
                  <a:cubicBezTo>
                    <a:pt x="1343" y="1091"/>
                    <a:pt x="1367" y="1154"/>
                    <a:pt x="1367" y="1170"/>
                  </a:cubicBezTo>
                  <a:lnTo>
                    <a:pt x="1810" y="1099"/>
                  </a:lnTo>
                  <a:close/>
                  <a:moveTo>
                    <a:pt x="3083" y="340"/>
                  </a:moveTo>
                  <a:lnTo>
                    <a:pt x="3083" y="340"/>
                  </a:lnTo>
                  <a:cubicBezTo>
                    <a:pt x="3075" y="348"/>
                    <a:pt x="3075" y="348"/>
                    <a:pt x="3075" y="356"/>
                  </a:cubicBezTo>
                  <a:cubicBezTo>
                    <a:pt x="3067" y="364"/>
                    <a:pt x="3059" y="372"/>
                    <a:pt x="3059" y="395"/>
                  </a:cubicBezTo>
                  <a:cubicBezTo>
                    <a:pt x="3051" y="411"/>
                    <a:pt x="3059" y="419"/>
                    <a:pt x="3059" y="427"/>
                  </a:cubicBezTo>
                  <a:lnTo>
                    <a:pt x="3059" y="427"/>
                  </a:lnTo>
                  <a:cubicBezTo>
                    <a:pt x="3067" y="427"/>
                    <a:pt x="3083" y="411"/>
                    <a:pt x="3083" y="411"/>
                  </a:cubicBezTo>
                  <a:cubicBezTo>
                    <a:pt x="3106" y="395"/>
                    <a:pt x="3091" y="364"/>
                    <a:pt x="3083" y="340"/>
                  </a:cubicBezTo>
                  <a:close/>
                  <a:moveTo>
                    <a:pt x="3027" y="16"/>
                  </a:moveTo>
                  <a:lnTo>
                    <a:pt x="3027" y="16"/>
                  </a:lnTo>
                  <a:lnTo>
                    <a:pt x="3027" y="16"/>
                  </a:lnTo>
                  <a:cubicBezTo>
                    <a:pt x="3035" y="24"/>
                    <a:pt x="3035" y="24"/>
                    <a:pt x="3043" y="24"/>
                  </a:cubicBezTo>
                  <a:cubicBezTo>
                    <a:pt x="3059" y="32"/>
                    <a:pt x="3067" y="39"/>
                    <a:pt x="3075" y="71"/>
                  </a:cubicBezTo>
                  <a:cubicBezTo>
                    <a:pt x="3083" y="95"/>
                    <a:pt x="3098" y="111"/>
                    <a:pt x="3106" y="119"/>
                  </a:cubicBezTo>
                  <a:cubicBezTo>
                    <a:pt x="3114" y="126"/>
                    <a:pt x="3122" y="134"/>
                    <a:pt x="3122" y="142"/>
                  </a:cubicBezTo>
                  <a:cubicBezTo>
                    <a:pt x="3138" y="166"/>
                    <a:pt x="3146" y="182"/>
                    <a:pt x="3170" y="221"/>
                  </a:cubicBezTo>
                  <a:cubicBezTo>
                    <a:pt x="3193" y="261"/>
                    <a:pt x="3209" y="292"/>
                    <a:pt x="3225" y="308"/>
                  </a:cubicBezTo>
                  <a:cubicBezTo>
                    <a:pt x="3233" y="316"/>
                    <a:pt x="3249" y="316"/>
                    <a:pt x="3249" y="324"/>
                  </a:cubicBezTo>
                  <a:cubicBezTo>
                    <a:pt x="3249" y="316"/>
                    <a:pt x="3249" y="316"/>
                    <a:pt x="3249" y="316"/>
                  </a:cubicBezTo>
                  <a:cubicBezTo>
                    <a:pt x="3225" y="285"/>
                    <a:pt x="3209" y="269"/>
                    <a:pt x="3186" y="237"/>
                  </a:cubicBezTo>
                  <a:cubicBezTo>
                    <a:pt x="3177" y="221"/>
                    <a:pt x="3170" y="206"/>
                    <a:pt x="3162" y="182"/>
                  </a:cubicBezTo>
                  <a:cubicBezTo>
                    <a:pt x="3146" y="158"/>
                    <a:pt x="3130" y="134"/>
                    <a:pt x="3122" y="126"/>
                  </a:cubicBezTo>
                  <a:cubicBezTo>
                    <a:pt x="3114" y="111"/>
                    <a:pt x="3106" y="103"/>
                    <a:pt x="3098" y="87"/>
                  </a:cubicBezTo>
                  <a:cubicBezTo>
                    <a:pt x="3098" y="71"/>
                    <a:pt x="3091" y="48"/>
                    <a:pt x="3075" y="32"/>
                  </a:cubicBezTo>
                  <a:cubicBezTo>
                    <a:pt x="3067" y="16"/>
                    <a:pt x="3067" y="16"/>
                    <a:pt x="3059" y="8"/>
                  </a:cubicBezTo>
                  <a:cubicBezTo>
                    <a:pt x="3051" y="8"/>
                    <a:pt x="3043" y="16"/>
                    <a:pt x="3027" y="16"/>
                  </a:cubicBezTo>
                  <a:close/>
                </a:path>
              </a:pathLst>
            </a:custGeom>
            <a:solidFill>
              <a:schemeClr val="accent6"/>
            </a:solidFill>
            <a:ln>
              <a:solidFill>
                <a:schemeClr val="bg2"/>
              </a:solidFill>
            </a:ln>
            <a:effectLst/>
          </p:spPr>
          <p:txBody>
            <a:bodyPr wrap="none" anchor="ctr"/>
            <a:lstStyle/>
            <a:p>
              <a:endParaRPr lang="en-US"/>
            </a:p>
          </p:txBody>
        </p:sp>
        <p:sp>
          <p:nvSpPr>
            <p:cNvPr id="71" name="Freeform 639"/>
            <p:cNvSpPr>
              <a:spLocks noChangeArrowheads="1"/>
            </p:cNvSpPr>
            <p:nvPr/>
          </p:nvSpPr>
          <p:spPr bwMode="auto">
            <a:xfrm>
              <a:off x="5376706" y="2467067"/>
              <a:ext cx="539092" cy="619702"/>
            </a:xfrm>
            <a:custGeom>
              <a:avLst/>
              <a:gdLst>
                <a:gd name="T0" fmla="*/ 751 w 1495"/>
                <a:gd name="T1" fmla="*/ 1929 h 1985"/>
                <a:gd name="T2" fmla="*/ 1218 w 1495"/>
                <a:gd name="T3" fmla="*/ 1826 h 1985"/>
                <a:gd name="T4" fmla="*/ 1321 w 1495"/>
                <a:gd name="T5" fmla="*/ 1684 h 1985"/>
                <a:gd name="T6" fmla="*/ 1376 w 1495"/>
                <a:gd name="T7" fmla="*/ 1510 h 1985"/>
                <a:gd name="T8" fmla="*/ 1360 w 1495"/>
                <a:gd name="T9" fmla="*/ 1423 h 1985"/>
                <a:gd name="T10" fmla="*/ 1486 w 1495"/>
                <a:gd name="T11" fmla="*/ 1399 h 1985"/>
                <a:gd name="T12" fmla="*/ 1494 w 1495"/>
                <a:gd name="T13" fmla="*/ 1194 h 1985"/>
                <a:gd name="T14" fmla="*/ 1455 w 1495"/>
                <a:gd name="T15" fmla="*/ 1115 h 1985"/>
                <a:gd name="T16" fmla="*/ 1344 w 1495"/>
                <a:gd name="T17" fmla="*/ 807 h 1985"/>
                <a:gd name="T18" fmla="*/ 1123 w 1495"/>
                <a:gd name="T19" fmla="*/ 807 h 1985"/>
                <a:gd name="T20" fmla="*/ 1099 w 1495"/>
                <a:gd name="T21" fmla="*/ 854 h 1985"/>
                <a:gd name="T22" fmla="*/ 1020 w 1495"/>
                <a:gd name="T23" fmla="*/ 965 h 1985"/>
                <a:gd name="T24" fmla="*/ 933 w 1495"/>
                <a:gd name="T25" fmla="*/ 822 h 1985"/>
                <a:gd name="T26" fmla="*/ 1020 w 1495"/>
                <a:gd name="T27" fmla="*/ 704 h 1985"/>
                <a:gd name="T28" fmla="*/ 1083 w 1495"/>
                <a:gd name="T29" fmla="*/ 609 h 1985"/>
                <a:gd name="T30" fmla="*/ 1075 w 1495"/>
                <a:gd name="T31" fmla="*/ 435 h 1985"/>
                <a:gd name="T32" fmla="*/ 1004 w 1495"/>
                <a:gd name="T33" fmla="*/ 293 h 1985"/>
                <a:gd name="T34" fmla="*/ 996 w 1495"/>
                <a:gd name="T35" fmla="*/ 214 h 1985"/>
                <a:gd name="T36" fmla="*/ 767 w 1495"/>
                <a:gd name="T37" fmla="*/ 103 h 1985"/>
                <a:gd name="T38" fmla="*/ 649 w 1495"/>
                <a:gd name="T39" fmla="*/ 56 h 1985"/>
                <a:gd name="T40" fmla="*/ 506 w 1495"/>
                <a:gd name="T41" fmla="*/ 16 h 1985"/>
                <a:gd name="T42" fmla="*/ 419 w 1495"/>
                <a:gd name="T43" fmla="*/ 143 h 1985"/>
                <a:gd name="T44" fmla="*/ 427 w 1495"/>
                <a:gd name="T45" fmla="*/ 214 h 1985"/>
                <a:gd name="T46" fmla="*/ 340 w 1495"/>
                <a:gd name="T47" fmla="*/ 277 h 1985"/>
                <a:gd name="T48" fmla="*/ 332 w 1495"/>
                <a:gd name="T49" fmla="*/ 482 h 1985"/>
                <a:gd name="T50" fmla="*/ 309 w 1495"/>
                <a:gd name="T51" fmla="*/ 451 h 1985"/>
                <a:gd name="T52" fmla="*/ 285 w 1495"/>
                <a:gd name="T53" fmla="*/ 403 h 1985"/>
                <a:gd name="T54" fmla="*/ 261 w 1495"/>
                <a:gd name="T55" fmla="*/ 324 h 1985"/>
                <a:gd name="T56" fmla="*/ 190 w 1495"/>
                <a:gd name="T57" fmla="*/ 451 h 1985"/>
                <a:gd name="T58" fmla="*/ 119 w 1495"/>
                <a:gd name="T59" fmla="*/ 538 h 1985"/>
                <a:gd name="T60" fmla="*/ 103 w 1495"/>
                <a:gd name="T61" fmla="*/ 648 h 1985"/>
                <a:gd name="T62" fmla="*/ 48 w 1495"/>
                <a:gd name="T63" fmla="*/ 838 h 1985"/>
                <a:gd name="T64" fmla="*/ 56 w 1495"/>
                <a:gd name="T65" fmla="*/ 973 h 1985"/>
                <a:gd name="T66" fmla="*/ 63 w 1495"/>
                <a:gd name="T67" fmla="*/ 1154 h 1985"/>
                <a:gd name="T68" fmla="*/ 182 w 1495"/>
                <a:gd name="T69" fmla="*/ 1660 h 1985"/>
                <a:gd name="T70" fmla="*/ 48 w 1495"/>
                <a:gd name="T71" fmla="*/ 1977 h 1985"/>
                <a:gd name="T72" fmla="*/ 712 w 1495"/>
                <a:gd name="T73" fmla="*/ 1905 h 1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95" h="1985">
                  <a:moveTo>
                    <a:pt x="751" y="1929"/>
                  </a:moveTo>
                  <a:lnTo>
                    <a:pt x="751" y="1929"/>
                  </a:lnTo>
                  <a:cubicBezTo>
                    <a:pt x="767" y="1953"/>
                    <a:pt x="1083" y="1874"/>
                    <a:pt x="1210" y="1834"/>
                  </a:cubicBezTo>
                  <a:cubicBezTo>
                    <a:pt x="1210" y="1834"/>
                    <a:pt x="1210" y="1826"/>
                    <a:pt x="1218" y="1826"/>
                  </a:cubicBezTo>
                  <a:cubicBezTo>
                    <a:pt x="1241" y="1787"/>
                    <a:pt x="1249" y="1747"/>
                    <a:pt x="1273" y="1739"/>
                  </a:cubicBezTo>
                  <a:cubicBezTo>
                    <a:pt x="1289" y="1724"/>
                    <a:pt x="1297" y="1692"/>
                    <a:pt x="1321" y="1684"/>
                  </a:cubicBezTo>
                  <a:cubicBezTo>
                    <a:pt x="1313" y="1660"/>
                    <a:pt x="1305" y="1629"/>
                    <a:pt x="1297" y="1613"/>
                  </a:cubicBezTo>
                  <a:cubicBezTo>
                    <a:pt x="1289" y="1597"/>
                    <a:pt x="1328" y="1557"/>
                    <a:pt x="1376" y="1510"/>
                  </a:cubicBezTo>
                  <a:cubicBezTo>
                    <a:pt x="1376" y="1510"/>
                    <a:pt x="1376" y="1502"/>
                    <a:pt x="1368" y="1486"/>
                  </a:cubicBezTo>
                  <a:cubicBezTo>
                    <a:pt x="1360" y="1455"/>
                    <a:pt x="1344" y="1455"/>
                    <a:pt x="1360" y="1423"/>
                  </a:cubicBezTo>
                  <a:cubicBezTo>
                    <a:pt x="1376" y="1399"/>
                    <a:pt x="1360" y="1368"/>
                    <a:pt x="1399" y="1376"/>
                  </a:cubicBezTo>
                  <a:cubicBezTo>
                    <a:pt x="1439" y="1384"/>
                    <a:pt x="1479" y="1391"/>
                    <a:pt x="1486" y="1399"/>
                  </a:cubicBezTo>
                  <a:cubicBezTo>
                    <a:pt x="1486" y="1391"/>
                    <a:pt x="1479" y="1384"/>
                    <a:pt x="1479" y="1384"/>
                  </a:cubicBezTo>
                  <a:cubicBezTo>
                    <a:pt x="1479" y="1344"/>
                    <a:pt x="1486" y="1273"/>
                    <a:pt x="1494" y="1194"/>
                  </a:cubicBezTo>
                  <a:cubicBezTo>
                    <a:pt x="1494" y="1202"/>
                    <a:pt x="1494" y="1202"/>
                    <a:pt x="1486" y="1178"/>
                  </a:cubicBezTo>
                  <a:cubicBezTo>
                    <a:pt x="1479" y="1146"/>
                    <a:pt x="1471" y="1162"/>
                    <a:pt x="1455" y="1115"/>
                  </a:cubicBezTo>
                  <a:cubicBezTo>
                    <a:pt x="1439" y="1067"/>
                    <a:pt x="1408" y="980"/>
                    <a:pt x="1392" y="941"/>
                  </a:cubicBezTo>
                  <a:cubicBezTo>
                    <a:pt x="1376" y="909"/>
                    <a:pt x="1352" y="846"/>
                    <a:pt x="1344" y="807"/>
                  </a:cubicBezTo>
                  <a:cubicBezTo>
                    <a:pt x="1336" y="775"/>
                    <a:pt x="1265" y="735"/>
                    <a:pt x="1234" y="735"/>
                  </a:cubicBezTo>
                  <a:cubicBezTo>
                    <a:pt x="1202" y="743"/>
                    <a:pt x="1139" y="783"/>
                    <a:pt x="1123" y="807"/>
                  </a:cubicBezTo>
                  <a:cubicBezTo>
                    <a:pt x="1123" y="807"/>
                    <a:pt x="1115" y="822"/>
                    <a:pt x="1107" y="814"/>
                  </a:cubicBezTo>
                  <a:cubicBezTo>
                    <a:pt x="1099" y="807"/>
                    <a:pt x="1099" y="830"/>
                    <a:pt x="1099" y="854"/>
                  </a:cubicBezTo>
                  <a:cubicBezTo>
                    <a:pt x="1099" y="878"/>
                    <a:pt x="1083" y="885"/>
                    <a:pt x="1068" y="909"/>
                  </a:cubicBezTo>
                  <a:cubicBezTo>
                    <a:pt x="1052" y="933"/>
                    <a:pt x="1028" y="957"/>
                    <a:pt x="1020" y="965"/>
                  </a:cubicBezTo>
                  <a:cubicBezTo>
                    <a:pt x="1020" y="980"/>
                    <a:pt x="965" y="980"/>
                    <a:pt x="941" y="949"/>
                  </a:cubicBezTo>
                  <a:cubicBezTo>
                    <a:pt x="909" y="917"/>
                    <a:pt x="909" y="846"/>
                    <a:pt x="933" y="822"/>
                  </a:cubicBezTo>
                  <a:cubicBezTo>
                    <a:pt x="957" y="807"/>
                    <a:pt x="981" y="830"/>
                    <a:pt x="996" y="791"/>
                  </a:cubicBezTo>
                  <a:cubicBezTo>
                    <a:pt x="1012" y="751"/>
                    <a:pt x="1020" y="727"/>
                    <a:pt x="1020" y="704"/>
                  </a:cubicBezTo>
                  <a:cubicBezTo>
                    <a:pt x="1020" y="688"/>
                    <a:pt x="1020" y="656"/>
                    <a:pt x="1044" y="648"/>
                  </a:cubicBezTo>
                  <a:cubicBezTo>
                    <a:pt x="1068" y="640"/>
                    <a:pt x="1075" y="648"/>
                    <a:pt x="1083" y="609"/>
                  </a:cubicBezTo>
                  <a:cubicBezTo>
                    <a:pt x="1091" y="577"/>
                    <a:pt x="1091" y="554"/>
                    <a:pt x="1075" y="522"/>
                  </a:cubicBezTo>
                  <a:cubicBezTo>
                    <a:pt x="1060" y="490"/>
                    <a:pt x="1075" y="474"/>
                    <a:pt x="1075" y="435"/>
                  </a:cubicBezTo>
                  <a:cubicBezTo>
                    <a:pt x="1075" y="403"/>
                    <a:pt x="1044" y="356"/>
                    <a:pt x="1028" y="340"/>
                  </a:cubicBezTo>
                  <a:cubicBezTo>
                    <a:pt x="1012" y="332"/>
                    <a:pt x="988" y="308"/>
                    <a:pt x="1004" y="293"/>
                  </a:cubicBezTo>
                  <a:cubicBezTo>
                    <a:pt x="1028" y="277"/>
                    <a:pt x="1052" y="253"/>
                    <a:pt x="1036" y="237"/>
                  </a:cubicBezTo>
                  <a:cubicBezTo>
                    <a:pt x="1028" y="229"/>
                    <a:pt x="1004" y="229"/>
                    <a:pt x="996" y="214"/>
                  </a:cubicBezTo>
                  <a:cubicBezTo>
                    <a:pt x="988" y="190"/>
                    <a:pt x="981" y="166"/>
                    <a:pt x="949" y="158"/>
                  </a:cubicBezTo>
                  <a:cubicBezTo>
                    <a:pt x="917" y="150"/>
                    <a:pt x="783" y="103"/>
                    <a:pt x="767" y="103"/>
                  </a:cubicBezTo>
                  <a:cubicBezTo>
                    <a:pt x="751" y="103"/>
                    <a:pt x="743" y="111"/>
                    <a:pt x="735" y="79"/>
                  </a:cubicBezTo>
                  <a:cubicBezTo>
                    <a:pt x="720" y="56"/>
                    <a:pt x="672" y="47"/>
                    <a:pt x="649" y="56"/>
                  </a:cubicBezTo>
                  <a:cubicBezTo>
                    <a:pt x="625" y="56"/>
                    <a:pt x="601" y="47"/>
                    <a:pt x="593" y="32"/>
                  </a:cubicBezTo>
                  <a:cubicBezTo>
                    <a:pt x="577" y="24"/>
                    <a:pt x="530" y="0"/>
                    <a:pt x="506" y="16"/>
                  </a:cubicBezTo>
                  <a:cubicBezTo>
                    <a:pt x="475" y="32"/>
                    <a:pt x="459" y="71"/>
                    <a:pt x="443" y="79"/>
                  </a:cubicBezTo>
                  <a:cubicBezTo>
                    <a:pt x="435" y="87"/>
                    <a:pt x="403" y="111"/>
                    <a:pt x="419" y="143"/>
                  </a:cubicBezTo>
                  <a:cubicBezTo>
                    <a:pt x="435" y="174"/>
                    <a:pt x="459" y="166"/>
                    <a:pt x="459" y="190"/>
                  </a:cubicBezTo>
                  <a:cubicBezTo>
                    <a:pt x="459" y="206"/>
                    <a:pt x="459" y="214"/>
                    <a:pt x="427" y="214"/>
                  </a:cubicBezTo>
                  <a:cubicBezTo>
                    <a:pt x="403" y="214"/>
                    <a:pt x="380" y="221"/>
                    <a:pt x="372" y="237"/>
                  </a:cubicBezTo>
                  <a:cubicBezTo>
                    <a:pt x="356" y="253"/>
                    <a:pt x="348" y="229"/>
                    <a:pt x="340" y="277"/>
                  </a:cubicBezTo>
                  <a:cubicBezTo>
                    <a:pt x="340" y="316"/>
                    <a:pt x="348" y="364"/>
                    <a:pt x="348" y="403"/>
                  </a:cubicBezTo>
                  <a:cubicBezTo>
                    <a:pt x="356" y="435"/>
                    <a:pt x="348" y="490"/>
                    <a:pt x="332" y="482"/>
                  </a:cubicBezTo>
                  <a:cubicBezTo>
                    <a:pt x="316" y="467"/>
                    <a:pt x="324" y="419"/>
                    <a:pt x="316" y="411"/>
                  </a:cubicBezTo>
                  <a:cubicBezTo>
                    <a:pt x="301" y="411"/>
                    <a:pt x="309" y="435"/>
                    <a:pt x="309" y="451"/>
                  </a:cubicBezTo>
                  <a:cubicBezTo>
                    <a:pt x="309" y="467"/>
                    <a:pt x="316" y="514"/>
                    <a:pt x="301" y="482"/>
                  </a:cubicBezTo>
                  <a:cubicBezTo>
                    <a:pt x="285" y="458"/>
                    <a:pt x="285" y="435"/>
                    <a:pt x="285" y="403"/>
                  </a:cubicBezTo>
                  <a:cubicBezTo>
                    <a:pt x="293" y="372"/>
                    <a:pt x="293" y="324"/>
                    <a:pt x="285" y="316"/>
                  </a:cubicBezTo>
                  <a:cubicBezTo>
                    <a:pt x="277" y="308"/>
                    <a:pt x="261" y="308"/>
                    <a:pt x="261" y="324"/>
                  </a:cubicBezTo>
                  <a:cubicBezTo>
                    <a:pt x="261" y="340"/>
                    <a:pt x="238" y="387"/>
                    <a:pt x="222" y="403"/>
                  </a:cubicBezTo>
                  <a:cubicBezTo>
                    <a:pt x="206" y="419"/>
                    <a:pt x="238" y="458"/>
                    <a:pt x="190" y="451"/>
                  </a:cubicBezTo>
                  <a:cubicBezTo>
                    <a:pt x="151" y="435"/>
                    <a:pt x="158" y="435"/>
                    <a:pt x="151" y="467"/>
                  </a:cubicBezTo>
                  <a:cubicBezTo>
                    <a:pt x="143" y="498"/>
                    <a:pt x="135" y="538"/>
                    <a:pt x="119" y="538"/>
                  </a:cubicBezTo>
                  <a:cubicBezTo>
                    <a:pt x="111" y="538"/>
                    <a:pt x="71" y="554"/>
                    <a:pt x="79" y="585"/>
                  </a:cubicBezTo>
                  <a:cubicBezTo>
                    <a:pt x="95" y="609"/>
                    <a:pt x="111" y="625"/>
                    <a:pt x="103" y="648"/>
                  </a:cubicBezTo>
                  <a:cubicBezTo>
                    <a:pt x="95" y="664"/>
                    <a:pt x="119" y="743"/>
                    <a:pt x="103" y="767"/>
                  </a:cubicBezTo>
                  <a:cubicBezTo>
                    <a:pt x="87" y="783"/>
                    <a:pt x="63" y="822"/>
                    <a:pt x="48" y="838"/>
                  </a:cubicBezTo>
                  <a:cubicBezTo>
                    <a:pt x="32" y="862"/>
                    <a:pt x="0" y="885"/>
                    <a:pt x="24" y="901"/>
                  </a:cubicBezTo>
                  <a:cubicBezTo>
                    <a:pt x="48" y="925"/>
                    <a:pt x="63" y="941"/>
                    <a:pt x="56" y="973"/>
                  </a:cubicBezTo>
                  <a:cubicBezTo>
                    <a:pt x="56" y="1004"/>
                    <a:pt x="71" y="1036"/>
                    <a:pt x="56" y="1051"/>
                  </a:cubicBezTo>
                  <a:cubicBezTo>
                    <a:pt x="40" y="1067"/>
                    <a:pt x="48" y="1131"/>
                    <a:pt x="63" y="1154"/>
                  </a:cubicBezTo>
                  <a:cubicBezTo>
                    <a:pt x="79" y="1170"/>
                    <a:pt x="95" y="1194"/>
                    <a:pt x="119" y="1233"/>
                  </a:cubicBezTo>
                  <a:cubicBezTo>
                    <a:pt x="143" y="1273"/>
                    <a:pt x="238" y="1510"/>
                    <a:pt x="182" y="1660"/>
                  </a:cubicBezTo>
                  <a:cubicBezTo>
                    <a:pt x="127" y="1803"/>
                    <a:pt x="135" y="1834"/>
                    <a:pt x="127" y="1858"/>
                  </a:cubicBezTo>
                  <a:cubicBezTo>
                    <a:pt x="119" y="1874"/>
                    <a:pt x="79" y="1945"/>
                    <a:pt x="48" y="1977"/>
                  </a:cubicBezTo>
                  <a:lnTo>
                    <a:pt x="40" y="1984"/>
                  </a:lnTo>
                  <a:cubicBezTo>
                    <a:pt x="712" y="1905"/>
                    <a:pt x="712" y="1905"/>
                    <a:pt x="712" y="1905"/>
                  </a:cubicBezTo>
                  <a:cubicBezTo>
                    <a:pt x="712" y="1905"/>
                    <a:pt x="728" y="1897"/>
                    <a:pt x="751" y="1929"/>
                  </a:cubicBezTo>
                </a:path>
              </a:pathLst>
            </a:custGeom>
            <a:solidFill>
              <a:schemeClr val="accent6"/>
            </a:solidFill>
            <a:ln>
              <a:solidFill>
                <a:schemeClr val="bg2"/>
              </a:solidFill>
            </a:ln>
            <a:effectLst/>
          </p:spPr>
          <p:txBody>
            <a:bodyPr wrap="none" anchor="ctr"/>
            <a:lstStyle/>
            <a:p>
              <a:endParaRPr lang="en-US"/>
            </a:p>
          </p:txBody>
        </p:sp>
        <p:sp>
          <p:nvSpPr>
            <p:cNvPr id="72" name="Freeform 640"/>
            <p:cNvSpPr>
              <a:spLocks noChangeArrowheads="1"/>
            </p:cNvSpPr>
            <p:nvPr/>
          </p:nvSpPr>
          <p:spPr bwMode="auto">
            <a:xfrm>
              <a:off x="5376706" y="2469821"/>
              <a:ext cx="539092" cy="616947"/>
            </a:xfrm>
            <a:custGeom>
              <a:avLst/>
              <a:gdLst>
                <a:gd name="T0" fmla="*/ 119 w 1495"/>
                <a:gd name="T1" fmla="*/ 1858 h 1977"/>
                <a:gd name="T2" fmla="*/ 71 w 1495"/>
                <a:gd name="T3" fmla="*/ 1162 h 1977"/>
                <a:gd name="T4" fmla="*/ 24 w 1495"/>
                <a:gd name="T5" fmla="*/ 901 h 1977"/>
                <a:gd name="T6" fmla="*/ 103 w 1495"/>
                <a:gd name="T7" fmla="*/ 751 h 1977"/>
                <a:gd name="T8" fmla="*/ 79 w 1495"/>
                <a:gd name="T9" fmla="*/ 553 h 1977"/>
                <a:gd name="T10" fmla="*/ 158 w 1495"/>
                <a:gd name="T11" fmla="*/ 427 h 1977"/>
                <a:gd name="T12" fmla="*/ 222 w 1495"/>
                <a:gd name="T13" fmla="*/ 395 h 1977"/>
                <a:gd name="T14" fmla="*/ 301 w 1495"/>
                <a:gd name="T15" fmla="*/ 474 h 1977"/>
                <a:gd name="T16" fmla="*/ 309 w 1495"/>
                <a:gd name="T17" fmla="*/ 403 h 1977"/>
                <a:gd name="T18" fmla="*/ 340 w 1495"/>
                <a:gd name="T19" fmla="*/ 466 h 1977"/>
                <a:gd name="T20" fmla="*/ 364 w 1495"/>
                <a:gd name="T21" fmla="*/ 221 h 1977"/>
                <a:gd name="T22" fmla="*/ 411 w 1495"/>
                <a:gd name="T23" fmla="*/ 135 h 1977"/>
                <a:gd name="T24" fmla="*/ 530 w 1495"/>
                <a:gd name="T25" fmla="*/ 0 h 1977"/>
                <a:gd name="T26" fmla="*/ 735 w 1495"/>
                <a:gd name="T27" fmla="*/ 71 h 1977"/>
                <a:gd name="T28" fmla="*/ 878 w 1495"/>
                <a:gd name="T29" fmla="*/ 119 h 1977"/>
                <a:gd name="T30" fmla="*/ 1044 w 1495"/>
                <a:gd name="T31" fmla="*/ 237 h 1977"/>
                <a:gd name="T32" fmla="*/ 1075 w 1495"/>
                <a:gd name="T33" fmla="*/ 427 h 1977"/>
                <a:gd name="T34" fmla="*/ 1044 w 1495"/>
                <a:gd name="T35" fmla="*/ 648 h 1977"/>
                <a:gd name="T36" fmla="*/ 917 w 1495"/>
                <a:gd name="T37" fmla="*/ 854 h 1977"/>
                <a:gd name="T38" fmla="*/ 1068 w 1495"/>
                <a:gd name="T39" fmla="*/ 901 h 1977"/>
                <a:gd name="T40" fmla="*/ 1123 w 1495"/>
                <a:gd name="T41" fmla="*/ 799 h 1977"/>
                <a:gd name="T42" fmla="*/ 1455 w 1495"/>
                <a:gd name="T43" fmla="*/ 1107 h 1977"/>
                <a:gd name="T44" fmla="*/ 1494 w 1495"/>
                <a:gd name="T45" fmla="*/ 1186 h 1977"/>
                <a:gd name="T46" fmla="*/ 1423 w 1495"/>
                <a:gd name="T47" fmla="*/ 1376 h 1977"/>
                <a:gd name="T48" fmla="*/ 1368 w 1495"/>
                <a:gd name="T49" fmla="*/ 1455 h 1977"/>
                <a:gd name="T50" fmla="*/ 1305 w 1495"/>
                <a:gd name="T51" fmla="*/ 1605 h 1977"/>
                <a:gd name="T52" fmla="*/ 1297 w 1495"/>
                <a:gd name="T53" fmla="*/ 1707 h 1977"/>
                <a:gd name="T54" fmla="*/ 1210 w 1495"/>
                <a:gd name="T55" fmla="*/ 1834 h 1977"/>
                <a:gd name="T56" fmla="*/ 24 w 1495"/>
                <a:gd name="T57" fmla="*/ 1976 h 1977"/>
                <a:gd name="T58" fmla="*/ 143 w 1495"/>
                <a:gd name="T59" fmla="*/ 490 h 1977"/>
                <a:gd name="T60" fmla="*/ 103 w 1495"/>
                <a:gd name="T61" fmla="*/ 640 h 1977"/>
                <a:gd name="T62" fmla="*/ 40 w 1495"/>
                <a:gd name="T63" fmla="*/ 846 h 1977"/>
                <a:gd name="T64" fmla="*/ 56 w 1495"/>
                <a:gd name="T65" fmla="*/ 1043 h 1977"/>
                <a:gd name="T66" fmla="*/ 135 w 1495"/>
                <a:gd name="T67" fmla="*/ 1818 h 1977"/>
                <a:gd name="T68" fmla="*/ 712 w 1495"/>
                <a:gd name="T69" fmla="*/ 1889 h 1977"/>
                <a:gd name="T70" fmla="*/ 1210 w 1495"/>
                <a:gd name="T71" fmla="*/ 1810 h 1977"/>
                <a:gd name="T72" fmla="*/ 1305 w 1495"/>
                <a:gd name="T73" fmla="*/ 1636 h 1977"/>
                <a:gd name="T74" fmla="*/ 1360 w 1495"/>
                <a:gd name="T75" fmla="*/ 1415 h 1977"/>
                <a:gd name="T76" fmla="*/ 1479 w 1495"/>
                <a:gd name="T77" fmla="*/ 1383 h 1977"/>
                <a:gd name="T78" fmla="*/ 1486 w 1495"/>
                <a:gd name="T79" fmla="*/ 1186 h 1977"/>
                <a:gd name="T80" fmla="*/ 1392 w 1495"/>
                <a:gd name="T81" fmla="*/ 941 h 1977"/>
                <a:gd name="T82" fmla="*/ 1107 w 1495"/>
                <a:gd name="T83" fmla="*/ 806 h 1977"/>
                <a:gd name="T84" fmla="*/ 1044 w 1495"/>
                <a:gd name="T85" fmla="*/ 933 h 1977"/>
                <a:gd name="T86" fmla="*/ 933 w 1495"/>
                <a:gd name="T87" fmla="*/ 814 h 1977"/>
                <a:gd name="T88" fmla="*/ 1060 w 1495"/>
                <a:gd name="T89" fmla="*/ 632 h 1977"/>
                <a:gd name="T90" fmla="*/ 1028 w 1495"/>
                <a:gd name="T91" fmla="*/ 340 h 1977"/>
                <a:gd name="T92" fmla="*/ 1036 w 1495"/>
                <a:gd name="T93" fmla="*/ 237 h 1977"/>
                <a:gd name="T94" fmla="*/ 767 w 1495"/>
                <a:gd name="T95" fmla="*/ 95 h 1977"/>
                <a:gd name="T96" fmla="*/ 649 w 1495"/>
                <a:gd name="T97" fmla="*/ 48 h 1977"/>
                <a:gd name="T98" fmla="*/ 467 w 1495"/>
                <a:gd name="T99" fmla="*/ 55 h 1977"/>
                <a:gd name="T100" fmla="*/ 459 w 1495"/>
                <a:gd name="T101" fmla="*/ 182 h 1977"/>
                <a:gd name="T102" fmla="*/ 348 w 1495"/>
                <a:gd name="T103" fmla="*/ 269 h 1977"/>
                <a:gd name="T104" fmla="*/ 316 w 1495"/>
                <a:gd name="T105" fmla="*/ 435 h 1977"/>
                <a:gd name="T106" fmla="*/ 309 w 1495"/>
                <a:gd name="T107" fmla="*/ 450 h 1977"/>
                <a:gd name="T108" fmla="*/ 285 w 1495"/>
                <a:gd name="T109" fmla="*/ 308 h 1977"/>
                <a:gd name="T110" fmla="*/ 206 w 1495"/>
                <a:gd name="T111" fmla="*/ 443 h 19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95" h="1977">
                  <a:moveTo>
                    <a:pt x="24" y="1976"/>
                  </a:moveTo>
                  <a:lnTo>
                    <a:pt x="24" y="1976"/>
                  </a:lnTo>
                  <a:cubicBezTo>
                    <a:pt x="40" y="1976"/>
                    <a:pt x="40" y="1976"/>
                    <a:pt x="40" y="1976"/>
                  </a:cubicBezTo>
                  <a:cubicBezTo>
                    <a:pt x="40" y="1969"/>
                    <a:pt x="40" y="1969"/>
                    <a:pt x="48" y="1969"/>
                  </a:cubicBezTo>
                  <a:cubicBezTo>
                    <a:pt x="71" y="1937"/>
                    <a:pt x="103" y="1889"/>
                    <a:pt x="119" y="1858"/>
                  </a:cubicBezTo>
                  <a:cubicBezTo>
                    <a:pt x="119" y="1858"/>
                    <a:pt x="119" y="1850"/>
                    <a:pt x="127" y="1850"/>
                  </a:cubicBezTo>
                  <a:cubicBezTo>
                    <a:pt x="127" y="1842"/>
                    <a:pt x="127" y="1834"/>
                    <a:pt x="135" y="1818"/>
                  </a:cubicBezTo>
                  <a:cubicBezTo>
                    <a:pt x="135" y="1787"/>
                    <a:pt x="143" y="1739"/>
                    <a:pt x="182" y="1644"/>
                  </a:cubicBezTo>
                  <a:cubicBezTo>
                    <a:pt x="229" y="1510"/>
                    <a:pt x="143" y="1273"/>
                    <a:pt x="119" y="1225"/>
                  </a:cubicBezTo>
                  <a:cubicBezTo>
                    <a:pt x="103" y="1202"/>
                    <a:pt x="87" y="1178"/>
                    <a:pt x="71" y="1162"/>
                  </a:cubicBezTo>
                  <a:cubicBezTo>
                    <a:pt x="71" y="1154"/>
                    <a:pt x="63" y="1154"/>
                    <a:pt x="63" y="1146"/>
                  </a:cubicBezTo>
                  <a:cubicBezTo>
                    <a:pt x="48" y="1123"/>
                    <a:pt x="32" y="1059"/>
                    <a:pt x="56" y="1043"/>
                  </a:cubicBezTo>
                  <a:cubicBezTo>
                    <a:pt x="63" y="1036"/>
                    <a:pt x="56" y="1020"/>
                    <a:pt x="56" y="1004"/>
                  </a:cubicBezTo>
                  <a:cubicBezTo>
                    <a:pt x="56" y="988"/>
                    <a:pt x="56" y="980"/>
                    <a:pt x="56" y="965"/>
                  </a:cubicBezTo>
                  <a:cubicBezTo>
                    <a:pt x="56" y="933"/>
                    <a:pt x="48" y="925"/>
                    <a:pt x="24" y="901"/>
                  </a:cubicBezTo>
                  <a:lnTo>
                    <a:pt x="24" y="901"/>
                  </a:lnTo>
                  <a:cubicBezTo>
                    <a:pt x="0" y="877"/>
                    <a:pt x="24" y="862"/>
                    <a:pt x="32" y="846"/>
                  </a:cubicBezTo>
                  <a:cubicBezTo>
                    <a:pt x="40" y="838"/>
                    <a:pt x="48" y="838"/>
                    <a:pt x="48" y="830"/>
                  </a:cubicBezTo>
                  <a:cubicBezTo>
                    <a:pt x="56" y="822"/>
                    <a:pt x="63" y="814"/>
                    <a:pt x="71" y="799"/>
                  </a:cubicBezTo>
                  <a:cubicBezTo>
                    <a:pt x="79" y="783"/>
                    <a:pt x="87" y="767"/>
                    <a:pt x="103" y="751"/>
                  </a:cubicBezTo>
                  <a:cubicBezTo>
                    <a:pt x="111" y="743"/>
                    <a:pt x="103" y="712"/>
                    <a:pt x="103" y="688"/>
                  </a:cubicBezTo>
                  <a:cubicBezTo>
                    <a:pt x="95" y="664"/>
                    <a:pt x="95" y="648"/>
                    <a:pt x="103" y="632"/>
                  </a:cubicBezTo>
                  <a:cubicBezTo>
                    <a:pt x="103" y="625"/>
                    <a:pt x="103" y="609"/>
                    <a:pt x="87" y="601"/>
                  </a:cubicBezTo>
                  <a:cubicBezTo>
                    <a:pt x="87" y="593"/>
                    <a:pt x="79" y="585"/>
                    <a:pt x="79" y="577"/>
                  </a:cubicBezTo>
                  <a:cubicBezTo>
                    <a:pt x="71" y="569"/>
                    <a:pt x="71" y="561"/>
                    <a:pt x="79" y="553"/>
                  </a:cubicBezTo>
                  <a:cubicBezTo>
                    <a:pt x="87" y="538"/>
                    <a:pt x="111" y="530"/>
                    <a:pt x="119" y="530"/>
                  </a:cubicBezTo>
                  <a:cubicBezTo>
                    <a:pt x="127" y="530"/>
                    <a:pt x="135" y="506"/>
                    <a:pt x="135" y="482"/>
                  </a:cubicBezTo>
                  <a:cubicBezTo>
                    <a:pt x="143" y="474"/>
                    <a:pt x="143" y="466"/>
                    <a:pt x="143" y="459"/>
                  </a:cubicBezTo>
                  <a:cubicBezTo>
                    <a:pt x="151" y="450"/>
                    <a:pt x="151" y="443"/>
                    <a:pt x="151" y="443"/>
                  </a:cubicBezTo>
                  <a:cubicBezTo>
                    <a:pt x="151" y="435"/>
                    <a:pt x="151" y="427"/>
                    <a:pt x="158" y="427"/>
                  </a:cubicBezTo>
                  <a:cubicBezTo>
                    <a:pt x="166" y="427"/>
                    <a:pt x="174" y="427"/>
                    <a:pt x="182" y="435"/>
                  </a:cubicBezTo>
                  <a:cubicBezTo>
                    <a:pt x="190" y="435"/>
                    <a:pt x="190" y="435"/>
                    <a:pt x="190" y="435"/>
                  </a:cubicBezTo>
                  <a:cubicBezTo>
                    <a:pt x="198" y="435"/>
                    <a:pt x="198" y="435"/>
                    <a:pt x="206" y="435"/>
                  </a:cubicBezTo>
                  <a:cubicBezTo>
                    <a:pt x="214" y="435"/>
                    <a:pt x="214" y="435"/>
                    <a:pt x="214" y="419"/>
                  </a:cubicBezTo>
                  <a:cubicBezTo>
                    <a:pt x="214" y="411"/>
                    <a:pt x="214" y="403"/>
                    <a:pt x="222" y="395"/>
                  </a:cubicBezTo>
                  <a:cubicBezTo>
                    <a:pt x="238" y="379"/>
                    <a:pt x="253" y="332"/>
                    <a:pt x="261" y="316"/>
                  </a:cubicBezTo>
                  <a:cubicBezTo>
                    <a:pt x="261" y="300"/>
                    <a:pt x="269" y="300"/>
                    <a:pt x="277" y="300"/>
                  </a:cubicBezTo>
                  <a:cubicBezTo>
                    <a:pt x="277" y="300"/>
                    <a:pt x="285" y="300"/>
                    <a:pt x="293" y="308"/>
                  </a:cubicBezTo>
                  <a:cubicBezTo>
                    <a:pt x="293" y="316"/>
                    <a:pt x="293" y="372"/>
                    <a:pt x="293" y="395"/>
                  </a:cubicBezTo>
                  <a:cubicBezTo>
                    <a:pt x="293" y="427"/>
                    <a:pt x="285" y="450"/>
                    <a:pt x="301" y="474"/>
                  </a:cubicBezTo>
                  <a:cubicBezTo>
                    <a:pt x="309" y="474"/>
                    <a:pt x="309" y="482"/>
                    <a:pt x="309" y="482"/>
                  </a:cubicBezTo>
                  <a:cubicBezTo>
                    <a:pt x="309" y="474"/>
                    <a:pt x="309" y="459"/>
                    <a:pt x="309" y="459"/>
                  </a:cubicBezTo>
                  <a:cubicBezTo>
                    <a:pt x="301" y="450"/>
                    <a:pt x="301" y="443"/>
                    <a:pt x="301" y="443"/>
                  </a:cubicBezTo>
                  <a:cubicBezTo>
                    <a:pt x="301" y="435"/>
                    <a:pt x="301" y="435"/>
                    <a:pt x="301" y="435"/>
                  </a:cubicBezTo>
                  <a:cubicBezTo>
                    <a:pt x="301" y="419"/>
                    <a:pt x="301" y="411"/>
                    <a:pt x="309" y="403"/>
                  </a:cubicBezTo>
                  <a:cubicBezTo>
                    <a:pt x="309" y="403"/>
                    <a:pt x="309" y="403"/>
                    <a:pt x="316" y="403"/>
                  </a:cubicBezTo>
                  <a:cubicBezTo>
                    <a:pt x="324" y="403"/>
                    <a:pt x="324" y="419"/>
                    <a:pt x="324" y="435"/>
                  </a:cubicBezTo>
                  <a:cubicBezTo>
                    <a:pt x="324" y="450"/>
                    <a:pt x="324" y="466"/>
                    <a:pt x="332" y="466"/>
                  </a:cubicBezTo>
                  <a:lnTo>
                    <a:pt x="332" y="466"/>
                  </a:lnTo>
                  <a:cubicBezTo>
                    <a:pt x="340" y="466"/>
                    <a:pt x="340" y="466"/>
                    <a:pt x="340" y="466"/>
                  </a:cubicBezTo>
                  <a:cubicBezTo>
                    <a:pt x="348" y="459"/>
                    <a:pt x="348" y="427"/>
                    <a:pt x="348" y="395"/>
                  </a:cubicBezTo>
                  <a:cubicBezTo>
                    <a:pt x="348" y="379"/>
                    <a:pt x="348" y="364"/>
                    <a:pt x="340" y="348"/>
                  </a:cubicBezTo>
                  <a:cubicBezTo>
                    <a:pt x="340" y="324"/>
                    <a:pt x="332" y="293"/>
                    <a:pt x="340" y="269"/>
                  </a:cubicBezTo>
                  <a:cubicBezTo>
                    <a:pt x="340" y="237"/>
                    <a:pt x="348" y="229"/>
                    <a:pt x="356" y="229"/>
                  </a:cubicBezTo>
                  <a:cubicBezTo>
                    <a:pt x="364" y="229"/>
                    <a:pt x="364" y="229"/>
                    <a:pt x="364" y="221"/>
                  </a:cubicBezTo>
                  <a:cubicBezTo>
                    <a:pt x="380" y="206"/>
                    <a:pt x="403" y="198"/>
                    <a:pt x="427" y="198"/>
                  </a:cubicBezTo>
                  <a:cubicBezTo>
                    <a:pt x="451" y="198"/>
                    <a:pt x="451" y="198"/>
                    <a:pt x="459" y="182"/>
                  </a:cubicBezTo>
                  <a:lnTo>
                    <a:pt x="459" y="182"/>
                  </a:lnTo>
                  <a:cubicBezTo>
                    <a:pt x="459" y="174"/>
                    <a:pt x="451" y="166"/>
                    <a:pt x="443" y="158"/>
                  </a:cubicBezTo>
                  <a:cubicBezTo>
                    <a:pt x="435" y="158"/>
                    <a:pt x="427" y="150"/>
                    <a:pt x="411" y="135"/>
                  </a:cubicBezTo>
                  <a:cubicBezTo>
                    <a:pt x="411" y="126"/>
                    <a:pt x="411" y="119"/>
                    <a:pt x="411" y="103"/>
                  </a:cubicBezTo>
                  <a:cubicBezTo>
                    <a:pt x="419" y="87"/>
                    <a:pt x="435" y="71"/>
                    <a:pt x="443" y="71"/>
                  </a:cubicBezTo>
                  <a:cubicBezTo>
                    <a:pt x="443" y="63"/>
                    <a:pt x="451" y="55"/>
                    <a:pt x="459" y="48"/>
                  </a:cubicBezTo>
                  <a:cubicBezTo>
                    <a:pt x="467" y="32"/>
                    <a:pt x="482" y="16"/>
                    <a:pt x="498" y="0"/>
                  </a:cubicBezTo>
                  <a:cubicBezTo>
                    <a:pt x="506" y="0"/>
                    <a:pt x="514" y="0"/>
                    <a:pt x="530" y="0"/>
                  </a:cubicBezTo>
                  <a:cubicBezTo>
                    <a:pt x="554" y="0"/>
                    <a:pt x="585" y="16"/>
                    <a:pt x="593" y="24"/>
                  </a:cubicBezTo>
                  <a:cubicBezTo>
                    <a:pt x="601" y="32"/>
                    <a:pt x="617" y="39"/>
                    <a:pt x="641" y="39"/>
                  </a:cubicBezTo>
                  <a:lnTo>
                    <a:pt x="649" y="39"/>
                  </a:lnTo>
                  <a:cubicBezTo>
                    <a:pt x="656" y="39"/>
                    <a:pt x="656" y="39"/>
                    <a:pt x="664" y="39"/>
                  </a:cubicBezTo>
                  <a:cubicBezTo>
                    <a:pt x="696" y="39"/>
                    <a:pt x="728" y="48"/>
                    <a:pt x="735" y="71"/>
                  </a:cubicBezTo>
                  <a:cubicBezTo>
                    <a:pt x="743" y="87"/>
                    <a:pt x="751" y="87"/>
                    <a:pt x="751" y="87"/>
                  </a:cubicBezTo>
                  <a:cubicBezTo>
                    <a:pt x="759" y="87"/>
                    <a:pt x="759" y="87"/>
                    <a:pt x="759" y="87"/>
                  </a:cubicBezTo>
                  <a:cubicBezTo>
                    <a:pt x="767" y="87"/>
                    <a:pt x="767" y="87"/>
                    <a:pt x="767" y="87"/>
                  </a:cubicBezTo>
                  <a:lnTo>
                    <a:pt x="767" y="87"/>
                  </a:lnTo>
                  <a:cubicBezTo>
                    <a:pt x="783" y="87"/>
                    <a:pt x="822" y="103"/>
                    <a:pt x="878" y="119"/>
                  </a:cubicBezTo>
                  <a:cubicBezTo>
                    <a:pt x="909" y="135"/>
                    <a:pt x="941" y="142"/>
                    <a:pt x="949" y="142"/>
                  </a:cubicBezTo>
                  <a:cubicBezTo>
                    <a:pt x="981" y="158"/>
                    <a:pt x="996" y="190"/>
                    <a:pt x="1004" y="198"/>
                  </a:cubicBezTo>
                  <a:cubicBezTo>
                    <a:pt x="1004" y="213"/>
                    <a:pt x="1012" y="213"/>
                    <a:pt x="1028" y="221"/>
                  </a:cubicBezTo>
                  <a:cubicBezTo>
                    <a:pt x="1028" y="221"/>
                    <a:pt x="1036" y="229"/>
                    <a:pt x="1044" y="229"/>
                  </a:cubicBezTo>
                  <a:lnTo>
                    <a:pt x="1044" y="237"/>
                  </a:lnTo>
                  <a:cubicBezTo>
                    <a:pt x="1044" y="253"/>
                    <a:pt x="1020" y="277"/>
                    <a:pt x="1012" y="293"/>
                  </a:cubicBezTo>
                  <a:cubicBezTo>
                    <a:pt x="1004" y="293"/>
                    <a:pt x="1004" y="293"/>
                    <a:pt x="1004" y="300"/>
                  </a:cubicBezTo>
                  <a:cubicBezTo>
                    <a:pt x="1004" y="308"/>
                    <a:pt x="1020" y="324"/>
                    <a:pt x="1028" y="332"/>
                  </a:cubicBezTo>
                  <a:lnTo>
                    <a:pt x="1028" y="332"/>
                  </a:lnTo>
                  <a:cubicBezTo>
                    <a:pt x="1044" y="340"/>
                    <a:pt x="1075" y="395"/>
                    <a:pt x="1075" y="427"/>
                  </a:cubicBezTo>
                  <a:cubicBezTo>
                    <a:pt x="1075" y="443"/>
                    <a:pt x="1075" y="450"/>
                    <a:pt x="1075" y="459"/>
                  </a:cubicBezTo>
                  <a:cubicBezTo>
                    <a:pt x="1068" y="482"/>
                    <a:pt x="1068" y="490"/>
                    <a:pt x="1083" y="514"/>
                  </a:cubicBezTo>
                  <a:cubicBezTo>
                    <a:pt x="1099" y="546"/>
                    <a:pt x="1091" y="569"/>
                    <a:pt x="1083" y="609"/>
                  </a:cubicBezTo>
                  <a:cubicBezTo>
                    <a:pt x="1075" y="632"/>
                    <a:pt x="1075" y="632"/>
                    <a:pt x="1060" y="640"/>
                  </a:cubicBezTo>
                  <a:cubicBezTo>
                    <a:pt x="1052" y="640"/>
                    <a:pt x="1052" y="640"/>
                    <a:pt x="1044" y="648"/>
                  </a:cubicBezTo>
                  <a:cubicBezTo>
                    <a:pt x="1028" y="656"/>
                    <a:pt x="1020" y="680"/>
                    <a:pt x="1020" y="696"/>
                  </a:cubicBezTo>
                  <a:cubicBezTo>
                    <a:pt x="1020" y="712"/>
                    <a:pt x="1020" y="743"/>
                    <a:pt x="996" y="783"/>
                  </a:cubicBezTo>
                  <a:cubicBezTo>
                    <a:pt x="988" y="806"/>
                    <a:pt x="973" y="814"/>
                    <a:pt x="957" y="814"/>
                  </a:cubicBezTo>
                  <a:cubicBezTo>
                    <a:pt x="949" y="814"/>
                    <a:pt x="941" y="814"/>
                    <a:pt x="933" y="822"/>
                  </a:cubicBezTo>
                  <a:cubicBezTo>
                    <a:pt x="925" y="822"/>
                    <a:pt x="917" y="838"/>
                    <a:pt x="917" y="854"/>
                  </a:cubicBezTo>
                  <a:cubicBezTo>
                    <a:pt x="917" y="885"/>
                    <a:pt x="925" y="917"/>
                    <a:pt x="941" y="933"/>
                  </a:cubicBezTo>
                  <a:cubicBezTo>
                    <a:pt x="957" y="957"/>
                    <a:pt x="988" y="965"/>
                    <a:pt x="1004" y="965"/>
                  </a:cubicBezTo>
                  <a:cubicBezTo>
                    <a:pt x="1012" y="965"/>
                    <a:pt x="1020" y="965"/>
                    <a:pt x="1020" y="957"/>
                  </a:cubicBezTo>
                  <a:cubicBezTo>
                    <a:pt x="1028" y="949"/>
                    <a:pt x="1036" y="941"/>
                    <a:pt x="1044" y="933"/>
                  </a:cubicBezTo>
                  <a:cubicBezTo>
                    <a:pt x="1052" y="925"/>
                    <a:pt x="1060" y="909"/>
                    <a:pt x="1068" y="901"/>
                  </a:cubicBezTo>
                  <a:cubicBezTo>
                    <a:pt x="1068" y="893"/>
                    <a:pt x="1075" y="893"/>
                    <a:pt x="1075" y="885"/>
                  </a:cubicBezTo>
                  <a:cubicBezTo>
                    <a:pt x="1083" y="870"/>
                    <a:pt x="1091" y="862"/>
                    <a:pt x="1091" y="846"/>
                  </a:cubicBezTo>
                  <a:cubicBezTo>
                    <a:pt x="1091" y="822"/>
                    <a:pt x="1091" y="814"/>
                    <a:pt x="1099" y="806"/>
                  </a:cubicBezTo>
                  <a:cubicBezTo>
                    <a:pt x="1099" y="799"/>
                    <a:pt x="1107" y="799"/>
                    <a:pt x="1107" y="806"/>
                  </a:cubicBezTo>
                  <a:cubicBezTo>
                    <a:pt x="1115" y="806"/>
                    <a:pt x="1123" y="799"/>
                    <a:pt x="1123" y="799"/>
                  </a:cubicBezTo>
                  <a:cubicBezTo>
                    <a:pt x="1131" y="767"/>
                    <a:pt x="1194" y="727"/>
                    <a:pt x="1234" y="727"/>
                  </a:cubicBezTo>
                  <a:cubicBezTo>
                    <a:pt x="1273" y="719"/>
                    <a:pt x="1344" y="767"/>
                    <a:pt x="1344" y="799"/>
                  </a:cubicBezTo>
                  <a:cubicBezTo>
                    <a:pt x="1352" y="838"/>
                    <a:pt x="1376" y="901"/>
                    <a:pt x="1392" y="933"/>
                  </a:cubicBezTo>
                  <a:cubicBezTo>
                    <a:pt x="1408" y="965"/>
                    <a:pt x="1431" y="1028"/>
                    <a:pt x="1447" y="1075"/>
                  </a:cubicBezTo>
                  <a:cubicBezTo>
                    <a:pt x="1455" y="1091"/>
                    <a:pt x="1455" y="1099"/>
                    <a:pt x="1455" y="1107"/>
                  </a:cubicBezTo>
                  <a:cubicBezTo>
                    <a:pt x="1471" y="1130"/>
                    <a:pt x="1471" y="1138"/>
                    <a:pt x="1479" y="1146"/>
                  </a:cubicBezTo>
                  <a:cubicBezTo>
                    <a:pt x="1479" y="1154"/>
                    <a:pt x="1486" y="1154"/>
                    <a:pt x="1486" y="1170"/>
                  </a:cubicBezTo>
                  <a:cubicBezTo>
                    <a:pt x="1494" y="1178"/>
                    <a:pt x="1494" y="1178"/>
                    <a:pt x="1494" y="1178"/>
                  </a:cubicBezTo>
                  <a:cubicBezTo>
                    <a:pt x="1494" y="1186"/>
                    <a:pt x="1494" y="1186"/>
                    <a:pt x="1494" y="1186"/>
                  </a:cubicBezTo>
                  <a:lnTo>
                    <a:pt x="1494" y="1186"/>
                  </a:lnTo>
                  <a:cubicBezTo>
                    <a:pt x="1486" y="1249"/>
                    <a:pt x="1479" y="1328"/>
                    <a:pt x="1486" y="1376"/>
                  </a:cubicBezTo>
                  <a:cubicBezTo>
                    <a:pt x="1486" y="1376"/>
                    <a:pt x="1494" y="1383"/>
                    <a:pt x="1486" y="1391"/>
                  </a:cubicBezTo>
                  <a:cubicBezTo>
                    <a:pt x="1486" y="1407"/>
                    <a:pt x="1486" y="1407"/>
                    <a:pt x="1486" y="1407"/>
                  </a:cubicBezTo>
                  <a:cubicBezTo>
                    <a:pt x="1479" y="1391"/>
                    <a:pt x="1479" y="1391"/>
                    <a:pt x="1479" y="1391"/>
                  </a:cubicBezTo>
                  <a:cubicBezTo>
                    <a:pt x="1479" y="1383"/>
                    <a:pt x="1447" y="1383"/>
                    <a:pt x="1423" y="1376"/>
                  </a:cubicBezTo>
                  <a:cubicBezTo>
                    <a:pt x="1415" y="1376"/>
                    <a:pt x="1408" y="1376"/>
                    <a:pt x="1399" y="1376"/>
                  </a:cubicBezTo>
                  <a:lnTo>
                    <a:pt x="1392" y="1376"/>
                  </a:lnTo>
                  <a:cubicBezTo>
                    <a:pt x="1376" y="1376"/>
                    <a:pt x="1376" y="1376"/>
                    <a:pt x="1376" y="1391"/>
                  </a:cubicBezTo>
                  <a:cubicBezTo>
                    <a:pt x="1376" y="1399"/>
                    <a:pt x="1368" y="1407"/>
                    <a:pt x="1368" y="1415"/>
                  </a:cubicBezTo>
                  <a:cubicBezTo>
                    <a:pt x="1360" y="1431"/>
                    <a:pt x="1360" y="1439"/>
                    <a:pt x="1368" y="1455"/>
                  </a:cubicBezTo>
                  <a:cubicBezTo>
                    <a:pt x="1368" y="1463"/>
                    <a:pt x="1368" y="1470"/>
                    <a:pt x="1376" y="1478"/>
                  </a:cubicBezTo>
                  <a:cubicBezTo>
                    <a:pt x="1376" y="1494"/>
                    <a:pt x="1376" y="1502"/>
                    <a:pt x="1376" y="1502"/>
                  </a:cubicBezTo>
                  <a:lnTo>
                    <a:pt x="1376" y="1502"/>
                  </a:lnTo>
                  <a:cubicBezTo>
                    <a:pt x="1376" y="1510"/>
                    <a:pt x="1376" y="1510"/>
                    <a:pt x="1376" y="1510"/>
                  </a:cubicBezTo>
                  <a:cubicBezTo>
                    <a:pt x="1305" y="1573"/>
                    <a:pt x="1297" y="1597"/>
                    <a:pt x="1305" y="1605"/>
                  </a:cubicBezTo>
                  <a:cubicBezTo>
                    <a:pt x="1305" y="1613"/>
                    <a:pt x="1305" y="1629"/>
                    <a:pt x="1313" y="1636"/>
                  </a:cubicBezTo>
                  <a:cubicBezTo>
                    <a:pt x="1313" y="1652"/>
                    <a:pt x="1321" y="1660"/>
                    <a:pt x="1321" y="1676"/>
                  </a:cubicBezTo>
                  <a:cubicBezTo>
                    <a:pt x="1321" y="1684"/>
                    <a:pt x="1321" y="1684"/>
                    <a:pt x="1321" y="1684"/>
                  </a:cubicBezTo>
                  <a:lnTo>
                    <a:pt x="1321" y="1684"/>
                  </a:lnTo>
                  <a:cubicBezTo>
                    <a:pt x="1313" y="1684"/>
                    <a:pt x="1305" y="1700"/>
                    <a:pt x="1297" y="1707"/>
                  </a:cubicBezTo>
                  <a:cubicBezTo>
                    <a:pt x="1289" y="1716"/>
                    <a:pt x="1281" y="1723"/>
                    <a:pt x="1273" y="1731"/>
                  </a:cubicBezTo>
                  <a:cubicBezTo>
                    <a:pt x="1257" y="1739"/>
                    <a:pt x="1249" y="1763"/>
                    <a:pt x="1241" y="1787"/>
                  </a:cubicBezTo>
                  <a:cubicBezTo>
                    <a:pt x="1234" y="1795"/>
                    <a:pt x="1226" y="1802"/>
                    <a:pt x="1218" y="1818"/>
                  </a:cubicBezTo>
                  <a:cubicBezTo>
                    <a:pt x="1218" y="1826"/>
                    <a:pt x="1218" y="1826"/>
                    <a:pt x="1218" y="1834"/>
                  </a:cubicBezTo>
                  <a:cubicBezTo>
                    <a:pt x="1210" y="1834"/>
                    <a:pt x="1210" y="1834"/>
                    <a:pt x="1210" y="1834"/>
                  </a:cubicBezTo>
                  <a:lnTo>
                    <a:pt x="1210" y="1834"/>
                  </a:lnTo>
                  <a:cubicBezTo>
                    <a:pt x="1107" y="1866"/>
                    <a:pt x="846" y="1929"/>
                    <a:pt x="767" y="1929"/>
                  </a:cubicBezTo>
                  <a:cubicBezTo>
                    <a:pt x="759" y="1929"/>
                    <a:pt x="751" y="1929"/>
                    <a:pt x="751" y="1921"/>
                  </a:cubicBezTo>
                  <a:cubicBezTo>
                    <a:pt x="728" y="1897"/>
                    <a:pt x="712" y="1897"/>
                    <a:pt x="712" y="1897"/>
                  </a:cubicBezTo>
                  <a:lnTo>
                    <a:pt x="24" y="1976"/>
                  </a:lnTo>
                  <a:close/>
                  <a:moveTo>
                    <a:pt x="158" y="435"/>
                  </a:moveTo>
                  <a:lnTo>
                    <a:pt x="158" y="435"/>
                  </a:lnTo>
                  <a:cubicBezTo>
                    <a:pt x="158" y="435"/>
                    <a:pt x="158" y="435"/>
                    <a:pt x="158" y="443"/>
                  </a:cubicBezTo>
                  <a:cubicBezTo>
                    <a:pt x="158" y="450"/>
                    <a:pt x="158" y="450"/>
                    <a:pt x="151" y="459"/>
                  </a:cubicBezTo>
                  <a:cubicBezTo>
                    <a:pt x="151" y="466"/>
                    <a:pt x="151" y="474"/>
                    <a:pt x="143" y="490"/>
                  </a:cubicBezTo>
                  <a:cubicBezTo>
                    <a:pt x="135" y="514"/>
                    <a:pt x="135" y="530"/>
                    <a:pt x="119" y="538"/>
                  </a:cubicBezTo>
                  <a:cubicBezTo>
                    <a:pt x="111" y="538"/>
                    <a:pt x="95" y="546"/>
                    <a:pt x="87" y="553"/>
                  </a:cubicBezTo>
                  <a:cubicBezTo>
                    <a:pt x="79" y="561"/>
                    <a:pt x="79" y="569"/>
                    <a:pt x="87" y="577"/>
                  </a:cubicBezTo>
                  <a:cubicBezTo>
                    <a:pt x="87" y="577"/>
                    <a:pt x="95" y="585"/>
                    <a:pt x="95" y="593"/>
                  </a:cubicBezTo>
                  <a:cubicBezTo>
                    <a:pt x="103" y="609"/>
                    <a:pt x="111" y="625"/>
                    <a:pt x="103" y="640"/>
                  </a:cubicBezTo>
                  <a:cubicBezTo>
                    <a:pt x="103" y="648"/>
                    <a:pt x="103" y="672"/>
                    <a:pt x="111" y="688"/>
                  </a:cubicBezTo>
                  <a:cubicBezTo>
                    <a:pt x="111" y="719"/>
                    <a:pt x="119" y="743"/>
                    <a:pt x="103" y="759"/>
                  </a:cubicBezTo>
                  <a:cubicBezTo>
                    <a:pt x="95" y="767"/>
                    <a:pt x="87" y="790"/>
                    <a:pt x="71" y="806"/>
                  </a:cubicBezTo>
                  <a:cubicBezTo>
                    <a:pt x="63" y="814"/>
                    <a:pt x="63" y="822"/>
                    <a:pt x="56" y="830"/>
                  </a:cubicBezTo>
                  <a:cubicBezTo>
                    <a:pt x="48" y="838"/>
                    <a:pt x="48" y="846"/>
                    <a:pt x="40" y="846"/>
                  </a:cubicBezTo>
                  <a:cubicBezTo>
                    <a:pt x="24" y="870"/>
                    <a:pt x="16" y="877"/>
                    <a:pt x="24" y="893"/>
                  </a:cubicBezTo>
                  <a:cubicBezTo>
                    <a:pt x="32" y="893"/>
                    <a:pt x="32" y="893"/>
                    <a:pt x="32" y="893"/>
                  </a:cubicBezTo>
                  <a:cubicBezTo>
                    <a:pt x="48" y="917"/>
                    <a:pt x="63" y="925"/>
                    <a:pt x="63" y="965"/>
                  </a:cubicBezTo>
                  <a:cubicBezTo>
                    <a:pt x="63" y="980"/>
                    <a:pt x="63" y="988"/>
                    <a:pt x="63" y="1004"/>
                  </a:cubicBezTo>
                  <a:cubicBezTo>
                    <a:pt x="63" y="1020"/>
                    <a:pt x="71" y="1036"/>
                    <a:pt x="56" y="1043"/>
                  </a:cubicBezTo>
                  <a:cubicBezTo>
                    <a:pt x="48" y="1059"/>
                    <a:pt x="56" y="1123"/>
                    <a:pt x="71" y="1138"/>
                  </a:cubicBezTo>
                  <a:cubicBezTo>
                    <a:pt x="71" y="1146"/>
                    <a:pt x="79" y="1154"/>
                    <a:pt x="79" y="1162"/>
                  </a:cubicBezTo>
                  <a:cubicBezTo>
                    <a:pt x="95" y="1178"/>
                    <a:pt x="103" y="1194"/>
                    <a:pt x="127" y="1225"/>
                  </a:cubicBezTo>
                  <a:cubicBezTo>
                    <a:pt x="151" y="1273"/>
                    <a:pt x="238" y="1510"/>
                    <a:pt x="190" y="1652"/>
                  </a:cubicBezTo>
                  <a:cubicBezTo>
                    <a:pt x="151" y="1747"/>
                    <a:pt x="143" y="1795"/>
                    <a:pt x="135" y="1818"/>
                  </a:cubicBezTo>
                  <a:cubicBezTo>
                    <a:pt x="135" y="1834"/>
                    <a:pt x="135" y="1842"/>
                    <a:pt x="127" y="1850"/>
                  </a:cubicBezTo>
                  <a:cubicBezTo>
                    <a:pt x="127" y="1850"/>
                    <a:pt x="127" y="1858"/>
                    <a:pt x="127" y="1866"/>
                  </a:cubicBezTo>
                  <a:cubicBezTo>
                    <a:pt x="111" y="1889"/>
                    <a:pt x="79" y="1945"/>
                    <a:pt x="48" y="1969"/>
                  </a:cubicBezTo>
                  <a:lnTo>
                    <a:pt x="48" y="1969"/>
                  </a:lnTo>
                  <a:cubicBezTo>
                    <a:pt x="712" y="1889"/>
                    <a:pt x="712" y="1889"/>
                    <a:pt x="712" y="1889"/>
                  </a:cubicBezTo>
                  <a:lnTo>
                    <a:pt x="712" y="1889"/>
                  </a:lnTo>
                  <a:cubicBezTo>
                    <a:pt x="720" y="1889"/>
                    <a:pt x="735" y="1897"/>
                    <a:pt x="751" y="1921"/>
                  </a:cubicBezTo>
                  <a:cubicBezTo>
                    <a:pt x="751" y="1921"/>
                    <a:pt x="759" y="1921"/>
                    <a:pt x="767" y="1921"/>
                  </a:cubicBezTo>
                  <a:cubicBezTo>
                    <a:pt x="846" y="1921"/>
                    <a:pt x="1099" y="1858"/>
                    <a:pt x="1210" y="1826"/>
                  </a:cubicBezTo>
                  <a:cubicBezTo>
                    <a:pt x="1210" y="1826"/>
                    <a:pt x="1210" y="1818"/>
                    <a:pt x="1210" y="1810"/>
                  </a:cubicBezTo>
                  <a:cubicBezTo>
                    <a:pt x="1218" y="1802"/>
                    <a:pt x="1226" y="1795"/>
                    <a:pt x="1234" y="1779"/>
                  </a:cubicBezTo>
                  <a:cubicBezTo>
                    <a:pt x="1241" y="1755"/>
                    <a:pt x="1257" y="1731"/>
                    <a:pt x="1273" y="1723"/>
                  </a:cubicBezTo>
                  <a:cubicBezTo>
                    <a:pt x="1273" y="1723"/>
                    <a:pt x="1281" y="1716"/>
                    <a:pt x="1289" y="1707"/>
                  </a:cubicBezTo>
                  <a:cubicBezTo>
                    <a:pt x="1297" y="1692"/>
                    <a:pt x="1305" y="1684"/>
                    <a:pt x="1313" y="1676"/>
                  </a:cubicBezTo>
                  <a:cubicBezTo>
                    <a:pt x="1313" y="1660"/>
                    <a:pt x="1305" y="1652"/>
                    <a:pt x="1305" y="1636"/>
                  </a:cubicBezTo>
                  <a:cubicBezTo>
                    <a:pt x="1297" y="1629"/>
                    <a:pt x="1297" y="1613"/>
                    <a:pt x="1297" y="1613"/>
                  </a:cubicBezTo>
                  <a:cubicBezTo>
                    <a:pt x="1289" y="1597"/>
                    <a:pt x="1297" y="1581"/>
                    <a:pt x="1368" y="1502"/>
                  </a:cubicBezTo>
                  <a:cubicBezTo>
                    <a:pt x="1368" y="1502"/>
                    <a:pt x="1368" y="1494"/>
                    <a:pt x="1368" y="1486"/>
                  </a:cubicBezTo>
                  <a:cubicBezTo>
                    <a:pt x="1360" y="1470"/>
                    <a:pt x="1360" y="1463"/>
                    <a:pt x="1360" y="1455"/>
                  </a:cubicBezTo>
                  <a:cubicBezTo>
                    <a:pt x="1352" y="1439"/>
                    <a:pt x="1352" y="1431"/>
                    <a:pt x="1360" y="1415"/>
                  </a:cubicBezTo>
                  <a:cubicBezTo>
                    <a:pt x="1368" y="1407"/>
                    <a:pt x="1368" y="1399"/>
                    <a:pt x="1368" y="1391"/>
                  </a:cubicBezTo>
                  <a:cubicBezTo>
                    <a:pt x="1368" y="1376"/>
                    <a:pt x="1368" y="1368"/>
                    <a:pt x="1392" y="1368"/>
                  </a:cubicBezTo>
                  <a:lnTo>
                    <a:pt x="1399" y="1368"/>
                  </a:lnTo>
                  <a:cubicBezTo>
                    <a:pt x="1408" y="1368"/>
                    <a:pt x="1415" y="1368"/>
                    <a:pt x="1423" y="1368"/>
                  </a:cubicBezTo>
                  <a:cubicBezTo>
                    <a:pt x="1455" y="1376"/>
                    <a:pt x="1471" y="1376"/>
                    <a:pt x="1479" y="1383"/>
                  </a:cubicBezTo>
                  <a:lnTo>
                    <a:pt x="1479" y="1383"/>
                  </a:lnTo>
                  <a:lnTo>
                    <a:pt x="1479" y="1383"/>
                  </a:lnTo>
                  <a:cubicBezTo>
                    <a:pt x="1479" y="1376"/>
                    <a:pt x="1479" y="1376"/>
                    <a:pt x="1479" y="1376"/>
                  </a:cubicBezTo>
                  <a:cubicBezTo>
                    <a:pt x="1471" y="1336"/>
                    <a:pt x="1479" y="1257"/>
                    <a:pt x="1486" y="1194"/>
                  </a:cubicBezTo>
                  <a:lnTo>
                    <a:pt x="1486" y="1186"/>
                  </a:lnTo>
                  <a:cubicBezTo>
                    <a:pt x="1486" y="1170"/>
                    <a:pt x="1486" y="1170"/>
                    <a:pt x="1486" y="1170"/>
                  </a:cubicBezTo>
                  <a:cubicBezTo>
                    <a:pt x="1479" y="1162"/>
                    <a:pt x="1471" y="1154"/>
                    <a:pt x="1471" y="1146"/>
                  </a:cubicBezTo>
                  <a:cubicBezTo>
                    <a:pt x="1463" y="1146"/>
                    <a:pt x="1463" y="1138"/>
                    <a:pt x="1455" y="1107"/>
                  </a:cubicBezTo>
                  <a:cubicBezTo>
                    <a:pt x="1447" y="1099"/>
                    <a:pt x="1447" y="1091"/>
                    <a:pt x="1439" y="1075"/>
                  </a:cubicBezTo>
                  <a:cubicBezTo>
                    <a:pt x="1423" y="1028"/>
                    <a:pt x="1399" y="965"/>
                    <a:pt x="1392" y="941"/>
                  </a:cubicBezTo>
                  <a:cubicBezTo>
                    <a:pt x="1368" y="901"/>
                    <a:pt x="1344" y="838"/>
                    <a:pt x="1344" y="806"/>
                  </a:cubicBezTo>
                  <a:cubicBezTo>
                    <a:pt x="1336" y="775"/>
                    <a:pt x="1265" y="727"/>
                    <a:pt x="1234" y="735"/>
                  </a:cubicBezTo>
                  <a:cubicBezTo>
                    <a:pt x="1202" y="735"/>
                    <a:pt x="1139" y="775"/>
                    <a:pt x="1131" y="799"/>
                  </a:cubicBezTo>
                  <a:cubicBezTo>
                    <a:pt x="1131" y="799"/>
                    <a:pt x="1123" y="814"/>
                    <a:pt x="1115" y="814"/>
                  </a:cubicBezTo>
                  <a:cubicBezTo>
                    <a:pt x="1107" y="814"/>
                    <a:pt x="1107" y="814"/>
                    <a:pt x="1107" y="806"/>
                  </a:cubicBezTo>
                  <a:lnTo>
                    <a:pt x="1107" y="806"/>
                  </a:lnTo>
                  <a:cubicBezTo>
                    <a:pt x="1099" y="814"/>
                    <a:pt x="1099" y="838"/>
                    <a:pt x="1099" y="846"/>
                  </a:cubicBezTo>
                  <a:cubicBezTo>
                    <a:pt x="1099" y="862"/>
                    <a:pt x="1091" y="877"/>
                    <a:pt x="1083" y="885"/>
                  </a:cubicBezTo>
                  <a:cubicBezTo>
                    <a:pt x="1075" y="893"/>
                    <a:pt x="1075" y="901"/>
                    <a:pt x="1075" y="901"/>
                  </a:cubicBezTo>
                  <a:cubicBezTo>
                    <a:pt x="1068" y="917"/>
                    <a:pt x="1052" y="925"/>
                    <a:pt x="1044" y="933"/>
                  </a:cubicBezTo>
                  <a:cubicBezTo>
                    <a:pt x="1036" y="949"/>
                    <a:pt x="1028" y="957"/>
                    <a:pt x="1028" y="965"/>
                  </a:cubicBezTo>
                  <a:cubicBezTo>
                    <a:pt x="1020" y="972"/>
                    <a:pt x="1012" y="972"/>
                    <a:pt x="1004" y="972"/>
                  </a:cubicBezTo>
                  <a:cubicBezTo>
                    <a:pt x="981" y="972"/>
                    <a:pt x="957" y="965"/>
                    <a:pt x="933" y="941"/>
                  </a:cubicBezTo>
                  <a:cubicBezTo>
                    <a:pt x="917" y="925"/>
                    <a:pt x="909" y="885"/>
                    <a:pt x="909" y="854"/>
                  </a:cubicBezTo>
                  <a:cubicBezTo>
                    <a:pt x="909" y="838"/>
                    <a:pt x="917" y="822"/>
                    <a:pt x="933" y="814"/>
                  </a:cubicBezTo>
                  <a:cubicBezTo>
                    <a:pt x="941" y="806"/>
                    <a:pt x="949" y="806"/>
                    <a:pt x="957" y="806"/>
                  </a:cubicBezTo>
                  <a:cubicBezTo>
                    <a:pt x="973" y="806"/>
                    <a:pt x="981" y="806"/>
                    <a:pt x="996" y="783"/>
                  </a:cubicBezTo>
                  <a:cubicBezTo>
                    <a:pt x="1012" y="735"/>
                    <a:pt x="1012" y="712"/>
                    <a:pt x="1012" y="696"/>
                  </a:cubicBezTo>
                  <a:cubicBezTo>
                    <a:pt x="1012" y="680"/>
                    <a:pt x="1020" y="648"/>
                    <a:pt x="1044" y="640"/>
                  </a:cubicBezTo>
                  <a:cubicBezTo>
                    <a:pt x="1052" y="632"/>
                    <a:pt x="1052" y="632"/>
                    <a:pt x="1060" y="632"/>
                  </a:cubicBezTo>
                  <a:cubicBezTo>
                    <a:pt x="1068" y="632"/>
                    <a:pt x="1075" y="625"/>
                    <a:pt x="1075" y="601"/>
                  </a:cubicBezTo>
                  <a:cubicBezTo>
                    <a:pt x="1083" y="569"/>
                    <a:pt x="1091" y="553"/>
                    <a:pt x="1075" y="522"/>
                  </a:cubicBezTo>
                  <a:cubicBezTo>
                    <a:pt x="1060" y="498"/>
                    <a:pt x="1068" y="474"/>
                    <a:pt x="1068" y="459"/>
                  </a:cubicBezTo>
                  <a:cubicBezTo>
                    <a:pt x="1068" y="450"/>
                    <a:pt x="1068" y="443"/>
                    <a:pt x="1068" y="427"/>
                  </a:cubicBezTo>
                  <a:cubicBezTo>
                    <a:pt x="1068" y="395"/>
                    <a:pt x="1036" y="348"/>
                    <a:pt x="1028" y="340"/>
                  </a:cubicBezTo>
                  <a:lnTo>
                    <a:pt x="1028" y="340"/>
                  </a:lnTo>
                  <a:cubicBezTo>
                    <a:pt x="1012" y="324"/>
                    <a:pt x="996" y="308"/>
                    <a:pt x="996" y="300"/>
                  </a:cubicBezTo>
                  <a:cubicBezTo>
                    <a:pt x="996" y="293"/>
                    <a:pt x="996" y="285"/>
                    <a:pt x="1004" y="285"/>
                  </a:cubicBezTo>
                  <a:cubicBezTo>
                    <a:pt x="1020" y="269"/>
                    <a:pt x="1036" y="253"/>
                    <a:pt x="1036" y="237"/>
                  </a:cubicBezTo>
                  <a:lnTo>
                    <a:pt x="1036" y="237"/>
                  </a:lnTo>
                  <a:cubicBezTo>
                    <a:pt x="1028" y="229"/>
                    <a:pt x="1028" y="229"/>
                    <a:pt x="1020" y="229"/>
                  </a:cubicBezTo>
                  <a:cubicBezTo>
                    <a:pt x="1012" y="221"/>
                    <a:pt x="996" y="213"/>
                    <a:pt x="996" y="206"/>
                  </a:cubicBezTo>
                  <a:cubicBezTo>
                    <a:pt x="988" y="190"/>
                    <a:pt x="981" y="158"/>
                    <a:pt x="949" y="150"/>
                  </a:cubicBezTo>
                  <a:cubicBezTo>
                    <a:pt x="933" y="150"/>
                    <a:pt x="909" y="142"/>
                    <a:pt x="878" y="126"/>
                  </a:cubicBezTo>
                  <a:cubicBezTo>
                    <a:pt x="830" y="119"/>
                    <a:pt x="783" y="95"/>
                    <a:pt x="767" y="95"/>
                  </a:cubicBezTo>
                  <a:cubicBezTo>
                    <a:pt x="767" y="95"/>
                    <a:pt x="767" y="95"/>
                    <a:pt x="759" y="95"/>
                  </a:cubicBezTo>
                  <a:cubicBezTo>
                    <a:pt x="759" y="95"/>
                    <a:pt x="759" y="95"/>
                    <a:pt x="751" y="95"/>
                  </a:cubicBezTo>
                  <a:cubicBezTo>
                    <a:pt x="743" y="95"/>
                    <a:pt x="735" y="95"/>
                    <a:pt x="728" y="71"/>
                  </a:cubicBezTo>
                  <a:cubicBezTo>
                    <a:pt x="720" y="55"/>
                    <a:pt x="688" y="48"/>
                    <a:pt x="664" y="48"/>
                  </a:cubicBezTo>
                  <a:cubicBezTo>
                    <a:pt x="656" y="48"/>
                    <a:pt x="656" y="48"/>
                    <a:pt x="649" y="48"/>
                  </a:cubicBezTo>
                  <a:lnTo>
                    <a:pt x="641" y="48"/>
                  </a:lnTo>
                  <a:cubicBezTo>
                    <a:pt x="617" y="48"/>
                    <a:pt x="601" y="39"/>
                    <a:pt x="585" y="32"/>
                  </a:cubicBezTo>
                  <a:cubicBezTo>
                    <a:pt x="577" y="16"/>
                    <a:pt x="554" y="8"/>
                    <a:pt x="530" y="8"/>
                  </a:cubicBezTo>
                  <a:cubicBezTo>
                    <a:pt x="522" y="8"/>
                    <a:pt x="514" y="8"/>
                    <a:pt x="506" y="8"/>
                  </a:cubicBezTo>
                  <a:cubicBezTo>
                    <a:pt x="491" y="16"/>
                    <a:pt x="475" y="39"/>
                    <a:pt x="467" y="55"/>
                  </a:cubicBezTo>
                  <a:cubicBezTo>
                    <a:pt x="459" y="63"/>
                    <a:pt x="451" y="71"/>
                    <a:pt x="443" y="71"/>
                  </a:cubicBezTo>
                  <a:cubicBezTo>
                    <a:pt x="435" y="79"/>
                    <a:pt x="419" y="95"/>
                    <a:pt x="419" y="111"/>
                  </a:cubicBezTo>
                  <a:cubicBezTo>
                    <a:pt x="419" y="119"/>
                    <a:pt x="419" y="126"/>
                    <a:pt x="419" y="135"/>
                  </a:cubicBezTo>
                  <a:cubicBezTo>
                    <a:pt x="427" y="142"/>
                    <a:pt x="435" y="150"/>
                    <a:pt x="443" y="158"/>
                  </a:cubicBezTo>
                  <a:cubicBezTo>
                    <a:pt x="459" y="158"/>
                    <a:pt x="467" y="166"/>
                    <a:pt x="459" y="182"/>
                  </a:cubicBezTo>
                  <a:lnTo>
                    <a:pt x="459" y="182"/>
                  </a:lnTo>
                  <a:cubicBezTo>
                    <a:pt x="459" y="206"/>
                    <a:pt x="459" y="206"/>
                    <a:pt x="427" y="206"/>
                  </a:cubicBezTo>
                  <a:cubicBezTo>
                    <a:pt x="403" y="206"/>
                    <a:pt x="380" y="213"/>
                    <a:pt x="372" y="229"/>
                  </a:cubicBezTo>
                  <a:cubicBezTo>
                    <a:pt x="372" y="237"/>
                    <a:pt x="364" y="237"/>
                    <a:pt x="356" y="237"/>
                  </a:cubicBezTo>
                  <a:cubicBezTo>
                    <a:pt x="356" y="237"/>
                    <a:pt x="348" y="237"/>
                    <a:pt x="348" y="269"/>
                  </a:cubicBezTo>
                  <a:cubicBezTo>
                    <a:pt x="340" y="293"/>
                    <a:pt x="348" y="324"/>
                    <a:pt x="348" y="348"/>
                  </a:cubicBezTo>
                  <a:cubicBezTo>
                    <a:pt x="356" y="364"/>
                    <a:pt x="356" y="379"/>
                    <a:pt x="356" y="395"/>
                  </a:cubicBezTo>
                  <a:cubicBezTo>
                    <a:pt x="356" y="411"/>
                    <a:pt x="356" y="459"/>
                    <a:pt x="340" y="474"/>
                  </a:cubicBezTo>
                  <a:lnTo>
                    <a:pt x="332" y="474"/>
                  </a:lnTo>
                  <a:cubicBezTo>
                    <a:pt x="316" y="466"/>
                    <a:pt x="316" y="450"/>
                    <a:pt x="316" y="435"/>
                  </a:cubicBezTo>
                  <a:cubicBezTo>
                    <a:pt x="316" y="419"/>
                    <a:pt x="316" y="411"/>
                    <a:pt x="316" y="411"/>
                  </a:cubicBezTo>
                  <a:cubicBezTo>
                    <a:pt x="309" y="411"/>
                    <a:pt x="309" y="411"/>
                    <a:pt x="309" y="411"/>
                  </a:cubicBezTo>
                  <a:cubicBezTo>
                    <a:pt x="309" y="411"/>
                    <a:pt x="309" y="427"/>
                    <a:pt x="309" y="435"/>
                  </a:cubicBezTo>
                  <a:cubicBezTo>
                    <a:pt x="309" y="443"/>
                    <a:pt x="309" y="443"/>
                    <a:pt x="309" y="443"/>
                  </a:cubicBezTo>
                  <a:lnTo>
                    <a:pt x="309" y="450"/>
                  </a:lnTo>
                  <a:cubicBezTo>
                    <a:pt x="316" y="474"/>
                    <a:pt x="316" y="482"/>
                    <a:pt x="316" y="490"/>
                  </a:cubicBezTo>
                  <a:cubicBezTo>
                    <a:pt x="309" y="490"/>
                    <a:pt x="309" y="490"/>
                    <a:pt x="309" y="490"/>
                  </a:cubicBezTo>
                  <a:lnTo>
                    <a:pt x="301" y="482"/>
                  </a:lnTo>
                  <a:cubicBezTo>
                    <a:pt x="277" y="450"/>
                    <a:pt x="285" y="427"/>
                    <a:pt x="285" y="395"/>
                  </a:cubicBezTo>
                  <a:cubicBezTo>
                    <a:pt x="285" y="364"/>
                    <a:pt x="285" y="316"/>
                    <a:pt x="285" y="308"/>
                  </a:cubicBezTo>
                  <a:lnTo>
                    <a:pt x="277" y="308"/>
                  </a:lnTo>
                  <a:cubicBezTo>
                    <a:pt x="269" y="308"/>
                    <a:pt x="269" y="308"/>
                    <a:pt x="269" y="316"/>
                  </a:cubicBezTo>
                  <a:cubicBezTo>
                    <a:pt x="261" y="332"/>
                    <a:pt x="245" y="379"/>
                    <a:pt x="229" y="403"/>
                  </a:cubicBezTo>
                  <a:cubicBezTo>
                    <a:pt x="222" y="403"/>
                    <a:pt x="222" y="411"/>
                    <a:pt x="222" y="419"/>
                  </a:cubicBezTo>
                  <a:cubicBezTo>
                    <a:pt x="222" y="435"/>
                    <a:pt x="222" y="443"/>
                    <a:pt x="206" y="443"/>
                  </a:cubicBezTo>
                  <a:cubicBezTo>
                    <a:pt x="198" y="443"/>
                    <a:pt x="198" y="443"/>
                    <a:pt x="190" y="443"/>
                  </a:cubicBezTo>
                  <a:cubicBezTo>
                    <a:pt x="182" y="443"/>
                    <a:pt x="182" y="443"/>
                    <a:pt x="182" y="443"/>
                  </a:cubicBezTo>
                  <a:cubicBezTo>
                    <a:pt x="174" y="435"/>
                    <a:pt x="166" y="435"/>
                    <a:pt x="158" y="435"/>
                  </a:cubicBezTo>
                  <a:close/>
                </a:path>
              </a:pathLst>
            </a:custGeom>
            <a:solidFill>
              <a:schemeClr val="accent6"/>
            </a:solidFill>
            <a:ln>
              <a:solidFill>
                <a:schemeClr val="bg2"/>
              </a:solidFill>
            </a:ln>
            <a:effectLst/>
          </p:spPr>
          <p:txBody>
            <a:bodyPr wrap="none" anchor="ctr"/>
            <a:lstStyle/>
            <a:p>
              <a:endParaRPr lang="en-US"/>
            </a:p>
          </p:txBody>
        </p:sp>
        <p:sp>
          <p:nvSpPr>
            <p:cNvPr id="73" name="Freeform 641"/>
            <p:cNvSpPr>
              <a:spLocks noChangeArrowheads="1"/>
            </p:cNvSpPr>
            <p:nvPr/>
          </p:nvSpPr>
          <p:spPr bwMode="auto">
            <a:xfrm>
              <a:off x="4885321" y="2254991"/>
              <a:ext cx="815795" cy="348410"/>
            </a:xfrm>
            <a:custGeom>
              <a:avLst/>
              <a:gdLst>
                <a:gd name="T0" fmla="*/ 24 w 2263"/>
                <a:gd name="T1" fmla="*/ 522 h 1116"/>
                <a:gd name="T2" fmla="*/ 190 w 2263"/>
                <a:gd name="T3" fmla="*/ 633 h 1116"/>
                <a:gd name="T4" fmla="*/ 578 w 2263"/>
                <a:gd name="T5" fmla="*/ 720 h 1116"/>
                <a:gd name="T6" fmla="*/ 775 w 2263"/>
                <a:gd name="T7" fmla="*/ 743 h 1116"/>
                <a:gd name="T8" fmla="*/ 878 w 2263"/>
                <a:gd name="T9" fmla="*/ 901 h 1116"/>
                <a:gd name="T10" fmla="*/ 933 w 2263"/>
                <a:gd name="T11" fmla="*/ 1028 h 1116"/>
                <a:gd name="T12" fmla="*/ 973 w 2263"/>
                <a:gd name="T13" fmla="*/ 1115 h 1116"/>
                <a:gd name="T14" fmla="*/ 1044 w 2263"/>
                <a:gd name="T15" fmla="*/ 988 h 1116"/>
                <a:gd name="T16" fmla="*/ 1139 w 2263"/>
                <a:gd name="T17" fmla="*/ 775 h 1116"/>
                <a:gd name="T18" fmla="*/ 1218 w 2263"/>
                <a:gd name="T19" fmla="*/ 751 h 1116"/>
                <a:gd name="T20" fmla="*/ 1281 w 2263"/>
                <a:gd name="T21" fmla="*/ 767 h 1116"/>
                <a:gd name="T22" fmla="*/ 1265 w 2263"/>
                <a:gd name="T23" fmla="*/ 830 h 1116"/>
                <a:gd name="T24" fmla="*/ 1352 w 2263"/>
                <a:gd name="T25" fmla="*/ 743 h 1116"/>
                <a:gd name="T26" fmla="*/ 1526 w 2263"/>
                <a:gd name="T27" fmla="*/ 641 h 1116"/>
                <a:gd name="T28" fmla="*/ 1629 w 2263"/>
                <a:gd name="T29" fmla="*/ 570 h 1116"/>
                <a:gd name="T30" fmla="*/ 1740 w 2263"/>
                <a:gd name="T31" fmla="*/ 585 h 1116"/>
                <a:gd name="T32" fmla="*/ 1866 w 2263"/>
                <a:gd name="T33" fmla="*/ 648 h 1116"/>
                <a:gd name="T34" fmla="*/ 1937 w 2263"/>
                <a:gd name="T35" fmla="*/ 577 h 1116"/>
                <a:gd name="T36" fmla="*/ 2072 w 2263"/>
                <a:gd name="T37" fmla="*/ 585 h 1116"/>
                <a:gd name="T38" fmla="*/ 2159 w 2263"/>
                <a:gd name="T39" fmla="*/ 577 h 1116"/>
                <a:gd name="T40" fmla="*/ 2254 w 2263"/>
                <a:gd name="T41" fmla="*/ 554 h 1116"/>
                <a:gd name="T42" fmla="*/ 2198 w 2263"/>
                <a:gd name="T43" fmla="*/ 522 h 1116"/>
                <a:gd name="T44" fmla="*/ 2127 w 2263"/>
                <a:gd name="T45" fmla="*/ 522 h 1116"/>
                <a:gd name="T46" fmla="*/ 2024 w 2263"/>
                <a:gd name="T47" fmla="*/ 435 h 1116"/>
                <a:gd name="T48" fmla="*/ 1929 w 2263"/>
                <a:gd name="T49" fmla="*/ 372 h 1116"/>
                <a:gd name="T50" fmla="*/ 1795 w 2263"/>
                <a:gd name="T51" fmla="*/ 364 h 1116"/>
                <a:gd name="T52" fmla="*/ 1724 w 2263"/>
                <a:gd name="T53" fmla="*/ 230 h 1116"/>
                <a:gd name="T54" fmla="*/ 1503 w 2263"/>
                <a:gd name="T55" fmla="*/ 301 h 1116"/>
                <a:gd name="T56" fmla="*/ 1218 w 2263"/>
                <a:gd name="T57" fmla="*/ 443 h 1116"/>
                <a:gd name="T58" fmla="*/ 1099 w 2263"/>
                <a:gd name="T59" fmla="*/ 411 h 1116"/>
                <a:gd name="T60" fmla="*/ 933 w 2263"/>
                <a:gd name="T61" fmla="*/ 380 h 1116"/>
                <a:gd name="T62" fmla="*/ 728 w 2263"/>
                <a:gd name="T63" fmla="*/ 269 h 1116"/>
                <a:gd name="T64" fmla="*/ 625 w 2263"/>
                <a:gd name="T65" fmla="*/ 340 h 1116"/>
                <a:gd name="T66" fmla="*/ 696 w 2263"/>
                <a:gd name="T67" fmla="*/ 143 h 1116"/>
                <a:gd name="T68" fmla="*/ 791 w 2263"/>
                <a:gd name="T69" fmla="*/ 56 h 1116"/>
                <a:gd name="T70" fmla="*/ 672 w 2263"/>
                <a:gd name="T71" fmla="*/ 32 h 1116"/>
                <a:gd name="T72" fmla="*/ 546 w 2263"/>
                <a:gd name="T73" fmla="*/ 174 h 1116"/>
                <a:gd name="T74" fmla="*/ 514 w 2263"/>
                <a:gd name="T75" fmla="*/ 158 h 1116"/>
                <a:gd name="T76" fmla="*/ 435 w 2263"/>
                <a:gd name="T77" fmla="*/ 261 h 1116"/>
                <a:gd name="T78" fmla="*/ 269 w 2263"/>
                <a:gd name="T79" fmla="*/ 348 h 1116"/>
                <a:gd name="T80" fmla="*/ 72 w 2263"/>
                <a:gd name="T81" fmla="*/ 459 h 1116"/>
                <a:gd name="T82" fmla="*/ 24 w 2263"/>
                <a:gd name="T83" fmla="*/ 52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3" h="1116">
                  <a:moveTo>
                    <a:pt x="24" y="522"/>
                  </a:moveTo>
                  <a:lnTo>
                    <a:pt x="24" y="522"/>
                  </a:lnTo>
                  <a:cubicBezTo>
                    <a:pt x="56" y="538"/>
                    <a:pt x="80" y="577"/>
                    <a:pt x="88" y="593"/>
                  </a:cubicBezTo>
                  <a:cubicBezTo>
                    <a:pt x="103" y="617"/>
                    <a:pt x="119" y="633"/>
                    <a:pt x="190" y="633"/>
                  </a:cubicBezTo>
                  <a:cubicBezTo>
                    <a:pt x="261" y="633"/>
                    <a:pt x="459" y="656"/>
                    <a:pt x="491" y="688"/>
                  </a:cubicBezTo>
                  <a:cubicBezTo>
                    <a:pt x="530" y="720"/>
                    <a:pt x="522" y="736"/>
                    <a:pt x="578" y="720"/>
                  </a:cubicBezTo>
                  <a:cubicBezTo>
                    <a:pt x="633" y="704"/>
                    <a:pt x="649" y="680"/>
                    <a:pt x="672" y="704"/>
                  </a:cubicBezTo>
                  <a:cubicBezTo>
                    <a:pt x="696" y="736"/>
                    <a:pt x="775" y="704"/>
                    <a:pt x="775" y="743"/>
                  </a:cubicBezTo>
                  <a:cubicBezTo>
                    <a:pt x="783" y="783"/>
                    <a:pt x="783" y="807"/>
                    <a:pt x="807" y="807"/>
                  </a:cubicBezTo>
                  <a:cubicBezTo>
                    <a:pt x="823" y="814"/>
                    <a:pt x="878" y="823"/>
                    <a:pt x="878" y="901"/>
                  </a:cubicBezTo>
                  <a:cubicBezTo>
                    <a:pt x="878" y="981"/>
                    <a:pt x="846" y="988"/>
                    <a:pt x="878" y="996"/>
                  </a:cubicBezTo>
                  <a:cubicBezTo>
                    <a:pt x="910" y="1004"/>
                    <a:pt x="933" y="996"/>
                    <a:pt x="933" y="1028"/>
                  </a:cubicBezTo>
                  <a:cubicBezTo>
                    <a:pt x="933" y="1060"/>
                    <a:pt x="933" y="1099"/>
                    <a:pt x="965" y="1115"/>
                  </a:cubicBezTo>
                  <a:cubicBezTo>
                    <a:pt x="973" y="1115"/>
                    <a:pt x="973" y="1115"/>
                    <a:pt x="973" y="1115"/>
                  </a:cubicBezTo>
                  <a:cubicBezTo>
                    <a:pt x="981" y="1099"/>
                    <a:pt x="981" y="1083"/>
                    <a:pt x="997" y="1067"/>
                  </a:cubicBezTo>
                  <a:cubicBezTo>
                    <a:pt x="1020" y="1028"/>
                    <a:pt x="1044" y="1004"/>
                    <a:pt x="1044" y="988"/>
                  </a:cubicBezTo>
                  <a:cubicBezTo>
                    <a:pt x="1044" y="965"/>
                    <a:pt x="1115" y="830"/>
                    <a:pt x="1115" y="799"/>
                  </a:cubicBezTo>
                  <a:cubicBezTo>
                    <a:pt x="1115" y="775"/>
                    <a:pt x="1131" y="751"/>
                    <a:pt x="1139" y="775"/>
                  </a:cubicBezTo>
                  <a:cubicBezTo>
                    <a:pt x="1147" y="791"/>
                    <a:pt x="1139" y="823"/>
                    <a:pt x="1163" y="807"/>
                  </a:cubicBezTo>
                  <a:cubicBezTo>
                    <a:pt x="1194" y="791"/>
                    <a:pt x="1194" y="767"/>
                    <a:pt x="1218" y="751"/>
                  </a:cubicBezTo>
                  <a:cubicBezTo>
                    <a:pt x="1242" y="727"/>
                    <a:pt x="1250" y="704"/>
                    <a:pt x="1265" y="720"/>
                  </a:cubicBezTo>
                  <a:cubicBezTo>
                    <a:pt x="1281" y="736"/>
                    <a:pt x="1305" y="743"/>
                    <a:pt x="1281" y="767"/>
                  </a:cubicBezTo>
                  <a:cubicBezTo>
                    <a:pt x="1258" y="783"/>
                    <a:pt x="1234" y="799"/>
                    <a:pt x="1242" y="814"/>
                  </a:cubicBezTo>
                  <a:cubicBezTo>
                    <a:pt x="1242" y="830"/>
                    <a:pt x="1250" y="854"/>
                    <a:pt x="1265" y="830"/>
                  </a:cubicBezTo>
                  <a:cubicBezTo>
                    <a:pt x="1273" y="807"/>
                    <a:pt x="1281" y="791"/>
                    <a:pt x="1297" y="783"/>
                  </a:cubicBezTo>
                  <a:cubicBezTo>
                    <a:pt x="1321" y="767"/>
                    <a:pt x="1352" y="759"/>
                    <a:pt x="1352" y="743"/>
                  </a:cubicBezTo>
                  <a:cubicBezTo>
                    <a:pt x="1352" y="720"/>
                    <a:pt x="1368" y="664"/>
                    <a:pt x="1416" y="664"/>
                  </a:cubicBezTo>
                  <a:cubicBezTo>
                    <a:pt x="1471" y="656"/>
                    <a:pt x="1487" y="648"/>
                    <a:pt x="1526" y="641"/>
                  </a:cubicBezTo>
                  <a:cubicBezTo>
                    <a:pt x="1566" y="641"/>
                    <a:pt x="1582" y="641"/>
                    <a:pt x="1589" y="617"/>
                  </a:cubicBezTo>
                  <a:cubicBezTo>
                    <a:pt x="1589" y="585"/>
                    <a:pt x="1605" y="570"/>
                    <a:pt x="1629" y="570"/>
                  </a:cubicBezTo>
                  <a:cubicBezTo>
                    <a:pt x="1653" y="570"/>
                    <a:pt x="1637" y="577"/>
                    <a:pt x="1669" y="577"/>
                  </a:cubicBezTo>
                  <a:cubicBezTo>
                    <a:pt x="1700" y="577"/>
                    <a:pt x="1708" y="577"/>
                    <a:pt x="1740" y="585"/>
                  </a:cubicBezTo>
                  <a:cubicBezTo>
                    <a:pt x="1771" y="593"/>
                    <a:pt x="1771" y="585"/>
                    <a:pt x="1803" y="617"/>
                  </a:cubicBezTo>
                  <a:cubicBezTo>
                    <a:pt x="1842" y="641"/>
                    <a:pt x="1835" y="664"/>
                    <a:pt x="1866" y="648"/>
                  </a:cubicBezTo>
                  <a:cubicBezTo>
                    <a:pt x="1890" y="633"/>
                    <a:pt x="1874" y="617"/>
                    <a:pt x="1890" y="601"/>
                  </a:cubicBezTo>
                  <a:cubicBezTo>
                    <a:pt x="1898" y="577"/>
                    <a:pt x="1914" y="570"/>
                    <a:pt x="1937" y="577"/>
                  </a:cubicBezTo>
                  <a:cubicBezTo>
                    <a:pt x="1945" y="585"/>
                    <a:pt x="1985" y="585"/>
                    <a:pt x="2016" y="585"/>
                  </a:cubicBezTo>
                  <a:cubicBezTo>
                    <a:pt x="2040" y="585"/>
                    <a:pt x="2064" y="577"/>
                    <a:pt x="2072" y="585"/>
                  </a:cubicBezTo>
                  <a:cubicBezTo>
                    <a:pt x="2088" y="585"/>
                    <a:pt x="2135" y="577"/>
                    <a:pt x="2135" y="577"/>
                  </a:cubicBezTo>
                  <a:cubicBezTo>
                    <a:pt x="2143" y="577"/>
                    <a:pt x="2135" y="577"/>
                    <a:pt x="2159" y="577"/>
                  </a:cubicBezTo>
                  <a:cubicBezTo>
                    <a:pt x="2182" y="577"/>
                    <a:pt x="2182" y="577"/>
                    <a:pt x="2214" y="585"/>
                  </a:cubicBezTo>
                  <a:cubicBezTo>
                    <a:pt x="2254" y="585"/>
                    <a:pt x="2254" y="577"/>
                    <a:pt x="2254" y="554"/>
                  </a:cubicBezTo>
                  <a:cubicBezTo>
                    <a:pt x="2262" y="538"/>
                    <a:pt x="2254" y="506"/>
                    <a:pt x="2238" y="506"/>
                  </a:cubicBezTo>
                  <a:cubicBezTo>
                    <a:pt x="2222" y="498"/>
                    <a:pt x="2214" y="506"/>
                    <a:pt x="2198" y="522"/>
                  </a:cubicBezTo>
                  <a:cubicBezTo>
                    <a:pt x="2182" y="538"/>
                    <a:pt x="2175" y="561"/>
                    <a:pt x="2159" y="546"/>
                  </a:cubicBezTo>
                  <a:cubicBezTo>
                    <a:pt x="2135" y="538"/>
                    <a:pt x="2135" y="522"/>
                    <a:pt x="2127" y="522"/>
                  </a:cubicBezTo>
                  <a:cubicBezTo>
                    <a:pt x="2111" y="522"/>
                    <a:pt x="2080" y="498"/>
                    <a:pt x="2064" y="483"/>
                  </a:cubicBezTo>
                  <a:cubicBezTo>
                    <a:pt x="2040" y="467"/>
                    <a:pt x="2032" y="459"/>
                    <a:pt x="2024" y="435"/>
                  </a:cubicBezTo>
                  <a:cubicBezTo>
                    <a:pt x="2024" y="411"/>
                    <a:pt x="2024" y="364"/>
                    <a:pt x="2001" y="364"/>
                  </a:cubicBezTo>
                  <a:cubicBezTo>
                    <a:pt x="1977" y="364"/>
                    <a:pt x="1945" y="364"/>
                    <a:pt x="1929" y="372"/>
                  </a:cubicBezTo>
                  <a:cubicBezTo>
                    <a:pt x="1914" y="380"/>
                    <a:pt x="1866" y="372"/>
                    <a:pt x="1851" y="372"/>
                  </a:cubicBezTo>
                  <a:cubicBezTo>
                    <a:pt x="1842" y="364"/>
                    <a:pt x="1835" y="364"/>
                    <a:pt x="1795" y="364"/>
                  </a:cubicBezTo>
                  <a:cubicBezTo>
                    <a:pt x="1756" y="372"/>
                    <a:pt x="1740" y="348"/>
                    <a:pt x="1740" y="293"/>
                  </a:cubicBezTo>
                  <a:cubicBezTo>
                    <a:pt x="1740" y="237"/>
                    <a:pt x="1756" y="230"/>
                    <a:pt x="1724" y="230"/>
                  </a:cubicBezTo>
                  <a:cubicBezTo>
                    <a:pt x="1700" y="237"/>
                    <a:pt x="1661" y="253"/>
                    <a:pt x="1637" y="269"/>
                  </a:cubicBezTo>
                  <a:cubicBezTo>
                    <a:pt x="1613" y="285"/>
                    <a:pt x="1574" y="309"/>
                    <a:pt x="1503" y="301"/>
                  </a:cubicBezTo>
                  <a:cubicBezTo>
                    <a:pt x="1431" y="293"/>
                    <a:pt x="1321" y="348"/>
                    <a:pt x="1289" y="388"/>
                  </a:cubicBezTo>
                  <a:cubicBezTo>
                    <a:pt x="1265" y="427"/>
                    <a:pt x="1250" y="443"/>
                    <a:pt x="1218" y="443"/>
                  </a:cubicBezTo>
                  <a:cubicBezTo>
                    <a:pt x="1194" y="443"/>
                    <a:pt x="1139" y="451"/>
                    <a:pt x="1131" y="435"/>
                  </a:cubicBezTo>
                  <a:cubicBezTo>
                    <a:pt x="1131" y="411"/>
                    <a:pt x="1123" y="403"/>
                    <a:pt x="1099" y="411"/>
                  </a:cubicBezTo>
                  <a:cubicBezTo>
                    <a:pt x="1076" y="427"/>
                    <a:pt x="1036" y="459"/>
                    <a:pt x="1020" y="451"/>
                  </a:cubicBezTo>
                  <a:cubicBezTo>
                    <a:pt x="997" y="435"/>
                    <a:pt x="957" y="427"/>
                    <a:pt x="933" y="380"/>
                  </a:cubicBezTo>
                  <a:cubicBezTo>
                    <a:pt x="918" y="340"/>
                    <a:pt x="854" y="309"/>
                    <a:pt x="831" y="293"/>
                  </a:cubicBezTo>
                  <a:cubicBezTo>
                    <a:pt x="815" y="269"/>
                    <a:pt x="752" y="261"/>
                    <a:pt x="728" y="269"/>
                  </a:cubicBezTo>
                  <a:cubicBezTo>
                    <a:pt x="704" y="277"/>
                    <a:pt x="665" y="285"/>
                    <a:pt x="649" y="309"/>
                  </a:cubicBezTo>
                  <a:cubicBezTo>
                    <a:pt x="633" y="324"/>
                    <a:pt x="625" y="372"/>
                    <a:pt x="625" y="340"/>
                  </a:cubicBezTo>
                  <a:cubicBezTo>
                    <a:pt x="617" y="309"/>
                    <a:pt x="601" y="285"/>
                    <a:pt x="625" y="253"/>
                  </a:cubicBezTo>
                  <a:cubicBezTo>
                    <a:pt x="649" y="222"/>
                    <a:pt x="665" y="174"/>
                    <a:pt x="696" y="143"/>
                  </a:cubicBezTo>
                  <a:cubicBezTo>
                    <a:pt x="728" y="111"/>
                    <a:pt x="744" y="79"/>
                    <a:pt x="759" y="71"/>
                  </a:cubicBezTo>
                  <a:cubicBezTo>
                    <a:pt x="767" y="56"/>
                    <a:pt x="752" y="56"/>
                    <a:pt x="791" y="56"/>
                  </a:cubicBezTo>
                  <a:cubicBezTo>
                    <a:pt x="831" y="56"/>
                    <a:pt x="831" y="32"/>
                    <a:pt x="815" y="16"/>
                  </a:cubicBezTo>
                  <a:cubicBezTo>
                    <a:pt x="799" y="8"/>
                    <a:pt x="704" y="0"/>
                    <a:pt x="672" y="32"/>
                  </a:cubicBezTo>
                  <a:cubicBezTo>
                    <a:pt x="633" y="56"/>
                    <a:pt x="586" y="87"/>
                    <a:pt x="570" y="119"/>
                  </a:cubicBezTo>
                  <a:cubicBezTo>
                    <a:pt x="554" y="150"/>
                    <a:pt x="554" y="166"/>
                    <a:pt x="546" y="174"/>
                  </a:cubicBezTo>
                  <a:cubicBezTo>
                    <a:pt x="538" y="190"/>
                    <a:pt x="538" y="182"/>
                    <a:pt x="530" y="166"/>
                  </a:cubicBezTo>
                  <a:cubicBezTo>
                    <a:pt x="522" y="150"/>
                    <a:pt x="522" y="143"/>
                    <a:pt x="514" y="158"/>
                  </a:cubicBezTo>
                  <a:cubicBezTo>
                    <a:pt x="506" y="174"/>
                    <a:pt x="483" y="198"/>
                    <a:pt x="459" y="222"/>
                  </a:cubicBezTo>
                  <a:cubicBezTo>
                    <a:pt x="443" y="245"/>
                    <a:pt x="475" y="245"/>
                    <a:pt x="435" y="261"/>
                  </a:cubicBezTo>
                  <a:cubicBezTo>
                    <a:pt x="388" y="285"/>
                    <a:pt x="356" y="301"/>
                    <a:pt x="325" y="324"/>
                  </a:cubicBezTo>
                  <a:cubicBezTo>
                    <a:pt x="293" y="348"/>
                    <a:pt x="293" y="356"/>
                    <a:pt x="269" y="348"/>
                  </a:cubicBezTo>
                  <a:cubicBezTo>
                    <a:pt x="246" y="348"/>
                    <a:pt x="222" y="348"/>
                    <a:pt x="198" y="364"/>
                  </a:cubicBezTo>
                  <a:cubicBezTo>
                    <a:pt x="175" y="372"/>
                    <a:pt x="103" y="419"/>
                    <a:pt x="72" y="459"/>
                  </a:cubicBezTo>
                  <a:cubicBezTo>
                    <a:pt x="48" y="490"/>
                    <a:pt x="32" y="498"/>
                    <a:pt x="0" y="498"/>
                  </a:cubicBezTo>
                  <a:cubicBezTo>
                    <a:pt x="8" y="506"/>
                    <a:pt x="16" y="514"/>
                    <a:pt x="24" y="522"/>
                  </a:cubicBezTo>
                </a:path>
              </a:pathLst>
            </a:custGeom>
            <a:solidFill>
              <a:schemeClr val="accent6"/>
            </a:solidFill>
            <a:ln>
              <a:solidFill>
                <a:schemeClr val="bg2"/>
              </a:solidFill>
            </a:ln>
            <a:effectLst/>
          </p:spPr>
          <p:txBody>
            <a:bodyPr wrap="none" anchor="ctr"/>
            <a:lstStyle/>
            <a:p>
              <a:endParaRPr lang="en-US"/>
            </a:p>
          </p:txBody>
        </p:sp>
        <p:sp>
          <p:nvSpPr>
            <p:cNvPr id="74" name="Freeform 642"/>
            <p:cNvSpPr>
              <a:spLocks noChangeArrowheads="1"/>
            </p:cNvSpPr>
            <p:nvPr/>
          </p:nvSpPr>
          <p:spPr bwMode="auto">
            <a:xfrm>
              <a:off x="4883731" y="2257746"/>
              <a:ext cx="818974" cy="348410"/>
            </a:xfrm>
            <a:custGeom>
              <a:avLst/>
              <a:gdLst>
                <a:gd name="T0" fmla="*/ 940 w 2270"/>
                <a:gd name="T1" fmla="*/ 1020 h 1116"/>
                <a:gd name="T2" fmla="*/ 814 w 2270"/>
                <a:gd name="T3" fmla="*/ 806 h 1116"/>
                <a:gd name="T4" fmla="*/ 664 w 2270"/>
                <a:gd name="T5" fmla="*/ 688 h 1116"/>
                <a:gd name="T6" fmla="*/ 197 w 2270"/>
                <a:gd name="T7" fmla="*/ 633 h 1116"/>
                <a:gd name="T8" fmla="*/ 0 w 2270"/>
                <a:gd name="T9" fmla="*/ 482 h 1116"/>
                <a:gd name="T10" fmla="*/ 284 w 2270"/>
                <a:gd name="T11" fmla="*/ 340 h 1116"/>
                <a:gd name="T12" fmla="*/ 466 w 2270"/>
                <a:gd name="T13" fmla="*/ 214 h 1116"/>
                <a:gd name="T14" fmla="*/ 545 w 2270"/>
                <a:gd name="T15" fmla="*/ 174 h 1116"/>
                <a:gd name="T16" fmla="*/ 766 w 2270"/>
                <a:gd name="T17" fmla="*/ 0 h 1116"/>
                <a:gd name="T18" fmla="*/ 751 w 2270"/>
                <a:gd name="T19" fmla="*/ 79 h 1116"/>
                <a:gd name="T20" fmla="*/ 632 w 2270"/>
                <a:gd name="T21" fmla="*/ 340 h 1116"/>
                <a:gd name="T22" fmla="*/ 838 w 2270"/>
                <a:gd name="T23" fmla="*/ 285 h 1116"/>
                <a:gd name="T24" fmla="*/ 1083 w 2270"/>
                <a:gd name="T25" fmla="*/ 419 h 1116"/>
                <a:gd name="T26" fmla="*/ 1296 w 2270"/>
                <a:gd name="T27" fmla="*/ 372 h 1116"/>
                <a:gd name="T28" fmla="*/ 1644 w 2270"/>
                <a:gd name="T29" fmla="*/ 253 h 1116"/>
                <a:gd name="T30" fmla="*/ 1763 w 2270"/>
                <a:gd name="T31" fmla="*/ 348 h 1116"/>
                <a:gd name="T32" fmla="*/ 1936 w 2270"/>
                <a:gd name="T33" fmla="*/ 364 h 1116"/>
                <a:gd name="T34" fmla="*/ 2071 w 2270"/>
                <a:gd name="T35" fmla="*/ 467 h 1116"/>
                <a:gd name="T36" fmla="*/ 2189 w 2270"/>
                <a:gd name="T37" fmla="*/ 522 h 1116"/>
                <a:gd name="T38" fmla="*/ 2261 w 2270"/>
                <a:gd name="T39" fmla="*/ 553 h 1116"/>
                <a:gd name="T40" fmla="*/ 2142 w 2270"/>
                <a:gd name="T41" fmla="*/ 577 h 1116"/>
                <a:gd name="T42" fmla="*/ 1992 w 2270"/>
                <a:gd name="T43" fmla="*/ 577 h 1116"/>
                <a:gd name="T44" fmla="*/ 1810 w 2270"/>
                <a:gd name="T45" fmla="*/ 609 h 1116"/>
                <a:gd name="T46" fmla="*/ 1660 w 2270"/>
                <a:gd name="T47" fmla="*/ 569 h 1116"/>
                <a:gd name="T48" fmla="*/ 1486 w 2270"/>
                <a:gd name="T49" fmla="*/ 648 h 1116"/>
                <a:gd name="T50" fmla="*/ 1272 w 2270"/>
                <a:gd name="T51" fmla="*/ 822 h 1116"/>
                <a:gd name="T52" fmla="*/ 1272 w 2270"/>
                <a:gd name="T53" fmla="*/ 719 h 1116"/>
                <a:gd name="T54" fmla="*/ 1170 w 2270"/>
                <a:gd name="T55" fmla="*/ 799 h 1116"/>
                <a:gd name="T56" fmla="*/ 1090 w 2270"/>
                <a:gd name="T57" fmla="*/ 901 h 1116"/>
                <a:gd name="T58" fmla="*/ 664 w 2270"/>
                <a:gd name="T59" fmla="*/ 680 h 1116"/>
                <a:gd name="T60" fmla="*/ 814 w 2270"/>
                <a:gd name="T61" fmla="*/ 799 h 1116"/>
                <a:gd name="T62" fmla="*/ 909 w 2270"/>
                <a:gd name="T63" fmla="*/ 988 h 1116"/>
                <a:gd name="T64" fmla="*/ 1019 w 2270"/>
                <a:gd name="T65" fmla="*/ 1028 h 1116"/>
                <a:gd name="T66" fmla="*/ 1154 w 2270"/>
                <a:gd name="T67" fmla="*/ 783 h 1116"/>
                <a:gd name="T68" fmla="*/ 1265 w 2270"/>
                <a:gd name="T69" fmla="*/ 704 h 1116"/>
                <a:gd name="T70" fmla="*/ 1249 w 2270"/>
                <a:gd name="T71" fmla="*/ 806 h 1116"/>
                <a:gd name="T72" fmla="*/ 1359 w 2270"/>
                <a:gd name="T73" fmla="*/ 735 h 1116"/>
                <a:gd name="T74" fmla="*/ 1636 w 2270"/>
                <a:gd name="T75" fmla="*/ 562 h 1116"/>
                <a:gd name="T76" fmla="*/ 1747 w 2270"/>
                <a:gd name="T77" fmla="*/ 577 h 1116"/>
                <a:gd name="T78" fmla="*/ 1889 w 2270"/>
                <a:gd name="T79" fmla="*/ 609 h 1116"/>
                <a:gd name="T80" fmla="*/ 2079 w 2270"/>
                <a:gd name="T81" fmla="*/ 569 h 1116"/>
                <a:gd name="T82" fmla="*/ 2229 w 2270"/>
                <a:gd name="T83" fmla="*/ 569 h 1116"/>
                <a:gd name="T84" fmla="*/ 2205 w 2270"/>
                <a:gd name="T85" fmla="*/ 514 h 1116"/>
                <a:gd name="T86" fmla="*/ 2079 w 2270"/>
                <a:gd name="T87" fmla="*/ 490 h 1116"/>
                <a:gd name="T88" fmla="*/ 1992 w 2270"/>
                <a:gd name="T89" fmla="*/ 356 h 1116"/>
                <a:gd name="T90" fmla="*/ 1763 w 2270"/>
                <a:gd name="T91" fmla="*/ 348 h 1116"/>
                <a:gd name="T92" fmla="*/ 1644 w 2270"/>
                <a:gd name="T93" fmla="*/ 261 h 1116"/>
                <a:gd name="T94" fmla="*/ 1225 w 2270"/>
                <a:gd name="T95" fmla="*/ 443 h 1116"/>
                <a:gd name="T96" fmla="*/ 1083 w 2270"/>
                <a:gd name="T97" fmla="*/ 419 h 1116"/>
                <a:gd name="T98" fmla="*/ 838 w 2270"/>
                <a:gd name="T99" fmla="*/ 285 h 1116"/>
                <a:gd name="T100" fmla="*/ 632 w 2270"/>
                <a:gd name="T101" fmla="*/ 348 h 1116"/>
                <a:gd name="T102" fmla="*/ 751 w 2270"/>
                <a:gd name="T103" fmla="*/ 79 h 1116"/>
                <a:gd name="T104" fmla="*/ 766 w 2270"/>
                <a:gd name="T105" fmla="*/ 8 h 1116"/>
                <a:gd name="T106" fmla="*/ 545 w 2270"/>
                <a:gd name="T107" fmla="*/ 182 h 1116"/>
                <a:gd name="T108" fmla="*/ 474 w 2270"/>
                <a:gd name="T109" fmla="*/ 214 h 1116"/>
                <a:gd name="T110" fmla="*/ 284 w 2270"/>
                <a:gd name="T111" fmla="*/ 348 h 1116"/>
                <a:gd name="T112" fmla="*/ 31 w 2270"/>
                <a:gd name="T113" fmla="*/ 506 h 1116"/>
                <a:gd name="T114" fmla="*/ 513 w 2270"/>
                <a:gd name="T115" fmla="*/ 69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70" h="1116">
                  <a:moveTo>
                    <a:pt x="988" y="1115"/>
                  </a:moveTo>
                  <a:lnTo>
                    <a:pt x="988" y="1115"/>
                  </a:lnTo>
                  <a:cubicBezTo>
                    <a:pt x="980" y="1115"/>
                    <a:pt x="980" y="1115"/>
                    <a:pt x="980" y="1115"/>
                  </a:cubicBezTo>
                  <a:lnTo>
                    <a:pt x="972" y="1107"/>
                  </a:lnTo>
                  <a:cubicBezTo>
                    <a:pt x="940" y="1091"/>
                    <a:pt x="940" y="1059"/>
                    <a:pt x="940" y="1028"/>
                  </a:cubicBezTo>
                  <a:lnTo>
                    <a:pt x="940" y="1020"/>
                  </a:lnTo>
                  <a:cubicBezTo>
                    <a:pt x="940" y="1004"/>
                    <a:pt x="932" y="1004"/>
                    <a:pt x="909" y="996"/>
                  </a:cubicBezTo>
                  <a:cubicBezTo>
                    <a:pt x="901" y="996"/>
                    <a:pt x="893" y="996"/>
                    <a:pt x="885" y="996"/>
                  </a:cubicBezTo>
                  <a:cubicBezTo>
                    <a:pt x="877" y="988"/>
                    <a:pt x="869" y="988"/>
                    <a:pt x="869" y="988"/>
                  </a:cubicBezTo>
                  <a:cubicBezTo>
                    <a:pt x="861" y="980"/>
                    <a:pt x="869" y="973"/>
                    <a:pt x="869" y="965"/>
                  </a:cubicBezTo>
                  <a:cubicBezTo>
                    <a:pt x="877" y="957"/>
                    <a:pt x="885" y="933"/>
                    <a:pt x="885" y="893"/>
                  </a:cubicBezTo>
                  <a:cubicBezTo>
                    <a:pt x="885" y="815"/>
                    <a:pt x="838" y="806"/>
                    <a:pt x="814" y="806"/>
                  </a:cubicBezTo>
                  <a:lnTo>
                    <a:pt x="814" y="806"/>
                  </a:lnTo>
                  <a:cubicBezTo>
                    <a:pt x="790" y="799"/>
                    <a:pt x="790" y="783"/>
                    <a:pt x="782" y="743"/>
                  </a:cubicBezTo>
                  <a:cubicBezTo>
                    <a:pt x="782" y="735"/>
                    <a:pt x="782" y="735"/>
                    <a:pt x="782" y="735"/>
                  </a:cubicBezTo>
                  <a:cubicBezTo>
                    <a:pt x="782" y="719"/>
                    <a:pt x="759" y="712"/>
                    <a:pt x="727" y="712"/>
                  </a:cubicBezTo>
                  <a:cubicBezTo>
                    <a:pt x="711" y="712"/>
                    <a:pt x="687" y="712"/>
                    <a:pt x="679" y="704"/>
                  </a:cubicBezTo>
                  <a:cubicBezTo>
                    <a:pt x="672" y="696"/>
                    <a:pt x="664" y="688"/>
                    <a:pt x="664" y="688"/>
                  </a:cubicBezTo>
                  <a:cubicBezTo>
                    <a:pt x="656" y="688"/>
                    <a:pt x="648" y="696"/>
                    <a:pt x="632" y="696"/>
                  </a:cubicBezTo>
                  <a:cubicBezTo>
                    <a:pt x="624" y="704"/>
                    <a:pt x="608" y="712"/>
                    <a:pt x="585" y="712"/>
                  </a:cubicBezTo>
                  <a:cubicBezTo>
                    <a:pt x="569" y="719"/>
                    <a:pt x="561" y="719"/>
                    <a:pt x="553" y="719"/>
                  </a:cubicBezTo>
                  <a:cubicBezTo>
                    <a:pt x="529" y="719"/>
                    <a:pt x="521" y="712"/>
                    <a:pt x="513" y="696"/>
                  </a:cubicBezTo>
                  <a:cubicBezTo>
                    <a:pt x="506" y="696"/>
                    <a:pt x="506" y="688"/>
                    <a:pt x="498" y="680"/>
                  </a:cubicBezTo>
                  <a:cubicBezTo>
                    <a:pt x="466" y="648"/>
                    <a:pt x="268" y="633"/>
                    <a:pt x="197" y="633"/>
                  </a:cubicBezTo>
                  <a:cubicBezTo>
                    <a:pt x="126" y="633"/>
                    <a:pt x="110" y="609"/>
                    <a:pt x="95" y="593"/>
                  </a:cubicBezTo>
                  <a:lnTo>
                    <a:pt x="95" y="593"/>
                  </a:lnTo>
                  <a:cubicBezTo>
                    <a:pt x="95" y="585"/>
                    <a:pt x="87" y="577"/>
                    <a:pt x="87" y="577"/>
                  </a:cubicBezTo>
                  <a:cubicBezTo>
                    <a:pt x="71" y="553"/>
                    <a:pt x="55" y="530"/>
                    <a:pt x="31" y="514"/>
                  </a:cubicBezTo>
                  <a:cubicBezTo>
                    <a:pt x="23" y="506"/>
                    <a:pt x="15" y="498"/>
                    <a:pt x="7" y="490"/>
                  </a:cubicBezTo>
                  <a:cubicBezTo>
                    <a:pt x="0" y="482"/>
                    <a:pt x="0" y="482"/>
                    <a:pt x="0" y="482"/>
                  </a:cubicBezTo>
                  <a:cubicBezTo>
                    <a:pt x="7" y="482"/>
                    <a:pt x="7" y="482"/>
                    <a:pt x="7" y="482"/>
                  </a:cubicBezTo>
                  <a:cubicBezTo>
                    <a:pt x="39" y="482"/>
                    <a:pt x="55" y="482"/>
                    <a:pt x="79" y="443"/>
                  </a:cubicBezTo>
                  <a:cubicBezTo>
                    <a:pt x="102" y="411"/>
                    <a:pt x="182" y="364"/>
                    <a:pt x="205" y="348"/>
                  </a:cubicBezTo>
                  <a:cubicBezTo>
                    <a:pt x="221" y="340"/>
                    <a:pt x="237" y="340"/>
                    <a:pt x="260" y="340"/>
                  </a:cubicBezTo>
                  <a:cubicBezTo>
                    <a:pt x="268" y="340"/>
                    <a:pt x="268" y="340"/>
                    <a:pt x="276" y="340"/>
                  </a:cubicBezTo>
                  <a:lnTo>
                    <a:pt x="284" y="340"/>
                  </a:lnTo>
                  <a:cubicBezTo>
                    <a:pt x="300" y="340"/>
                    <a:pt x="300" y="340"/>
                    <a:pt x="316" y="324"/>
                  </a:cubicBezTo>
                  <a:cubicBezTo>
                    <a:pt x="316" y="324"/>
                    <a:pt x="324" y="324"/>
                    <a:pt x="324" y="316"/>
                  </a:cubicBezTo>
                  <a:cubicBezTo>
                    <a:pt x="355" y="293"/>
                    <a:pt x="387" y="277"/>
                    <a:pt x="419" y="261"/>
                  </a:cubicBezTo>
                  <a:cubicBezTo>
                    <a:pt x="426" y="261"/>
                    <a:pt x="435" y="253"/>
                    <a:pt x="435" y="253"/>
                  </a:cubicBezTo>
                  <a:cubicBezTo>
                    <a:pt x="458" y="237"/>
                    <a:pt x="458" y="237"/>
                    <a:pt x="458" y="229"/>
                  </a:cubicBezTo>
                  <a:cubicBezTo>
                    <a:pt x="458" y="229"/>
                    <a:pt x="458" y="222"/>
                    <a:pt x="466" y="214"/>
                  </a:cubicBezTo>
                  <a:cubicBezTo>
                    <a:pt x="474" y="198"/>
                    <a:pt x="490" y="182"/>
                    <a:pt x="498" y="174"/>
                  </a:cubicBezTo>
                  <a:cubicBezTo>
                    <a:pt x="506" y="158"/>
                    <a:pt x="513" y="150"/>
                    <a:pt x="521" y="142"/>
                  </a:cubicBezTo>
                  <a:lnTo>
                    <a:pt x="529" y="135"/>
                  </a:lnTo>
                  <a:cubicBezTo>
                    <a:pt x="537" y="135"/>
                    <a:pt x="537" y="142"/>
                    <a:pt x="537" y="150"/>
                  </a:cubicBezTo>
                  <a:cubicBezTo>
                    <a:pt x="537" y="150"/>
                    <a:pt x="537" y="158"/>
                    <a:pt x="545" y="158"/>
                  </a:cubicBezTo>
                  <a:cubicBezTo>
                    <a:pt x="545" y="166"/>
                    <a:pt x="545" y="166"/>
                    <a:pt x="545" y="174"/>
                  </a:cubicBezTo>
                  <a:lnTo>
                    <a:pt x="553" y="166"/>
                  </a:lnTo>
                  <a:cubicBezTo>
                    <a:pt x="553" y="166"/>
                    <a:pt x="553" y="158"/>
                    <a:pt x="553" y="150"/>
                  </a:cubicBezTo>
                  <a:cubicBezTo>
                    <a:pt x="561" y="142"/>
                    <a:pt x="561" y="127"/>
                    <a:pt x="577" y="103"/>
                  </a:cubicBezTo>
                  <a:cubicBezTo>
                    <a:pt x="593" y="79"/>
                    <a:pt x="632" y="48"/>
                    <a:pt x="664" y="24"/>
                  </a:cubicBezTo>
                  <a:cubicBezTo>
                    <a:pt x="679" y="16"/>
                    <a:pt x="679" y="16"/>
                    <a:pt x="679" y="16"/>
                  </a:cubicBezTo>
                  <a:cubicBezTo>
                    <a:pt x="695" y="8"/>
                    <a:pt x="727" y="0"/>
                    <a:pt x="766" y="0"/>
                  </a:cubicBezTo>
                  <a:cubicBezTo>
                    <a:pt x="790" y="0"/>
                    <a:pt x="814" y="0"/>
                    <a:pt x="822" y="8"/>
                  </a:cubicBezTo>
                  <a:cubicBezTo>
                    <a:pt x="830" y="16"/>
                    <a:pt x="838" y="24"/>
                    <a:pt x="838" y="32"/>
                  </a:cubicBezTo>
                  <a:cubicBezTo>
                    <a:pt x="838" y="40"/>
                    <a:pt x="830" y="48"/>
                    <a:pt x="798" y="48"/>
                  </a:cubicBezTo>
                  <a:cubicBezTo>
                    <a:pt x="774" y="56"/>
                    <a:pt x="774" y="56"/>
                    <a:pt x="774" y="56"/>
                  </a:cubicBezTo>
                  <a:cubicBezTo>
                    <a:pt x="766" y="56"/>
                    <a:pt x="766" y="63"/>
                    <a:pt x="766" y="63"/>
                  </a:cubicBezTo>
                  <a:cubicBezTo>
                    <a:pt x="759" y="63"/>
                    <a:pt x="759" y="71"/>
                    <a:pt x="751" y="79"/>
                  </a:cubicBezTo>
                  <a:cubicBezTo>
                    <a:pt x="743" y="95"/>
                    <a:pt x="727" y="119"/>
                    <a:pt x="703" y="142"/>
                  </a:cubicBezTo>
                  <a:cubicBezTo>
                    <a:pt x="687" y="158"/>
                    <a:pt x="672" y="182"/>
                    <a:pt x="664" y="206"/>
                  </a:cubicBezTo>
                  <a:cubicBezTo>
                    <a:pt x="656" y="222"/>
                    <a:pt x="648" y="237"/>
                    <a:pt x="632" y="253"/>
                  </a:cubicBezTo>
                  <a:cubicBezTo>
                    <a:pt x="616" y="269"/>
                    <a:pt x="624" y="285"/>
                    <a:pt x="624" y="309"/>
                  </a:cubicBezTo>
                  <a:cubicBezTo>
                    <a:pt x="632" y="316"/>
                    <a:pt x="632" y="324"/>
                    <a:pt x="632" y="332"/>
                  </a:cubicBezTo>
                  <a:cubicBezTo>
                    <a:pt x="632" y="332"/>
                    <a:pt x="632" y="332"/>
                    <a:pt x="632" y="340"/>
                  </a:cubicBezTo>
                  <a:cubicBezTo>
                    <a:pt x="632" y="332"/>
                    <a:pt x="640" y="332"/>
                    <a:pt x="640" y="324"/>
                  </a:cubicBezTo>
                  <a:cubicBezTo>
                    <a:pt x="640" y="316"/>
                    <a:pt x="648" y="301"/>
                    <a:pt x="648" y="293"/>
                  </a:cubicBezTo>
                  <a:cubicBezTo>
                    <a:pt x="664" y="277"/>
                    <a:pt x="687" y="269"/>
                    <a:pt x="711" y="269"/>
                  </a:cubicBezTo>
                  <a:cubicBezTo>
                    <a:pt x="719" y="261"/>
                    <a:pt x="727" y="261"/>
                    <a:pt x="735" y="261"/>
                  </a:cubicBezTo>
                  <a:cubicBezTo>
                    <a:pt x="743" y="261"/>
                    <a:pt x="751" y="253"/>
                    <a:pt x="759" y="253"/>
                  </a:cubicBezTo>
                  <a:cubicBezTo>
                    <a:pt x="790" y="253"/>
                    <a:pt x="822" y="261"/>
                    <a:pt x="838" y="285"/>
                  </a:cubicBezTo>
                  <a:cubicBezTo>
                    <a:pt x="846" y="285"/>
                    <a:pt x="861" y="293"/>
                    <a:pt x="869" y="301"/>
                  </a:cubicBezTo>
                  <a:cubicBezTo>
                    <a:pt x="901" y="324"/>
                    <a:pt x="932" y="340"/>
                    <a:pt x="948" y="372"/>
                  </a:cubicBezTo>
                  <a:cubicBezTo>
                    <a:pt x="964" y="403"/>
                    <a:pt x="996" y="419"/>
                    <a:pt x="1019" y="427"/>
                  </a:cubicBezTo>
                  <a:cubicBezTo>
                    <a:pt x="1019" y="435"/>
                    <a:pt x="1019" y="435"/>
                    <a:pt x="1027" y="435"/>
                  </a:cubicBezTo>
                  <a:cubicBezTo>
                    <a:pt x="1027" y="435"/>
                    <a:pt x="1027" y="435"/>
                    <a:pt x="1035" y="435"/>
                  </a:cubicBezTo>
                  <a:cubicBezTo>
                    <a:pt x="1043" y="435"/>
                    <a:pt x="1067" y="427"/>
                    <a:pt x="1083" y="419"/>
                  </a:cubicBezTo>
                  <a:cubicBezTo>
                    <a:pt x="1090" y="411"/>
                    <a:pt x="1099" y="403"/>
                    <a:pt x="1106" y="403"/>
                  </a:cubicBezTo>
                  <a:cubicBezTo>
                    <a:pt x="1130" y="395"/>
                    <a:pt x="1138" y="403"/>
                    <a:pt x="1146" y="427"/>
                  </a:cubicBezTo>
                  <a:cubicBezTo>
                    <a:pt x="1146" y="435"/>
                    <a:pt x="1154" y="435"/>
                    <a:pt x="1178" y="435"/>
                  </a:cubicBezTo>
                  <a:cubicBezTo>
                    <a:pt x="1185" y="435"/>
                    <a:pt x="1193" y="435"/>
                    <a:pt x="1201" y="435"/>
                  </a:cubicBezTo>
                  <a:cubicBezTo>
                    <a:pt x="1209" y="435"/>
                    <a:pt x="1217" y="435"/>
                    <a:pt x="1225" y="435"/>
                  </a:cubicBezTo>
                  <a:cubicBezTo>
                    <a:pt x="1257" y="435"/>
                    <a:pt x="1265" y="419"/>
                    <a:pt x="1296" y="372"/>
                  </a:cubicBezTo>
                  <a:cubicBezTo>
                    <a:pt x="1320" y="340"/>
                    <a:pt x="1423" y="293"/>
                    <a:pt x="1494" y="293"/>
                  </a:cubicBezTo>
                  <a:cubicBezTo>
                    <a:pt x="1502" y="293"/>
                    <a:pt x="1510" y="293"/>
                    <a:pt x="1510" y="293"/>
                  </a:cubicBezTo>
                  <a:cubicBezTo>
                    <a:pt x="1518" y="293"/>
                    <a:pt x="1525" y="293"/>
                    <a:pt x="1541" y="293"/>
                  </a:cubicBezTo>
                  <a:cubicBezTo>
                    <a:pt x="1581" y="293"/>
                    <a:pt x="1612" y="277"/>
                    <a:pt x="1628" y="261"/>
                  </a:cubicBezTo>
                  <a:cubicBezTo>
                    <a:pt x="1636" y="261"/>
                    <a:pt x="1636" y="261"/>
                    <a:pt x="1644" y="261"/>
                  </a:cubicBezTo>
                  <a:cubicBezTo>
                    <a:pt x="1644" y="253"/>
                    <a:pt x="1644" y="253"/>
                    <a:pt x="1644" y="253"/>
                  </a:cubicBezTo>
                  <a:cubicBezTo>
                    <a:pt x="1676" y="237"/>
                    <a:pt x="1707" y="222"/>
                    <a:pt x="1731" y="222"/>
                  </a:cubicBezTo>
                  <a:cubicBezTo>
                    <a:pt x="1739" y="222"/>
                    <a:pt x="1739" y="222"/>
                    <a:pt x="1739" y="222"/>
                  </a:cubicBezTo>
                  <a:cubicBezTo>
                    <a:pt x="1747" y="222"/>
                    <a:pt x="1747" y="222"/>
                    <a:pt x="1755" y="222"/>
                  </a:cubicBezTo>
                  <a:cubicBezTo>
                    <a:pt x="1755" y="229"/>
                    <a:pt x="1755" y="237"/>
                    <a:pt x="1755" y="253"/>
                  </a:cubicBezTo>
                  <a:cubicBezTo>
                    <a:pt x="1755" y="261"/>
                    <a:pt x="1755" y="269"/>
                    <a:pt x="1755" y="285"/>
                  </a:cubicBezTo>
                  <a:cubicBezTo>
                    <a:pt x="1755" y="316"/>
                    <a:pt x="1755" y="340"/>
                    <a:pt x="1763" y="348"/>
                  </a:cubicBezTo>
                  <a:cubicBezTo>
                    <a:pt x="1770" y="356"/>
                    <a:pt x="1786" y="356"/>
                    <a:pt x="1802" y="356"/>
                  </a:cubicBezTo>
                  <a:cubicBezTo>
                    <a:pt x="1810" y="356"/>
                    <a:pt x="1826" y="356"/>
                    <a:pt x="1834" y="356"/>
                  </a:cubicBezTo>
                  <a:cubicBezTo>
                    <a:pt x="1834" y="356"/>
                    <a:pt x="1842" y="356"/>
                    <a:pt x="1849" y="356"/>
                  </a:cubicBezTo>
                  <a:cubicBezTo>
                    <a:pt x="1849" y="356"/>
                    <a:pt x="1858" y="356"/>
                    <a:pt x="1865" y="356"/>
                  </a:cubicBezTo>
                  <a:cubicBezTo>
                    <a:pt x="1865" y="364"/>
                    <a:pt x="1889" y="364"/>
                    <a:pt x="1913" y="364"/>
                  </a:cubicBezTo>
                  <a:cubicBezTo>
                    <a:pt x="1921" y="364"/>
                    <a:pt x="1929" y="364"/>
                    <a:pt x="1936" y="364"/>
                  </a:cubicBezTo>
                  <a:cubicBezTo>
                    <a:pt x="1944" y="356"/>
                    <a:pt x="1968" y="348"/>
                    <a:pt x="1992" y="348"/>
                  </a:cubicBezTo>
                  <a:cubicBezTo>
                    <a:pt x="2000" y="348"/>
                    <a:pt x="2000" y="348"/>
                    <a:pt x="2008" y="348"/>
                  </a:cubicBezTo>
                  <a:cubicBezTo>
                    <a:pt x="2031" y="356"/>
                    <a:pt x="2031" y="380"/>
                    <a:pt x="2031" y="403"/>
                  </a:cubicBezTo>
                  <a:cubicBezTo>
                    <a:pt x="2031" y="411"/>
                    <a:pt x="2039" y="419"/>
                    <a:pt x="2039" y="427"/>
                  </a:cubicBezTo>
                  <a:cubicBezTo>
                    <a:pt x="2039" y="451"/>
                    <a:pt x="2047" y="451"/>
                    <a:pt x="2063" y="467"/>
                  </a:cubicBezTo>
                  <a:cubicBezTo>
                    <a:pt x="2063" y="467"/>
                    <a:pt x="2063" y="467"/>
                    <a:pt x="2071" y="467"/>
                  </a:cubicBezTo>
                  <a:cubicBezTo>
                    <a:pt x="2071" y="475"/>
                    <a:pt x="2079" y="475"/>
                    <a:pt x="2087" y="482"/>
                  </a:cubicBezTo>
                  <a:cubicBezTo>
                    <a:pt x="2102" y="498"/>
                    <a:pt x="2126" y="514"/>
                    <a:pt x="2134" y="514"/>
                  </a:cubicBezTo>
                  <a:cubicBezTo>
                    <a:pt x="2142" y="514"/>
                    <a:pt x="2142" y="514"/>
                    <a:pt x="2150" y="522"/>
                  </a:cubicBezTo>
                  <a:cubicBezTo>
                    <a:pt x="2158" y="530"/>
                    <a:pt x="2158" y="530"/>
                    <a:pt x="2166" y="538"/>
                  </a:cubicBezTo>
                  <a:cubicBezTo>
                    <a:pt x="2166" y="538"/>
                    <a:pt x="2166" y="538"/>
                    <a:pt x="2174" y="538"/>
                  </a:cubicBezTo>
                  <a:cubicBezTo>
                    <a:pt x="2174" y="538"/>
                    <a:pt x="2182" y="530"/>
                    <a:pt x="2189" y="522"/>
                  </a:cubicBezTo>
                  <a:cubicBezTo>
                    <a:pt x="2197" y="522"/>
                    <a:pt x="2197" y="514"/>
                    <a:pt x="2205" y="514"/>
                  </a:cubicBezTo>
                  <a:cubicBezTo>
                    <a:pt x="2221" y="498"/>
                    <a:pt x="2229" y="490"/>
                    <a:pt x="2237" y="490"/>
                  </a:cubicBezTo>
                  <a:cubicBezTo>
                    <a:pt x="2245" y="490"/>
                    <a:pt x="2245" y="490"/>
                    <a:pt x="2245" y="490"/>
                  </a:cubicBezTo>
                  <a:cubicBezTo>
                    <a:pt x="2253" y="490"/>
                    <a:pt x="2253" y="498"/>
                    <a:pt x="2261" y="498"/>
                  </a:cubicBezTo>
                  <a:cubicBezTo>
                    <a:pt x="2269" y="514"/>
                    <a:pt x="2269" y="538"/>
                    <a:pt x="2269" y="546"/>
                  </a:cubicBezTo>
                  <a:cubicBezTo>
                    <a:pt x="2269" y="553"/>
                    <a:pt x="2269" y="553"/>
                    <a:pt x="2261" y="553"/>
                  </a:cubicBezTo>
                  <a:cubicBezTo>
                    <a:pt x="2261" y="569"/>
                    <a:pt x="2261" y="577"/>
                    <a:pt x="2237" y="577"/>
                  </a:cubicBezTo>
                  <a:cubicBezTo>
                    <a:pt x="2237" y="577"/>
                    <a:pt x="2229" y="577"/>
                    <a:pt x="2221" y="577"/>
                  </a:cubicBezTo>
                  <a:cubicBezTo>
                    <a:pt x="2213" y="577"/>
                    <a:pt x="2205" y="577"/>
                    <a:pt x="2205" y="577"/>
                  </a:cubicBezTo>
                  <a:cubicBezTo>
                    <a:pt x="2189" y="569"/>
                    <a:pt x="2182" y="569"/>
                    <a:pt x="2166" y="569"/>
                  </a:cubicBezTo>
                  <a:cubicBezTo>
                    <a:pt x="2150" y="569"/>
                    <a:pt x="2150" y="569"/>
                    <a:pt x="2150" y="569"/>
                  </a:cubicBezTo>
                  <a:cubicBezTo>
                    <a:pt x="2150" y="577"/>
                    <a:pt x="2150" y="577"/>
                    <a:pt x="2142" y="577"/>
                  </a:cubicBezTo>
                  <a:cubicBezTo>
                    <a:pt x="2142" y="577"/>
                    <a:pt x="2142" y="577"/>
                    <a:pt x="2134" y="577"/>
                  </a:cubicBezTo>
                  <a:cubicBezTo>
                    <a:pt x="2126" y="577"/>
                    <a:pt x="2110" y="577"/>
                    <a:pt x="2095" y="577"/>
                  </a:cubicBezTo>
                  <a:cubicBezTo>
                    <a:pt x="2087" y="577"/>
                    <a:pt x="2079" y="577"/>
                    <a:pt x="2079" y="577"/>
                  </a:cubicBezTo>
                  <a:cubicBezTo>
                    <a:pt x="2071" y="577"/>
                    <a:pt x="2071" y="577"/>
                    <a:pt x="2063" y="577"/>
                  </a:cubicBezTo>
                  <a:cubicBezTo>
                    <a:pt x="2055" y="577"/>
                    <a:pt x="2039" y="577"/>
                    <a:pt x="2031" y="577"/>
                  </a:cubicBezTo>
                  <a:cubicBezTo>
                    <a:pt x="2016" y="577"/>
                    <a:pt x="2000" y="577"/>
                    <a:pt x="1992" y="577"/>
                  </a:cubicBezTo>
                  <a:cubicBezTo>
                    <a:pt x="1960" y="577"/>
                    <a:pt x="1944" y="577"/>
                    <a:pt x="1936" y="569"/>
                  </a:cubicBezTo>
                  <a:cubicBezTo>
                    <a:pt x="1921" y="562"/>
                    <a:pt x="1913" y="569"/>
                    <a:pt x="1897" y="593"/>
                  </a:cubicBezTo>
                  <a:cubicBezTo>
                    <a:pt x="1897" y="601"/>
                    <a:pt x="1889" y="609"/>
                    <a:pt x="1889" y="609"/>
                  </a:cubicBezTo>
                  <a:cubicBezTo>
                    <a:pt x="1889" y="625"/>
                    <a:pt x="1889" y="633"/>
                    <a:pt x="1873" y="640"/>
                  </a:cubicBezTo>
                  <a:cubicBezTo>
                    <a:pt x="1849" y="656"/>
                    <a:pt x="1849" y="648"/>
                    <a:pt x="1834" y="633"/>
                  </a:cubicBezTo>
                  <a:cubicBezTo>
                    <a:pt x="1826" y="625"/>
                    <a:pt x="1826" y="617"/>
                    <a:pt x="1810" y="609"/>
                  </a:cubicBezTo>
                  <a:cubicBezTo>
                    <a:pt x="1786" y="593"/>
                    <a:pt x="1778" y="585"/>
                    <a:pt x="1763" y="585"/>
                  </a:cubicBezTo>
                  <a:cubicBezTo>
                    <a:pt x="1763" y="585"/>
                    <a:pt x="1755" y="585"/>
                    <a:pt x="1747" y="585"/>
                  </a:cubicBezTo>
                  <a:cubicBezTo>
                    <a:pt x="1739" y="585"/>
                    <a:pt x="1731" y="577"/>
                    <a:pt x="1731" y="577"/>
                  </a:cubicBezTo>
                  <a:cubicBezTo>
                    <a:pt x="1715" y="577"/>
                    <a:pt x="1707" y="569"/>
                    <a:pt x="1691" y="569"/>
                  </a:cubicBezTo>
                  <a:cubicBezTo>
                    <a:pt x="1683" y="569"/>
                    <a:pt x="1676" y="569"/>
                    <a:pt x="1676" y="569"/>
                  </a:cubicBezTo>
                  <a:cubicBezTo>
                    <a:pt x="1668" y="569"/>
                    <a:pt x="1668" y="569"/>
                    <a:pt x="1660" y="569"/>
                  </a:cubicBezTo>
                  <a:cubicBezTo>
                    <a:pt x="1652" y="569"/>
                    <a:pt x="1652" y="569"/>
                    <a:pt x="1652" y="569"/>
                  </a:cubicBezTo>
                  <a:cubicBezTo>
                    <a:pt x="1644" y="569"/>
                    <a:pt x="1644" y="569"/>
                    <a:pt x="1636" y="569"/>
                  </a:cubicBezTo>
                  <a:cubicBezTo>
                    <a:pt x="1612" y="569"/>
                    <a:pt x="1605" y="577"/>
                    <a:pt x="1596" y="609"/>
                  </a:cubicBezTo>
                  <a:cubicBezTo>
                    <a:pt x="1596" y="633"/>
                    <a:pt x="1573" y="640"/>
                    <a:pt x="1541" y="640"/>
                  </a:cubicBezTo>
                  <a:cubicBezTo>
                    <a:pt x="1533" y="640"/>
                    <a:pt x="1533" y="640"/>
                    <a:pt x="1533" y="640"/>
                  </a:cubicBezTo>
                  <a:cubicBezTo>
                    <a:pt x="1518" y="640"/>
                    <a:pt x="1502" y="640"/>
                    <a:pt x="1486" y="648"/>
                  </a:cubicBezTo>
                  <a:cubicBezTo>
                    <a:pt x="1470" y="648"/>
                    <a:pt x="1454" y="656"/>
                    <a:pt x="1423" y="656"/>
                  </a:cubicBezTo>
                  <a:cubicBezTo>
                    <a:pt x="1375" y="656"/>
                    <a:pt x="1359" y="712"/>
                    <a:pt x="1359" y="735"/>
                  </a:cubicBezTo>
                  <a:cubicBezTo>
                    <a:pt x="1359" y="751"/>
                    <a:pt x="1343" y="759"/>
                    <a:pt x="1320" y="767"/>
                  </a:cubicBezTo>
                  <a:cubicBezTo>
                    <a:pt x="1320" y="775"/>
                    <a:pt x="1312" y="775"/>
                    <a:pt x="1312" y="775"/>
                  </a:cubicBezTo>
                  <a:cubicBezTo>
                    <a:pt x="1288" y="783"/>
                    <a:pt x="1288" y="799"/>
                    <a:pt x="1280" y="815"/>
                  </a:cubicBezTo>
                  <a:cubicBezTo>
                    <a:pt x="1272" y="815"/>
                    <a:pt x="1272" y="822"/>
                    <a:pt x="1272" y="822"/>
                  </a:cubicBezTo>
                  <a:cubicBezTo>
                    <a:pt x="1272" y="830"/>
                    <a:pt x="1265" y="838"/>
                    <a:pt x="1257" y="838"/>
                  </a:cubicBezTo>
                  <a:cubicBezTo>
                    <a:pt x="1249" y="838"/>
                    <a:pt x="1249" y="830"/>
                    <a:pt x="1241" y="806"/>
                  </a:cubicBezTo>
                  <a:cubicBezTo>
                    <a:pt x="1241" y="791"/>
                    <a:pt x="1249" y="783"/>
                    <a:pt x="1265" y="767"/>
                  </a:cubicBezTo>
                  <a:cubicBezTo>
                    <a:pt x="1272" y="767"/>
                    <a:pt x="1280" y="759"/>
                    <a:pt x="1288" y="759"/>
                  </a:cubicBezTo>
                  <a:cubicBezTo>
                    <a:pt x="1288" y="751"/>
                    <a:pt x="1296" y="743"/>
                    <a:pt x="1296" y="743"/>
                  </a:cubicBezTo>
                  <a:cubicBezTo>
                    <a:pt x="1296" y="735"/>
                    <a:pt x="1280" y="728"/>
                    <a:pt x="1272" y="719"/>
                  </a:cubicBezTo>
                  <a:lnTo>
                    <a:pt x="1272" y="719"/>
                  </a:lnTo>
                  <a:cubicBezTo>
                    <a:pt x="1265" y="712"/>
                    <a:pt x="1265" y="712"/>
                    <a:pt x="1265" y="712"/>
                  </a:cubicBezTo>
                  <a:cubicBezTo>
                    <a:pt x="1257" y="712"/>
                    <a:pt x="1249" y="719"/>
                    <a:pt x="1241" y="728"/>
                  </a:cubicBezTo>
                  <a:cubicBezTo>
                    <a:pt x="1241" y="735"/>
                    <a:pt x="1233" y="735"/>
                    <a:pt x="1225" y="743"/>
                  </a:cubicBezTo>
                  <a:cubicBezTo>
                    <a:pt x="1217" y="751"/>
                    <a:pt x="1217" y="759"/>
                    <a:pt x="1209" y="767"/>
                  </a:cubicBezTo>
                  <a:cubicBezTo>
                    <a:pt x="1201" y="775"/>
                    <a:pt x="1185" y="791"/>
                    <a:pt x="1170" y="799"/>
                  </a:cubicBezTo>
                  <a:lnTo>
                    <a:pt x="1162" y="806"/>
                  </a:lnTo>
                  <a:cubicBezTo>
                    <a:pt x="1146" y="806"/>
                    <a:pt x="1146" y="791"/>
                    <a:pt x="1146" y="783"/>
                  </a:cubicBezTo>
                  <a:cubicBezTo>
                    <a:pt x="1146" y="775"/>
                    <a:pt x="1146" y="767"/>
                    <a:pt x="1138" y="767"/>
                  </a:cubicBezTo>
                  <a:cubicBezTo>
                    <a:pt x="1138" y="759"/>
                    <a:pt x="1138" y="759"/>
                    <a:pt x="1138" y="759"/>
                  </a:cubicBezTo>
                  <a:cubicBezTo>
                    <a:pt x="1138" y="759"/>
                    <a:pt x="1130" y="775"/>
                    <a:pt x="1130" y="791"/>
                  </a:cubicBezTo>
                  <a:cubicBezTo>
                    <a:pt x="1130" y="806"/>
                    <a:pt x="1106" y="854"/>
                    <a:pt x="1090" y="901"/>
                  </a:cubicBezTo>
                  <a:cubicBezTo>
                    <a:pt x="1075" y="933"/>
                    <a:pt x="1059" y="973"/>
                    <a:pt x="1059" y="980"/>
                  </a:cubicBezTo>
                  <a:cubicBezTo>
                    <a:pt x="1059" y="988"/>
                    <a:pt x="1043" y="1012"/>
                    <a:pt x="1027" y="1028"/>
                  </a:cubicBezTo>
                  <a:cubicBezTo>
                    <a:pt x="1019" y="1036"/>
                    <a:pt x="1012" y="1052"/>
                    <a:pt x="1004" y="1059"/>
                  </a:cubicBezTo>
                  <a:cubicBezTo>
                    <a:pt x="996" y="1075"/>
                    <a:pt x="988" y="1091"/>
                    <a:pt x="988" y="1107"/>
                  </a:cubicBezTo>
                  <a:cubicBezTo>
                    <a:pt x="988" y="1115"/>
                    <a:pt x="988" y="1115"/>
                    <a:pt x="988" y="1115"/>
                  </a:cubicBezTo>
                  <a:lnTo>
                    <a:pt x="664" y="680"/>
                  </a:lnTo>
                  <a:lnTo>
                    <a:pt x="664" y="680"/>
                  </a:lnTo>
                  <a:cubicBezTo>
                    <a:pt x="672" y="680"/>
                    <a:pt x="679" y="688"/>
                    <a:pt x="679" y="696"/>
                  </a:cubicBezTo>
                  <a:cubicBezTo>
                    <a:pt x="687" y="704"/>
                    <a:pt x="711" y="704"/>
                    <a:pt x="727" y="704"/>
                  </a:cubicBezTo>
                  <a:cubicBezTo>
                    <a:pt x="759" y="712"/>
                    <a:pt x="790" y="712"/>
                    <a:pt x="790" y="735"/>
                  </a:cubicBezTo>
                  <a:cubicBezTo>
                    <a:pt x="790" y="743"/>
                    <a:pt x="790" y="743"/>
                    <a:pt x="790" y="743"/>
                  </a:cubicBezTo>
                  <a:cubicBezTo>
                    <a:pt x="798" y="783"/>
                    <a:pt x="798" y="791"/>
                    <a:pt x="814" y="799"/>
                  </a:cubicBezTo>
                  <a:lnTo>
                    <a:pt x="814" y="799"/>
                  </a:lnTo>
                  <a:cubicBezTo>
                    <a:pt x="838" y="799"/>
                    <a:pt x="893" y="815"/>
                    <a:pt x="893" y="893"/>
                  </a:cubicBezTo>
                  <a:cubicBezTo>
                    <a:pt x="893" y="933"/>
                    <a:pt x="885" y="957"/>
                    <a:pt x="877" y="973"/>
                  </a:cubicBezTo>
                  <a:cubicBezTo>
                    <a:pt x="877" y="973"/>
                    <a:pt x="869" y="980"/>
                    <a:pt x="877" y="980"/>
                  </a:cubicBezTo>
                  <a:cubicBezTo>
                    <a:pt x="877" y="988"/>
                    <a:pt x="885" y="988"/>
                    <a:pt x="885" y="988"/>
                  </a:cubicBezTo>
                  <a:cubicBezTo>
                    <a:pt x="893" y="988"/>
                    <a:pt x="901" y="988"/>
                    <a:pt x="909" y="988"/>
                  </a:cubicBezTo>
                  <a:cubicBezTo>
                    <a:pt x="932" y="996"/>
                    <a:pt x="948" y="996"/>
                    <a:pt x="948" y="1020"/>
                  </a:cubicBezTo>
                  <a:lnTo>
                    <a:pt x="948" y="1028"/>
                  </a:lnTo>
                  <a:cubicBezTo>
                    <a:pt x="948" y="1059"/>
                    <a:pt x="948" y="1091"/>
                    <a:pt x="972" y="1099"/>
                  </a:cubicBezTo>
                  <a:cubicBezTo>
                    <a:pt x="980" y="1099"/>
                    <a:pt x="980" y="1107"/>
                    <a:pt x="980" y="1107"/>
                  </a:cubicBezTo>
                  <a:cubicBezTo>
                    <a:pt x="980" y="1091"/>
                    <a:pt x="988" y="1075"/>
                    <a:pt x="996" y="1059"/>
                  </a:cubicBezTo>
                  <a:cubicBezTo>
                    <a:pt x="1004" y="1044"/>
                    <a:pt x="1012" y="1036"/>
                    <a:pt x="1019" y="1028"/>
                  </a:cubicBezTo>
                  <a:cubicBezTo>
                    <a:pt x="1035" y="1004"/>
                    <a:pt x="1051" y="988"/>
                    <a:pt x="1051" y="980"/>
                  </a:cubicBezTo>
                  <a:cubicBezTo>
                    <a:pt x="1051" y="973"/>
                    <a:pt x="1059" y="941"/>
                    <a:pt x="1083" y="893"/>
                  </a:cubicBezTo>
                  <a:cubicBezTo>
                    <a:pt x="1099" y="854"/>
                    <a:pt x="1122" y="806"/>
                    <a:pt x="1122" y="791"/>
                  </a:cubicBezTo>
                  <a:cubicBezTo>
                    <a:pt x="1122" y="775"/>
                    <a:pt x="1122" y="751"/>
                    <a:pt x="1138" y="751"/>
                  </a:cubicBezTo>
                  <a:lnTo>
                    <a:pt x="1146" y="759"/>
                  </a:lnTo>
                  <a:cubicBezTo>
                    <a:pt x="1146" y="767"/>
                    <a:pt x="1154" y="775"/>
                    <a:pt x="1154" y="783"/>
                  </a:cubicBezTo>
                  <a:cubicBezTo>
                    <a:pt x="1154" y="791"/>
                    <a:pt x="1154" y="799"/>
                    <a:pt x="1162" y="799"/>
                  </a:cubicBezTo>
                  <a:cubicBezTo>
                    <a:pt x="1162" y="799"/>
                    <a:pt x="1162" y="799"/>
                    <a:pt x="1170" y="791"/>
                  </a:cubicBezTo>
                  <a:cubicBezTo>
                    <a:pt x="1185" y="783"/>
                    <a:pt x="1193" y="775"/>
                    <a:pt x="1201" y="759"/>
                  </a:cubicBezTo>
                  <a:cubicBezTo>
                    <a:pt x="1209" y="751"/>
                    <a:pt x="1217" y="743"/>
                    <a:pt x="1225" y="735"/>
                  </a:cubicBezTo>
                  <a:cubicBezTo>
                    <a:pt x="1233" y="735"/>
                    <a:pt x="1233" y="728"/>
                    <a:pt x="1241" y="719"/>
                  </a:cubicBezTo>
                  <a:cubicBezTo>
                    <a:pt x="1249" y="712"/>
                    <a:pt x="1257" y="704"/>
                    <a:pt x="1265" y="704"/>
                  </a:cubicBezTo>
                  <a:cubicBezTo>
                    <a:pt x="1265" y="704"/>
                    <a:pt x="1272" y="704"/>
                    <a:pt x="1272" y="712"/>
                  </a:cubicBezTo>
                  <a:lnTo>
                    <a:pt x="1280" y="712"/>
                  </a:lnTo>
                  <a:cubicBezTo>
                    <a:pt x="1288" y="728"/>
                    <a:pt x="1296" y="735"/>
                    <a:pt x="1296" y="743"/>
                  </a:cubicBezTo>
                  <a:cubicBezTo>
                    <a:pt x="1296" y="751"/>
                    <a:pt x="1296" y="751"/>
                    <a:pt x="1288" y="759"/>
                  </a:cubicBezTo>
                  <a:cubicBezTo>
                    <a:pt x="1280" y="767"/>
                    <a:pt x="1280" y="775"/>
                    <a:pt x="1272" y="775"/>
                  </a:cubicBezTo>
                  <a:cubicBezTo>
                    <a:pt x="1257" y="791"/>
                    <a:pt x="1249" y="799"/>
                    <a:pt x="1249" y="806"/>
                  </a:cubicBezTo>
                  <a:cubicBezTo>
                    <a:pt x="1257" y="822"/>
                    <a:pt x="1257" y="830"/>
                    <a:pt x="1257" y="830"/>
                  </a:cubicBezTo>
                  <a:cubicBezTo>
                    <a:pt x="1265" y="830"/>
                    <a:pt x="1265" y="822"/>
                    <a:pt x="1265" y="822"/>
                  </a:cubicBezTo>
                  <a:cubicBezTo>
                    <a:pt x="1265" y="815"/>
                    <a:pt x="1272" y="815"/>
                    <a:pt x="1272" y="806"/>
                  </a:cubicBezTo>
                  <a:cubicBezTo>
                    <a:pt x="1280" y="791"/>
                    <a:pt x="1288" y="783"/>
                    <a:pt x="1304" y="767"/>
                  </a:cubicBezTo>
                  <a:cubicBezTo>
                    <a:pt x="1312" y="767"/>
                    <a:pt x="1312" y="767"/>
                    <a:pt x="1320" y="759"/>
                  </a:cubicBezTo>
                  <a:cubicBezTo>
                    <a:pt x="1336" y="751"/>
                    <a:pt x="1359" y="743"/>
                    <a:pt x="1359" y="735"/>
                  </a:cubicBezTo>
                  <a:cubicBezTo>
                    <a:pt x="1359" y="712"/>
                    <a:pt x="1367" y="656"/>
                    <a:pt x="1423" y="648"/>
                  </a:cubicBezTo>
                  <a:cubicBezTo>
                    <a:pt x="1454" y="648"/>
                    <a:pt x="1470" y="640"/>
                    <a:pt x="1486" y="640"/>
                  </a:cubicBezTo>
                  <a:cubicBezTo>
                    <a:pt x="1502" y="640"/>
                    <a:pt x="1510" y="633"/>
                    <a:pt x="1533" y="633"/>
                  </a:cubicBezTo>
                  <a:cubicBezTo>
                    <a:pt x="1541" y="633"/>
                    <a:pt x="1541" y="633"/>
                    <a:pt x="1541" y="633"/>
                  </a:cubicBezTo>
                  <a:cubicBezTo>
                    <a:pt x="1573" y="633"/>
                    <a:pt x="1589" y="633"/>
                    <a:pt x="1589" y="601"/>
                  </a:cubicBezTo>
                  <a:cubicBezTo>
                    <a:pt x="1596" y="577"/>
                    <a:pt x="1605" y="562"/>
                    <a:pt x="1636" y="562"/>
                  </a:cubicBezTo>
                  <a:cubicBezTo>
                    <a:pt x="1644" y="562"/>
                    <a:pt x="1652" y="562"/>
                    <a:pt x="1652" y="562"/>
                  </a:cubicBezTo>
                  <a:cubicBezTo>
                    <a:pt x="1652" y="562"/>
                    <a:pt x="1652" y="562"/>
                    <a:pt x="1660" y="562"/>
                  </a:cubicBezTo>
                  <a:cubicBezTo>
                    <a:pt x="1668" y="562"/>
                    <a:pt x="1668" y="562"/>
                    <a:pt x="1676" y="562"/>
                  </a:cubicBezTo>
                  <a:cubicBezTo>
                    <a:pt x="1676" y="562"/>
                    <a:pt x="1683" y="562"/>
                    <a:pt x="1691" y="562"/>
                  </a:cubicBezTo>
                  <a:cubicBezTo>
                    <a:pt x="1707" y="562"/>
                    <a:pt x="1715" y="569"/>
                    <a:pt x="1731" y="569"/>
                  </a:cubicBezTo>
                  <a:cubicBezTo>
                    <a:pt x="1739" y="569"/>
                    <a:pt x="1739" y="577"/>
                    <a:pt x="1747" y="577"/>
                  </a:cubicBezTo>
                  <a:cubicBezTo>
                    <a:pt x="1755" y="577"/>
                    <a:pt x="1763" y="577"/>
                    <a:pt x="1763" y="577"/>
                  </a:cubicBezTo>
                  <a:cubicBezTo>
                    <a:pt x="1778" y="585"/>
                    <a:pt x="1786" y="585"/>
                    <a:pt x="1818" y="601"/>
                  </a:cubicBezTo>
                  <a:cubicBezTo>
                    <a:pt x="1826" y="617"/>
                    <a:pt x="1834" y="625"/>
                    <a:pt x="1842" y="625"/>
                  </a:cubicBezTo>
                  <a:cubicBezTo>
                    <a:pt x="1849" y="640"/>
                    <a:pt x="1849" y="640"/>
                    <a:pt x="1858" y="640"/>
                  </a:cubicBezTo>
                  <a:cubicBezTo>
                    <a:pt x="1858" y="640"/>
                    <a:pt x="1865" y="640"/>
                    <a:pt x="1873" y="640"/>
                  </a:cubicBezTo>
                  <a:cubicBezTo>
                    <a:pt x="1881" y="633"/>
                    <a:pt x="1881" y="625"/>
                    <a:pt x="1889" y="609"/>
                  </a:cubicBezTo>
                  <a:cubicBezTo>
                    <a:pt x="1889" y="601"/>
                    <a:pt x="1889" y="593"/>
                    <a:pt x="1889" y="585"/>
                  </a:cubicBezTo>
                  <a:cubicBezTo>
                    <a:pt x="1905" y="562"/>
                    <a:pt x="1921" y="553"/>
                    <a:pt x="1944" y="569"/>
                  </a:cubicBezTo>
                  <a:cubicBezTo>
                    <a:pt x="1952" y="569"/>
                    <a:pt x="1984" y="569"/>
                    <a:pt x="1992" y="569"/>
                  </a:cubicBezTo>
                  <a:cubicBezTo>
                    <a:pt x="2000" y="569"/>
                    <a:pt x="2016" y="569"/>
                    <a:pt x="2031" y="569"/>
                  </a:cubicBezTo>
                  <a:cubicBezTo>
                    <a:pt x="2039" y="569"/>
                    <a:pt x="2055" y="569"/>
                    <a:pt x="2063" y="569"/>
                  </a:cubicBezTo>
                  <a:cubicBezTo>
                    <a:pt x="2071" y="569"/>
                    <a:pt x="2071" y="569"/>
                    <a:pt x="2079" y="569"/>
                  </a:cubicBezTo>
                  <a:cubicBezTo>
                    <a:pt x="2079" y="569"/>
                    <a:pt x="2087" y="569"/>
                    <a:pt x="2095" y="569"/>
                  </a:cubicBezTo>
                  <a:cubicBezTo>
                    <a:pt x="2110" y="569"/>
                    <a:pt x="2126" y="569"/>
                    <a:pt x="2134" y="569"/>
                  </a:cubicBezTo>
                  <a:cubicBezTo>
                    <a:pt x="2142" y="569"/>
                    <a:pt x="2142" y="569"/>
                    <a:pt x="2142" y="569"/>
                  </a:cubicBezTo>
                  <a:cubicBezTo>
                    <a:pt x="2142" y="562"/>
                    <a:pt x="2150" y="562"/>
                    <a:pt x="2166" y="562"/>
                  </a:cubicBezTo>
                  <a:cubicBezTo>
                    <a:pt x="2182" y="562"/>
                    <a:pt x="2189" y="562"/>
                    <a:pt x="2205" y="569"/>
                  </a:cubicBezTo>
                  <a:cubicBezTo>
                    <a:pt x="2205" y="569"/>
                    <a:pt x="2213" y="569"/>
                    <a:pt x="2229" y="569"/>
                  </a:cubicBezTo>
                  <a:lnTo>
                    <a:pt x="2237" y="569"/>
                  </a:lnTo>
                  <a:cubicBezTo>
                    <a:pt x="2253" y="569"/>
                    <a:pt x="2253" y="562"/>
                    <a:pt x="2261" y="553"/>
                  </a:cubicBezTo>
                  <a:lnTo>
                    <a:pt x="2261" y="546"/>
                  </a:lnTo>
                  <a:cubicBezTo>
                    <a:pt x="2261" y="538"/>
                    <a:pt x="2261" y="514"/>
                    <a:pt x="2253" y="506"/>
                  </a:cubicBezTo>
                  <a:cubicBezTo>
                    <a:pt x="2253" y="498"/>
                    <a:pt x="2245" y="498"/>
                    <a:pt x="2245" y="498"/>
                  </a:cubicBezTo>
                  <a:cubicBezTo>
                    <a:pt x="2229" y="498"/>
                    <a:pt x="2229" y="498"/>
                    <a:pt x="2205" y="514"/>
                  </a:cubicBezTo>
                  <a:cubicBezTo>
                    <a:pt x="2205" y="522"/>
                    <a:pt x="2197" y="530"/>
                    <a:pt x="2197" y="530"/>
                  </a:cubicBezTo>
                  <a:cubicBezTo>
                    <a:pt x="2189" y="538"/>
                    <a:pt x="2182" y="546"/>
                    <a:pt x="2174" y="546"/>
                  </a:cubicBezTo>
                  <a:cubicBezTo>
                    <a:pt x="2166" y="546"/>
                    <a:pt x="2166" y="546"/>
                    <a:pt x="2158" y="538"/>
                  </a:cubicBezTo>
                  <a:cubicBezTo>
                    <a:pt x="2150" y="538"/>
                    <a:pt x="2150" y="530"/>
                    <a:pt x="2142" y="530"/>
                  </a:cubicBezTo>
                  <a:cubicBezTo>
                    <a:pt x="2142" y="522"/>
                    <a:pt x="2134" y="522"/>
                    <a:pt x="2134" y="522"/>
                  </a:cubicBezTo>
                  <a:cubicBezTo>
                    <a:pt x="2126" y="522"/>
                    <a:pt x="2102" y="506"/>
                    <a:pt x="2079" y="490"/>
                  </a:cubicBezTo>
                  <a:cubicBezTo>
                    <a:pt x="2079" y="482"/>
                    <a:pt x="2071" y="482"/>
                    <a:pt x="2063" y="475"/>
                  </a:cubicBezTo>
                  <a:cubicBezTo>
                    <a:pt x="2063" y="475"/>
                    <a:pt x="2063" y="475"/>
                    <a:pt x="2055" y="467"/>
                  </a:cubicBezTo>
                  <a:cubicBezTo>
                    <a:pt x="2039" y="459"/>
                    <a:pt x="2031" y="451"/>
                    <a:pt x="2031" y="427"/>
                  </a:cubicBezTo>
                  <a:cubicBezTo>
                    <a:pt x="2031" y="419"/>
                    <a:pt x="2031" y="411"/>
                    <a:pt x="2023" y="403"/>
                  </a:cubicBezTo>
                  <a:cubicBezTo>
                    <a:pt x="2023" y="380"/>
                    <a:pt x="2023" y="356"/>
                    <a:pt x="2008" y="356"/>
                  </a:cubicBezTo>
                  <a:cubicBezTo>
                    <a:pt x="2000" y="356"/>
                    <a:pt x="2000" y="356"/>
                    <a:pt x="1992" y="356"/>
                  </a:cubicBezTo>
                  <a:cubicBezTo>
                    <a:pt x="1968" y="356"/>
                    <a:pt x="1952" y="364"/>
                    <a:pt x="1936" y="372"/>
                  </a:cubicBezTo>
                  <a:cubicBezTo>
                    <a:pt x="1929" y="372"/>
                    <a:pt x="1921" y="372"/>
                    <a:pt x="1913" y="372"/>
                  </a:cubicBezTo>
                  <a:cubicBezTo>
                    <a:pt x="1889" y="372"/>
                    <a:pt x="1865" y="372"/>
                    <a:pt x="1858" y="364"/>
                  </a:cubicBezTo>
                  <a:cubicBezTo>
                    <a:pt x="1858" y="364"/>
                    <a:pt x="1849" y="364"/>
                    <a:pt x="1834" y="364"/>
                  </a:cubicBezTo>
                  <a:cubicBezTo>
                    <a:pt x="1826" y="364"/>
                    <a:pt x="1810" y="364"/>
                    <a:pt x="1802" y="364"/>
                  </a:cubicBezTo>
                  <a:cubicBezTo>
                    <a:pt x="1778" y="364"/>
                    <a:pt x="1770" y="356"/>
                    <a:pt x="1763" y="348"/>
                  </a:cubicBezTo>
                  <a:cubicBezTo>
                    <a:pt x="1747" y="340"/>
                    <a:pt x="1747" y="324"/>
                    <a:pt x="1747" y="285"/>
                  </a:cubicBezTo>
                  <a:cubicBezTo>
                    <a:pt x="1747" y="269"/>
                    <a:pt x="1747" y="261"/>
                    <a:pt x="1747" y="245"/>
                  </a:cubicBezTo>
                  <a:cubicBezTo>
                    <a:pt x="1747" y="237"/>
                    <a:pt x="1747" y="229"/>
                    <a:pt x="1747" y="229"/>
                  </a:cubicBezTo>
                  <a:cubicBezTo>
                    <a:pt x="1747" y="229"/>
                    <a:pt x="1739" y="229"/>
                    <a:pt x="1731" y="229"/>
                  </a:cubicBezTo>
                  <a:cubicBezTo>
                    <a:pt x="1707" y="229"/>
                    <a:pt x="1676" y="245"/>
                    <a:pt x="1652" y="261"/>
                  </a:cubicBezTo>
                  <a:cubicBezTo>
                    <a:pt x="1644" y="261"/>
                    <a:pt x="1644" y="261"/>
                    <a:pt x="1644" y="261"/>
                  </a:cubicBezTo>
                  <a:cubicBezTo>
                    <a:pt x="1644" y="269"/>
                    <a:pt x="1636" y="269"/>
                    <a:pt x="1636" y="269"/>
                  </a:cubicBezTo>
                  <a:cubicBezTo>
                    <a:pt x="1612" y="285"/>
                    <a:pt x="1581" y="301"/>
                    <a:pt x="1541" y="301"/>
                  </a:cubicBezTo>
                  <a:cubicBezTo>
                    <a:pt x="1525" y="301"/>
                    <a:pt x="1518" y="301"/>
                    <a:pt x="1510" y="301"/>
                  </a:cubicBezTo>
                  <a:cubicBezTo>
                    <a:pt x="1510" y="301"/>
                    <a:pt x="1502" y="293"/>
                    <a:pt x="1494" y="293"/>
                  </a:cubicBezTo>
                  <a:cubicBezTo>
                    <a:pt x="1423" y="293"/>
                    <a:pt x="1328" y="340"/>
                    <a:pt x="1304" y="380"/>
                  </a:cubicBezTo>
                  <a:cubicBezTo>
                    <a:pt x="1272" y="419"/>
                    <a:pt x="1257" y="443"/>
                    <a:pt x="1225" y="443"/>
                  </a:cubicBezTo>
                  <a:cubicBezTo>
                    <a:pt x="1217" y="443"/>
                    <a:pt x="1209" y="443"/>
                    <a:pt x="1201" y="443"/>
                  </a:cubicBezTo>
                  <a:cubicBezTo>
                    <a:pt x="1193" y="443"/>
                    <a:pt x="1185" y="443"/>
                    <a:pt x="1178" y="443"/>
                  </a:cubicBezTo>
                  <a:cubicBezTo>
                    <a:pt x="1154" y="443"/>
                    <a:pt x="1138" y="443"/>
                    <a:pt x="1138" y="427"/>
                  </a:cubicBezTo>
                  <a:cubicBezTo>
                    <a:pt x="1138" y="411"/>
                    <a:pt x="1130" y="403"/>
                    <a:pt x="1122" y="403"/>
                  </a:cubicBezTo>
                  <a:cubicBezTo>
                    <a:pt x="1114" y="403"/>
                    <a:pt x="1114" y="403"/>
                    <a:pt x="1106" y="411"/>
                  </a:cubicBezTo>
                  <a:cubicBezTo>
                    <a:pt x="1099" y="411"/>
                    <a:pt x="1090" y="419"/>
                    <a:pt x="1083" y="419"/>
                  </a:cubicBezTo>
                  <a:cubicBezTo>
                    <a:pt x="1067" y="435"/>
                    <a:pt x="1051" y="443"/>
                    <a:pt x="1035" y="443"/>
                  </a:cubicBezTo>
                  <a:cubicBezTo>
                    <a:pt x="1027" y="443"/>
                    <a:pt x="1027" y="443"/>
                    <a:pt x="1019" y="443"/>
                  </a:cubicBezTo>
                  <a:cubicBezTo>
                    <a:pt x="1019" y="443"/>
                    <a:pt x="1019" y="435"/>
                    <a:pt x="1012" y="435"/>
                  </a:cubicBezTo>
                  <a:cubicBezTo>
                    <a:pt x="988" y="427"/>
                    <a:pt x="956" y="411"/>
                    <a:pt x="940" y="372"/>
                  </a:cubicBezTo>
                  <a:cubicBezTo>
                    <a:pt x="925" y="348"/>
                    <a:pt x="893" y="324"/>
                    <a:pt x="869" y="309"/>
                  </a:cubicBezTo>
                  <a:cubicBezTo>
                    <a:pt x="853" y="301"/>
                    <a:pt x="846" y="293"/>
                    <a:pt x="838" y="285"/>
                  </a:cubicBezTo>
                  <a:cubicBezTo>
                    <a:pt x="822" y="269"/>
                    <a:pt x="782" y="261"/>
                    <a:pt x="759" y="261"/>
                  </a:cubicBezTo>
                  <a:cubicBezTo>
                    <a:pt x="751" y="261"/>
                    <a:pt x="743" y="261"/>
                    <a:pt x="735" y="269"/>
                  </a:cubicBezTo>
                  <a:cubicBezTo>
                    <a:pt x="727" y="269"/>
                    <a:pt x="719" y="269"/>
                    <a:pt x="711" y="277"/>
                  </a:cubicBezTo>
                  <a:cubicBezTo>
                    <a:pt x="687" y="277"/>
                    <a:pt x="664" y="285"/>
                    <a:pt x="656" y="301"/>
                  </a:cubicBezTo>
                  <a:cubicBezTo>
                    <a:pt x="656" y="309"/>
                    <a:pt x="648" y="316"/>
                    <a:pt x="648" y="324"/>
                  </a:cubicBezTo>
                  <a:cubicBezTo>
                    <a:pt x="640" y="340"/>
                    <a:pt x="640" y="348"/>
                    <a:pt x="632" y="348"/>
                  </a:cubicBezTo>
                  <a:cubicBezTo>
                    <a:pt x="632" y="348"/>
                    <a:pt x="624" y="340"/>
                    <a:pt x="624" y="332"/>
                  </a:cubicBezTo>
                  <a:cubicBezTo>
                    <a:pt x="624" y="324"/>
                    <a:pt x="624" y="316"/>
                    <a:pt x="616" y="309"/>
                  </a:cubicBezTo>
                  <a:cubicBezTo>
                    <a:pt x="616" y="293"/>
                    <a:pt x="608" y="269"/>
                    <a:pt x="624" y="245"/>
                  </a:cubicBezTo>
                  <a:cubicBezTo>
                    <a:pt x="640" y="229"/>
                    <a:pt x="648" y="214"/>
                    <a:pt x="656" y="198"/>
                  </a:cubicBezTo>
                  <a:cubicBezTo>
                    <a:pt x="672" y="174"/>
                    <a:pt x="679" y="150"/>
                    <a:pt x="703" y="135"/>
                  </a:cubicBezTo>
                  <a:cubicBezTo>
                    <a:pt x="727" y="111"/>
                    <a:pt x="735" y="87"/>
                    <a:pt x="751" y="79"/>
                  </a:cubicBezTo>
                  <a:cubicBezTo>
                    <a:pt x="751" y="71"/>
                    <a:pt x="759" y="63"/>
                    <a:pt x="759" y="56"/>
                  </a:cubicBezTo>
                  <a:lnTo>
                    <a:pt x="766" y="56"/>
                  </a:lnTo>
                  <a:cubicBezTo>
                    <a:pt x="766" y="48"/>
                    <a:pt x="774" y="48"/>
                    <a:pt x="798" y="40"/>
                  </a:cubicBezTo>
                  <a:cubicBezTo>
                    <a:pt x="814" y="40"/>
                    <a:pt x="830" y="40"/>
                    <a:pt x="830" y="32"/>
                  </a:cubicBezTo>
                  <a:cubicBezTo>
                    <a:pt x="830" y="24"/>
                    <a:pt x="830" y="24"/>
                    <a:pt x="822" y="16"/>
                  </a:cubicBezTo>
                  <a:cubicBezTo>
                    <a:pt x="814" y="8"/>
                    <a:pt x="790" y="8"/>
                    <a:pt x="766" y="8"/>
                  </a:cubicBezTo>
                  <a:cubicBezTo>
                    <a:pt x="727" y="8"/>
                    <a:pt x="695" y="16"/>
                    <a:pt x="679" y="24"/>
                  </a:cubicBezTo>
                  <a:cubicBezTo>
                    <a:pt x="672" y="32"/>
                    <a:pt x="672" y="32"/>
                    <a:pt x="672" y="32"/>
                  </a:cubicBezTo>
                  <a:cubicBezTo>
                    <a:pt x="640" y="56"/>
                    <a:pt x="593" y="79"/>
                    <a:pt x="577" y="111"/>
                  </a:cubicBezTo>
                  <a:cubicBezTo>
                    <a:pt x="569" y="127"/>
                    <a:pt x="569" y="142"/>
                    <a:pt x="561" y="150"/>
                  </a:cubicBezTo>
                  <a:cubicBezTo>
                    <a:pt x="561" y="158"/>
                    <a:pt x="561" y="166"/>
                    <a:pt x="561" y="174"/>
                  </a:cubicBezTo>
                  <a:cubicBezTo>
                    <a:pt x="553" y="174"/>
                    <a:pt x="553" y="182"/>
                    <a:pt x="545" y="182"/>
                  </a:cubicBezTo>
                  <a:cubicBezTo>
                    <a:pt x="545" y="182"/>
                    <a:pt x="537" y="174"/>
                    <a:pt x="537" y="158"/>
                  </a:cubicBezTo>
                  <a:cubicBezTo>
                    <a:pt x="529" y="158"/>
                    <a:pt x="529" y="150"/>
                    <a:pt x="529" y="150"/>
                  </a:cubicBezTo>
                  <a:lnTo>
                    <a:pt x="529" y="142"/>
                  </a:lnTo>
                  <a:cubicBezTo>
                    <a:pt x="529" y="142"/>
                    <a:pt x="529" y="150"/>
                    <a:pt x="521" y="150"/>
                  </a:cubicBezTo>
                  <a:cubicBezTo>
                    <a:pt x="521" y="158"/>
                    <a:pt x="513" y="166"/>
                    <a:pt x="506" y="174"/>
                  </a:cubicBezTo>
                  <a:cubicBezTo>
                    <a:pt x="490" y="190"/>
                    <a:pt x="482" y="206"/>
                    <a:pt x="474" y="214"/>
                  </a:cubicBezTo>
                  <a:cubicBezTo>
                    <a:pt x="466" y="222"/>
                    <a:pt x="466" y="229"/>
                    <a:pt x="466" y="229"/>
                  </a:cubicBezTo>
                  <a:cubicBezTo>
                    <a:pt x="466" y="237"/>
                    <a:pt x="466" y="245"/>
                    <a:pt x="442" y="261"/>
                  </a:cubicBezTo>
                  <a:cubicBezTo>
                    <a:pt x="435" y="261"/>
                    <a:pt x="426" y="261"/>
                    <a:pt x="426" y="269"/>
                  </a:cubicBezTo>
                  <a:cubicBezTo>
                    <a:pt x="387" y="285"/>
                    <a:pt x="355" y="301"/>
                    <a:pt x="332" y="324"/>
                  </a:cubicBezTo>
                  <a:cubicBezTo>
                    <a:pt x="324" y="324"/>
                    <a:pt x="324" y="332"/>
                    <a:pt x="316" y="332"/>
                  </a:cubicBezTo>
                  <a:cubicBezTo>
                    <a:pt x="300" y="348"/>
                    <a:pt x="300" y="348"/>
                    <a:pt x="284" y="348"/>
                  </a:cubicBezTo>
                  <a:lnTo>
                    <a:pt x="276" y="348"/>
                  </a:lnTo>
                  <a:cubicBezTo>
                    <a:pt x="268" y="348"/>
                    <a:pt x="268" y="348"/>
                    <a:pt x="260" y="348"/>
                  </a:cubicBezTo>
                  <a:cubicBezTo>
                    <a:pt x="237" y="348"/>
                    <a:pt x="221" y="348"/>
                    <a:pt x="205" y="356"/>
                  </a:cubicBezTo>
                  <a:cubicBezTo>
                    <a:pt x="182" y="372"/>
                    <a:pt x="110" y="411"/>
                    <a:pt x="87" y="451"/>
                  </a:cubicBezTo>
                  <a:cubicBezTo>
                    <a:pt x="63" y="482"/>
                    <a:pt x="47" y="490"/>
                    <a:pt x="15" y="490"/>
                  </a:cubicBezTo>
                  <a:cubicBezTo>
                    <a:pt x="23" y="498"/>
                    <a:pt x="31" y="506"/>
                    <a:pt x="31" y="506"/>
                  </a:cubicBezTo>
                  <a:cubicBezTo>
                    <a:pt x="55" y="522"/>
                    <a:pt x="79" y="553"/>
                    <a:pt x="87" y="569"/>
                  </a:cubicBezTo>
                  <a:cubicBezTo>
                    <a:pt x="95" y="577"/>
                    <a:pt x="95" y="585"/>
                    <a:pt x="102" y="585"/>
                  </a:cubicBezTo>
                  <a:lnTo>
                    <a:pt x="102" y="585"/>
                  </a:lnTo>
                  <a:cubicBezTo>
                    <a:pt x="110" y="601"/>
                    <a:pt x="126" y="625"/>
                    <a:pt x="197" y="625"/>
                  </a:cubicBezTo>
                  <a:cubicBezTo>
                    <a:pt x="268" y="625"/>
                    <a:pt x="466" y="640"/>
                    <a:pt x="506" y="680"/>
                  </a:cubicBezTo>
                  <a:cubicBezTo>
                    <a:pt x="506" y="680"/>
                    <a:pt x="513" y="688"/>
                    <a:pt x="513" y="696"/>
                  </a:cubicBezTo>
                  <a:cubicBezTo>
                    <a:pt x="529" y="704"/>
                    <a:pt x="537" y="712"/>
                    <a:pt x="553" y="712"/>
                  </a:cubicBezTo>
                  <a:cubicBezTo>
                    <a:pt x="561" y="712"/>
                    <a:pt x="569" y="712"/>
                    <a:pt x="585" y="704"/>
                  </a:cubicBezTo>
                  <a:cubicBezTo>
                    <a:pt x="600" y="704"/>
                    <a:pt x="616" y="696"/>
                    <a:pt x="632" y="696"/>
                  </a:cubicBezTo>
                  <a:cubicBezTo>
                    <a:pt x="640" y="688"/>
                    <a:pt x="648" y="680"/>
                    <a:pt x="664" y="680"/>
                  </a:cubicBezTo>
                  <a:lnTo>
                    <a:pt x="988" y="1115"/>
                  </a:lnTo>
                </a:path>
              </a:pathLst>
            </a:custGeom>
            <a:solidFill>
              <a:schemeClr val="accent6"/>
            </a:solidFill>
            <a:ln>
              <a:solidFill>
                <a:schemeClr val="bg2"/>
              </a:solidFill>
            </a:ln>
            <a:effectLst/>
          </p:spPr>
          <p:txBody>
            <a:bodyPr wrap="none" anchor="ctr"/>
            <a:lstStyle/>
            <a:p>
              <a:endParaRPr lang="en-US"/>
            </a:p>
          </p:txBody>
        </p:sp>
        <p:sp>
          <p:nvSpPr>
            <p:cNvPr id="75" name="Freeform 668"/>
            <p:cNvSpPr>
              <a:spLocks noChangeArrowheads="1"/>
            </p:cNvSpPr>
            <p:nvPr/>
          </p:nvSpPr>
          <p:spPr bwMode="auto">
            <a:xfrm>
              <a:off x="4595897" y="2358275"/>
              <a:ext cx="710838" cy="651376"/>
            </a:xfrm>
            <a:custGeom>
              <a:avLst/>
              <a:gdLst>
                <a:gd name="T0" fmla="*/ 538 w 1970"/>
                <a:gd name="T1" fmla="*/ 48 h 2088"/>
                <a:gd name="T2" fmla="*/ 332 w 1970"/>
                <a:gd name="T3" fmla="*/ 143 h 2088"/>
                <a:gd name="T4" fmla="*/ 245 w 1970"/>
                <a:gd name="T5" fmla="*/ 111 h 2088"/>
                <a:gd name="T6" fmla="*/ 174 w 1970"/>
                <a:gd name="T7" fmla="*/ 182 h 2088"/>
                <a:gd name="T8" fmla="*/ 206 w 1970"/>
                <a:gd name="T9" fmla="*/ 395 h 2088"/>
                <a:gd name="T10" fmla="*/ 32 w 1970"/>
                <a:gd name="T11" fmla="*/ 585 h 2088"/>
                <a:gd name="T12" fmla="*/ 32 w 1970"/>
                <a:gd name="T13" fmla="*/ 688 h 2088"/>
                <a:gd name="T14" fmla="*/ 71 w 1970"/>
                <a:gd name="T15" fmla="*/ 815 h 2088"/>
                <a:gd name="T16" fmla="*/ 64 w 1970"/>
                <a:gd name="T17" fmla="*/ 917 h 2088"/>
                <a:gd name="T18" fmla="*/ 55 w 1970"/>
                <a:gd name="T19" fmla="*/ 965 h 2088"/>
                <a:gd name="T20" fmla="*/ 87 w 1970"/>
                <a:gd name="T21" fmla="*/ 1091 h 2088"/>
                <a:gd name="T22" fmla="*/ 237 w 1970"/>
                <a:gd name="T23" fmla="*/ 1194 h 2088"/>
                <a:gd name="T24" fmla="*/ 348 w 1970"/>
                <a:gd name="T25" fmla="*/ 1233 h 2088"/>
                <a:gd name="T26" fmla="*/ 601 w 1970"/>
                <a:gd name="T27" fmla="*/ 1518 h 2088"/>
                <a:gd name="T28" fmla="*/ 625 w 1970"/>
                <a:gd name="T29" fmla="*/ 1629 h 2088"/>
                <a:gd name="T30" fmla="*/ 664 w 1970"/>
                <a:gd name="T31" fmla="*/ 1708 h 2088"/>
                <a:gd name="T32" fmla="*/ 664 w 1970"/>
                <a:gd name="T33" fmla="*/ 1874 h 2088"/>
                <a:gd name="T34" fmla="*/ 704 w 1970"/>
                <a:gd name="T35" fmla="*/ 1945 h 2088"/>
                <a:gd name="T36" fmla="*/ 735 w 1970"/>
                <a:gd name="T37" fmla="*/ 2008 h 2088"/>
                <a:gd name="T38" fmla="*/ 838 w 1970"/>
                <a:gd name="T39" fmla="*/ 2048 h 2088"/>
                <a:gd name="T40" fmla="*/ 1803 w 1970"/>
                <a:gd name="T41" fmla="*/ 1803 h 2088"/>
                <a:gd name="T42" fmla="*/ 1795 w 1970"/>
                <a:gd name="T43" fmla="*/ 1486 h 2088"/>
                <a:gd name="T44" fmla="*/ 1850 w 1970"/>
                <a:gd name="T45" fmla="*/ 1170 h 2088"/>
                <a:gd name="T46" fmla="*/ 1889 w 1970"/>
                <a:gd name="T47" fmla="*/ 917 h 2088"/>
                <a:gd name="T48" fmla="*/ 1929 w 1970"/>
                <a:gd name="T49" fmla="*/ 806 h 2088"/>
                <a:gd name="T50" fmla="*/ 1961 w 1970"/>
                <a:gd name="T51" fmla="*/ 712 h 2088"/>
                <a:gd name="T52" fmla="*/ 1961 w 1970"/>
                <a:gd name="T53" fmla="*/ 672 h 2088"/>
                <a:gd name="T54" fmla="*/ 1882 w 1970"/>
                <a:gd name="T55" fmla="*/ 783 h 2088"/>
                <a:gd name="T56" fmla="*/ 1850 w 1970"/>
                <a:gd name="T57" fmla="*/ 886 h 2088"/>
                <a:gd name="T58" fmla="*/ 1818 w 1970"/>
                <a:gd name="T59" fmla="*/ 886 h 2088"/>
                <a:gd name="T60" fmla="*/ 1771 w 1970"/>
                <a:gd name="T61" fmla="*/ 965 h 2088"/>
                <a:gd name="T62" fmla="*/ 1692 w 1970"/>
                <a:gd name="T63" fmla="*/ 1052 h 2088"/>
                <a:gd name="T64" fmla="*/ 1668 w 1970"/>
                <a:gd name="T65" fmla="*/ 1052 h 2088"/>
                <a:gd name="T66" fmla="*/ 1716 w 1970"/>
                <a:gd name="T67" fmla="*/ 894 h 2088"/>
                <a:gd name="T68" fmla="*/ 1779 w 1970"/>
                <a:gd name="T69" fmla="*/ 806 h 2088"/>
                <a:gd name="T70" fmla="*/ 1739 w 1970"/>
                <a:gd name="T71" fmla="*/ 712 h 2088"/>
                <a:gd name="T72" fmla="*/ 1684 w 1970"/>
                <a:gd name="T73" fmla="*/ 672 h 2088"/>
                <a:gd name="T74" fmla="*/ 1684 w 1970"/>
                <a:gd name="T75" fmla="*/ 569 h 2088"/>
                <a:gd name="T76" fmla="*/ 1581 w 1970"/>
                <a:gd name="T77" fmla="*/ 411 h 2088"/>
                <a:gd name="T78" fmla="*/ 1431 w 1970"/>
                <a:gd name="T79" fmla="*/ 372 h 2088"/>
                <a:gd name="T80" fmla="*/ 1352 w 1970"/>
                <a:gd name="T81" fmla="*/ 395 h 2088"/>
                <a:gd name="T82" fmla="*/ 1297 w 1970"/>
                <a:gd name="T83" fmla="*/ 356 h 2088"/>
                <a:gd name="T84" fmla="*/ 886 w 1970"/>
                <a:gd name="T85" fmla="*/ 253 h 2088"/>
                <a:gd name="T86" fmla="*/ 814 w 1970"/>
                <a:gd name="T87" fmla="*/ 174 h 2088"/>
                <a:gd name="T88" fmla="*/ 799 w 1970"/>
                <a:gd name="T89" fmla="*/ 166 h 2088"/>
                <a:gd name="T90" fmla="*/ 719 w 1970"/>
                <a:gd name="T91" fmla="*/ 127 h 2088"/>
                <a:gd name="T92" fmla="*/ 641 w 1970"/>
                <a:gd name="T93" fmla="*/ 166 h 2088"/>
                <a:gd name="T94" fmla="*/ 648 w 1970"/>
                <a:gd name="T95" fmla="*/ 64 h 2088"/>
                <a:gd name="T96" fmla="*/ 664 w 1970"/>
                <a:gd name="T97" fmla="*/ 0 h 2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70" h="2088">
                  <a:moveTo>
                    <a:pt x="656" y="0"/>
                  </a:moveTo>
                  <a:lnTo>
                    <a:pt x="656" y="0"/>
                  </a:lnTo>
                  <a:cubicBezTo>
                    <a:pt x="625" y="0"/>
                    <a:pt x="585" y="16"/>
                    <a:pt x="585" y="24"/>
                  </a:cubicBezTo>
                  <a:cubicBezTo>
                    <a:pt x="577" y="32"/>
                    <a:pt x="561" y="40"/>
                    <a:pt x="538" y="48"/>
                  </a:cubicBezTo>
                  <a:cubicBezTo>
                    <a:pt x="522" y="56"/>
                    <a:pt x="498" y="64"/>
                    <a:pt x="490" y="71"/>
                  </a:cubicBezTo>
                  <a:cubicBezTo>
                    <a:pt x="482" y="71"/>
                    <a:pt x="475" y="79"/>
                    <a:pt x="466" y="87"/>
                  </a:cubicBezTo>
                  <a:cubicBezTo>
                    <a:pt x="451" y="95"/>
                    <a:pt x="419" y="119"/>
                    <a:pt x="388" y="119"/>
                  </a:cubicBezTo>
                  <a:cubicBezTo>
                    <a:pt x="364" y="127"/>
                    <a:pt x="340" y="135"/>
                    <a:pt x="332" y="143"/>
                  </a:cubicBezTo>
                  <a:cubicBezTo>
                    <a:pt x="316" y="151"/>
                    <a:pt x="308" y="151"/>
                    <a:pt x="293" y="151"/>
                  </a:cubicBezTo>
                  <a:lnTo>
                    <a:pt x="285" y="151"/>
                  </a:lnTo>
                  <a:cubicBezTo>
                    <a:pt x="277" y="143"/>
                    <a:pt x="269" y="143"/>
                    <a:pt x="269" y="135"/>
                  </a:cubicBezTo>
                  <a:cubicBezTo>
                    <a:pt x="253" y="135"/>
                    <a:pt x="253" y="127"/>
                    <a:pt x="245" y="111"/>
                  </a:cubicBezTo>
                  <a:lnTo>
                    <a:pt x="245" y="111"/>
                  </a:lnTo>
                  <a:cubicBezTo>
                    <a:pt x="229" y="119"/>
                    <a:pt x="190" y="166"/>
                    <a:pt x="174" y="174"/>
                  </a:cubicBezTo>
                  <a:lnTo>
                    <a:pt x="174" y="174"/>
                  </a:lnTo>
                  <a:cubicBezTo>
                    <a:pt x="174" y="174"/>
                    <a:pt x="174" y="174"/>
                    <a:pt x="174" y="182"/>
                  </a:cubicBezTo>
                  <a:cubicBezTo>
                    <a:pt x="174" y="198"/>
                    <a:pt x="174" y="222"/>
                    <a:pt x="182" y="238"/>
                  </a:cubicBezTo>
                  <a:cubicBezTo>
                    <a:pt x="182" y="253"/>
                    <a:pt x="182" y="261"/>
                    <a:pt x="190" y="277"/>
                  </a:cubicBezTo>
                  <a:cubicBezTo>
                    <a:pt x="190" y="285"/>
                    <a:pt x="190" y="293"/>
                    <a:pt x="190" y="309"/>
                  </a:cubicBezTo>
                  <a:cubicBezTo>
                    <a:pt x="198" y="332"/>
                    <a:pt x="206" y="364"/>
                    <a:pt x="206" y="395"/>
                  </a:cubicBezTo>
                  <a:cubicBezTo>
                    <a:pt x="206" y="419"/>
                    <a:pt x="198" y="443"/>
                    <a:pt x="182" y="459"/>
                  </a:cubicBezTo>
                  <a:cubicBezTo>
                    <a:pt x="166" y="491"/>
                    <a:pt x="142" y="498"/>
                    <a:pt x="119" y="506"/>
                  </a:cubicBezTo>
                  <a:cubicBezTo>
                    <a:pt x="95" y="514"/>
                    <a:pt x="79" y="522"/>
                    <a:pt x="64" y="538"/>
                  </a:cubicBezTo>
                  <a:cubicBezTo>
                    <a:pt x="40" y="554"/>
                    <a:pt x="32" y="569"/>
                    <a:pt x="32" y="585"/>
                  </a:cubicBezTo>
                  <a:cubicBezTo>
                    <a:pt x="32" y="601"/>
                    <a:pt x="24" y="617"/>
                    <a:pt x="8" y="641"/>
                  </a:cubicBezTo>
                  <a:cubicBezTo>
                    <a:pt x="8" y="649"/>
                    <a:pt x="0" y="656"/>
                    <a:pt x="0" y="664"/>
                  </a:cubicBezTo>
                  <a:cubicBezTo>
                    <a:pt x="0" y="672"/>
                    <a:pt x="0" y="672"/>
                    <a:pt x="0" y="672"/>
                  </a:cubicBezTo>
                  <a:cubicBezTo>
                    <a:pt x="8" y="680"/>
                    <a:pt x="16" y="688"/>
                    <a:pt x="32" y="688"/>
                  </a:cubicBezTo>
                  <a:cubicBezTo>
                    <a:pt x="40" y="696"/>
                    <a:pt x="48" y="696"/>
                    <a:pt x="55" y="704"/>
                  </a:cubicBezTo>
                  <a:cubicBezTo>
                    <a:pt x="79" y="712"/>
                    <a:pt x="87" y="735"/>
                    <a:pt x="87" y="759"/>
                  </a:cubicBezTo>
                  <a:cubicBezTo>
                    <a:pt x="87" y="759"/>
                    <a:pt x="87" y="759"/>
                    <a:pt x="87" y="767"/>
                  </a:cubicBezTo>
                  <a:cubicBezTo>
                    <a:pt x="87" y="783"/>
                    <a:pt x="79" y="799"/>
                    <a:pt x="71" y="815"/>
                  </a:cubicBezTo>
                  <a:cubicBezTo>
                    <a:pt x="55" y="822"/>
                    <a:pt x="55" y="830"/>
                    <a:pt x="55" y="838"/>
                  </a:cubicBezTo>
                  <a:cubicBezTo>
                    <a:pt x="55" y="838"/>
                    <a:pt x="55" y="846"/>
                    <a:pt x="55" y="854"/>
                  </a:cubicBezTo>
                  <a:cubicBezTo>
                    <a:pt x="64" y="862"/>
                    <a:pt x="64" y="878"/>
                    <a:pt x="64" y="886"/>
                  </a:cubicBezTo>
                  <a:cubicBezTo>
                    <a:pt x="64" y="902"/>
                    <a:pt x="64" y="909"/>
                    <a:pt x="64" y="917"/>
                  </a:cubicBezTo>
                  <a:cubicBezTo>
                    <a:pt x="64" y="925"/>
                    <a:pt x="64" y="933"/>
                    <a:pt x="64" y="941"/>
                  </a:cubicBezTo>
                  <a:lnTo>
                    <a:pt x="64" y="941"/>
                  </a:lnTo>
                  <a:lnTo>
                    <a:pt x="64" y="941"/>
                  </a:lnTo>
                  <a:cubicBezTo>
                    <a:pt x="64" y="949"/>
                    <a:pt x="55" y="957"/>
                    <a:pt x="55" y="965"/>
                  </a:cubicBezTo>
                  <a:cubicBezTo>
                    <a:pt x="55" y="973"/>
                    <a:pt x="48" y="981"/>
                    <a:pt x="48" y="988"/>
                  </a:cubicBezTo>
                  <a:cubicBezTo>
                    <a:pt x="40" y="1004"/>
                    <a:pt x="40" y="1012"/>
                    <a:pt x="40" y="1020"/>
                  </a:cubicBezTo>
                  <a:cubicBezTo>
                    <a:pt x="40" y="1044"/>
                    <a:pt x="48" y="1052"/>
                    <a:pt x="64" y="1060"/>
                  </a:cubicBezTo>
                  <a:cubicBezTo>
                    <a:pt x="71" y="1068"/>
                    <a:pt x="79" y="1083"/>
                    <a:pt x="87" y="1091"/>
                  </a:cubicBezTo>
                  <a:cubicBezTo>
                    <a:pt x="95" y="1115"/>
                    <a:pt x="119" y="1123"/>
                    <a:pt x="142" y="1131"/>
                  </a:cubicBezTo>
                  <a:cubicBezTo>
                    <a:pt x="150" y="1139"/>
                    <a:pt x="158" y="1139"/>
                    <a:pt x="166" y="1146"/>
                  </a:cubicBezTo>
                  <a:cubicBezTo>
                    <a:pt x="182" y="1155"/>
                    <a:pt x="190" y="1155"/>
                    <a:pt x="198" y="1155"/>
                  </a:cubicBezTo>
                  <a:cubicBezTo>
                    <a:pt x="214" y="1162"/>
                    <a:pt x="229" y="1162"/>
                    <a:pt x="237" y="1194"/>
                  </a:cubicBezTo>
                  <a:cubicBezTo>
                    <a:pt x="237" y="1202"/>
                    <a:pt x="245" y="1202"/>
                    <a:pt x="253" y="1202"/>
                  </a:cubicBezTo>
                  <a:lnTo>
                    <a:pt x="261" y="1202"/>
                  </a:lnTo>
                  <a:cubicBezTo>
                    <a:pt x="269" y="1202"/>
                    <a:pt x="277" y="1202"/>
                    <a:pt x="277" y="1202"/>
                  </a:cubicBezTo>
                  <a:cubicBezTo>
                    <a:pt x="293" y="1202"/>
                    <a:pt x="324" y="1210"/>
                    <a:pt x="348" y="1233"/>
                  </a:cubicBezTo>
                  <a:cubicBezTo>
                    <a:pt x="372" y="1257"/>
                    <a:pt x="395" y="1281"/>
                    <a:pt x="419" y="1305"/>
                  </a:cubicBezTo>
                  <a:cubicBezTo>
                    <a:pt x="459" y="1344"/>
                    <a:pt x="490" y="1384"/>
                    <a:pt x="506" y="1384"/>
                  </a:cubicBezTo>
                  <a:cubicBezTo>
                    <a:pt x="538" y="1392"/>
                    <a:pt x="601" y="1447"/>
                    <a:pt x="601" y="1510"/>
                  </a:cubicBezTo>
                  <a:cubicBezTo>
                    <a:pt x="601" y="1518"/>
                    <a:pt x="601" y="1518"/>
                    <a:pt x="601" y="1518"/>
                  </a:cubicBezTo>
                  <a:cubicBezTo>
                    <a:pt x="593" y="1526"/>
                    <a:pt x="593" y="1526"/>
                    <a:pt x="593" y="1534"/>
                  </a:cubicBezTo>
                  <a:cubicBezTo>
                    <a:pt x="593" y="1542"/>
                    <a:pt x="601" y="1558"/>
                    <a:pt x="601" y="1573"/>
                  </a:cubicBezTo>
                  <a:cubicBezTo>
                    <a:pt x="609" y="1589"/>
                    <a:pt x="617" y="1613"/>
                    <a:pt x="625" y="1629"/>
                  </a:cubicBezTo>
                  <a:lnTo>
                    <a:pt x="625" y="1629"/>
                  </a:lnTo>
                  <a:cubicBezTo>
                    <a:pt x="625" y="1637"/>
                    <a:pt x="625" y="1637"/>
                    <a:pt x="625" y="1637"/>
                  </a:cubicBezTo>
                  <a:cubicBezTo>
                    <a:pt x="632" y="1645"/>
                    <a:pt x="632" y="1652"/>
                    <a:pt x="632" y="1652"/>
                  </a:cubicBezTo>
                  <a:cubicBezTo>
                    <a:pt x="641" y="1668"/>
                    <a:pt x="648" y="1676"/>
                    <a:pt x="648" y="1684"/>
                  </a:cubicBezTo>
                  <a:cubicBezTo>
                    <a:pt x="648" y="1700"/>
                    <a:pt x="656" y="1700"/>
                    <a:pt x="664" y="1708"/>
                  </a:cubicBezTo>
                  <a:cubicBezTo>
                    <a:pt x="680" y="1716"/>
                    <a:pt x="688" y="1716"/>
                    <a:pt x="688" y="1739"/>
                  </a:cubicBezTo>
                  <a:cubicBezTo>
                    <a:pt x="688" y="1739"/>
                    <a:pt x="688" y="1747"/>
                    <a:pt x="680" y="1755"/>
                  </a:cubicBezTo>
                  <a:cubicBezTo>
                    <a:pt x="672" y="1795"/>
                    <a:pt x="672" y="1803"/>
                    <a:pt x="664" y="1819"/>
                  </a:cubicBezTo>
                  <a:cubicBezTo>
                    <a:pt x="664" y="1834"/>
                    <a:pt x="664" y="1850"/>
                    <a:pt x="664" y="1874"/>
                  </a:cubicBezTo>
                  <a:cubicBezTo>
                    <a:pt x="656" y="1882"/>
                    <a:pt x="656" y="1890"/>
                    <a:pt x="656" y="1890"/>
                  </a:cubicBezTo>
                  <a:cubicBezTo>
                    <a:pt x="656" y="1913"/>
                    <a:pt x="664" y="1913"/>
                    <a:pt x="680" y="1913"/>
                  </a:cubicBezTo>
                  <a:cubicBezTo>
                    <a:pt x="688" y="1921"/>
                    <a:pt x="696" y="1921"/>
                    <a:pt x="704" y="1937"/>
                  </a:cubicBezTo>
                  <a:cubicBezTo>
                    <a:pt x="704" y="1945"/>
                    <a:pt x="704" y="1945"/>
                    <a:pt x="704" y="1945"/>
                  </a:cubicBezTo>
                  <a:cubicBezTo>
                    <a:pt x="704" y="1961"/>
                    <a:pt x="696" y="1969"/>
                    <a:pt x="688" y="1977"/>
                  </a:cubicBezTo>
                  <a:cubicBezTo>
                    <a:pt x="680" y="1985"/>
                    <a:pt x="680" y="1992"/>
                    <a:pt x="680" y="2000"/>
                  </a:cubicBezTo>
                  <a:lnTo>
                    <a:pt x="680" y="2000"/>
                  </a:lnTo>
                  <a:cubicBezTo>
                    <a:pt x="680" y="2008"/>
                    <a:pt x="704" y="2008"/>
                    <a:pt x="735" y="2008"/>
                  </a:cubicBezTo>
                  <a:lnTo>
                    <a:pt x="735" y="2008"/>
                  </a:lnTo>
                  <a:lnTo>
                    <a:pt x="735" y="2008"/>
                  </a:lnTo>
                  <a:lnTo>
                    <a:pt x="735" y="2008"/>
                  </a:lnTo>
                  <a:cubicBezTo>
                    <a:pt x="791" y="2008"/>
                    <a:pt x="822" y="2032"/>
                    <a:pt x="838" y="2048"/>
                  </a:cubicBezTo>
                  <a:cubicBezTo>
                    <a:pt x="854" y="2063"/>
                    <a:pt x="854" y="2079"/>
                    <a:pt x="862" y="2087"/>
                  </a:cubicBezTo>
                  <a:cubicBezTo>
                    <a:pt x="981" y="2079"/>
                    <a:pt x="1289" y="2056"/>
                    <a:pt x="1534" y="2032"/>
                  </a:cubicBezTo>
                  <a:cubicBezTo>
                    <a:pt x="1660" y="2024"/>
                    <a:pt x="1779" y="2008"/>
                    <a:pt x="1834" y="2000"/>
                  </a:cubicBezTo>
                  <a:cubicBezTo>
                    <a:pt x="1834" y="1913"/>
                    <a:pt x="1826" y="1850"/>
                    <a:pt x="1803" y="1803"/>
                  </a:cubicBezTo>
                  <a:cubicBezTo>
                    <a:pt x="1795" y="1787"/>
                    <a:pt x="1795" y="1771"/>
                    <a:pt x="1787" y="1763"/>
                  </a:cubicBezTo>
                  <a:cubicBezTo>
                    <a:pt x="1763" y="1708"/>
                    <a:pt x="1755" y="1692"/>
                    <a:pt x="1771" y="1637"/>
                  </a:cubicBezTo>
                  <a:cubicBezTo>
                    <a:pt x="1779" y="1605"/>
                    <a:pt x="1779" y="1573"/>
                    <a:pt x="1779" y="1550"/>
                  </a:cubicBezTo>
                  <a:cubicBezTo>
                    <a:pt x="1779" y="1518"/>
                    <a:pt x="1771" y="1502"/>
                    <a:pt x="1795" y="1486"/>
                  </a:cubicBezTo>
                  <a:cubicBezTo>
                    <a:pt x="1818" y="1463"/>
                    <a:pt x="1811" y="1431"/>
                    <a:pt x="1795" y="1376"/>
                  </a:cubicBezTo>
                  <a:cubicBezTo>
                    <a:pt x="1779" y="1328"/>
                    <a:pt x="1803" y="1249"/>
                    <a:pt x="1818" y="1233"/>
                  </a:cubicBezTo>
                  <a:cubicBezTo>
                    <a:pt x="1826" y="1226"/>
                    <a:pt x="1826" y="1226"/>
                    <a:pt x="1834" y="1218"/>
                  </a:cubicBezTo>
                  <a:cubicBezTo>
                    <a:pt x="1850" y="1210"/>
                    <a:pt x="1858" y="1202"/>
                    <a:pt x="1850" y="1170"/>
                  </a:cubicBezTo>
                  <a:cubicBezTo>
                    <a:pt x="1850" y="1162"/>
                    <a:pt x="1842" y="1146"/>
                    <a:pt x="1842" y="1139"/>
                  </a:cubicBezTo>
                  <a:cubicBezTo>
                    <a:pt x="1834" y="1107"/>
                    <a:pt x="1826" y="1083"/>
                    <a:pt x="1842" y="1036"/>
                  </a:cubicBezTo>
                  <a:cubicBezTo>
                    <a:pt x="1850" y="1012"/>
                    <a:pt x="1866" y="996"/>
                    <a:pt x="1874" y="981"/>
                  </a:cubicBezTo>
                  <a:cubicBezTo>
                    <a:pt x="1889" y="957"/>
                    <a:pt x="1898" y="941"/>
                    <a:pt x="1889" y="917"/>
                  </a:cubicBezTo>
                  <a:lnTo>
                    <a:pt x="1882" y="909"/>
                  </a:lnTo>
                  <a:cubicBezTo>
                    <a:pt x="1874" y="894"/>
                    <a:pt x="1874" y="894"/>
                    <a:pt x="1889" y="886"/>
                  </a:cubicBezTo>
                  <a:cubicBezTo>
                    <a:pt x="1889" y="878"/>
                    <a:pt x="1889" y="878"/>
                    <a:pt x="1898" y="870"/>
                  </a:cubicBezTo>
                  <a:cubicBezTo>
                    <a:pt x="1929" y="838"/>
                    <a:pt x="1929" y="822"/>
                    <a:pt x="1929" y="806"/>
                  </a:cubicBezTo>
                  <a:lnTo>
                    <a:pt x="1929" y="806"/>
                  </a:lnTo>
                  <a:cubicBezTo>
                    <a:pt x="1937" y="799"/>
                    <a:pt x="1937" y="791"/>
                    <a:pt x="1945" y="783"/>
                  </a:cubicBezTo>
                  <a:cubicBezTo>
                    <a:pt x="1953" y="767"/>
                    <a:pt x="1961" y="759"/>
                    <a:pt x="1961" y="743"/>
                  </a:cubicBezTo>
                  <a:cubicBezTo>
                    <a:pt x="1953" y="728"/>
                    <a:pt x="1961" y="720"/>
                    <a:pt x="1961" y="712"/>
                  </a:cubicBezTo>
                  <a:cubicBezTo>
                    <a:pt x="1969" y="704"/>
                    <a:pt x="1969" y="696"/>
                    <a:pt x="1969" y="696"/>
                  </a:cubicBezTo>
                  <a:cubicBezTo>
                    <a:pt x="1969" y="688"/>
                    <a:pt x="1969" y="680"/>
                    <a:pt x="1969" y="672"/>
                  </a:cubicBezTo>
                  <a:lnTo>
                    <a:pt x="1961" y="672"/>
                  </a:lnTo>
                  <a:lnTo>
                    <a:pt x="1961" y="672"/>
                  </a:lnTo>
                  <a:lnTo>
                    <a:pt x="1953" y="680"/>
                  </a:lnTo>
                  <a:cubicBezTo>
                    <a:pt x="1937" y="688"/>
                    <a:pt x="1929" y="688"/>
                    <a:pt x="1921" y="704"/>
                  </a:cubicBezTo>
                  <a:cubicBezTo>
                    <a:pt x="1921" y="720"/>
                    <a:pt x="1913" y="728"/>
                    <a:pt x="1905" y="735"/>
                  </a:cubicBezTo>
                  <a:cubicBezTo>
                    <a:pt x="1905" y="751"/>
                    <a:pt x="1889" y="767"/>
                    <a:pt x="1882" y="783"/>
                  </a:cubicBezTo>
                  <a:cubicBezTo>
                    <a:pt x="1882" y="799"/>
                    <a:pt x="1874" y="815"/>
                    <a:pt x="1866" y="822"/>
                  </a:cubicBezTo>
                  <a:cubicBezTo>
                    <a:pt x="1858" y="838"/>
                    <a:pt x="1858" y="846"/>
                    <a:pt x="1858" y="854"/>
                  </a:cubicBezTo>
                  <a:cubicBezTo>
                    <a:pt x="1858" y="862"/>
                    <a:pt x="1858" y="862"/>
                    <a:pt x="1858" y="870"/>
                  </a:cubicBezTo>
                  <a:cubicBezTo>
                    <a:pt x="1858" y="878"/>
                    <a:pt x="1858" y="878"/>
                    <a:pt x="1850" y="886"/>
                  </a:cubicBezTo>
                  <a:cubicBezTo>
                    <a:pt x="1850" y="886"/>
                    <a:pt x="1850" y="886"/>
                    <a:pt x="1842" y="886"/>
                  </a:cubicBezTo>
                  <a:lnTo>
                    <a:pt x="1842" y="886"/>
                  </a:lnTo>
                  <a:lnTo>
                    <a:pt x="1834" y="886"/>
                  </a:lnTo>
                  <a:cubicBezTo>
                    <a:pt x="1826" y="886"/>
                    <a:pt x="1826" y="886"/>
                    <a:pt x="1818" y="886"/>
                  </a:cubicBezTo>
                  <a:cubicBezTo>
                    <a:pt x="1811" y="886"/>
                    <a:pt x="1803" y="886"/>
                    <a:pt x="1803" y="902"/>
                  </a:cubicBezTo>
                  <a:cubicBezTo>
                    <a:pt x="1787" y="925"/>
                    <a:pt x="1779" y="933"/>
                    <a:pt x="1779" y="957"/>
                  </a:cubicBezTo>
                  <a:cubicBezTo>
                    <a:pt x="1771" y="957"/>
                    <a:pt x="1771" y="957"/>
                    <a:pt x="1771" y="957"/>
                  </a:cubicBezTo>
                  <a:lnTo>
                    <a:pt x="1771" y="965"/>
                  </a:lnTo>
                  <a:cubicBezTo>
                    <a:pt x="1771" y="981"/>
                    <a:pt x="1763" y="988"/>
                    <a:pt x="1747" y="996"/>
                  </a:cubicBezTo>
                  <a:cubicBezTo>
                    <a:pt x="1731" y="996"/>
                    <a:pt x="1716" y="1004"/>
                    <a:pt x="1708" y="1020"/>
                  </a:cubicBezTo>
                  <a:cubicBezTo>
                    <a:pt x="1708" y="1028"/>
                    <a:pt x="1708" y="1028"/>
                    <a:pt x="1708" y="1036"/>
                  </a:cubicBezTo>
                  <a:cubicBezTo>
                    <a:pt x="1708" y="1044"/>
                    <a:pt x="1700" y="1052"/>
                    <a:pt x="1692" y="1052"/>
                  </a:cubicBezTo>
                  <a:cubicBezTo>
                    <a:pt x="1692" y="1052"/>
                    <a:pt x="1692" y="1052"/>
                    <a:pt x="1684" y="1044"/>
                  </a:cubicBezTo>
                  <a:lnTo>
                    <a:pt x="1684" y="1044"/>
                  </a:lnTo>
                  <a:cubicBezTo>
                    <a:pt x="1676" y="1044"/>
                    <a:pt x="1676" y="1044"/>
                    <a:pt x="1676" y="1052"/>
                  </a:cubicBezTo>
                  <a:cubicBezTo>
                    <a:pt x="1668" y="1052"/>
                    <a:pt x="1668" y="1052"/>
                    <a:pt x="1668" y="1052"/>
                  </a:cubicBezTo>
                  <a:cubicBezTo>
                    <a:pt x="1660" y="1052"/>
                    <a:pt x="1660" y="1052"/>
                    <a:pt x="1660" y="1052"/>
                  </a:cubicBezTo>
                  <a:cubicBezTo>
                    <a:pt x="1660" y="1044"/>
                    <a:pt x="1660" y="1044"/>
                    <a:pt x="1668" y="1004"/>
                  </a:cubicBezTo>
                  <a:cubicBezTo>
                    <a:pt x="1676" y="949"/>
                    <a:pt x="1692" y="933"/>
                    <a:pt x="1700" y="917"/>
                  </a:cubicBezTo>
                  <a:cubicBezTo>
                    <a:pt x="1708" y="909"/>
                    <a:pt x="1716" y="902"/>
                    <a:pt x="1716" y="894"/>
                  </a:cubicBezTo>
                  <a:cubicBezTo>
                    <a:pt x="1716" y="878"/>
                    <a:pt x="1731" y="878"/>
                    <a:pt x="1739" y="878"/>
                  </a:cubicBezTo>
                  <a:lnTo>
                    <a:pt x="1739" y="878"/>
                  </a:lnTo>
                  <a:cubicBezTo>
                    <a:pt x="1755" y="878"/>
                    <a:pt x="1763" y="878"/>
                    <a:pt x="1771" y="854"/>
                  </a:cubicBezTo>
                  <a:cubicBezTo>
                    <a:pt x="1771" y="830"/>
                    <a:pt x="1771" y="822"/>
                    <a:pt x="1779" y="806"/>
                  </a:cubicBezTo>
                  <a:cubicBezTo>
                    <a:pt x="1779" y="799"/>
                    <a:pt x="1779" y="791"/>
                    <a:pt x="1779" y="791"/>
                  </a:cubicBezTo>
                  <a:cubicBezTo>
                    <a:pt x="1779" y="783"/>
                    <a:pt x="1771" y="783"/>
                    <a:pt x="1771" y="783"/>
                  </a:cubicBezTo>
                  <a:lnTo>
                    <a:pt x="1771" y="783"/>
                  </a:lnTo>
                  <a:cubicBezTo>
                    <a:pt x="1739" y="767"/>
                    <a:pt x="1739" y="743"/>
                    <a:pt x="1739" y="712"/>
                  </a:cubicBezTo>
                  <a:cubicBezTo>
                    <a:pt x="1739" y="712"/>
                    <a:pt x="1739" y="712"/>
                    <a:pt x="1739" y="704"/>
                  </a:cubicBezTo>
                  <a:lnTo>
                    <a:pt x="1739" y="696"/>
                  </a:lnTo>
                  <a:cubicBezTo>
                    <a:pt x="1739" y="680"/>
                    <a:pt x="1731" y="680"/>
                    <a:pt x="1708" y="672"/>
                  </a:cubicBezTo>
                  <a:cubicBezTo>
                    <a:pt x="1700" y="672"/>
                    <a:pt x="1692" y="672"/>
                    <a:pt x="1684" y="672"/>
                  </a:cubicBezTo>
                  <a:cubicBezTo>
                    <a:pt x="1676" y="664"/>
                    <a:pt x="1668" y="664"/>
                    <a:pt x="1668" y="664"/>
                  </a:cubicBezTo>
                  <a:cubicBezTo>
                    <a:pt x="1660" y="656"/>
                    <a:pt x="1668" y="649"/>
                    <a:pt x="1668" y="641"/>
                  </a:cubicBezTo>
                  <a:lnTo>
                    <a:pt x="1668" y="641"/>
                  </a:lnTo>
                  <a:cubicBezTo>
                    <a:pt x="1676" y="633"/>
                    <a:pt x="1684" y="609"/>
                    <a:pt x="1684" y="569"/>
                  </a:cubicBezTo>
                  <a:cubicBezTo>
                    <a:pt x="1684" y="491"/>
                    <a:pt x="1637" y="482"/>
                    <a:pt x="1613" y="482"/>
                  </a:cubicBezTo>
                  <a:lnTo>
                    <a:pt x="1613" y="482"/>
                  </a:lnTo>
                  <a:cubicBezTo>
                    <a:pt x="1589" y="475"/>
                    <a:pt x="1589" y="459"/>
                    <a:pt x="1581" y="419"/>
                  </a:cubicBezTo>
                  <a:cubicBezTo>
                    <a:pt x="1581" y="411"/>
                    <a:pt x="1581" y="411"/>
                    <a:pt x="1581" y="411"/>
                  </a:cubicBezTo>
                  <a:cubicBezTo>
                    <a:pt x="1581" y="395"/>
                    <a:pt x="1558" y="388"/>
                    <a:pt x="1526" y="388"/>
                  </a:cubicBezTo>
                  <a:cubicBezTo>
                    <a:pt x="1510" y="388"/>
                    <a:pt x="1486" y="388"/>
                    <a:pt x="1478" y="380"/>
                  </a:cubicBezTo>
                  <a:cubicBezTo>
                    <a:pt x="1471" y="372"/>
                    <a:pt x="1463" y="364"/>
                    <a:pt x="1463" y="364"/>
                  </a:cubicBezTo>
                  <a:cubicBezTo>
                    <a:pt x="1455" y="364"/>
                    <a:pt x="1447" y="372"/>
                    <a:pt x="1431" y="372"/>
                  </a:cubicBezTo>
                  <a:cubicBezTo>
                    <a:pt x="1423" y="380"/>
                    <a:pt x="1407" y="388"/>
                    <a:pt x="1384" y="388"/>
                  </a:cubicBezTo>
                  <a:lnTo>
                    <a:pt x="1384" y="388"/>
                  </a:lnTo>
                  <a:cubicBezTo>
                    <a:pt x="1368" y="395"/>
                    <a:pt x="1360" y="395"/>
                    <a:pt x="1352" y="395"/>
                  </a:cubicBezTo>
                  <a:lnTo>
                    <a:pt x="1352" y="395"/>
                  </a:lnTo>
                  <a:cubicBezTo>
                    <a:pt x="1328" y="395"/>
                    <a:pt x="1320" y="388"/>
                    <a:pt x="1312" y="372"/>
                  </a:cubicBezTo>
                  <a:lnTo>
                    <a:pt x="1312" y="372"/>
                  </a:lnTo>
                  <a:cubicBezTo>
                    <a:pt x="1305" y="372"/>
                    <a:pt x="1305" y="364"/>
                    <a:pt x="1297" y="356"/>
                  </a:cubicBezTo>
                  <a:lnTo>
                    <a:pt x="1297" y="356"/>
                  </a:lnTo>
                  <a:cubicBezTo>
                    <a:pt x="1265" y="324"/>
                    <a:pt x="1067" y="309"/>
                    <a:pt x="996" y="309"/>
                  </a:cubicBezTo>
                  <a:cubicBezTo>
                    <a:pt x="925" y="309"/>
                    <a:pt x="909" y="285"/>
                    <a:pt x="894" y="269"/>
                  </a:cubicBezTo>
                  <a:lnTo>
                    <a:pt x="894" y="269"/>
                  </a:lnTo>
                  <a:cubicBezTo>
                    <a:pt x="894" y="261"/>
                    <a:pt x="886" y="253"/>
                    <a:pt x="886" y="253"/>
                  </a:cubicBezTo>
                  <a:cubicBezTo>
                    <a:pt x="870" y="229"/>
                    <a:pt x="854" y="206"/>
                    <a:pt x="830" y="190"/>
                  </a:cubicBezTo>
                  <a:lnTo>
                    <a:pt x="830" y="190"/>
                  </a:lnTo>
                  <a:cubicBezTo>
                    <a:pt x="822" y="190"/>
                    <a:pt x="814" y="182"/>
                    <a:pt x="814" y="174"/>
                  </a:cubicBezTo>
                  <a:lnTo>
                    <a:pt x="814" y="174"/>
                  </a:lnTo>
                  <a:lnTo>
                    <a:pt x="814" y="174"/>
                  </a:lnTo>
                  <a:cubicBezTo>
                    <a:pt x="806" y="174"/>
                    <a:pt x="806" y="174"/>
                    <a:pt x="806" y="166"/>
                  </a:cubicBezTo>
                  <a:lnTo>
                    <a:pt x="806" y="166"/>
                  </a:lnTo>
                  <a:cubicBezTo>
                    <a:pt x="806" y="166"/>
                    <a:pt x="806" y="166"/>
                    <a:pt x="799" y="166"/>
                  </a:cubicBezTo>
                  <a:cubicBezTo>
                    <a:pt x="783" y="166"/>
                    <a:pt x="783" y="166"/>
                    <a:pt x="783" y="166"/>
                  </a:cubicBezTo>
                  <a:cubicBezTo>
                    <a:pt x="759" y="166"/>
                    <a:pt x="743" y="166"/>
                    <a:pt x="728" y="151"/>
                  </a:cubicBezTo>
                  <a:cubicBezTo>
                    <a:pt x="719" y="143"/>
                    <a:pt x="719" y="135"/>
                    <a:pt x="719" y="135"/>
                  </a:cubicBezTo>
                  <a:cubicBezTo>
                    <a:pt x="719" y="127"/>
                    <a:pt x="719" y="127"/>
                    <a:pt x="719" y="127"/>
                  </a:cubicBezTo>
                  <a:lnTo>
                    <a:pt x="719" y="127"/>
                  </a:lnTo>
                  <a:cubicBezTo>
                    <a:pt x="712" y="127"/>
                    <a:pt x="704" y="135"/>
                    <a:pt x="696" y="135"/>
                  </a:cubicBezTo>
                  <a:cubicBezTo>
                    <a:pt x="672" y="143"/>
                    <a:pt x="656" y="151"/>
                    <a:pt x="648" y="158"/>
                  </a:cubicBezTo>
                  <a:lnTo>
                    <a:pt x="641" y="166"/>
                  </a:lnTo>
                  <a:cubicBezTo>
                    <a:pt x="632" y="166"/>
                    <a:pt x="632" y="158"/>
                    <a:pt x="632" y="158"/>
                  </a:cubicBezTo>
                  <a:cubicBezTo>
                    <a:pt x="625" y="143"/>
                    <a:pt x="632" y="127"/>
                    <a:pt x="641" y="111"/>
                  </a:cubicBezTo>
                  <a:cubicBezTo>
                    <a:pt x="641" y="103"/>
                    <a:pt x="648" y="95"/>
                    <a:pt x="648" y="87"/>
                  </a:cubicBezTo>
                  <a:cubicBezTo>
                    <a:pt x="648" y="79"/>
                    <a:pt x="648" y="71"/>
                    <a:pt x="648" y="64"/>
                  </a:cubicBezTo>
                  <a:cubicBezTo>
                    <a:pt x="648" y="56"/>
                    <a:pt x="648" y="40"/>
                    <a:pt x="656" y="32"/>
                  </a:cubicBezTo>
                  <a:lnTo>
                    <a:pt x="656" y="32"/>
                  </a:lnTo>
                  <a:cubicBezTo>
                    <a:pt x="664" y="24"/>
                    <a:pt x="680" y="8"/>
                    <a:pt x="672" y="0"/>
                  </a:cubicBezTo>
                  <a:cubicBezTo>
                    <a:pt x="672" y="0"/>
                    <a:pt x="672" y="0"/>
                    <a:pt x="664" y="0"/>
                  </a:cubicBezTo>
                  <a:cubicBezTo>
                    <a:pt x="656" y="0"/>
                    <a:pt x="656" y="0"/>
                    <a:pt x="656" y="0"/>
                  </a:cubicBezTo>
                </a:path>
              </a:pathLst>
            </a:custGeom>
            <a:solidFill>
              <a:schemeClr val="accent6"/>
            </a:solidFill>
            <a:ln>
              <a:solidFill>
                <a:schemeClr val="bg2"/>
              </a:solidFill>
            </a:ln>
            <a:effectLst/>
          </p:spPr>
          <p:txBody>
            <a:bodyPr wrap="none" anchor="ctr"/>
            <a:lstStyle/>
            <a:p>
              <a:endParaRPr lang="en-US"/>
            </a:p>
          </p:txBody>
        </p:sp>
        <p:sp>
          <p:nvSpPr>
            <p:cNvPr id="76" name="Freeform 671"/>
            <p:cNvSpPr>
              <a:spLocks noChangeArrowheads="1"/>
            </p:cNvSpPr>
            <p:nvPr/>
          </p:nvSpPr>
          <p:spPr bwMode="auto">
            <a:xfrm>
              <a:off x="4885321" y="2410605"/>
              <a:ext cx="337131" cy="165254"/>
            </a:xfrm>
            <a:custGeom>
              <a:avLst/>
              <a:gdLst>
                <a:gd name="T0" fmla="*/ 862 w 934"/>
                <a:gd name="T1" fmla="*/ 475 h 531"/>
                <a:gd name="T2" fmla="*/ 862 w 934"/>
                <a:gd name="T3" fmla="*/ 475 h 531"/>
                <a:gd name="T4" fmla="*/ 862 w 934"/>
                <a:gd name="T5" fmla="*/ 498 h 531"/>
                <a:gd name="T6" fmla="*/ 878 w 934"/>
                <a:gd name="T7" fmla="*/ 506 h 531"/>
                <a:gd name="T8" fmla="*/ 902 w 934"/>
                <a:gd name="T9" fmla="*/ 506 h 531"/>
                <a:gd name="T10" fmla="*/ 933 w 934"/>
                <a:gd name="T11" fmla="*/ 530 h 531"/>
                <a:gd name="T12" fmla="*/ 933 w 934"/>
                <a:gd name="T13" fmla="*/ 530 h 531"/>
                <a:gd name="T14" fmla="*/ 902 w 934"/>
                <a:gd name="T15" fmla="*/ 506 h 531"/>
                <a:gd name="T16" fmla="*/ 878 w 934"/>
                <a:gd name="T17" fmla="*/ 506 h 531"/>
                <a:gd name="T18" fmla="*/ 862 w 934"/>
                <a:gd name="T19" fmla="*/ 498 h 531"/>
                <a:gd name="T20" fmla="*/ 862 w 934"/>
                <a:gd name="T21" fmla="*/ 475 h 531"/>
                <a:gd name="T22" fmla="*/ 657 w 934"/>
                <a:gd name="T23" fmla="*/ 198 h 531"/>
                <a:gd name="T24" fmla="*/ 657 w 934"/>
                <a:gd name="T25" fmla="*/ 198 h 531"/>
                <a:gd name="T26" fmla="*/ 625 w 934"/>
                <a:gd name="T27" fmla="*/ 206 h 531"/>
                <a:gd name="T28" fmla="*/ 578 w 934"/>
                <a:gd name="T29" fmla="*/ 222 h 531"/>
                <a:gd name="T30" fmla="*/ 578 w 934"/>
                <a:gd name="T31" fmla="*/ 222 h 531"/>
                <a:gd name="T32" fmla="*/ 578 w 934"/>
                <a:gd name="T33" fmla="*/ 222 h 531"/>
                <a:gd name="T34" fmla="*/ 625 w 934"/>
                <a:gd name="T35" fmla="*/ 206 h 531"/>
                <a:gd name="T36" fmla="*/ 657 w 934"/>
                <a:gd name="T37" fmla="*/ 198 h 531"/>
                <a:gd name="T38" fmla="*/ 672 w 934"/>
                <a:gd name="T39" fmla="*/ 214 h 531"/>
                <a:gd name="T40" fmla="*/ 720 w 934"/>
                <a:gd name="T41" fmla="*/ 222 h 531"/>
                <a:gd name="T42" fmla="*/ 775 w 934"/>
                <a:gd name="T43" fmla="*/ 245 h 531"/>
                <a:gd name="T44" fmla="*/ 775 w 934"/>
                <a:gd name="T45" fmla="*/ 253 h 531"/>
                <a:gd name="T46" fmla="*/ 807 w 934"/>
                <a:gd name="T47" fmla="*/ 316 h 531"/>
                <a:gd name="T48" fmla="*/ 807 w 934"/>
                <a:gd name="T49" fmla="*/ 316 h 531"/>
                <a:gd name="T50" fmla="*/ 878 w 934"/>
                <a:gd name="T51" fmla="*/ 403 h 531"/>
                <a:gd name="T52" fmla="*/ 878 w 934"/>
                <a:gd name="T53" fmla="*/ 403 h 531"/>
                <a:gd name="T54" fmla="*/ 807 w 934"/>
                <a:gd name="T55" fmla="*/ 316 h 531"/>
                <a:gd name="T56" fmla="*/ 807 w 934"/>
                <a:gd name="T57" fmla="*/ 316 h 531"/>
                <a:gd name="T58" fmla="*/ 775 w 934"/>
                <a:gd name="T59" fmla="*/ 253 h 531"/>
                <a:gd name="T60" fmla="*/ 775 w 934"/>
                <a:gd name="T61" fmla="*/ 245 h 531"/>
                <a:gd name="T62" fmla="*/ 720 w 934"/>
                <a:gd name="T63" fmla="*/ 222 h 531"/>
                <a:gd name="T64" fmla="*/ 672 w 934"/>
                <a:gd name="T65" fmla="*/ 214 h 531"/>
                <a:gd name="T66" fmla="*/ 657 w 934"/>
                <a:gd name="T67" fmla="*/ 198 h 531"/>
                <a:gd name="T68" fmla="*/ 8 w 934"/>
                <a:gd name="T69" fmla="*/ 8 h 531"/>
                <a:gd name="T70" fmla="*/ 8 w 934"/>
                <a:gd name="T71" fmla="*/ 8 h 531"/>
                <a:gd name="T72" fmla="*/ 8 w 934"/>
                <a:gd name="T73" fmla="*/ 8 h 531"/>
                <a:gd name="T74" fmla="*/ 8 w 934"/>
                <a:gd name="T75" fmla="*/ 8 h 531"/>
                <a:gd name="T76" fmla="*/ 0 w 934"/>
                <a:gd name="T77" fmla="*/ 0 h 531"/>
                <a:gd name="T78" fmla="*/ 0 w 934"/>
                <a:gd name="T79" fmla="*/ 0 h 531"/>
                <a:gd name="T80" fmla="*/ 0 w 934"/>
                <a:gd name="T81" fmla="*/ 0 h 531"/>
                <a:gd name="T82" fmla="*/ 8 w 934"/>
                <a:gd name="T83" fmla="*/ 8 h 531"/>
                <a:gd name="T84" fmla="*/ 0 w 934"/>
                <a:gd name="T85" fmla="*/ 0 h 531"/>
                <a:gd name="T86" fmla="*/ 862 w 934"/>
                <a:gd name="T87" fmla="*/ 475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34" h="531">
                  <a:moveTo>
                    <a:pt x="862" y="475"/>
                  </a:moveTo>
                  <a:lnTo>
                    <a:pt x="862" y="475"/>
                  </a:lnTo>
                  <a:cubicBezTo>
                    <a:pt x="862" y="483"/>
                    <a:pt x="854" y="490"/>
                    <a:pt x="862" y="498"/>
                  </a:cubicBezTo>
                  <a:cubicBezTo>
                    <a:pt x="862" y="498"/>
                    <a:pt x="870" y="498"/>
                    <a:pt x="878" y="506"/>
                  </a:cubicBezTo>
                  <a:cubicBezTo>
                    <a:pt x="886" y="506"/>
                    <a:pt x="894" y="506"/>
                    <a:pt x="902" y="506"/>
                  </a:cubicBezTo>
                  <a:cubicBezTo>
                    <a:pt x="925" y="514"/>
                    <a:pt x="933" y="514"/>
                    <a:pt x="933" y="530"/>
                  </a:cubicBezTo>
                  <a:lnTo>
                    <a:pt x="933" y="530"/>
                  </a:lnTo>
                  <a:cubicBezTo>
                    <a:pt x="933" y="514"/>
                    <a:pt x="925" y="514"/>
                    <a:pt x="902" y="506"/>
                  </a:cubicBezTo>
                  <a:cubicBezTo>
                    <a:pt x="894" y="506"/>
                    <a:pt x="886" y="506"/>
                    <a:pt x="878" y="506"/>
                  </a:cubicBezTo>
                  <a:cubicBezTo>
                    <a:pt x="870" y="498"/>
                    <a:pt x="862" y="498"/>
                    <a:pt x="862" y="498"/>
                  </a:cubicBezTo>
                  <a:cubicBezTo>
                    <a:pt x="854" y="490"/>
                    <a:pt x="862" y="483"/>
                    <a:pt x="862" y="475"/>
                  </a:cubicBezTo>
                  <a:lnTo>
                    <a:pt x="657" y="198"/>
                  </a:lnTo>
                  <a:lnTo>
                    <a:pt x="657" y="198"/>
                  </a:lnTo>
                  <a:cubicBezTo>
                    <a:pt x="649" y="198"/>
                    <a:pt x="641" y="206"/>
                    <a:pt x="625" y="206"/>
                  </a:cubicBezTo>
                  <a:cubicBezTo>
                    <a:pt x="617" y="214"/>
                    <a:pt x="601" y="222"/>
                    <a:pt x="578" y="222"/>
                  </a:cubicBezTo>
                  <a:lnTo>
                    <a:pt x="578" y="222"/>
                  </a:lnTo>
                  <a:lnTo>
                    <a:pt x="578" y="222"/>
                  </a:lnTo>
                  <a:cubicBezTo>
                    <a:pt x="601" y="222"/>
                    <a:pt x="617" y="214"/>
                    <a:pt x="625" y="206"/>
                  </a:cubicBezTo>
                  <a:cubicBezTo>
                    <a:pt x="641" y="206"/>
                    <a:pt x="649" y="198"/>
                    <a:pt x="657" y="198"/>
                  </a:cubicBezTo>
                  <a:cubicBezTo>
                    <a:pt x="657" y="198"/>
                    <a:pt x="665" y="206"/>
                    <a:pt x="672" y="214"/>
                  </a:cubicBezTo>
                  <a:cubicBezTo>
                    <a:pt x="680" y="222"/>
                    <a:pt x="704" y="222"/>
                    <a:pt x="720" y="222"/>
                  </a:cubicBezTo>
                  <a:cubicBezTo>
                    <a:pt x="752" y="222"/>
                    <a:pt x="775" y="229"/>
                    <a:pt x="775" y="245"/>
                  </a:cubicBezTo>
                  <a:cubicBezTo>
                    <a:pt x="775" y="253"/>
                    <a:pt x="775" y="253"/>
                    <a:pt x="775" y="253"/>
                  </a:cubicBezTo>
                  <a:cubicBezTo>
                    <a:pt x="783" y="293"/>
                    <a:pt x="783" y="309"/>
                    <a:pt x="807" y="316"/>
                  </a:cubicBezTo>
                  <a:lnTo>
                    <a:pt x="807" y="316"/>
                  </a:lnTo>
                  <a:cubicBezTo>
                    <a:pt x="831" y="316"/>
                    <a:pt x="878" y="325"/>
                    <a:pt x="878" y="403"/>
                  </a:cubicBezTo>
                  <a:lnTo>
                    <a:pt x="878" y="403"/>
                  </a:lnTo>
                  <a:cubicBezTo>
                    <a:pt x="878" y="325"/>
                    <a:pt x="831" y="316"/>
                    <a:pt x="807" y="316"/>
                  </a:cubicBezTo>
                  <a:lnTo>
                    <a:pt x="807" y="316"/>
                  </a:lnTo>
                  <a:cubicBezTo>
                    <a:pt x="783" y="309"/>
                    <a:pt x="783" y="293"/>
                    <a:pt x="775" y="253"/>
                  </a:cubicBezTo>
                  <a:cubicBezTo>
                    <a:pt x="775" y="245"/>
                    <a:pt x="775" y="245"/>
                    <a:pt x="775" y="245"/>
                  </a:cubicBezTo>
                  <a:cubicBezTo>
                    <a:pt x="775" y="229"/>
                    <a:pt x="752" y="222"/>
                    <a:pt x="720" y="222"/>
                  </a:cubicBezTo>
                  <a:cubicBezTo>
                    <a:pt x="704" y="222"/>
                    <a:pt x="680" y="222"/>
                    <a:pt x="672" y="214"/>
                  </a:cubicBezTo>
                  <a:cubicBezTo>
                    <a:pt x="665" y="206"/>
                    <a:pt x="657" y="198"/>
                    <a:pt x="657" y="198"/>
                  </a:cubicBezTo>
                  <a:lnTo>
                    <a:pt x="8" y="8"/>
                  </a:lnTo>
                  <a:lnTo>
                    <a:pt x="8" y="8"/>
                  </a:lnTo>
                  <a:lnTo>
                    <a:pt x="8" y="8"/>
                  </a:lnTo>
                  <a:lnTo>
                    <a:pt x="8" y="8"/>
                  </a:lnTo>
                  <a:lnTo>
                    <a:pt x="0" y="0"/>
                  </a:lnTo>
                  <a:lnTo>
                    <a:pt x="0" y="0"/>
                  </a:lnTo>
                  <a:lnTo>
                    <a:pt x="0" y="0"/>
                  </a:lnTo>
                  <a:cubicBezTo>
                    <a:pt x="0" y="8"/>
                    <a:pt x="0" y="8"/>
                    <a:pt x="8" y="8"/>
                  </a:cubicBezTo>
                  <a:cubicBezTo>
                    <a:pt x="0" y="8"/>
                    <a:pt x="0" y="8"/>
                    <a:pt x="0" y="0"/>
                  </a:cubicBezTo>
                  <a:lnTo>
                    <a:pt x="862" y="475"/>
                  </a:lnTo>
                </a:path>
              </a:pathLst>
            </a:custGeom>
            <a:solidFill>
              <a:schemeClr val="accent6"/>
            </a:solidFill>
            <a:ln>
              <a:solidFill>
                <a:schemeClr val="bg2"/>
              </a:solidFill>
            </a:ln>
            <a:effectLst/>
          </p:spPr>
          <p:txBody>
            <a:bodyPr wrap="none" anchor="ctr"/>
            <a:lstStyle/>
            <a:p>
              <a:endParaRPr lang="en-US"/>
            </a:p>
          </p:txBody>
        </p:sp>
        <p:sp>
          <p:nvSpPr>
            <p:cNvPr id="77" name="Freeform 676"/>
            <p:cNvSpPr>
              <a:spLocks noChangeArrowheads="1"/>
            </p:cNvSpPr>
            <p:nvPr/>
          </p:nvSpPr>
          <p:spPr bwMode="auto">
            <a:xfrm>
              <a:off x="4888502" y="2413359"/>
              <a:ext cx="419824" cy="581142"/>
            </a:xfrm>
            <a:custGeom>
              <a:avLst/>
              <a:gdLst>
                <a:gd name="T0" fmla="*/ 1139 w 1164"/>
                <a:gd name="T1" fmla="*/ 490 h 1859"/>
                <a:gd name="T2" fmla="*/ 1091 w 1164"/>
                <a:gd name="T3" fmla="*/ 561 h 1859"/>
                <a:gd name="T4" fmla="*/ 1036 w 1164"/>
                <a:gd name="T5" fmla="*/ 680 h 1859"/>
                <a:gd name="T6" fmla="*/ 1028 w 1164"/>
                <a:gd name="T7" fmla="*/ 704 h 1859"/>
                <a:gd name="T8" fmla="*/ 1004 w 1164"/>
                <a:gd name="T9" fmla="*/ 704 h 1859"/>
                <a:gd name="T10" fmla="*/ 957 w 1164"/>
                <a:gd name="T11" fmla="*/ 783 h 1859"/>
                <a:gd name="T12" fmla="*/ 894 w 1164"/>
                <a:gd name="T13" fmla="*/ 846 h 1859"/>
                <a:gd name="T14" fmla="*/ 878 w 1164"/>
                <a:gd name="T15" fmla="*/ 870 h 1859"/>
                <a:gd name="T16" fmla="*/ 854 w 1164"/>
                <a:gd name="T17" fmla="*/ 870 h 1859"/>
                <a:gd name="T18" fmla="*/ 910 w 1164"/>
                <a:gd name="T19" fmla="*/ 720 h 1859"/>
                <a:gd name="T20" fmla="*/ 965 w 1164"/>
                <a:gd name="T21" fmla="*/ 680 h 1859"/>
                <a:gd name="T22" fmla="*/ 973 w 1164"/>
                <a:gd name="T23" fmla="*/ 617 h 1859"/>
                <a:gd name="T24" fmla="*/ 965 w 1164"/>
                <a:gd name="T25" fmla="*/ 617 h 1859"/>
                <a:gd name="T26" fmla="*/ 925 w 1164"/>
                <a:gd name="T27" fmla="*/ 704 h 1859"/>
                <a:gd name="T28" fmla="*/ 886 w 1164"/>
                <a:gd name="T29" fmla="*/ 743 h 1859"/>
                <a:gd name="T30" fmla="*/ 854 w 1164"/>
                <a:gd name="T31" fmla="*/ 878 h 1859"/>
                <a:gd name="T32" fmla="*/ 870 w 1164"/>
                <a:gd name="T33" fmla="*/ 870 h 1859"/>
                <a:gd name="T34" fmla="*/ 894 w 1164"/>
                <a:gd name="T35" fmla="*/ 846 h 1859"/>
                <a:gd name="T36" fmla="*/ 957 w 1164"/>
                <a:gd name="T37" fmla="*/ 783 h 1859"/>
                <a:gd name="T38" fmla="*/ 1004 w 1164"/>
                <a:gd name="T39" fmla="*/ 712 h 1859"/>
                <a:gd name="T40" fmla="*/ 1028 w 1164"/>
                <a:gd name="T41" fmla="*/ 712 h 1859"/>
                <a:gd name="T42" fmla="*/ 1044 w 1164"/>
                <a:gd name="T43" fmla="*/ 680 h 1859"/>
                <a:gd name="T44" fmla="*/ 1091 w 1164"/>
                <a:gd name="T45" fmla="*/ 561 h 1859"/>
                <a:gd name="T46" fmla="*/ 1147 w 1164"/>
                <a:gd name="T47" fmla="*/ 498 h 1859"/>
                <a:gd name="T48" fmla="*/ 1155 w 1164"/>
                <a:gd name="T49" fmla="*/ 522 h 1859"/>
                <a:gd name="T50" fmla="*/ 1131 w 1164"/>
                <a:gd name="T51" fmla="*/ 609 h 1859"/>
                <a:gd name="T52" fmla="*/ 1084 w 1164"/>
                <a:gd name="T53" fmla="*/ 696 h 1859"/>
                <a:gd name="T54" fmla="*/ 1075 w 1164"/>
                <a:gd name="T55" fmla="*/ 743 h 1859"/>
                <a:gd name="T56" fmla="*/ 1028 w 1164"/>
                <a:gd name="T57" fmla="*/ 965 h 1859"/>
                <a:gd name="T58" fmla="*/ 1004 w 1164"/>
                <a:gd name="T59" fmla="*/ 1059 h 1859"/>
                <a:gd name="T60" fmla="*/ 965 w 1164"/>
                <a:gd name="T61" fmla="*/ 1376 h 1859"/>
                <a:gd name="T62" fmla="*/ 989 w 1164"/>
                <a:gd name="T63" fmla="*/ 1629 h 1859"/>
                <a:gd name="T64" fmla="*/ 1028 w 1164"/>
                <a:gd name="T65" fmla="*/ 1826 h 1859"/>
                <a:gd name="T66" fmla="*/ 981 w 1164"/>
                <a:gd name="T67" fmla="*/ 1581 h 1859"/>
                <a:gd name="T68" fmla="*/ 981 w 1164"/>
                <a:gd name="T69" fmla="*/ 1312 h 1859"/>
                <a:gd name="T70" fmla="*/ 1020 w 1164"/>
                <a:gd name="T71" fmla="*/ 1052 h 1859"/>
                <a:gd name="T72" fmla="*/ 1036 w 1164"/>
                <a:gd name="T73" fmla="*/ 862 h 1859"/>
                <a:gd name="T74" fmla="*/ 1075 w 1164"/>
                <a:gd name="T75" fmla="*/ 728 h 1859"/>
                <a:gd name="T76" fmla="*/ 1123 w 1164"/>
                <a:gd name="T77" fmla="*/ 632 h 1859"/>
                <a:gd name="T78" fmla="*/ 1147 w 1164"/>
                <a:gd name="T79" fmla="*/ 569 h 1859"/>
                <a:gd name="T80" fmla="*/ 1155 w 1164"/>
                <a:gd name="T81" fmla="*/ 498 h 1859"/>
                <a:gd name="T82" fmla="*/ 570 w 1164"/>
                <a:gd name="T83" fmla="*/ 214 h 1859"/>
                <a:gd name="T84" fmla="*/ 483 w 1164"/>
                <a:gd name="T85" fmla="*/ 182 h 1859"/>
                <a:gd name="T86" fmla="*/ 483 w 1164"/>
                <a:gd name="T87" fmla="*/ 182 h 1859"/>
                <a:gd name="T88" fmla="*/ 16 w 1164"/>
                <a:gd name="T89" fmla="*/ 16 h 1859"/>
                <a:gd name="T90" fmla="*/ 0 w 1164"/>
                <a:gd name="T91" fmla="*/ 0 h 1859"/>
                <a:gd name="T92" fmla="*/ 1147 w 1164"/>
                <a:gd name="T93" fmla="*/ 490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64" h="1859">
                  <a:moveTo>
                    <a:pt x="1147" y="490"/>
                  </a:moveTo>
                  <a:lnTo>
                    <a:pt x="1147" y="490"/>
                  </a:lnTo>
                  <a:cubicBezTo>
                    <a:pt x="1147" y="490"/>
                    <a:pt x="1147" y="490"/>
                    <a:pt x="1139" y="490"/>
                  </a:cubicBezTo>
                  <a:cubicBezTo>
                    <a:pt x="1139" y="498"/>
                    <a:pt x="1139" y="498"/>
                    <a:pt x="1131" y="498"/>
                  </a:cubicBezTo>
                  <a:cubicBezTo>
                    <a:pt x="1123" y="506"/>
                    <a:pt x="1107" y="514"/>
                    <a:pt x="1107" y="530"/>
                  </a:cubicBezTo>
                  <a:cubicBezTo>
                    <a:pt x="1099" y="538"/>
                    <a:pt x="1099" y="546"/>
                    <a:pt x="1091" y="561"/>
                  </a:cubicBezTo>
                  <a:cubicBezTo>
                    <a:pt x="1084" y="569"/>
                    <a:pt x="1075" y="585"/>
                    <a:pt x="1068" y="609"/>
                  </a:cubicBezTo>
                  <a:cubicBezTo>
                    <a:pt x="1060" y="625"/>
                    <a:pt x="1052" y="632"/>
                    <a:pt x="1044" y="648"/>
                  </a:cubicBezTo>
                  <a:cubicBezTo>
                    <a:pt x="1036" y="656"/>
                    <a:pt x="1036" y="664"/>
                    <a:pt x="1036" y="680"/>
                  </a:cubicBezTo>
                  <a:cubicBezTo>
                    <a:pt x="1036" y="688"/>
                    <a:pt x="1036" y="688"/>
                    <a:pt x="1036" y="696"/>
                  </a:cubicBezTo>
                  <a:cubicBezTo>
                    <a:pt x="1036" y="704"/>
                    <a:pt x="1036" y="704"/>
                    <a:pt x="1036" y="704"/>
                  </a:cubicBezTo>
                  <a:lnTo>
                    <a:pt x="1028" y="704"/>
                  </a:lnTo>
                  <a:lnTo>
                    <a:pt x="1028" y="704"/>
                  </a:lnTo>
                  <a:lnTo>
                    <a:pt x="1020" y="704"/>
                  </a:lnTo>
                  <a:cubicBezTo>
                    <a:pt x="1020" y="704"/>
                    <a:pt x="1012" y="704"/>
                    <a:pt x="1004" y="704"/>
                  </a:cubicBezTo>
                  <a:cubicBezTo>
                    <a:pt x="997" y="704"/>
                    <a:pt x="989" y="712"/>
                    <a:pt x="981" y="720"/>
                  </a:cubicBezTo>
                  <a:cubicBezTo>
                    <a:pt x="965" y="743"/>
                    <a:pt x="965" y="751"/>
                    <a:pt x="957" y="775"/>
                  </a:cubicBezTo>
                  <a:cubicBezTo>
                    <a:pt x="957" y="783"/>
                    <a:pt x="957" y="783"/>
                    <a:pt x="957" y="783"/>
                  </a:cubicBezTo>
                  <a:cubicBezTo>
                    <a:pt x="949" y="783"/>
                    <a:pt x="949" y="791"/>
                    <a:pt x="949" y="791"/>
                  </a:cubicBezTo>
                  <a:cubicBezTo>
                    <a:pt x="949" y="807"/>
                    <a:pt x="949" y="807"/>
                    <a:pt x="933" y="814"/>
                  </a:cubicBezTo>
                  <a:cubicBezTo>
                    <a:pt x="917" y="814"/>
                    <a:pt x="894" y="822"/>
                    <a:pt x="894" y="846"/>
                  </a:cubicBezTo>
                  <a:cubicBezTo>
                    <a:pt x="886" y="854"/>
                    <a:pt x="886" y="854"/>
                    <a:pt x="886" y="854"/>
                  </a:cubicBezTo>
                  <a:cubicBezTo>
                    <a:pt x="886" y="862"/>
                    <a:pt x="886" y="870"/>
                    <a:pt x="878" y="870"/>
                  </a:cubicBezTo>
                  <a:lnTo>
                    <a:pt x="878" y="870"/>
                  </a:lnTo>
                  <a:cubicBezTo>
                    <a:pt x="870" y="862"/>
                    <a:pt x="870" y="862"/>
                    <a:pt x="870" y="862"/>
                  </a:cubicBezTo>
                  <a:cubicBezTo>
                    <a:pt x="862" y="862"/>
                    <a:pt x="862" y="870"/>
                    <a:pt x="854" y="870"/>
                  </a:cubicBezTo>
                  <a:lnTo>
                    <a:pt x="854" y="870"/>
                  </a:lnTo>
                  <a:cubicBezTo>
                    <a:pt x="854" y="870"/>
                    <a:pt x="854" y="854"/>
                    <a:pt x="862" y="830"/>
                  </a:cubicBezTo>
                  <a:cubicBezTo>
                    <a:pt x="870" y="775"/>
                    <a:pt x="886" y="759"/>
                    <a:pt x="894" y="743"/>
                  </a:cubicBezTo>
                  <a:cubicBezTo>
                    <a:pt x="902" y="735"/>
                    <a:pt x="910" y="735"/>
                    <a:pt x="910" y="720"/>
                  </a:cubicBezTo>
                  <a:cubicBezTo>
                    <a:pt x="910" y="712"/>
                    <a:pt x="910" y="712"/>
                    <a:pt x="925" y="712"/>
                  </a:cubicBezTo>
                  <a:lnTo>
                    <a:pt x="925" y="712"/>
                  </a:lnTo>
                  <a:cubicBezTo>
                    <a:pt x="941" y="712"/>
                    <a:pt x="957" y="712"/>
                    <a:pt x="965" y="680"/>
                  </a:cubicBezTo>
                  <a:cubicBezTo>
                    <a:pt x="965" y="664"/>
                    <a:pt x="965" y="648"/>
                    <a:pt x="965" y="632"/>
                  </a:cubicBezTo>
                  <a:cubicBezTo>
                    <a:pt x="973" y="625"/>
                    <a:pt x="973" y="617"/>
                    <a:pt x="973" y="609"/>
                  </a:cubicBezTo>
                  <a:cubicBezTo>
                    <a:pt x="973" y="617"/>
                    <a:pt x="973" y="617"/>
                    <a:pt x="973" y="617"/>
                  </a:cubicBezTo>
                  <a:cubicBezTo>
                    <a:pt x="965" y="617"/>
                    <a:pt x="965" y="617"/>
                    <a:pt x="965" y="617"/>
                  </a:cubicBezTo>
                  <a:lnTo>
                    <a:pt x="957" y="609"/>
                  </a:lnTo>
                  <a:cubicBezTo>
                    <a:pt x="957" y="609"/>
                    <a:pt x="965" y="609"/>
                    <a:pt x="965" y="617"/>
                  </a:cubicBezTo>
                  <a:cubicBezTo>
                    <a:pt x="965" y="617"/>
                    <a:pt x="965" y="625"/>
                    <a:pt x="965" y="632"/>
                  </a:cubicBezTo>
                  <a:cubicBezTo>
                    <a:pt x="957" y="648"/>
                    <a:pt x="957" y="656"/>
                    <a:pt x="957" y="680"/>
                  </a:cubicBezTo>
                  <a:cubicBezTo>
                    <a:pt x="949" y="704"/>
                    <a:pt x="941" y="704"/>
                    <a:pt x="925" y="704"/>
                  </a:cubicBezTo>
                  <a:lnTo>
                    <a:pt x="925" y="704"/>
                  </a:lnTo>
                  <a:cubicBezTo>
                    <a:pt x="917" y="704"/>
                    <a:pt x="902" y="704"/>
                    <a:pt x="902" y="720"/>
                  </a:cubicBezTo>
                  <a:cubicBezTo>
                    <a:pt x="902" y="728"/>
                    <a:pt x="894" y="735"/>
                    <a:pt x="886" y="743"/>
                  </a:cubicBezTo>
                  <a:cubicBezTo>
                    <a:pt x="878" y="759"/>
                    <a:pt x="862" y="775"/>
                    <a:pt x="854" y="830"/>
                  </a:cubicBezTo>
                  <a:cubicBezTo>
                    <a:pt x="846" y="870"/>
                    <a:pt x="846" y="870"/>
                    <a:pt x="846" y="878"/>
                  </a:cubicBezTo>
                  <a:cubicBezTo>
                    <a:pt x="846" y="878"/>
                    <a:pt x="846" y="878"/>
                    <a:pt x="854" y="878"/>
                  </a:cubicBezTo>
                  <a:cubicBezTo>
                    <a:pt x="854" y="878"/>
                    <a:pt x="854" y="878"/>
                    <a:pt x="862" y="878"/>
                  </a:cubicBezTo>
                  <a:cubicBezTo>
                    <a:pt x="862" y="870"/>
                    <a:pt x="862" y="870"/>
                    <a:pt x="870" y="870"/>
                  </a:cubicBezTo>
                  <a:lnTo>
                    <a:pt x="870" y="870"/>
                  </a:lnTo>
                  <a:cubicBezTo>
                    <a:pt x="878" y="878"/>
                    <a:pt x="878" y="878"/>
                    <a:pt x="878" y="878"/>
                  </a:cubicBezTo>
                  <a:cubicBezTo>
                    <a:pt x="886" y="878"/>
                    <a:pt x="894" y="870"/>
                    <a:pt x="894" y="862"/>
                  </a:cubicBezTo>
                  <a:cubicBezTo>
                    <a:pt x="894" y="854"/>
                    <a:pt x="894" y="854"/>
                    <a:pt x="894" y="846"/>
                  </a:cubicBezTo>
                  <a:cubicBezTo>
                    <a:pt x="902" y="830"/>
                    <a:pt x="917" y="822"/>
                    <a:pt x="933" y="822"/>
                  </a:cubicBezTo>
                  <a:cubicBezTo>
                    <a:pt x="949" y="814"/>
                    <a:pt x="957" y="807"/>
                    <a:pt x="957" y="791"/>
                  </a:cubicBezTo>
                  <a:lnTo>
                    <a:pt x="957" y="783"/>
                  </a:lnTo>
                  <a:cubicBezTo>
                    <a:pt x="965" y="783"/>
                    <a:pt x="965" y="783"/>
                    <a:pt x="965" y="783"/>
                  </a:cubicBezTo>
                  <a:cubicBezTo>
                    <a:pt x="965" y="759"/>
                    <a:pt x="973" y="751"/>
                    <a:pt x="989" y="728"/>
                  </a:cubicBezTo>
                  <a:cubicBezTo>
                    <a:pt x="989" y="712"/>
                    <a:pt x="997" y="712"/>
                    <a:pt x="1004" y="712"/>
                  </a:cubicBezTo>
                  <a:cubicBezTo>
                    <a:pt x="1012" y="712"/>
                    <a:pt x="1012" y="712"/>
                    <a:pt x="1020" y="712"/>
                  </a:cubicBezTo>
                  <a:lnTo>
                    <a:pt x="1028" y="712"/>
                  </a:lnTo>
                  <a:lnTo>
                    <a:pt x="1028" y="712"/>
                  </a:lnTo>
                  <a:cubicBezTo>
                    <a:pt x="1036" y="712"/>
                    <a:pt x="1036" y="712"/>
                    <a:pt x="1036" y="712"/>
                  </a:cubicBezTo>
                  <a:cubicBezTo>
                    <a:pt x="1044" y="704"/>
                    <a:pt x="1044" y="704"/>
                    <a:pt x="1044" y="696"/>
                  </a:cubicBezTo>
                  <a:cubicBezTo>
                    <a:pt x="1044" y="688"/>
                    <a:pt x="1044" y="688"/>
                    <a:pt x="1044" y="680"/>
                  </a:cubicBezTo>
                  <a:cubicBezTo>
                    <a:pt x="1044" y="672"/>
                    <a:pt x="1044" y="664"/>
                    <a:pt x="1052" y="648"/>
                  </a:cubicBezTo>
                  <a:cubicBezTo>
                    <a:pt x="1060" y="641"/>
                    <a:pt x="1068" y="625"/>
                    <a:pt x="1068" y="609"/>
                  </a:cubicBezTo>
                  <a:cubicBezTo>
                    <a:pt x="1075" y="593"/>
                    <a:pt x="1091" y="577"/>
                    <a:pt x="1091" y="561"/>
                  </a:cubicBezTo>
                  <a:cubicBezTo>
                    <a:pt x="1099" y="554"/>
                    <a:pt x="1107" y="546"/>
                    <a:pt x="1107" y="530"/>
                  </a:cubicBezTo>
                  <a:cubicBezTo>
                    <a:pt x="1115" y="514"/>
                    <a:pt x="1123" y="514"/>
                    <a:pt x="1139" y="506"/>
                  </a:cubicBezTo>
                  <a:lnTo>
                    <a:pt x="1147" y="498"/>
                  </a:lnTo>
                  <a:lnTo>
                    <a:pt x="1147" y="498"/>
                  </a:lnTo>
                  <a:lnTo>
                    <a:pt x="1155" y="498"/>
                  </a:lnTo>
                  <a:cubicBezTo>
                    <a:pt x="1155" y="506"/>
                    <a:pt x="1155" y="514"/>
                    <a:pt x="1155" y="522"/>
                  </a:cubicBezTo>
                  <a:cubicBezTo>
                    <a:pt x="1155" y="522"/>
                    <a:pt x="1155" y="530"/>
                    <a:pt x="1147" y="538"/>
                  </a:cubicBezTo>
                  <a:cubicBezTo>
                    <a:pt x="1147" y="546"/>
                    <a:pt x="1139" y="554"/>
                    <a:pt x="1147" y="569"/>
                  </a:cubicBezTo>
                  <a:cubicBezTo>
                    <a:pt x="1147" y="585"/>
                    <a:pt x="1139" y="593"/>
                    <a:pt x="1131" y="609"/>
                  </a:cubicBezTo>
                  <a:cubicBezTo>
                    <a:pt x="1123" y="617"/>
                    <a:pt x="1123" y="625"/>
                    <a:pt x="1115" y="632"/>
                  </a:cubicBezTo>
                  <a:lnTo>
                    <a:pt x="1115" y="632"/>
                  </a:lnTo>
                  <a:cubicBezTo>
                    <a:pt x="1115" y="648"/>
                    <a:pt x="1115" y="664"/>
                    <a:pt x="1084" y="696"/>
                  </a:cubicBezTo>
                  <a:cubicBezTo>
                    <a:pt x="1075" y="704"/>
                    <a:pt x="1075" y="704"/>
                    <a:pt x="1075" y="712"/>
                  </a:cubicBezTo>
                  <a:cubicBezTo>
                    <a:pt x="1060" y="720"/>
                    <a:pt x="1060" y="720"/>
                    <a:pt x="1068" y="735"/>
                  </a:cubicBezTo>
                  <a:lnTo>
                    <a:pt x="1075" y="743"/>
                  </a:lnTo>
                  <a:cubicBezTo>
                    <a:pt x="1084" y="767"/>
                    <a:pt x="1075" y="783"/>
                    <a:pt x="1060" y="807"/>
                  </a:cubicBezTo>
                  <a:cubicBezTo>
                    <a:pt x="1052" y="822"/>
                    <a:pt x="1036" y="838"/>
                    <a:pt x="1028" y="862"/>
                  </a:cubicBezTo>
                  <a:cubicBezTo>
                    <a:pt x="1012" y="909"/>
                    <a:pt x="1020" y="933"/>
                    <a:pt x="1028" y="965"/>
                  </a:cubicBezTo>
                  <a:cubicBezTo>
                    <a:pt x="1028" y="972"/>
                    <a:pt x="1036" y="988"/>
                    <a:pt x="1036" y="996"/>
                  </a:cubicBezTo>
                  <a:cubicBezTo>
                    <a:pt x="1044" y="1028"/>
                    <a:pt x="1036" y="1036"/>
                    <a:pt x="1020" y="1044"/>
                  </a:cubicBezTo>
                  <a:cubicBezTo>
                    <a:pt x="1012" y="1052"/>
                    <a:pt x="1012" y="1052"/>
                    <a:pt x="1004" y="1059"/>
                  </a:cubicBezTo>
                  <a:cubicBezTo>
                    <a:pt x="989" y="1075"/>
                    <a:pt x="965" y="1154"/>
                    <a:pt x="981" y="1202"/>
                  </a:cubicBezTo>
                  <a:cubicBezTo>
                    <a:pt x="997" y="1257"/>
                    <a:pt x="1004" y="1289"/>
                    <a:pt x="981" y="1312"/>
                  </a:cubicBezTo>
                  <a:cubicBezTo>
                    <a:pt x="957" y="1328"/>
                    <a:pt x="965" y="1344"/>
                    <a:pt x="965" y="1376"/>
                  </a:cubicBezTo>
                  <a:cubicBezTo>
                    <a:pt x="965" y="1399"/>
                    <a:pt x="965" y="1431"/>
                    <a:pt x="957" y="1463"/>
                  </a:cubicBezTo>
                  <a:cubicBezTo>
                    <a:pt x="941" y="1518"/>
                    <a:pt x="949" y="1534"/>
                    <a:pt x="973" y="1589"/>
                  </a:cubicBezTo>
                  <a:cubicBezTo>
                    <a:pt x="981" y="1597"/>
                    <a:pt x="981" y="1613"/>
                    <a:pt x="989" y="1629"/>
                  </a:cubicBezTo>
                  <a:cubicBezTo>
                    <a:pt x="1012" y="1676"/>
                    <a:pt x="1020" y="1739"/>
                    <a:pt x="1020" y="1826"/>
                  </a:cubicBezTo>
                  <a:cubicBezTo>
                    <a:pt x="965" y="1834"/>
                    <a:pt x="846" y="1850"/>
                    <a:pt x="720" y="1858"/>
                  </a:cubicBezTo>
                  <a:cubicBezTo>
                    <a:pt x="854" y="1850"/>
                    <a:pt x="965" y="1834"/>
                    <a:pt x="1028" y="1826"/>
                  </a:cubicBezTo>
                  <a:lnTo>
                    <a:pt x="1028" y="1826"/>
                  </a:lnTo>
                  <a:cubicBezTo>
                    <a:pt x="1028" y="1739"/>
                    <a:pt x="1012" y="1676"/>
                    <a:pt x="997" y="1629"/>
                  </a:cubicBezTo>
                  <a:cubicBezTo>
                    <a:pt x="989" y="1613"/>
                    <a:pt x="981" y="1597"/>
                    <a:pt x="981" y="1581"/>
                  </a:cubicBezTo>
                  <a:cubicBezTo>
                    <a:pt x="957" y="1534"/>
                    <a:pt x="949" y="1518"/>
                    <a:pt x="965" y="1463"/>
                  </a:cubicBezTo>
                  <a:cubicBezTo>
                    <a:pt x="973" y="1431"/>
                    <a:pt x="973" y="1399"/>
                    <a:pt x="973" y="1376"/>
                  </a:cubicBezTo>
                  <a:cubicBezTo>
                    <a:pt x="973" y="1352"/>
                    <a:pt x="965" y="1328"/>
                    <a:pt x="981" y="1312"/>
                  </a:cubicBezTo>
                  <a:cubicBezTo>
                    <a:pt x="1012" y="1289"/>
                    <a:pt x="1004" y="1257"/>
                    <a:pt x="989" y="1202"/>
                  </a:cubicBezTo>
                  <a:cubicBezTo>
                    <a:pt x="973" y="1154"/>
                    <a:pt x="997" y="1083"/>
                    <a:pt x="1012" y="1059"/>
                  </a:cubicBezTo>
                  <a:cubicBezTo>
                    <a:pt x="1020" y="1059"/>
                    <a:pt x="1020" y="1052"/>
                    <a:pt x="1020" y="1052"/>
                  </a:cubicBezTo>
                  <a:cubicBezTo>
                    <a:pt x="1036" y="1036"/>
                    <a:pt x="1052" y="1028"/>
                    <a:pt x="1044" y="996"/>
                  </a:cubicBezTo>
                  <a:cubicBezTo>
                    <a:pt x="1044" y="981"/>
                    <a:pt x="1036" y="972"/>
                    <a:pt x="1036" y="965"/>
                  </a:cubicBezTo>
                  <a:cubicBezTo>
                    <a:pt x="1028" y="933"/>
                    <a:pt x="1020" y="909"/>
                    <a:pt x="1036" y="862"/>
                  </a:cubicBezTo>
                  <a:cubicBezTo>
                    <a:pt x="1044" y="846"/>
                    <a:pt x="1052" y="830"/>
                    <a:pt x="1068" y="814"/>
                  </a:cubicBezTo>
                  <a:cubicBezTo>
                    <a:pt x="1084" y="783"/>
                    <a:pt x="1091" y="767"/>
                    <a:pt x="1084" y="743"/>
                  </a:cubicBezTo>
                  <a:cubicBezTo>
                    <a:pt x="1075" y="735"/>
                    <a:pt x="1075" y="728"/>
                    <a:pt x="1075" y="728"/>
                  </a:cubicBezTo>
                  <a:cubicBezTo>
                    <a:pt x="1068" y="720"/>
                    <a:pt x="1068" y="720"/>
                    <a:pt x="1075" y="712"/>
                  </a:cubicBezTo>
                  <a:cubicBezTo>
                    <a:pt x="1084" y="712"/>
                    <a:pt x="1084" y="704"/>
                    <a:pt x="1091" y="696"/>
                  </a:cubicBezTo>
                  <a:cubicBezTo>
                    <a:pt x="1115" y="664"/>
                    <a:pt x="1123" y="648"/>
                    <a:pt x="1123" y="632"/>
                  </a:cubicBezTo>
                  <a:lnTo>
                    <a:pt x="1123" y="632"/>
                  </a:lnTo>
                  <a:cubicBezTo>
                    <a:pt x="1123" y="625"/>
                    <a:pt x="1131" y="617"/>
                    <a:pt x="1139" y="609"/>
                  </a:cubicBezTo>
                  <a:cubicBezTo>
                    <a:pt x="1147" y="601"/>
                    <a:pt x="1155" y="585"/>
                    <a:pt x="1147" y="569"/>
                  </a:cubicBezTo>
                  <a:cubicBezTo>
                    <a:pt x="1147" y="561"/>
                    <a:pt x="1155" y="546"/>
                    <a:pt x="1155" y="538"/>
                  </a:cubicBezTo>
                  <a:cubicBezTo>
                    <a:pt x="1163" y="530"/>
                    <a:pt x="1163" y="530"/>
                    <a:pt x="1163" y="522"/>
                  </a:cubicBezTo>
                  <a:cubicBezTo>
                    <a:pt x="1163" y="514"/>
                    <a:pt x="1163" y="498"/>
                    <a:pt x="1155" y="498"/>
                  </a:cubicBezTo>
                  <a:cubicBezTo>
                    <a:pt x="1155" y="490"/>
                    <a:pt x="1155" y="490"/>
                    <a:pt x="1147" y="490"/>
                  </a:cubicBezTo>
                  <a:lnTo>
                    <a:pt x="570" y="214"/>
                  </a:lnTo>
                  <a:lnTo>
                    <a:pt x="570" y="214"/>
                  </a:lnTo>
                  <a:cubicBezTo>
                    <a:pt x="554" y="221"/>
                    <a:pt x="546" y="221"/>
                    <a:pt x="538" y="221"/>
                  </a:cubicBezTo>
                  <a:cubicBezTo>
                    <a:pt x="546" y="221"/>
                    <a:pt x="554" y="221"/>
                    <a:pt x="570" y="214"/>
                  </a:cubicBezTo>
                  <a:lnTo>
                    <a:pt x="483" y="182"/>
                  </a:lnTo>
                  <a:lnTo>
                    <a:pt x="483" y="182"/>
                  </a:lnTo>
                  <a:cubicBezTo>
                    <a:pt x="491" y="190"/>
                    <a:pt x="491" y="198"/>
                    <a:pt x="498" y="198"/>
                  </a:cubicBezTo>
                  <a:cubicBezTo>
                    <a:pt x="491" y="198"/>
                    <a:pt x="491" y="190"/>
                    <a:pt x="483" y="182"/>
                  </a:cubicBezTo>
                  <a:lnTo>
                    <a:pt x="0" y="0"/>
                  </a:lnTo>
                  <a:lnTo>
                    <a:pt x="0" y="0"/>
                  </a:lnTo>
                  <a:cubicBezTo>
                    <a:pt x="0" y="8"/>
                    <a:pt x="8" y="16"/>
                    <a:pt x="16" y="16"/>
                  </a:cubicBezTo>
                  <a:cubicBezTo>
                    <a:pt x="8" y="16"/>
                    <a:pt x="0" y="8"/>
                    <a:pt x="0" y="0"/>
                  </a:cubicBezTo>
                  <a:lnTo>
                    <a:pt x="0" y="0"/>
                  </a:lnTo>
                  <a:lnTo>
                    <a:pt x="0" y="0"/>
                  </a:lnTo>
                  <a:lnTo>
                    <a:pt x="0" y="0"/>
                  </a:lnTo>
                  <a:lnTo>
                    <a:pt x="0" y="0"/>
                  </a:lnTo>
                  <a:lnTo>
                    <a:pt x="1147" y="490"/>
                  </a:lnTo>
                </a:path>
              </a:pathLst>
            </a:custGeom>
            <a:solidFill>
              <a:schemeClr val="accent6"/>
            </a:solidFill>
            <a:ln>
              <a:solidFill>
                <a:schemeClr val="bg2"/>
              </a:solidFill>
            </a:ln>
            <a:effectLst/>
          </p:spPr>
          <p:txBody>
            <a:bodyPr wrap="none" anchor="ctr"/>
            <a:lstStyle/>
            <a:p>
              <a:endParaRPr lang="en-US"/>
            </a:p>
          </p:txBody>
        </p:sp>
        <p:sp>
          <p:nvSpPr>
            <p:cNvPr id="78" name="Freeform 677"/>
            <p:cNvSpPr>
              <a:spLocks noChangeArrowheads="1"/>
            </p:cNvSpPr>
            <p:nvPr/>
          </p:nvSpPr>
          <p:spPr bwMode="auto">
            <a:xfrm>
              <a:off x="4888502" y="2410605"/>
              <a:ext cx="348264" cy="192796"/>
            </a:xfrm>
            <a:custGeom>
              <a:avLst/>
              <a:gdLst>
                <a:gd name="T0" fmla="*/ 933 w 966"/>
                <a:gd name="T1" fmla="*/ 546 h 618"/>
                <a:gd name="T2" fmla="*/ 933 w 966"/>
                <a:gd name="T3" fmla="*/ 546 h 618"/>
                <a:gd name="T4" fmla="*/ 957 w 966"/>
                <a:gd name="T5" fmla="*/ 609 h 618"/>
                <a:gd name="T6" fmla="*/ 965 w 966"/>
                <a:gd name="T7" fmla="*/ 617 h 618"/>
                <a:gd name="T8" fmla="*/ 965 w 966"/>
                <a:gd name="T9" fmla="*/ 617 h 618"/>
                <a:gd name="T10" fmla="*/ 957 w 966"/>
                <a:gd name="T11" fmla="*/ 609 h 618"/>
                <a:gd name="T12" fmla="*/ 933 w 966"/>
                <a:gd name="T13" fmla="*/ 546 h 618"/>
                <a:gd name="T14" fmla="*/ 16 w 966"/>
                <a:gd name="T15" fmla="*/ 16 h 618"/>
                <a:gd name="T16" fmla="*/ 16 w 966"/>
                <a:gd name="T17" fmla="*/ 16 h 618"/>
                <a:gd name="T18" fmla="*/ 16 w 966"/>
                <a:gd name="T19" fmla="*/ 16 h 618"/>
                <a:gd name="T20" fmla="*/ 72 w 966"/>
                <a:gd name="T21" fmla="*/ 79 h 618"/>
                <a:gd name="T22" fmla="*/ 87 w 966"/>
                <a:gd name="T23" fmla="*/ 95 h 618"/>
                <a:gd name="T24" fmla="*/ 87 w 966"/>
                <a:gd name="T25" fmla="*/ 95 h 618"/>
                <a:gd name="T26" fmla="*/ 182 w 966"/>
                <a:gd name="T27" fmla="*/ 135 h 618"/>
                <a:gd name="T28" fmla="*/ 491 w 966"/>
                <a:gd name="T29" fmla="*/ 190 h 618"/>
                <a:gd name="T30" fmla="*/ 498 w 966"/>
                <a:gd name="T31" fmla="*/ 206 h 618"/>
                <a:gd name="T32" fmla="*/ 538 w 966"/>
                <a:gd name="T33" fmla="*/ 222 h 618"/>
                <a:gd name="T34" fmla="*/ 570 w 966"/>
                <a:gd name="T35" fmla="*/ 214 h 618"/>
                <a:gd name="T36" fmla="*/ 617 w 966"/>
                <a:gd name="T37" fmla="*/ 206 h 618"/>
                <a:gd name="T38" fmla="*/ 649 w 966"/>
                <a:gd name="T39" fmla="*/ 190 h 618"/>
                <a:gd name="T40" fmla="*/ 664 w 966"/>
                <a:gd name="T41" fmla="*/ 206 h 618"/>
                <a:gd name="T42" fmla="*/ 712 w 966"/>
                <a:gd name="T43" fmla="*/ 214 h 618"/>
                <a:gd name="T44" fmla="*/ 775 w 966"/>
                <a:gd name="T45" fmla="*/ 245 h 618"/>
                <a:gd name="T46" fmla="*/ 775 w 966"/>
                <a:gd name="T47" fmla="*/ 253 h 618"/>
                <a:gd name="T48" fmla="*/ 799 w 966"/>
                <a:gd name="T49" fmla="*/ 309 h 618"/>
                <a:gd name="T50" fmla="*/ 799 w 966"/>
                <a:gd name="T51" fmla="*/ 309 h 618"/>
                <a:gd name="T52" fmla="*/ 878 w 966"/>
                <a:gd name="T53" fmla="*/ 403 h 618"/>
                <a:gd name="T54" fmla="*/ 878 w 966"/>
                <a:gd name="T55" fmla="*/ 403 h 618"/>
                <a:gd name="T56" fmla="*/ 799 w 966"/>
                <a:gd name="T57" fmla="*/ 309 h 618"/>
                <a:gd name="T58" fmla="*/ 799 w 966"/>
                <a:gd name="T59" fmla="*/ 309 h 618"/>
                <a:gd name="T60" fmla="*/ 775 w 966"/>
                <a:gd name="T61" fmla="*/ 253 h 618"/>
                <a:gd name="T62" fmla="*/ 775 w 966"/>
                <a:gd name="T63" fmla="*/ 245 h 618"/>
                <a:gd name="T64" fmla="*/ 712 w 966"/>
                <a:gd name="T65" fmla="*/ 214 h 618"/>
                <a:gd name="T66" fmla="*/ 664 w 966"/>
                <a:gd name="T67" fmla="*/ 206 h 618"/>
                <a:gd name="T68" fmla="*/ 649 w 966"/>
                <a:gd name="T69" fmla="*/ 190 h 618"/>
                <a:gd name="T70" fmla="*/ 617 w 966"/>
                <a:gd name="T71" fmla="*/ 206 h 618"/>
                <a:gd name="T72" fmla="*/ 570 w 966"/>
                <a:gd name="T73" fmla="*/ 214 h 618"/>
                <a:gd name="T74" fmla="*/ 538 w 966"/>
                <a:gd name="T75" fmla="*/ 222 h 618"/>
                <a:gd name="T76" fmla="*/ 498 w 966"/>
                <a:gd name="T77" fmla="*/ 206 h 618"/>
                <a:gd name="T78" fmla="*/ 491 w 966"/>
                <a:gd name="T79" fmla="*/ 190 h 618"/>
                <a:gd name="T80" fmla="*/ 182 w 966"/>
                <a:gd name="T81" fmla="*/ 135 h 618"/>
                <a:gd name="T82" fmla="*/ 87 w 966"/>
                <a:gd name="T83" fmla="*/ 95 h 618"/>
                <a:gd name="T84" fmla="*/ 87 w 966"/>
                <a:gd name="T85" fmla="*/ 95 h 618"/>
                <a:gd name="T86" fmla="*/ 72 w 966"/>
                <a:gd name="T87" fmla="*/ 79 h 618"/>
                <a:gd name="T88" fmla="*/ 16 w 966"/>
                <a:gd name="T89" fmla="*/ 16 h 618"/>
                <a:gd name="T90" fmla="*/ 16 w 966"/>
                <a:gd name="T91" fmla="*/ 16 h 618"/>
                <a:gd name="T92" fmla="*/ 16 w 966"/>
                <a:gd name="T93" fmla="*/ 16 h 618"/>
                <a:gd name="T94" fmla="*/ 16 w 966"/>
                <a:gd name="T95" fmla="*/ 16 h 618"/>
                <a:gd name="T96" fmla="*/ 16 w 966"/>
                <a:gd name="T97" fmla="*/ 16 h 618"/>
                <a:gd name="T98" fmla="*/ 16 w 966"/>
                <a:gd name="T99" fmla="*/ 16 h 618"/>
                <a:gd name="T100" fmla="*/ 0 w 966"/>
                <a:gd name="T101" fmla="*/ 0 h 618"/>
                <a:gd name="T102" fmla="*/ 0 w 966"/>
                <a:gd name="T103" fmla="*/ 0 h 618"/>
                <a:gd name="T104" fmla="*/ 0 w 966"/>
                <a:gd name="T105" fmla="*/ 0 h 618"/>
                <a:gd name="T106" fmla="*/ 16 w 966"/>
                <a:gd name="T107" fmla="*/ 16 h 618"/>
                <a:gd name="T108" fmla="*/ 0 w 966"/>
                <a:gd name="T109" fmla="*/ 0 h 618"/>
                <a:gd name="T110" fmla="*/ 933 w 966"/>
                <a:gd name="T111" fmla="*/ 54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66" h="618">
                  <a:moveTo>
                    <a:pt x="933" y="546"/>
                  </a:moveTo>
                  <a:lnTo>
                    <a:pt x="933" y="546"/>
                  </a:lnTo>
                  <a:cubicBezTo>
                    <a:pt x="933" y="577"/>
                    <a:pt x="933" y="601"/>
                    <a:pt x="957" y="609"/>
                  </a:cubicBezTo>
                  <a:cubicBezTo>
                    <a:pt x="965" y="609"/>
                    <a:pt x="965" y="617"/>
                    <a:pt x="965" y="617"/>
                  </a:cubicBezTo>
                  <a:lnTo>
                    <a:pt x="965" y="617"/>
                  </a:lnTo>
                  <a:cubicBezTo>
                    <a:pt x="965" y="617"/>
                    <a:pt x="965" y="609"/>
                    <a:pt x="957" y="609"/>
                  </a:cubicBezTo>
                  <a:cubicBezTo>
                    <a:pt x="933" y="601"/>
                    <a:pt x="933" y="577"/>
                    <a:pt x="933" y="546"/>
                  </a:cubicBezTo>
                  <a:lnTo>
                    <a:pt x="16" y="16"/>
                  </a:lnTo>
                  <a:lnTo>
                    <a:pt x="16" y="16"/>
                  </a:lnTo>
                  <a:lnTo>
                    <a:pt x="16" y="16"/>
                  </a:lnTo>
                  <a:cubicBezTo>
                    <a:pt x="40" y="32"/>
                    <a:pt x="64" y="63"/>
                    <a:pt x="72" y="79"/>
                  </a:cubicBezTo>
                  <a:cubicBezTo>
                    <a:pt x="80" y="87"/>
                    <a:pt x="80" y="95"/>
                    <a:pt x="87" y="95"/>
                  </a:cubicBezTo>
                  <a:lnTo>
                    <a:pt x="87" y="95"/>
                  </a:lnTo>
                  <a:cubicBezTo>
                    <a:pt x="95" y="111"/>
                    <a:pt x="111" y="135"/>
                    <a:pt x="182" y="135"/>
                  </a:cubicBezTo>
                  <a:cubicBezTo>
                    <a:pt x="253" y="135"/>
                    <a:pt x="451" y="150"/>
                    <a:pt x="491" y="190"/>
                  </a:cubicBezTo>
                  <a:cubicBezTo>
                    <a:pt x="491" y="190"/>
                    <a:pt x="498" y="198"/>
                    <a:pt x="498" y="206"/>
                  </a:cubicBezTo>
                  <a:cubicBezTo>
                    <a:pt x="514" y="214"/>
                    <a:pt x="522" y="222"/>
                    <a:pt x="538" y="222"/>
                  </a:cubicBezTo>
                  <a:cubicBezTo>
                    <a:pt x="546" y="222"/>
                    <a:pt x="554" y="222"/>
                    <a:pt x="570" y="214"/>
                  </a:cubicBezTo>
                  <a:cubicBezTo>
                    <a:pt x="585" y="214"/>
                    <a:pt x="601" y="206"/>
                    <a:pt x="617" y="206"/>
                  </a:cubicBezTo>
                  <a:cubicBezTo>
                    <a:pt x="625" y="198"/>
                    <a:pt x="633" y="190"/>
                    <a:pt x="649" y="190"/>
                  </a:cubicBezTo>
                  <a:cubicBezTo>
                    <a:pt x="657" y="190"/>
                    <a:pt x="664" y="198"/>
                    <a:pt x="664" y="206"/>
                  </a:cubicBezTo>
                  <a:cubicBezTo>
                    <a:pt x="672" y="214"/>
                    <a:pt x="696" y="214"/>
                    <a:pt x="712" y="214"/>
                  </a:cubicBezTo>
                  <a:cubicBezTo>
                    <a:pt x="744" y="222"/>
                    <a:pt x="775" y="222"/>
                    <a:pt x="775" y="245"/>
                  </a:cubicBezTo>
                  <a:cubicBezTo>
                    <a:pt x="775" y="253"/>
                    <a:pt x="775" y="253"/>
                    <a:pt x="775" y="253"/>
                  </a:cubicBezTo>
                  <a:cubicBezTo>
                    <a:pt x="783" y="293"/>
                    <a:pt x="783" y="301"/>
                    <a:pt x="799" y="309"/>
                  </a:cubicBezTo>
                  <a:lnTo>
                    <a:pt x="799" y="309"/>
                  </a:lnTo>
                  <a:cubicBezTo>
                    <a:pt x="823" y="309"/>
                    <a:pt x="878" y="325"/>
                    <a:pt x="878" y="403"/>
                  </a:cubicBezTo>
                  <a:lnTo>
                    <a:pt x="878" y="403"/>
                  </a:lnTo>
                  <a:cubicBezTo>
                    <a:pt x="878" y="325"/>
                    <a:pt x="823" y="309"/>
                    <a:pt x="799" y="309"/>
                  </a:cubicBezTo>
                  <a:lnTo>
                    <a:pt x="799" y="309"/>
                  </a:lnTo>
                  <a:cubicBezTo>
                    <a:pt x="783" y="301"/>
                    <a:pt x="783" y="293"/>
                    <a:pt x="775" y="253"/>
                  </a:cubicBezTo>
                  <a:cubicBezTo>
                    <a:pt x="775" y="245"/>
                    <a:pt x="775" y="245"/>
                    <a:pt x="775" y="245"/>
                  </a:cubicBezTo>
                  <a:cubicBezTo>
                    <a:pt x="775" y="222"/>
                    <a:pt x="744" y="222"/>
                    <a:pt x="712" y="214"/>
                  </a:cubicBezTo>
                  <a:cubicBezTo>
                    <a:pt x="696" y="214"/>
                    <a:pt x="672" y="214"/>
                    <a:pt x="664" y="206"/>
                  </a:cubicBezTo>
                  <a:cubicBezTo>
                    <a:pt x="664" y="198"/>
                    <a:pt x="657" y="190"/>
                    <a:pt x="649" y="190"/>
                  </a:cubicBezTo>
                  <a:cubicBezTo>
                    <a:pt x="633" y="190"/>
                    <a:pt x="625" y="198"/>
                    <a:pt x="617" y="206"/>
                  </a:cubicBezTo>
                  <a:cubicBezTo>
                    <a:pt x="601" y="206"/>
                    <a:pt x="585" y="214"/>
                    <a:pt x="570" y="214"/>
                  </a:cubicBezTo>
                  <a:cubicBezTo>
                    <a:pt x="554" y="222"/>
                    <a:pt x="546" y="222"/>
                    <a:pt x="538" y="222"/>
                  </a:cubicBezTo>
                  <a:cubicBezTo>
                    <a:pt x="522" y="222"/>
                    <a:pt x="514" y="214"/>
                    <a:pt x="498" y="206"/>
                  </a:cubicBezTo>
                  <a:cubicBezTo>
                    <a:pt x="498" y="198"/>
                    <a:pt x="491" y="190"/>
                    <a:pt x="491" y="190"/>
                  </a:cubicBezTo>
                  <a:cubicBezTo>
                    <a:pt x="451" y="150"/>
                    <a:pt x="253" y="135"/>
                    <a:pt x="182" y="135"/>
                  </a:cubicBezTo>
                  <a:cubicBezTo>
                    <a:pt x="111" y="135"/>
                    <a:pt x="95" y="111"/>
                    <a:pt x="87" y="95"/>
                  </a:cubicBezTo>
                  <a:lnTo>
                    <a:pt x="87" y="95"/>
                  </a:lnTo>
                  <a:cubicBezTo>
                    <a:pt x="80" y="95"/>
                    <a:pt x="80" y="87"/>
                    <a:pt x="72" y="79"/>
                  </a:cubicBezTo>
                  <a:cubicBezTo>
                    <a:pt x="64" y="63"/>
                    <a:pt x="40" y="32"/>
                    <a:pt x="16" y="16"/>
                  </a:cubicBezTo>
                  <a:lnTo>
                    <a:pt x="16" y="16"/>
                  </a:lnTo>
                  <a:lnTo>
                    <a:pt x="16" y="16"/>
                  </a:lnTo>
                  <a:lnTo>
                    <a:pt x="16" y="16"/>
                  </a:lnTo>
                  <a:lnTo>
                    <a:pt x="16" y="16"/>
                  </a:lnTo>
                  <a:lnTo>
                    <a:pt x="16" y="16"/>
                  </a:lnTo>
                  <a:lnTo>
                    <a:pt x="0" y="0"/>
                  </a:lnTo>
                  <a:lnTo>
                    <a:pt x="0" y="0"/>
                  </a:lnTo>
                  <a:lnTo>
                    <a:pt x="0" y="0"/>
                  </a:lnTo>
                  <a:cubicBezTo>
                    <a:pt x="8" y="8"/>
                    <a:pt x="16" y="16"/>
                    <a:pt x="16" y="16"/>
                  </a:cubicBezTo>
                  <a:cubicBezTo>
                    <a:pt x="16" y="16"/>
                    <a:pt x="8" y="8"/>
                    <a:pt x="0" y="0"/>
                  </a:cubicBezTo>
                  <a:lnTo>
                    <a:pt x="933" y="546"/>
                  </a:lnTo>
                </a:path>
              </a:pathLst>
            </a:custGeom>
            <a:solidFill>
              <a:schemeClr val="accent6"/>
            </a:solidFill>
            <a:ln>
              <a:solidFill>
                <a:schemeClr val="bg2"/>
              </a:solidFill>
            </a:ln>
            <a:effectLst/>
          </p:spPr>
          <p:txBody>
            <a:bodyPr wrap="none" anchor="ctr"/>
            <a:lstStyle/>
            <a:p>
              <a:endParaRPr lang="en-US"/>
            </a:p>
          </p:txBody>
        </p:sp>
        <p:sp>
          <p:nvSpPr>
            <p:cNvPr id="79" name="Freeform 678"/>
            <p:cNvSpPr>
              <a:spLocks noChangeArrowheads="1"/>
            </p:cNvSpPr>
            <p:nvPr/>
          </p:nvSpPr>
          <p:spPr bwMode="auto">
            <a:xfrm>
              <a:off x="4883731" y="2407851"/>
              <a:ext cx="356214" cy="198305"/>
            </a:xfrm>
            <a:custGeom>
              <a:avLst/>
              <a:gdLst>
                <a:gd name="T0" fmla="*/ 7 w 989"/>
                <a:gd name="T1" fmla="*/ 0 h 634"/>
                <a:gd name="T2" fmla="*/ 0 w 989"/>
                <a:gd name="T3" fmla="*/ 0 h 634"/>
                <a:gd name="T4" fmla="*/ 7 w 989"/>
                <a:gd name="T5" fmla="*/ 8 h 634"/>
                <a:gd name="T6" fmla="*/ 7 w 989"/>
                <a:gd name="T7" fmla="*/ 8 h 634"/>
                <a:gd name="T8" fmla="*/ 15 w 989"/>
                <a:gd name="T9" fmla="*/ 16 h 634"/>
                <a:gd name="T10" fmla="*/ 31 w 989"/>
                <a:gd name="T11" fmla="*/ 32 h 634"/>
                <a:gd name="T12" fmla="*/ 87 w 989"/>
                <a:gd name="T13" fmla="*/ 95 h 634"/>
                <a:gd name="T14" fmla="*/ 95 w 989"/>
                <a:gd name="T15" fmla="*/ 111 h 634"/>
                <a:gd name="T16" fmla="*/ 498 w 989"/>
                <a:gd name="T17" fmla="*/ 198 h 634"/>
                <a:gd name="T18" fmla="*/ 513 w 989"/>
                <a:gd name="T19" fmla="*/ 214 h 634"/>
                <a:gd name="T20" fmla="*/ 553 w 989"/>
                <a:gd name="T21" fmla="*/ 237 h 634"/>
                <a:gd name="T22" fmla="*/ 585 w 989"/>
                <a:gd name="T23" fmla="*/ 230 h 634"/>
                <a:gd name="T24" fmla="*/ 632 w 989"/>
                <a:gd name="T25" fmla="*/ 214 h 634"/>
                <a:gd name="T26" fmla="*/ 679 w 989"/>
                <a:gd name="T27" fmla="*/ 222 h 634"/>
                <a:gd name="T28" fmla="*/ 782 w 989"/>
                <a:gd name="T29" fmla="*/ 253 h 634"/>
                <a:gd name="T30" fmla="*/ 814 w 989"/>
                <a:gd name="T31" fmla="*/ 324 h 634"/>
                <a:gd name="T32" fmla="*/ 885 w 989"/>
                <a:gd name="T33" fmla="*/ 411 h 634"/>
                <a:gd name="T34" fmla="*/ 885 w 989"/>
                <a:gd name="T35" fmla="*/ 411 h 634"/>
                <a:gd name="T36" fmla="*/ 869 w 989"/>
                <a:gd name="T37" fmla="*/ 483 h 634"/>
                <a:gd name="T38" fmla="*/ 885 w 989"/>
                <a:gd name="T39" fmla="*/ 514 h 634"/>
                <a:gd name="T40" fmla="*/ 940 w 989"/>
                <a:gd name="T41" fmla="*/ 538 h 634"/>
                <a:gd name="T42" fmla="*/ 940 w 989"/>
                <a:gd name="T43" fmla="*/ 538 h 634"/>
                <a:gd name="T44" fmla="*/ 940 w 989"/>
                <a:gd name="T45" fmla="*/ 554 h 634"/>
                <a:gd name="T46" fmla="*/ 972 w 989"/>
                <a:gd name="T47" fmla="*/ 625 h 634"/>
                <a:gd name="T48" fmla="*/ 988 w 989"/>
                <a:gd name="T49" fmla="*/ 633 h 634"/>
                <a:gd name="T50" fmla="*/ 988 w 989"/>
                <a:gd name="T51" fmla="*/ 625 h 634"/>
                <a:gd name="T52" fmla="*/ 988 w 989"/>
                <a:gd name="T53" fmla="*/ 625 h 634"/>
                <a:gd name="T54" fmla="*/ 980 w 989"/>
                <a:gd name="T55" fmla="*/ 625 h 634"/>
                <a:gd name="T56" fmla="*/ 948 w 989"/>
                <a:gd name="T57" fmla="*/ 554 h 634"/>
                <a:gd name="T58" fmla="*/ 948 w 989"/>
                <a:gd name="T59" fmla="*/ 538 h 634"/>
                <a:gd name="T60" fmla="*/ 885 w 989"/>
                <a:gd name="T61" fmla="*/ 506 h 634"/>
                <a:gd name="T62" fmla="*/ 877 w 989"/>
                <a:gd name="T63" fmla="*/ 498 h 634"/>
                <a:gd name="T64" fmla="*/ 893 w 989"/>
                <a:gd name="T65" fmla="*/ 411 h 634"/>
                <a:gd name="T66" fmla="*/ 814 w 989"/>
                <a:gd name="T67" fmla="*/ 317 h 634"/>
                <a:gd name="T68" fmla="*/ 790 w 989"/>
                <a:gd name="T69" fmla="*/ 253 h 634"/>
                <a:gd name="T70" fmla="*/ 679 w 989"/>
                <a:gd name="T71" fmla="*/ 214 h 634"/>
                <a:gd name="T72" fmla="*/ 632 w 989"/>
                <a:gd name="T73" fmla="*/ 214 h 634"/>
                <a:gd name="T74" fmla="*/ 553 w 989"/>
                <a:gd name="T75" fmla="*/ 230 h 634"/>
                <a:gd name="T76" fmla="*/ 506 w 989"/>
                <a:gd name="T77" fmla="*/ 198 h 634"/>
                <a:gd name="T78" fmla="*/ 102 w 989"/>
                <a:gd name="T79" fmla="*/ 103 h 634"/>
                <a:gd name="T80" fmla="*/ 87 w 989"/>
                <a:gd name="T81" fmla="*/ 87 h 634"/>
                <a:gd name="T82" fmla="*/ 31 w 989"/>
                <a:gd name="T83" fmla="*/ 24 h 634"/>
                <a:gd name="T84" fmla="*/ 31 w 989"/>
                <a:gd name="T85" fmla="*/ 24 h 634"/>
                <a:gd name="T86" fmla="*/ 15 w 989"/>
                <a:gd name="T87" fmla="*/ 8 h 634"/>
                <a:gd name="T88" fmla="*/ 15 w 989"/>
                <a:gd name="T89" fmla="*/ 8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9" h="634">
                  <a:moveTo>
                    <a:pt x="7" y="0"/>
                  </a:moveTo>
                  <a:lnTo>
                    <a:pt x="7" y="0"/>
                  </a:lnTo>
                  <a:lnTo>
                    <a:pt x="7" y="0"/>
                  </a:lnTo>
                  <a:cubicBezTo>
                    <a:pt x="7" y="0"/>
                    <a:pt x="7" y="0"/>
                    <a:pt x="0" y="0"/>
                  </a:cubicBezTo>
                  <a:lnTo>
                    <a:pt x="0" y="0"/>
                  </a:lnTo>
                  <a:cubicBezTo>
                    <a:pt x="7" y="8"/>
                    <a:pt x="7" y="8"/>
                    <a:pt x="7" y="8"/>
                  </a:cubicBezTo>
                  <a:lnTo>
                    <a:pt x="7" y="8"/>
                  </a:lnTo>
                  <a:lnTo>
                    <a:pt x="7" y="8"/>
                  </a:lnTo>
                  <a:cubicBezTo>
                    <a:pt x="7" y="16"/>
                    <a:pt x="7" y="16"/>
                    <a:pt x="15" y="16"/>
                  </a:cubicBezTo>
                  <a:lnTo>
                    <a:pt x="15" y="16"/>
                  </a:lnTo>
                  <a:lnTo>
                    <a:pt x="15" y="16"/>
                  </a:lnTo>
                  <a:cubicBezTo>
                    <a:pt x="15" y="24"/>
                    <a:pt x="23" y="32"/>
                    <a:pt x="31" y="32"/>
                  </a:cubicBezTo>
                  <a:lnTo>
                    <a:pt x="31" y="32"/>
                  </a:lnTo>
                  <a:cubicBezTo>
                    <a:pt x="55" y="48"/>
                    <a:pt x="71" y="71"/>
                    <a:pt x="87" y="95"/>
                  </a:cubicBezTo>
                  <a:cubicBezTo>
                    <a:pt x="87" y="95"/>
                    <a:pt x="95" y="103"/>
                    <a:pt x="95" y="111"/>
                  </a:cubicBezTo>
                  <a:lnTo>
                    <a:pt x="95" y="111"/>
                  </a:lnTo>
                  <a:cubicBezTo>
                    <a:pt x="110" y="127"/>
                    <a:pt x="126" y="151"/>
                    <a:pt x="197" y="151"/>
                  </a:cubicBezTo>
                  <a:cubicBezTo>
                    <a:pt x="268" y="151"/>
                    <a:pt x="466" y="166"/>
                    <a:pt x="498" y="198"/>
                  </a:cubicBezTo>
                  <a:lnTo>
                    <a:pt x="498" y="198"/>
                  </a:lnTo>
                  <a:cubicBezTo>
                    <a:pt x="506" y="206"/>
                    <a:pt x="506" y="214"/>
                    <a:pt x="513" y="214"/>
                  </a:cubicBezTo>
                  <a:lnTo>
                    <a:pt x="513" y="214"/>
                  </a:lnTo>
                  <a:cubicBezTo>
                    <a:pt x="521" y="230"/>
                    <a:pt x="529" y="237"/>
                    <a:pt x="553" y="237"/>
                  </a:cubicBezTo>
                  <a:lnTo>
                    <a:pt x="553" y="237"/>
                  </a:lnTo>
                  <a:cubicBezTo>
                    <a:pt x="561" y="237"/>
                    <a:pt x="569" y="237"/>
                    <a:pt x="585" y="230"/>
                  </a:cubicBezTo>
                  <a:lnTo>
                    <a:pt x="585" y="230"/>
                  </a:lnTo>
                  <a:cubicBezTo>
                    <a:pt x="608" y="230"/>
                    <a:pt x="624" y="222"/>
                    <a:pt x="632" y="214"/>
                  </a:cubicBezTo>
                  <a:cubicBezTo>
                    <a:pt x="648" y="214"/>
                    <a:pt x="656" y="206"/>
                    <a:pt x="664" y="206"/>
                  </a:cubicBezTo>
                  <a:cubicBezTo>
                    <a:pt x="664" y="206"/>
                    <a:pt x="672" y="214"/>
                    <a:pt x="679" y="222"/>
                  </a:cubicBezTo>
                  <a:cubicBezTo>
                    <a:pt x="687" y="230"/>
                    <a:pt x="711" y="230"/>
                    <a:pt x="727" y="230"/>
                  </a:cubicBezTo>
                  <a:cubicBezTo>
                    <a:pt x="759" y="230"/>
                    <a:pt x="782" y="237"/>
                    <a:pt x="782" y="253"/>
                  </a:cubicBezTo>
                  <a:cubicBezTo>
                    <a:pt x="782" y="261"/>
                    <a:pt x="782" y="261"/>
                    <a:pt x="782" y="261"/>
                  </a:cubicBezTo>
                  <a:cubicBezTo>
                    <a:pt x="790" y="301"/>
                    <a:pt x="790" y="317"/>
                    <a:pt x="814" y="324"/>
                  </a:cubicBezTo>
                  <a:lnTo>
                    <a:pt x="814" y="324"/>
                  </a:lnTo>
                  <a:cubicBezTo>
                    <a:pt x="838" y="324"/>
                    <a:pt x="885" y="333"/>
                    <a:pt x="885" y="411"/>
                  </a:cubicBezTo>
                  <a:lnTo>
                    <a:pt x="885" y="411"/>
                  </a:lnTo>
                  <a:lnTo>
                    <a:pt x="885" y="411"/>
                  </a:lnTo>
                  <a:cubicBezTo>
                    <a:pt x="885" y="451"/>
                    <a:pt x="877" y="475"/>
                    <a:pt x="869" y="483"/>
                  </a:cubicBezTo>
                  <a:lnTo>
                    <a:pt x="869" y="483"/>
                  </a:lnTo>
                  <a:cubicBezTo>
                    <a:pt x="869" y="491"/>
                    <a:pt x="861" y="498"/>
                    <a:pt x="869" y="506"/>
                  </a:cubicBezTo>
                  <a:cubicBezTo>
                    <a:pt x="869" y="506"/>
                    <a:pt x="877" y="506"/>
                    <a:pt x="885" y="514"/>
                  </a:cubicBezTo>
                  <a:cubicBezTo>
                    <a:pt x="893" y="514"/>
                    <a:pt x="901" y="514"/>
                    <a:pt x="909" y="514"/>
                  </a:cubicBezTo>
                  <a:cubicBezTo>
                    <a:pt x="932" y="522"/>
                    <a:pt x="940" y="522"/>
                    <a:pt x="940" y="538"/>
                  </a:cubicBezTo>
                  <a:lnTo>
                    <a:pt x="940" y="538"/>
                  </a:lnTo>
                  <a:lnTo>
                    <a:pt x="940" y="538"/>
                  </a:lnTo>
                  <a:lnTo>
                    <a:pt x="940" y="546"/>
                  </a:lnTo>
                  <a:cubicBezTo>
                    <a:pt x="940" y="554"/>
                    <a:pt x="940" y="554"/>
                    <a:pt x="940" y="554"/>
                  </a:cubicBezTo>
                  <a:cubicBezTo>
                    <a:pt x="940" y="585"/>
                    <a:pt x="940" y="609"/>
                    <a:pt x="972" y="625"/>
                  </a:cubicBezTo>
                  <a:lnTo>
                    <a:pt x="972" y="625"/>
                  </a:lnTo>
                  <a:lnTo>
                    <a:pt x="980" y="633"/>
                  </a:lnTo>
                  <a:cubicBezTo>
                    <a:pt x="988" y="633"/>
                    <a:pt x="988" y="633"/>
                    <a:pt x="988" y="633"/>
                  </a:cubicBezTo>
                  <a:cubicBezTo>
                    <a:pt x="988" y="625"/>
                    <a:pt x="988" y="625"/>
                    <a:pt x="988" y="625"/>
                  </a:cubicBezTo>
                  <a:lnTo>
                    <a:pt x="988" y="625"/>
                  </a:lnTo>
                  <a:lnTo>
                    <a:pt x="988" y="625"/>
                  </a:lnTo>
                  <a:lnTo>
                    <a:pt x="988" y="625"/>
                  </a:lnTo>
                  <a:cubicBezTo>
                    <a:pt x="980" y="625"/>
                    <a:pt x="980" y="625"/>
                    <a:pt x="980" y="625"/>
                  </a:cubicBezTo>
                  <a:lnTo>
                    <a:pt x="980" y="625"/>
                  </a:lnTo>
                  <a:cubicBezTo>
                    <a:pt x="980" y="625"/>
                    <a:pt x="980" y="617"/>
                    <a:pt x="972" y="617"/>
                  </a:cubicBezTo>
                  <a:cubicBezTo>
                    <a:pt x="948" y="609"/>
                    <a:pt x="948" y="585"/>
                    <a:pt x="948" y="554"/>
                  </a:cubicBezTo>
                  <a:cubicBezTo>
                    <a:pt x="948" y="554"/>
                    <a:pt x="948" y="554"/>
                    <a:pt x="948" y="546"/>
                  </a:cubicBezTo>
                  <a:lnTo>
                    <a:pt x="948" y="538"/>
                  </a:lnTo>
                  <a:cubicBezTo>
                    <a:pt x="948" y="514"/>
                    <a:pt x="932" y="514"/>
                    <a:pt x="909" y="506"/>
                  </a:cubicBezTo>
                  <a:cubicBezTo>
                    <a:pt x="901" y="506"/>
                    <a:pt x="893" y="506"/>
                    <a:pt x="885" y="506"/>
                  </a:cubicBezTo>
                  <a:cubicBezTo>
                    <a:pt x="885" y="506"/>
                    <a:pt x="877" y="506"/>
                    <a:pt x="877" y="498"/>
                  </a:cubicBezTo>
                  <a:lnTo>
                    <a:pt x="877" y="498"/>
                  </a:lnTo>
                  <a:lnTo>
                    <a:pt x="877" y="491"/>
                  </a:lnTo>
                  <a:cubicBezTo>
                    <a:pt x="885" y="475"/>
                    <a:pt x="893" y="451"/>
                    <a:pt x="893" y="411"/>
                  </a:cubicBezTo>
                  <a:cubicBezTo>
                    <a:pt x="893" y="333"/>
                    <a:pt x="838" y="317"/>
                    <a:pt x="814" y="317"/>
                  </a:cubicBezTo>
                  <a:lnTo>
                    <a:pt x="814" y="317"/>
                  </a:lnTo>
                  <a:cubicBezTo>
                    <a:pt x="798" y="309"/>
                    <a:pt x="798" y="301"/>
                    <a:pt x="790" y="261"/>
                  </a:cubicBezTo>
                  <a:cubicBezTo>
                    <a:pt x="790" y="253"/>
                    <a:pt x="790" y="253"/>
                    <a:pt x="790" y="253"/>
                  </a:cubicBezTo>
                  <a:cubicBezTo>
                    <a:pt x="790" y="230"/>
                    <a:pt x="759" y="230"/>
                    <a:pt x="727" y="222"/>
                  </a:cubicBezTo>
                  <a:cubicBezTo>
                    <a:pt x="711" y="222"/>
                    <a:pt x="687" y="222"/>
                    <a:pt x="679" y="214"/>
                  </a:cubicBezTo>
                  <a:cubicBezTo>
                    <a:pt x="679" y="206"/>
                    <a:pt x="672" y="198"/>
                    <a:pt x="664" y="198"/>
                  </a:cubicBezTo>
                  <a:cubicBezTo>
                    <a:pt x="648" y="198"/>
                    <a:pt x="640" y="206"/>
                    <a:pt x="632" y="214"/>
                  </a:cubicBezTo>
                  <a:cubicBezTo>
                    <a:pt x="616" y="214"/>
                    <a:pt x="600" y="222"/>
                    <a:pt x="585" y="222"/>
                  </a:cubicBezTo>
                  <a:cubicBezTo>
                    <a:pt x="569" y="230"/>
                    <a:pt x="561" y="230"/>
                    <a:pt x="553" y="230"/>
                  </a:cubicBezTo>
                  <a:cubicBezTo>
                    <a:pt x="537" y="230"/>
                    <a:pt x="529" y="222"/>
                    <a:pt x="513" y="214"/>
                  </a:cubicBezTo>
                  <a:cubicBezTo>
                    <a:pt x="513" y="206"/>
                    <a:pt x="506" y="198"/>
                    <a:pt x="506" y="198"/>
                  </a:cubicBezTo>
                  <a:cubicBezTo>
                    <a:pt x="466" y="158"/>
                    <a:pt x="268" y="143"/>
                    <a:pt x="197" y="143"/>
                  </a:cubicBezTo>
                  <a:cubicBezTo>
                    <a:pt x="126" y="143"/>
                    <a:pt x="110" y="119"/>
                    <a:pt x="102" y="103"/>
                  </a:cubicBezTo>
                  <a:lnTo>
                    <a:pt x="102" y="103"/>
                  </a:lnTo>
                  <a:cubicBezTo>
                    <a:pt x="95" y="103"/>
                    <a:pt x="95" y="95"/>
                    <a:pt x="87" y="87"/>
                  </a:cubicBezTo>
                  <a:cubicBezTo>
                    <a:pt x="79" y="71"/>
                    <a:pt x="55" y="40"/>
                    <a:pt x="31" y="24"/>
                  </a:cubicBezTo>
                  <a:lnTo>
                    <a:pt x="31" y="24"/>
                  </a:lnTo>
                  <a:lnTo>
                    <a:pt x="31" y="24"/>
                  </a:lnTo>
                  <a:lnTo>
                    <a:pt x="31" y="24"/>
                  </a:lnTo>
                  <a:lnTo>
                    <a:pt x="31" y="24"/>
                  </a:lnTo>
                  <a:cubicBezTo>
                    <a:pt x="31" y="24"/>
                    <a:pt x="23" y="16"/>
                    <a:pt x="15" y="8"/>
                  </a:cubicBezTo>
                  <a:lnTo>
                    <a:pt x="15" y="8"/>
                  </a:lnTo>
                  <a:lnTo>
                    <a:pt x="15" y="8"/>
                  </a:lnTo>
                  <a:cubicBezTo>
                    <a:pt x="7" y="0"/>
                    <a:pt x="7" y="0"/>
                    <a:pt x="7" y="0"/>
                  </a:cubicBezTo>
                </a:path>
              </a:pathLst>
            </a:custGeom>
            <a:solidFill>
              <a:schemeClr val="accent6"/>
            </a:solidFill>
            <a:ln>
              <a:solidFill>
                <a:schemeClr val="bg2"/>
              </a:solidFill>
            </a:ln>
            <a:effectLst/>
          </p:spPr>
          <p:txBody>
            <a:bodyPr wrap="none" anchor="ctr"/>
            <a:lstStyle/>
            <a:p>
              <a:endParaRPr lang="en-US"/>
            </a:p>
          </p:txBody>
        </p:sp>
        <p:sp>
          <p:nvSpPr>
            <p:cNvPr id="80" name="Freeform 704"/>
            <p:cNvSpPr>
              <a:spLocks noChangeArrowheads="1"/>
            </p:cNvSpPr>
            <p:nvPr/>
          </p:nvSpPr>
          <p:spPr bwMode="auto">
            <a:xfrm>
              <a:off x="4818531" y="2984863"/>
              <a:ext cx="539092" cy="826269"/>
            </a:xfrm>
            <a:custGeom>
              <a:avLst/>
              <a:gdLst>
                <a:gd name="T0" fmla="*/ 1217 w 1495"/>
                <a:gd name="T1" fmla="*/ 0 h 2648"/>
                <a:gd name="T2" fmla="*/ 245 w 1495"/>
                <a:gd name="T3" fmla="*/ 95 h 2648"/>
                <a:gd name="T4" fmla="*/ 245 w 1495"/>
                <a:gd name="T5" fmla="*/ 95 h 2648"/>
                <a:gd name="T6" fmla="*/ 284 w 1495"/>
                <a:gd name="T7" fmla="*/ 135 h 2648"/>
                <a:gd name="T8" fmla="*/ 387 w 1495"/>
                <a:gd name="T9" fmla="*/ 253 h 2648"/>
                <a:gd name="T10" fmla="*/ 419 w 1495"/>
                <a:gd name="T11" fmla="*/ 269 h 2648"/>
                <a:gd name="T12" fmla="*/ 395 w 1495"/>
                <a:gd name="T13" fmla="*/ 435 h 2648"/>
                <a:gd name="T14" fmla="*/ 332 w 1495"/>
                <a:gd name="T15" fmla="*/ 554 h 2648"/>
                <a:gd name="T16" fmla="*/ 284 w 1495"/>
                <a:gd name="T17" fmla="*/ 570 h 2648"/>
                <a:gd name="T18" fmla="*/ 197 w 1495"/>
                <a:gd name="T19" fmla="*/ 617 h 2648"/>
                <a:gd name="T20" fmla="*/ 182 w 1495"/>
                <a:gd name="T21" fmla="*/ 609 h 2648"/>
                <a:gd name="T22" fmla="*/ 158 w 1495"/>
                <a:gd name="T23" fmla="*/ 609 h 2648"/>
                <a:gd name="T24" fmla="*/ 118 w 1495"/>
                <a:gd name="T25" fmla="*/ 625 h 2648"/>
                <a:gd name="T26" fmla="*/ 118 w 1495"/>
                <a:gd name="T27" fmla="*/ 672 h 2648"/>
                <a:gd name="T28" fmla="*/ 150 w 1495"/>
                <a:gd name="T29" fmla="*/ 735 h 2648"/>
                <a:gd name="T30" fmla="*/ 174 w 1495"/>
                <a:gd name="T31" fmla="*/ 775 h 2648"/>
                <a:gd name="T32" fmla="*/ 126 w 1495"/>
                <a:gd name="T33" fmla="*/ 886 h 2648"/>
                <a:gd name="T34" fmla="*/ 134 w 1495"/>
                <a:gd name="T35" fmla="*/ 933 h 2648"/>
                <a:gd name="T36" fmla="*/ 134 w 1495"/>
                <a:gd name="T37" fmla="*/ 933 h 2648"/>
                <a:gd name="T38" fmla="*/ 24 w 1495"/>
                <a:gd name="T39" fmla="*/ 1012 h 2648"/>
                <a:gd name="T40" fmla="*/ 15 w 1495"/>
                <a:gd name="T41" fmla="*/ 1020 h 2648"/>
                <a:gd name="T42" fmla="*/ 31 w 1495"/>
                <a:gd name="T43" fmla="*/ 1044 h 2648"/>
                <a:gd name="T44" fmla="*/ 15 w 1495"/>
                <a:gd name="T45" fmla="*/ 1107 h 2648"/>
                <a:gd name="T46" fmla="*/ 15 w 1495"/>
                <a:gd name="T47" fmla="*/ 1115 h 2648"/>
                <a:gd name="T48" fmla="*/ 95 w 1495"/>
                <a:gd name="T49" fmla="*/ 1423 h 2648"/>
                <a:gd name="T50" fmla="*/ 284 w 1495"/>
                <a:gd name="T51" fmla="*/ 1605 h 2648"/>
                <a:gd name="T52" fmla="*/ 332 w 1495"/>
                <a:gd name="T53" fmla="*/ 1747 h 2648"/>
                <a:gd name="T54" fmla="*/ 364 w 1495"/>
                <a:gd name="T55" fmla="*/ 1763 h 2648"/>
                <a:gd name="T56" fmla="*/ 403 w 1495"/>
                <a:gd name="T57" fmla="*/ 1747 h 2648"/>
                <a:gd name="T58" fmla="*/ 442 w 1495"/>
                <a:gd name="T59" fmla="*/ 1771 h 2648"/>
                <a:gd name="T60" fmla="*/ 458 w 1495"/>
                <a:gd name="T61" fmla="*/ 1747 h 2648"/>
                <a:gd name="T62" fmla="*/ 466 w 1495"/>
                <a:gd name="T63" fmla="*/ 2016 h 2648"/>
                <a:gd name="T64" fmla="*/ 648 w 1495"/>
                <a:gd name="T65" fmla="*/ 2252 h 2648"/>
                <a:gd name="T66" fmla="*/ 743 w 1495"/>
                <a:gd name="T67" fmla="*/ 2316 h 2648"/>
                <a:gd name="T68" fmla="*/ 806 w 1495"/>
                <a:gd name="T69" fmla="*/ 2355 h 2648"/>
                <a:gd name="T70" fmla="*/ 854 w 1495"/>
                <a:gd name="T71" fmla="*/ 2466 h 2648"/>
                <a:gd name="T72" fmla="*/ 822 w 1495"/>
                <a:gd name="T73" fmla="*/ 2521 h 2648"/>
                <a:gd name="T74" fmla="*/ 877 w 1495"/>
                <a:gd name="T75" fmla="*/ 2624 h 2648"/>
                <a:gd name="T76" fmla="*/ 948 w 1495"/>
                <a:gd name="T77" fmla="*/ 2647 h 2648"/>
                <a:gd name="T78" fmla="*/ 964 w 1495"/>
                <a:gd name="T79" fmla="*/ 2647 h 2648"/>
                <a:gd name="T80" fmla="*/ 1051 w 1495"/>
                <a:gd name="T81" fmla="*/ 2561 h 2648"/>
                <a:gd name="T82" fmla="*/ 1178 w 1495"/>
                <a:gd name="T83" fmla="*/ 2600 h 2648"/>
                <a:gd name="T84" fmla="*/ 1209 w 1495"/>
                <a:gd name="T85" fmla="*/ 2521 h 2648"/>
                <a:gd name="T86" fmla="*/ 1194 w 1495"/>
                <a:gd name="T87" fmla="*/ 2434 h 2648"/>
                <a:gd name="T88" fmla="*/ 1344 w 1495"/>
                <a:gd name="T89" fmla="*/ 2387 h 2648"/>
                <a:gd name="T90" fmla="*/ 1320 w 1495"/>
                <a:gd name="T91" fmla="*/ 2339 h 2648"/>
                <a:gd name="T92" fmla="*/ 1320 w 1495"/>
                <a:gd name="T93" fmla="*/ 2292 h 2648"/>
                <a:gd name="T94" fmla="*/ 1336 w 1495"/>
                <a:gd name="T95" fmla="*/ 2236 h 2648"/>
                <a:gd name="T96" fmla="*/ 1336 w 1495"/>
                <a:gd name="T97" fmla="*/ 2126 h 2648"/>
                <a:gd name="T98" fmla="*/ 1352 w 1495"/>
                <a:gd name="T99" fmla="*/ 2063 h 2648"/>
                <a:gd name="T100" fmla="*/ 1447 w 1495"/>
                <a:gd name="T101" fmla="*/ 1874 h 2648"/>
                <a:gd name="T102" fmla="*/ 1494 w 1495"/>
                <a:gd name="T103" fmla="*/ 1787 h 2648"/>
                <a:gd name="T104" fmla="*/ 1462 w 1495"/>
                <a:gd name="T105" fmla="*/ 1668 h 2648"/>
                <a:gd name="T106" fmla="*/ 1447 w 1495"/>
                <a:gd name="T107" fmla="*/ 1621 h 2648"/>
                <a:gd name="T108" fmla="*/ 1439 w 1495"/>
                <a:gd name="T109" fmla="*/ 1510 h 2648"/>
                <a:gd name="T110" fmla="*/ 1352 w 1495"/>
                <a:gd name="T111" fmla="*/ 372 h 2648"/>
                <a:gd name="T112" fmla="*/ 1304 w 1495"/>
                <a:gd name="T113" fmla="*/ 285 h 2648"/>
                <a:gd name="T114" fmla="*/ 1241 w 1495"/>
                <a:gd name="T115" fmla="*/ 174 h 2648"/>
                <a:gd name="T116" fmla="*/ 1225 w 1495"/>
                <a:gd name="T117" fmla="*/ 95 h 2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95" h="2648">
                  <a:moveTo>
                    <a:pt x="1217" y="0"/>
                  </a:moveTo>
                  <a:lnTo>
                    <a:pt x="1217" y="0"/>
                  </a:lnTo>
                  <a:cubicBezTo>
                    <a:pt x="1043" y="24"/>
                    <a:pt x="435" y="71"/>
                    <a:pt x="245" y="87"/>
                  </a:cubicBezTo>
                  <a:cubicBezTo>
                    <a:pt x="245" y="95"/>
                    <a:pt x="245" y="95"/>
                    <a:pt x="245" y="95"/>
                  </a:cubicBezTo>
                  <a:lnTo>
                    <a:pt x="245" y="95"/>
                  </a:lnTo>
                  <a:lnTo>
                    <a:pt x="245" y="95"/>
                  </a:lnTo>
                  <a:lnTo>
                    <a:pt x="245" y="95"/>
                  </a:lnTo>
                  <a:cubicBezTo>
                    <a:pt x="253" y="103"/>
                    <a:pt x="269" y="119"/>
                    <a:pt x="284" y="135"/>
                  </a:cubicBezTo>
                  <a:cubicBezTo>
                    <a:pt x="308" y="158"/>
                    <a:pt x="340" y="182"/>
                    <a:pt x="340" y="206"/>
                  </a:cubicBezTo>
                  <a:cubicBezTo>
                    <a:pt x="340" y="230"/>
                    <a:pt x="364" y="237"/>
                    <a:pt x="387" y="253"/>
                  </a:cubicBezTo>
                  <a:cubicBezTo>
                    <a:pt x="395" y="253"/>
                    <a:pt x="411" y="261"/>
                    <a:pt x="419" y="269"/>
                  </a:cubicBezTo>
                  <a:lnTo>
                    <a:pt x="419" y="269"/>
                  </a:lnTo>
                  <a:cubicBezTo>
                    <a:pt x="435" y="301"/>
                    <a:pt x="442" y="372"/>
                    <a:pt x="419" y="403"/>
                  </a:cubicBezTo>
                  <a:cubicBezTo>
                    <a:pt x="419" y="419"/>
                    <a:pt x="403" y="427"/>
                    <a:pt x="395" y="435"/>
                  </a:cubicBezTo>
                  <a:cubicBezTo>
                    <a:pt x="387" y="443"/>
                    <a:pt x="371" y="451"/>
                    <a:pt x="371" y="490"/>
                  </a:cubicBezTo>
                  <a:cubicBezTo>
                    <a:pt x="371" y="530"/>
                    <a:pt x="355" y="546"/>
                    <a:pt x="332" y="554"/>
                  </a:cubicBezTo>
                  <a:cubicBezTo>
                    <a:pt x="324" y="554"/>
                    <a:pt x="316" y="554"/>
                    <a:pt x="316" y="561"/>
                  </a:cubicBezTo>
                  <a:cubicBezTo>
                    <a:pt x="300" y="570"/>
                    <a:pt x="292" y="570"/>
                    <a:pt x="284" y="570"/>
                  </a:cubicBezTo>
                  <a:cubicBezTo>
                    <a:pt x="269" y="577"/>
                    <a:pt x="261" y="585"/>
                    <a:pt x="245" y="601"/>
                  </a:cubicBezTo>
                  <a:cubicBezTo>
                    <a:pt x="229" y="609"/>
                    <a:pt x="213" y="617"/>
                    <a:pt x="197" y="617"/>
                  </a:cubicBezTo>
                  <a:lnTo>
                    <a:pt x="197" y="617"/>
                  </a:lnTo>
                  <a:cubicBezTo>
                    <a:pt x="197" y="617"/>
                    <a:pt x="189" y="609"/>
                    <a:pt x="182" y="609"/>
                  </a:cubicBezTo>
                  <a:lnTo>
                    <a:pt x="182" y="609"/>
                  </a:lnTo>
                  <a:cubicBezTo>
                    <a:pt x="174" y="609"/>
                    <a:pt x="166" y="609"/>
                    <a:pt x="158" y="609"/>
                  </a:cubicBezTo>
                  <a:cubicBezTo>
                    <a:pt x="142" y="609"/>
                    <a:pt x="134" y="609"/>
                    <a:pt x="134" y="617"/>
                  </a:cubicBezTo>
                  <a:cubicBezTo>
                    <a:pt x="126" y="617"/>
                    <a:pt x="118" y="617"/>
                    <a:pt x="118" y="625"/>
                  </a:cubicBezTo>
                  <a:cubicBezTo>
                    <a:pt x="111" y="625"/>
                    <a:pt x="111" y="633"/>
                    <a:pt x="111" y="633"/>
                  </a:cubicBezTo>
                  <a:cubicBezTo>
                    <a:pt x="111" y="648"/>
                    <a:pt x="118" y="656"/>
                    <a:pt x="118" y="672"/>
                  </a:cubicBezTo>
                  <a:cubicBezTo>
                    <a:pt x="126" y="680"/>
                    <a:pt x="126" y="696"/>
                    <a:pt x="126" y="704"/>
                  </a:cubicBezTo>
                  <a:cubicBezTo>
                    <a:pt x="126" y="720"/>
                    <a:pt x="134" y="728"/>
                    <a:pt x="150" y="735"/>
                  </a:cubicBezTo>
                  <a:cubicBezTo>
                    <a:pt x="158" y="743"/>
                    <a:pt x="174" y="751"/>
                    <a:pt x="174" y="759"/>
                  </a:cubicBezTo>
                  <a:cubicBezTo>
                    <a:pt x="174" y="767"/>
                    <a:pt x="174" y="767"/>
                    <a:pt x="174" y="775"/>
                  </a:cubicBezTo>
                  <a:cubicBezTo>
                    <a:pt x="174" y="807"/>
                    <a:pt x="158" y="862"/>
                    <a:pt x="134" y="870"/>
                  </a:cubicBezTo>
                  <a:cubicBezTo>
                    <a:pt x="126" y="878"/>
                    <a:pt x="126" y="878"/>
                    <a:pt x="126" y="886"/>
                  </a:cubicBezTo>
                  <a:lnTo>
                    <a:pt x="126" y="894"/>
                  </a:lnTo>
                  <a:cubicBezTo>
                    <a:pt x="126" y="901"/>
                    <a:pt x="134" y="917"/>
                    <a:pt x="134" y="933"/>
                  </a:cubicBezTo>
                  <a:lnTo>
                    <a:pt x="134" y="933"/>
                  </a:lnTo>
                  <a:lnTo>
                    <a:pt x="134" y="933"/>
                  </a:lnTo>
                  <a:cubicBezTo>
                    <a:pt x="134" y="965"/>
                    <a:pt x="79" y="988"/>
                    <a:pt x="47" y="1004"/>
                  </a:cubicBezTo>
                  <a:cubicBezTo>
                    <a:pt x="39" y="1004"/>
                    <a:pt x="31" y="1012"/>
                    <a:pt x="24" y="1012"/>
                  </a:cubicBezTo>
                  <a:cubicBezTo>
                    <a:pt x="15" y="1020"/>
                    <a:pt x="15" y="1020"/>
                    <a:pt x="15" y="1020"/>
                  </a:cubicBezTo>
                  <a:lnTo>
                    <a:pt x="15" y="1020"/>
                  </a:lnTo>
                  <a:cubicBezTo>
                    <a:pt x="15" y="1020"/>
                    <a:pt x="15" y="1028"/>
                    <a:pt x="24" y="1028"/>
                  </a:cubicBezTo>
                  <a:cubicBezTo>
                    <a:pt x="24" y="1036"/>
                    <a:pt x="31" y="1036"/>
                    <a:pt x="31" y="1044"/>
                  </a:cubicBezTo>
                  <a:cubicBezTo>
                    <a:pt x="39" y="1052"/>
                    <a:pt x="39" y="1060"/>
                    <a:pt x="39" y="1067"/>
                  </a:cubicBezTo>
                  <a:cubicBezTo>
                    <a:pt x="39" y="1075"/>
                    <a:pt x="31" y="1091"/>
                    <a:pt x="15" y="1107"/>
                  </a:cubicBezTo>
                  <a:cubicBezTo>
                    <a:pt x="15" y="1115"/>
                    <a:pt x="15" y="1115"/>
                    <a:pt x="15" y="1115"/>
                  </a:cubicBezTo>
                  <a:lnTo>
                    <a:pt x="15" y="1115"/>
                  </a:lnTo>
                  <a:cubicBezTo>
                    <a:pt x="0" y="1147"/>
                    <a:pt x="8" y="1265"/>
                    <a:pt x="15" y="1320"/>
                  </a:cubicBezTo>
                  <a:cubicBezTo>
                    <a:pt x="15" y="1344"/>
                    <a:pt x="55" y="1384"/>
                    <a:pt x="95" y="1423"/>
                  </a:cubicBezTo>
                  <a:cubicBezTo>
                    <a:pt x="126" y="1455"/>
                    <a:pt x="158" y="1494"/>
                    <a:pt x="166" y="1518"/>
                  </a:cubicBezTo>
                  <a:cubicBezTo>
                    <a:pt x="166" y="1550"/>
                    <a:pt x="229" y="1589"/>
                    <a:pt x="284" y="1605"/>
                  </a:cubicBezTo>
                  <a:cubicBezTo>
                    <a:pt x="300" y="1613"/>
                    <a:pt x="308" y="1645"/>
                    <a:pt x="316" y="1684"/>
                  </a:cubicBezTo>
                  <a:cubicBezTo>
                    <a:pt x="316" y="1708"/>
                    <a:pt x="324" y="1731"/>
                    <a:pt x="332" y="1747"/>
                  </a:cubicBezTo>
                  <a:cubicBezTo>
                    <a:pt x="340" y="1771"/>
                    <a:pt x="348" y="1771"/>
                    <a:pt x="348" y="1771"/>
                  </a:cubicBezTo>
                  <a:cubicBezTo>
                    <a:pt x="355" y="1771"/>
                    <a:pt x="355" y="1771"/>
                    <a:pt x="364" y="1763"/>
                  </a:cubicBezTo>
                  <a:cubicBezTo>
                    <a:pt x="371" y="1763"/>
                    <a:pt x="371" y="1755"/>
                    <a:pt x="379" y="1755"/>
                  </a:cubicBezTo>
                  <a:cubicBezTo>
                    <a:pt x="387" y="1747"/>
                    <a:pt x="395" y="1747"/>
                    <a:pt x="403" y="1747"/>
                  </a:cubicBezTo>
                  <a:cubicBezTo>
                    <a:pt x="419" y="1747"/>
                    <a:pt x="427" y="1755"/>
                    <a:pt x="427" y="1763"/>
                  </a:cubicBezTo>
                  <a:cubicBezTo>
                    <a:pt x="435" y="1771"/>
                    <a:pt x="435" y="1771"/>
                    <a:pt x="442" y="1771"/>
                  </a:cubicBezTo>
                  <a:cubicBezTo>
                    <a:pt x="442" y="1771"/>
                    <a:pt x="450" y="1771"/>
                    <a:pt x="450" y="1763"/>
                  </a:cubicBezTo>
                  <a:cubicBezTo>
                    <a:pt x="450" y="1755"/>
                    <a:pt x="458" y="1747"/>
                    <a:pt x="458" y="1747"/>
                  </a:cubicBezTo>
                  <a:cubicBezTo>
                    <a:pt x="474" y="1747"/>
                    <a:pt x="498" y="1771"/>
                    <a:pt x="522" y="1787"/>
                  </a:cubicBezTo>
                  <a:cubicBezTo>
                    <a:pt x="561" y="1818"/>
                    <a:pt x="522" y="1929"/>
                    <a:pt x="466" y="2016"/>
                  </a:cubicBezTo>
                  <a:cubicBezTo>
                    <a:pt x="427" y="2086"/>
                    <a:pt x="529" y="2157"/>
                    <a:pt x="593" y="2205"/>
                  </a:cubicBezTo>
                  <a:cubicBezTo>
                    <a:pt x="617" y="2228"/>
                    <a:pt x="640" y="2244"/>
                    <a:pt x="648" y="2252"/>
                  </a:cubicBezTo>
                  <a:cubicBezTo>
                    <a:pt x="656" y="2268"/>
                    <a:pt x="672" y="2276"/>
                    <a:pt x="695" y="2284"/>
                  </a:cubicBezTo>
                  <a:cubicBezTo>
                    <a:pt x="711" y="2292"/>
                    <a:pt x="727" y="2300"/>
                    <a:pt x="743" y="2316"/>
                  </a:cubicBezTo>
                  <a:cubicBezTo>
                    <a:pt x="751" y="2323"/>
                    <a:pt x="767" y="2331"/>
                    <a:pt x="775" y="2331"/>
                  </a:cubicBezTo>
                  <a:cubicBezTo>
                    <a:pt x="790" y="2339"/>
                    <a:pt x="806" y="2339"/>
                    <a:pt x="806" y="2355"/>
                  </a:cubicBezTo>
                  <a:cubicBezTo>
                    <a:pt x="806" y="2379"/>
                    <a:pt x="814" y="2394"/>
                    <a:pt x="830" y="2426"/>
                  </a:cubicBezTo>
                  <a:cubicBezTo>
                    <a:pt x="838" y="2434"/>
                    <a:pt x="846" y="2450"/>
                    <a:pt x="854" y="2466"/>
                  </a:cubicBezTo>
                  <a:cubicBezTo>
                    <a:pt x="869" y="2497"/>
                    <a:pt x="861" y="2505"/>
                    <a:pt x="846" y="2513"/>
                  </a:cubicBezTo>
                  <a:cubicBezTo>
                    <a:pt x="838" y="2513"/>
                    <a:pt x="830" y="2521"/>
                    <a:pt x="822" y="2521"/>
                  </a:cubicBezTo>
                  <a:cubicBezTo>
                    <a:pt x="814" y="2537"/>
                    <a:pt x="830" y="2553"/>
                    <a:pt x="846" y="2568"/>
                  </a:cubicBezTo>
                  <a:cubicBezTo>
                    <a:pt x="854" y="2584"/>
                    <a:pt x="869" y="2608"/>
                    <a:pt x="877" y="2624"/>
                  </a:cubicBezTo>
                  <a:cubicBezTo>
                    <a:pt x="885" y="2640"/>
                    <a:pt x="901" y="2647"/>
                    <a:pt x="925" y="2647"/>
                  </a:cubicBezTo>
                  <a:cubicBezTo>
                    <a:pt x="933" y="2647"/>
                    <a:pt x="941" y="2647"/>
                    <a:pt x="948" y="2647"/>
                  </a:cubicBezTo>
                  <a:cubicBezTo>
                    <a:pt x="956" y="2647"/>
                    <a:pt x="956" y="2647"/>
                    <a:pt x="964" y="2647"/>
                  </a:cubicBezTo>
                  <a:lnTo>
                    <a:pt x="964" y="2647"/>
                  </a:lnTo>
                  <a:cubicBezTo>
                    <a:pt x="964" y="2624"/>
                    <a:pt x="972" y="2600"/>
                    <a:pt x="988" y="2584"/>
                  </a:cubicBezTo>
                  <a:cubicBezTo>
                    <a:pt x="1004" y="2568"/>
                    <a:pt x="1028" y="2561"/>
                    <a:pt x="1051" y="2561"/>
                  </a:cubicBezTo>
                  <a:cubicBezTo>
                    <a:pt x="1091" y="2561"/>
                    <a:pt x="1130" y="2576"/>
                    <a:pt x="1146" y="2592"/>
                  </a:cubicBezTo>
                  <a:cubicBezTo>
                    <a:pt x="1154" y="2600"/>
                    <a:pt x="1170" y="2600"/>
                    <a:pt x="1178" y="2600"/>
                  </a:cubicBezTo>
                  <a:cubicBezTo>
                    <a:pt x="1201" y="2600"/>
                    <a:pt x="1217" y="2576"/>
                    <a:pt x="1217" y="2553"/>
                  </a:cubicBezTo>
                  <a:cubicBezTo>
                    <a:pt x="1225" y="2545"/>
                    <a:pt x="1217" y="2537"/>
                    <a:pt x="1209" y="2521"/>
                  </a:cubicBezTo>
                  <a:cubicBezTo>
                    <a:pt x="1201" y="2505"/>
                    <a:pt x="1194" y="2489"/>
                    <a:pt x="1186" y="2458"/>
                  </a:cubicBezTo>
                  <a:cubicBezTo>
                    <a:pt x="1186" y="2450"/>
                    <a:pt x="1186" y="2442"/>
                    <a:pt x="1194" y="2434"/>
                  </a:cubicBezTo>
                  <a:cubicBezTo>
                    <a:pt x="1209" y="2403"/>
                    <a:pt x="1272" y="2394"/>
                    <a:pt x="1312" y="2387"/>
                  </a:cubicBezTo>
                  <a:cubicBezTo>
                    <a:pt x="1328" y="2387"/>
                    <a:pt x="1336" y="2387"/>
                    <a:pt x="1344" y="2387"/>
                  </a:cubicBezTo>
                  <a:cubicBezTo>
                    <a:pt x="1344" y="2379"/>
                    <a:pt x="1344" y="2379"/>
                    <a:pt x="1344" y="2379"/>
                  </a:cubicBezTo>
                  <a:cubicBezTo>
                    <a:pt x="1344" y="2371"/>
                    <a:pt x="1336" y="2355"/>
                    <a:pt x="1320" y="2339"/>
                  </a:cubicBezTo>
                  <a:cubicBezTo>
                    <a:pt x="1312" y="2339"/>
                    <a:pt x="1312" y="2339"/>
                    <a:pt x="1312" y="2339"/>
                  </a:cubicBezTo>
                  <a:cubicBezTo>
                    <a:pt x="1296" y="2323"/>
                    <a:pt x="1312" y="2308"/>
                    <a:pt x="1320" y="2292"/>
                  </a:cubicBezTo>
                  <a:cubicBezTo>
                    <a:pt x="1328" y="2284"/>
                    <a:pt x="1328" y="2284"/>
                    <a:pt x="1336" y="2276"/>
                  </a:cubicBezTo>
                  <a:cubicBezTo>
                    <a:pt x="1344" y="2268"/>
                    <a:pt x="1336" y="2252"/>
                    <a:pt x="1336" y="2236"/>
                  </a:cubicBezTo>
                  <a:cubicBezTo>
                    <a:pt x="1328" y="2228"/>
                    <a:pt x="1328" y="2213"/>
                    <a:pt x="1328" y="2197"/>
                  </a:cubicBezTo>
                  <a:cubicBezTo>
                    <a:pt x="1328" y="2165"/>
                    <a:pt x="1328" y="2150"/>
                    <a:pt x="1336" y="2126"/>
                  </a:cubicBezTo>
                  <a:cubicBezTo>
                    <a:pt x="1352" y="2110"/>
                    <a:pt x="1352" y="2078"/>
                    <a:pt x="1352" y="2070"/>
                  </a:cubicBezTo>
                  <a:lnTo>
                    <a:pt x="1352" y="2063"/>
                  </a:lnTo>
                  <a:cubicBezTo>
                    <a:pt x="1344" y="2047"/>
                    <a:pt x="1336" y="2008"/>
                    <a:pt x="1367" y="2000"/>
                  </a:cubicBezTo>
                  <a:cubicBezTo>
                    <a:pt x="1391" y="1992"/>
                    <a:pt x="1447" y="1890"/>
                    <a:pt x="1447" y="1874"/>
                  </a:cubicBezTo>
                  <a:cubicBezTo>
                    <a:pt x="1447" y="1850"/>
                    <a:pt x="1462" y="1826"/>
                    <a:pt x="1486" y="1811"/>
                  </a:cubicBezTo>
                  <a:cubicBezTo>
                    <a:pt x="1494" y="1811"/>
                    <a:pt x="1494" y="1795"/>
                    <a:pt x="1494" y="1787"/>
                  </a:cubicBezTo>
                  <a:cubicBezTo>
                    <a:pt x="1494" y="1771"/>
                    <a:pt x="1486" y="1747"/>
                    <a:pt x="1478" y="1739"/>
                  </a:cubicBezTo>
                  <a:cubicBezTo>
                    <a:pt x="1462" y="1731"/>
                    <a:pt x="1462" y="1716"/>
                    <a:pt x="1462" y="1668"/>
                  </a:cubicBezTo>
                  <a:cubicBezTo>
                    <a:pt x="1462" y="1660"/>
                    <a:pt x="1462" y="1660"/>
                    <a:pt x="1462" y="1660"/>
                  </a:cubicBezTo>
                  <a:cubicBezTo>
                    <a:pt x="1462" y="1629"/>
                    <a:pt x="1454" y="1629"/>
                    <a:pt x="1447" y="1621"/>
                  </a:cubicBezTo>
                  <a:cubicBezTo>
                    <a:pt x="1439" y="1621"/>
                    <a:pt x="1431" y="1613"/>
                    <a:pt x="1423" y="1605"/>
                  </a:cubicBezTo>
                  <a:cubicBezTo>
                    <a:pt x="1407" y="1573"/>
                    <a:pt x="1423" y="1534"/>
                    <a:pt x="1439" y="1510"/>
                  </a:cubicBezTo>
                  <a:cubicBezTo>
                    <a:pt x="1447" y="1502"/>
                    <a:pt x="1454" y="1439"/>
                    <a:pt x="1454" y="1415"/>
                  </a:cubicBezTo>
                  <a:cubicBezTo>
                    <a:pt x="1352" y="372"/>
                    <a:pt x="1352" y="372"/>
                    <a:pt x="1352" y="372"/>
                  </a:cubicBezTo>
                  <a:cubicBezTo>
                    <a:pt x="1336" y="364"/>
                    <a:pt x="1328" y="348"/>
                    <a:pt x="1320" y="332"/>
                  </a:cubicBezTo>
                  <a:cubicBezTo>
                    <a:pt x="1312" y="317"/>
                    <a:pt x="1312" y="301"/>
                    <a:pt x="1304" y="285"/>
                  </a:cubicBezTo>
                  <a:cubicBezTo>
                    <a:pt x="1296" y="253"/>
                    <a:pt x="1288" y="230"/>
                    <a:pt x="1265" y="198"/>
                  </a:cubicBezTo>
                  <a:cubicBezTo>
                    <a:pt x="1257" y="182"/>
                    <a:pt x="1249" y="182"/>
                    <a:pt x="1241" y="174"/>
                  </a:cubicBezTo>
                  <a:cubicBezTo>
                    <a:pt x="1225" y="158"/>
                    <a:pt x="1225" y="150"/>
                    <a:pt x="1225" y="103"/>
                  </a:cubicBezTo>
                  <a:cubicBezTo>
                    <a:pt x="1225" y="95"/>
                    <a:pt x="1225" y="95"/>
                    <a:pt x="1225" y="95"/>
                  </a:cubicBezTo>
                  <a:cubicBezTo>
                    <a:pt x="1225" y="71"/>
                    <a:pt x="1225" y="40"/>
                    <a:pt x="1217" y="0"/>
                  </a:cubicBezTo>
                </a:path>
              </a:pathLst>
            </a:custGeom>
            <a:solidFill>
              <a:schemeClr val="accent6"/>
            </a:solidFill>
            <a:ln>
              <a:solidFill>
                <a:schemeClr val="bg2"/>
              </a:solidFill>
            </a:ln>
            <a:effectLst/>
          </p:spPr>
          <p:txBody>
            <a:bodyPr wrap="none" anchor="ctr"/>
            <a:lstStyle/>
            <a:p>
              <a:endParaRPr lang="en-US"/>
            </a:p>
          </p:txBody>
        </p:sp>
        <p:sp>
          <p:nvSpPr>
            <p:cNvPr id="81" name="Freeform 705"/>
            <p:cNvSpPr>
              <a:spLocks noChangeArrowheads="1"/>
            </p:cNvSpPr>
            <p:nvPr/>
          </p:nvSpPr>
          <p:spPr bwMode="auto">
            <a:xfrm>
              <a:off x="4823303" y="3015159"/>
              <a:ext cx="154253" cy="319491"/>
            </a:xfrm>
            <a:custGeom>
              <a:avLst/>
              <a:gdLst>
                <a:gd name="T0" fmla="*/ 24 w 428"/>
                <a:gd name="T1" fmla="*/ 972 h 1021"/>
                <a:gd name="T2" fmla="*/ 24 w 428"/>
                <a:gd name="T3" fmla="*/ 972 h 1021"/>
                <a:gd name="T4" fmla="*/ 0 w 428"/>
                <a:gd name="T5" fmla="*/ 1012 h 1021"/>
                <a:gd name="T6" fmla="*/ 0 w 428"/>
                <a:gd name="T7" fmla="*/ 1020 h 1021"/>
                <a:gd name="T8" fmla="*/ 0 w 428"/>
                <a:gd name="T9" fmla="*/ 1020 h 1021"/>
                <a:gd name="T10" fmla="*/ 0 w 428"/>
                <a:gd name="T11" fmla="*/ 1012 h 1021"/>
                <a:gd name="T12" fmla="*/ 24 w 428"/>
                <a:gd name="T13" fmla="*/ 972 h 1021"/>
                <a:gd name="T14" fmla="*/ 404 w 428"/>
                <a:gd name="T15" fmla="*/ 174 h 1021"/>
                <a:gd name="T16" fmla="*/ 404 w 428"/>
                <a:gd name="T17" fmla="*/ 174 h 1021"/>
                <a:gd name="T18" fmla="*/ 404 w 428"/>
                <a:gd name="T19" fmla="*/ 308 h 1021"/>
                <a:gd name="T20" fmla="*/ 380 w 428"/>
                <a:gd name="T21" fmla="*/ 340 h 1021"/>
                <a:gd name="T22" fmla="*/ 356 w 428"/>
                <a:gd name="T23" fmla="*/ 395 h 1021"/>
                <a:gd name="T24" fmla="*/ 317 w 428"/>
                <a:gd name="T25" fmla="*/ 459 h 1021"/>
                <a:gd name="T26" fmla="*/ 301 w 428"/>
                <a:gd name="T27" fmla="*/ 466 h 1021"/>
                <a:gd name="T28" fmla="*/ 269 w 428"/>
                <a:gd name="T29" fmla="*/ 475 h 1021"/>
                <a:gd name="T30" fmla="*/ 230 w 428"/>
                <a:gd name="T31" fmla="*/ 506 h 1021"/>
                <a:gd name="T32" fmla="*/ 182 w 428"/>
                <a:gd name="T33" fmla="*/ 522 h 1021"/>
                <a:gd name="T34" fmla="*/ 182 w 428"/>
                <a:gd name="T35" fmla="*/ 522 h 1021"/>
                <a:gd name="T36" fmla="*/ 182 w 428"/>
                <a:gd name="T37" fmla="*/ 522 h 1021"/>
                <a:gd name="T38" fmla="*/ 230 w 428"/>
                <a:gd name="T39" fmla="*/ 506 h 1021"/>
                <a:gd name="T40" fmla="*/ 269 w 428"/>
                <a:gd name="T41" fmla="*/ 475 h 1021"/>
                <a:gd name="T42" fmla="*/ 301 w 428"/>
                <a:gd name="T43" fmla="*/ 466 h 1021"/>
                <a:gd name="T44" fmla="*/ 317 w 428"/>
                <a:gd name="T45" fmla="*/ 459 h 1021"/>
                <a:gd name="T46" fmla="*/ 356 w 428"/>
                <a:gd name="T47" fmla="*/ 395 h 1021"/>
                <a:gd name="T48" fmla="*/ 380 w 428"/>
                <a:gd name="T49" fmla="*/ 340 h 1021"/>
                <a:gd name="T50" fmla="*/ 404 w 428"/>
                <a:gd name="T51" fmla="*/ 308 h 1021"/>
                <a:gd name="T52" fmla="*/ 404 w 428"/>
                <a:gd name="T53" fmla="*/ 174 h 1021"/>
                <a:gd name="T54" fmla="*/ 230 w 428"/>
                <a:gd name="T55" fmla="*/ 0 h 1021"/>
                <a:gd name="T56" fmla="*/ 230 w 428"/>
                <a:gd name="T57" fmla="*/ 0 h 1021"/>
                <a:gd name="T58" fmla="*/ 230 w 428"/>
                <a:gd name="T59" fmla="*/ 0 h 1021"/>
                <a:gd name="T60" fmla="*/ 230 w 428"/>
                <a:gd name="T61" fmla="*/ 0 h 1021"/>
                <a:gd name="T62" fmla="*/ 230 w 428"/>
                <a:gd name="T63" fmla="*/ 0 h 1021"/>
                <a:gd name="T64" fmla="*/ 230 w 428"/>
                <a:gd name="T65" fmla="*/ 0 h 1021"/>
                <a:gd name="T66" fmla="*/ 24 w 428"/>
                <a:gd name="T67" fmla="*/ 972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8" h="1021">
                  <a:moveTo>
                    <a:pt x="24" y="972"/>
                  </a:moveTo>
                  <a:lnTo>
                    <a:pt x="24" y="972"/>
                  </a:lnTo>
                  <a:cubicBezTo>
                    <a:pt x="24" y="980"/>
                    <a:pt x="16" y="996"/>
                    <a:pt x="0" y="1012"/>
                  </a:cubicBezTo>
                  <a:cubicBezTo>
                    <a:pt x="0" y="1020"/>
                    <a:pt x="0" y="1020"/>
                    <a:pt x="0" y="1020"/>
                  </a:cubicBezTo>
                  <a:lnTo>
                    <a:pt x="0" y="1020"/>
                  </a:lnTo>
                  <a:cubicBezTo>
                    <a:pt x="0" y="1012"/>
                    <a:pt x="0" y="1012"/>
                    <a:pt x="0" y="1012"/>
                  </a:cubicBezTo>
                  <a:cubicBezTo>
                    <a:pt x="16" y="996"/>
                    <a:pt x="24" y="980"/>
                    <a:pt x="24" y="972"/>
                  </a:cubicBezTo>
                  <a:lnTo>
                    <a:pt x="404" y="174"/>
                  </a:lnTo>
                  <a:lnTo>
                    <a:pt x="404" y="174"/>
                  </a:lnTo>
                  <a:cubicBezTo>
                    <a:pt x="420" y="206"/>
                    <a:pt x="427" y="277"/>
                    <a:pt x="404" y="308"/>
                  </a:cubicBezTo>
                  <a:cubicBezTo>
                    <a:pt x="404" y="324"/>
                    <a:pt x="388" y="332"/>
                    <a:pt x="380" y="340"/>
                  </a:cubicBezTo>
                  <a:cubicBezTo>
                    <a:pt x="372" y="348"/>
                    <a:pt x="356" y="356"/>
                    <a:pt x="356" y="395"/>
                  </a:cubicBezTo>
                  <a:cubicBezTo>
                    <a:pt x="356" y="435"/>
                    <a:pt x="340" y="451"/>
                    <a:pt x="317" y="459"/>
                  </a:cubicBezTo>
                  <a:cubicBezTo>
                    <a:pt x="309" y="459"/>
                    <a:pt x="301" y="459"/>
                    <a:pt x="301" y="466"/>
                  </a:cubicBezTo>
                  <a:cubicBezTo>
                    <a:pt x="285" y="475"/>
                    <a:pt x="277" y="475"/>
                    <a:pt x="269" y="475"/>
                  </a:cubicBezTo>
                  <a:cubicBezTo>
                    <a:pt x="254" y="482"/>
                    <a:pt x="246" y="490"/>
                    <a:pt x="230" y="506"/>
                  </a:cubicBezTo>
                  <a:cubicBezTo>
                    <a:pt x="214" y="514"/>
                    <a:pt x="198" y="522"/>
                    <a:pt x="182" y="522"/>
                  </a:cubicBezTo>
                  <a:lnTo>
                    <a:pt x="182" y="522"/>
                  </a:lnTo>
                  <a:lnTo>
                    <a:pt x="182" y="522"/>
                  </a:lnTo>
                  <a:cubicBezTo>
                    <a:pt x="198" y="522"/>
                    <a:pt x="214" y="514"/>
                    <a:pt x="230" y="506"/>
                  </a:cubicBezTo>
                  <a:cubicBezTo>
                    <a:pt x="246" y="490"/>
                    <a:pt x="254" y="482"/>
                    <a:pt x="269" y="475"/>
                  </a:cubicBezTo>
                  <a:cubicBezTo>
                    <a:pt x="277" y="475"/>
                    <a:pt x="285" y="475"/>
                    <a:pt x="301" y="466"/>
                  </a:cubicBezTo>
                  <a:cubicBezTo>
                    <a:pt x="301" y="459"/>
                    <a:pt x="309" y="459"/>
                    <a:pt x="317" y="459"/>
                  </a:cubicBezTo>
                  <a:cubicBezTo>
                    <a:pt x="340" y="451"/>
                    <a:pt x="356" y="435"/>
                    <a:pt x="356" y="395"/>
                  </a:cubicBezTo>
                  <a:cubicBezTo>
                    <a:pt x="356" y="356"/>
                    <a:pt x="372" y="348"/>
                    <a:pt x="380" y="340"/>
                  </a:cubicBezTo>
                  <a:cubicBezTo>
                    <a:pt x="388" y="332"/>
                    <a:pt x="404" y="324"/>
                    <a:pt x="404" y="308"/>
                  </a:cubicBezTo>
                  <a:cubicBezTo>
                    <a:pt x="427" y="277"/>
                    <a:pt x="420" y="206"/>
                    <a:pt x="404" y="174"/>
                  </a:cubicBezTo>
                  <a:lnTo>
                    <a:pt x="230" y="0"/>
                  </a:lnTo>
                  <a:lnTo>
                    <a:pt x="230" y="0"/>
                  </a:lnTo>
                  <a:lnTo>
                    <a:pt x="230" y="0"/>
                  </a:lnTo>
                  <a:lnTo>
                    <a:pt x="230" y="0"/>
                  </a:lnTo>
                  <a:lnTo>
                    <a:pt x="230" y="0"/>
                  </a:lnTo>
                  <a:lnTo>
                    <a:pt x="230" y="0"/>
                  </a:lnTo>
                  <a:lnTo>
                    <a:pt x="24" y="972"/>
                  </a:lnTo>
                </a:path>
              </a:pathLst>
            </a:custGeom>
            <a:solidFill>
              <a:schemeClr val="accent6"/>
            </a:solidFill>
            <a:ln>
              <a:solidFill>
                <a:schemeClr val="bg2"/>
              </a:solidFill>
            </a:ln>
            <a:effectLst/>
          </p:spPr>
          <p:txBody>
            <a:bodyPr wrap="none" anchor="ctr"/>
            <a:lstStyle/>
            <a:p>
              <a:endParaRPr lang="en-US"/>
            </a:p>
          </p:txBody>
        </p:sp>
        <p:sp>
          <p:nvSpPr>
            <p:cNvPr id="82" name="Freeform 706"/>
            <p:cNvSpPr>
              <a:spLocks noChangeArrowheads="1"/>
            </p:cNvSpPr>
            <p:nvPr/>
          </p:nvSpPr>
          <p:spPr bwMode="auto">
            <a:xfrm>
              <a:off x="4818531" y="2983485"/>
              <a:ext cx="542273" cy="834531"/>
            </a:xfrm>
            <a:custGeom>
              <a:avLst/>
              <a:gdLst>
                <a:gd name="T0" fmla="*/ 197 w 1503"/>
                <a:gd name="T1" fmla="*/ 625 h 2672"/>
                <a:gd name="T2" fmla="*/ 1225 w 1503"/>
                <a:gd name="T3" fmla="*/ 8 h 2672"/>
                <a:gd name="T4" fmla="*/ 245 w 1503"/>
                <a:gd name="T5" fmla="*/ 103 h 2672"/>
                <a:gd name="T6" fmla="*/ 1225 w 1503"/>
                <a:gd name="T7" fmla="*/ 103 h 2672"/>
                <a:gd name="T8" fmla="*/ 1265 w 1503"/>
                <a:gd name="T9" fmla="*/ 206 h 2672"/>
                <a:gd name="T10" fmla="*/ 1352 w 1503"/>
                <a:gd name="T11" fmla="*/ 380 h 2672"/>
                <a:gd name="T12" fmla="*/ 1423 w 1503"/>
                <a:gd name="T13" fmla="*/ 1613 h 2672"/>
                <a:gd name="T14" fmla="*/ 1462 w 1503"/>
                <a:gd name="T15" fmla="*/ 1676 h 2672"/>
                <a:gd name="T16" fmla="*/ 1486 w 1503"/>
                <a:gd name="T17" fmla="*/ 1819 h 2672"/>
                <a:gd name="T18" fmla="*/ 1352 w 1503"/>
                <a:gd name="T19" fmla="*/ 2071 h 2672"/>
                <a:gd name="T20" fmla="*/ 1328 w 1503"/>
                <a:gd name="T21" fmla="*/ 2205 h 2672"/>
                <a:gd name="T22" fmla="*/ 1320 w 1503"/>
                <a:gd name="T23" fmla="*/ 2300 h 2672"/>
                <a:gd name="T24" fmla="*/ 1344 w 1503"/>
                <a:gd name="T25" fmla="*/ 2387 h 2672"/>
                <a:gd name="T26" fmla="*/ 1194 w 1503"/>
                <a:gd name="T27" fmla="*/ 2442 h 2672"/>
                <a:gd name="T28" fmla="*/ 1217 w 1503"/>
                <a:gd name="T29" fmla="*/ 2561 h 2672"/>
                <a:gd name="T30" fmla="*/ 1051 w 1503"/>
                <a:gd name="T31" fmla="*/ 2569 h 2672"/>
                <a:gd name="T32" fmla="*/ 964 w 1503"/>
                <a:gd name="T33" fmla="*/ 2655 h 2672"/>
                <a:gd name="T34" fmla="*/ 877 w 1503"/>
                <a:gd name="T35" fmla="*/ 2632 h 2672"/>
                <a:gd name="T36" fmla="*/ 846 w 1503"/>
                <a:gd name="T37" fmla="*/ 2521 h 2672"/>
                <a:gd name="T38" fmla="*/ 806 w 1503"/>
                <a:gd name="T39" fmla="*/ 2363 h 2672"/>
                <a:gd name="T40" fmla="*/ 695 w 1503"/>
                <a:gd name="T41" fmla="*/ 2292 h 2672"/>
                <a:gd name="T42" fmla="*/ 466 w 1503"/>
                <a:gd name="T43" fmla="*/ 2024 h 2672"/>
                <a:gd name="T44" fmla="*/ 450 w 1503"/>
                <a:gd name="T45" fmla="*/ 1771 h 2672"/>
                <a:gd name="T46" fmla="*/ 403 w 1503"/>
                <a:gd name="T47" fmla="*/ 1755 h 2672"/>
                <a:gd name="T48" fmla="*/ 348 w 1503"/>
                <a:gd name="T49" fmla="*/ 1779 h 2672"/>
                <a:gd name="T50" fmla="*/ 284 w 1503"/>
                <a:gd name="T51" fmla="*/ 1613 h 2672"/>
                <a:gd name="T52" fmla="*/ 15 w 1503"/>
                <a:gd name="T53" fmla="*/ 1328 h 2672"/>
                <a:gd name="T54" fmla="*/ 15 w 1503"/>
                <a:gd name="T55" fmla="*/ 1123 h 2672"/>
                <a:gd name="T56" fmla="*/ 284 w 1503"/>
                <a:gd name="T57" fmla="*/ 1621 h 2672"/>
                <a:gd name="T58" fmla="*/ 379 w 1503"/>
                <a:gd name="T59" fmla="*/ 1763 h 2672"/>
                <a:gd name="T60" fmla="*/ 442 w 1503"/>
                <a:gd name="T61" fmla="*/ 1787 h 2672"/>
                <a:gd name="T62" fmla="*/ 522 w 1503"/>
                <a:gd name="T63" fmla="*/ 1795 h 2672"/>
                <a:gd name="T64" fmla="*/ 735 w 1503"/>
                <a:gd name="T65" fmla="*/ 2324 h 2672"/>
                <a:gd name="T66" fmla="*/ 822 w 1503"/>
                <a:gd name="T67" fmla="*/ 2529 h 2672"/>
                <a:gd name="T68" fmla="*/ 948 w 1503"/>
                <a:gd name="T69" fmla="*/ 2663 h 2672"/>
                <a:gd name="T70" fmla="*/ 972 w 1503"/>
                <a:gd name="T71" fmla="*/ 2671 h 2672"/>
                <a:gd name="T72" fmla="*/ 1051 w 1503"/>
                <a:gd name="T73" fmla="*/ 2576 h 2672"/>
                <a:gd name="T74" fmla="*/ 1225 w 1503"/>
                <a:gd name="T75" fmla="*/ 2569 h 2672"/>
                <a:gd name="T76" fmla="*/ 1201 w 1503"/>
                <a:gd name="T77" fmla="*/ 2442 h 2672"/>
                <a:gd name="T78" fmla="*/ 1352 w 1503"/>
                <a:gd name="T79" fmla="*/ 2387 h 2672"/>
                <a:gd name="T80" fmla="*/ 1328 w 1503"/>
                <a:gd name="T81" fmla="*/ 2308 h 2672"/>
                <a:gd name="T82" fmla="*/ 1336 w 1503"/>
                <a:gd name="T83" fmla="*/ 2205 h 2672"/>
                <a:gd name="T84" fmla="*/ 1360 w 1503"/>
                <a:gd name="T85" fmla="*/ 2071 h 2672"/>
                <a:gd name="T86" fmla="*/ 1486 w 1503"/>
                <a:gd name="T87" fmla="*/ 1826 h 2672"/>
                <a:gd name="T88" fmla="*/ 1470 w 1503"/>
                <a:gd name="T89" fmla="*/ 1676 h 2672"/>
                <a:gd name="T90" fmla="*/ 1431 w 1503"/>
                <a:gd name="T91" fmla="*/ 1605 h 2672"/>
                <a:gd name="T92" fmla="*/ 1360 w 1503"/>
                <a:gd name="T93" fmla="*/ 380 h 2672"/>
                <a:gd name="T94" fmla="*/ 1328 w 1503"/>
                <a:gd name="T95" fmla="*/ 340 h 2672"/>
                <a:gd name="T96" fmla="*/ 1249 w 1503"/>
                <a:gd name="T97" fmla="*/ 174 h 2672"/>
                <a:gd name="T98" fmla="*/ 1225 w 1503"/>
                <a:gd name="T99" fmla="*/ 8 h 2672"/>
                <a:gd name="T100" fmla="*/ 1225 w 1503"/>
                <a:gd name="T101" fmla="*/ 0 h 2672"/>
                <a:gd name="T102" fmla="*/ 1225 w 1503"/>
                <a:gd name="T103" fmla="*/ 0 h 2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03" h="2672">
                  <a:moveTo>
                    <a:pt x="182" y="617"/>
                  </a:moveTo>
                  <a:lnTo>
                    <a:pt x="182" y="617"/>
                  </a:lnTo>
                  <a:cubicBezTo>
                    <a:pt x="189" y="617"/>
                    <a:pt x="197" y="625"/>
                    <a:pt x="197" y="625"/>
                  </a:cubicBezTo>
                  <a:cubicBezTo>
                    <a:pt x="197" y="625"/>
                    <a:pt x="189" y="617"/>
                    <a:pt x="182" y="617"/>
                  </a:cubicBezTo>
                  <a:lnTo>
                    <a:pt x="1225" y="8"/>
                  </a:lnTo>
                  <a:lnTo>
                    <a:pt x="1225" y="8"/>
                  </a:lnTo>
                  <a:lnTo>
                    <a:pt x="1225" y="8"/>
                  </a:lnTo>
                  <a:cubicBezTo>
                    <a:pt x="1051" y="32"/>
                    <a:pt x="435" y="79"/>
                    <a:pt x="245" y="95"/>
                  </a:cubicBezTo>
                  <a:cubicBezTo>
                    <a:pt x="245" y="95"/>
                    <a:pt x="245" y="95"/>
                    <a:pt x="245" y="103"/>
                  </a:cubicBezTo>
                  <a:cubicBezTo>
                    <a:pt x="245" y="95"/>
                    <a:pt x="245" y="95"/>
                    <a:pt x="245" y="95"/>
                  </a:cubicBezTo>
                  <a:cubicBezTo>
                    <a:pt x="435" y="79"/>
                    <a:pt x="1043" y="32"/>
                    <a:pt x="1217" y="8"/>
                  </a:cubicBezTo>
                  <a:cubicBezTo>
                    <a:pt x="1225" y="48"/>
                    <a:pt x="1225" y="79"/>
                    <a:pt x="1225" y="103"/>
                  </a:cubicBezTo>
                  <a:cubicBezTo>
                    <a:pt x="1225" y="111"/>
                    <a:pt x="1225" y="111"/>
                    <a:pt x="1225" y="111"/>
                  </a:cubicBezTo>
                  <a:cubicBezTo>
                    <a:pt x="1225" y="158"/>
                    <a:pt x="1225" y="166"/>
                    <a:pt x="1241" y="182"/>
                  </a:cubicBezTo>
                  <a:cubicBezTo>
                    <a:pt x="1249" y="190"/>
                    <a:pt x="1257" y="190"/>
                    <a:pt x="1265" y="206"/>
                  </a:cubicBezTo>
                  <a:cubicBezTo>
                    <a:pt x="1288" y="238"/>
                    <a:pt x="1296" y="261"/>
                    <a:pt x="1304" y="293"/>
                  </a:cubicBezTo>
                  <a:cubicBezTo>
                    <a:pt x="1312" y="309"/>
                    <a:pt x="1312" y="325"/>
                    <a:pt x="1320" y="340"/>
                  </a:cubicBezTo>
                  <a:cubicBezTo>
                    <a:pt x="1328" y="356"/>
                    <a:pt x="1336" y="372"/>
                    <a:pt x="1352" y="380"/>
                  </a:cubicBezTo>
                  <a:cubicBezTo>
                    <a:pt x="1454" y="1423"/>
                    <a:pt x="1454" y="1423"/>
                    <a:pt x="1454" y="1423"/>
                  </a:cubicBezTo>
                  <a:cubicBezTo>
                    <a:pt x="1454" y="1447"/>
                    <a:pt x="1447" y="1510"/>
                    <a:pt x="1439" y="1518"/>
                  </a:cubicBezTo>
                  <a:cubicBezTo>
                    <a:pt x="1423" y="1542"/>
                    <a:pt x="1407" y="1581"/>
                    <a:pt x="1423" y="1613"/>
                  </a:cubicBezTo>
                  <a:cubicBezTo>
                    <a:pt x="1431" y="1621"/>
                    <a:pt x="1439" y="1629"/>
                    <a:pt x="1447" y="1629"/>
                  </a:cubicBezTo>
                  <a:cubicBezTo>
                    <a:pt x="1454" y="1637"/>
                    <a:pt x="1462" y="1637"/>
                    <a:pt x="1462" y="1668"/>
                  </a:cubicBezTo>
                  <a:cubicBezTo>
                    <a:pt x="1462" y="1676"/>
                    <a:pt x="1462" y="1676"/>
                    <a:pt x="1462" y="1676"/>
                  </a:cubicBezTo>
                  <a:cubicBezTo>
                    <a:pt x="1462" y="1724"/>
                    <a:pt x="1462" y="1739"/>
                    <a:pt x="1478" y="1747"/>
                  </a:cubicBezTo>
                  <a:cubicBezTo>
                    <a:pt x="1486" y="1755"/>
                    <a:pt x="1494" y="1779"/>
                    <a:pt x="1494" y="1795"/>
                  </a:cubicBezTo>
                  <a:cubicBezTo>
                    <a:pt x="1494" y="1803"/>
                    <a:pt x="1494" y="1819"/>
                    <a:pt x="1486" y="1819"/>
                  </a:cubicBezTo>
                  <a:cubicBezTo>
                    <a:pt x="1462" y="1834"/>
                    <a:pt x="1447" y="1858"/>
                    <a:pt x="1447" y="1882"/>
                  </a:cubicBezTo>
                  <a:cubicBezTo>
                    <a:pt x="1447" y="1898"/>
                    <a:pt x="1391" y="2000"/>
                    <a:pt x="1367" y="2008"/>
                  </a:cubicBezTo>
                  <a:cubicBezTo>
                    <a:pt x="1336" y="2016"/>
                    <a:pt x="1344" y="2055"/>
                    <a:pt x="1352" y="2071"/>
                  </a:cubicBezTo>
                  <a:lnTo>
                    <a:pt x="1352" y="2078"/>
                  </a:lnTo>
                  <a:cubicBezTo>
                    <a:pt x="1352" y="2086"/>
                    <a:pt x="1352" y="2118"/>
                    <a:pt x="1336" y="2134"/>
                  </a:cubicBezTo>
                  <a:cubicBezTo>
                    <a:pt x="1328" y="2158"/>
                    <a:pt x="1328" y="2173"/>
                    <a:pt x="1328" y="2205"/>
                  </a:cubicBezTo>
                  <a:cubicBezTo>
                    <a:pt x="1328" y="2221"/>
                    <a:pt x="1328" y="2236"/>
                    <a:pt x="1336" y="2244"/>
                  </a:cubicBezTo>
                  <a:cubicBezTo>
                    <a:pt x="1336" y="2260"/>
                    <a:pt x="1344" y="2276"/>
                    <a:pt x="1336" y="2284"/>
                  </a:cubicBezTo>
                  <a:cubicBezTo>
                    <a:pt x="1328" y="2292"/>
                    <a:pt x="1328" y="2292"/>
                    <a:pt x="1320" y="2300"/>
                  </a:cubicBezTo>
                  <a:cubicBezTo>
                    <a:pt x="1312" y="2316"/>
                    <a:pt x="1296" y="2331"/>
                    <a:pt x="1312" y="2347"/>
                  </a:cubicBezTo>
                  <a:cubicBezTo>
                    <a:pt x="1320" y="2347"/>
                    <a:pt x="1320" y="2347"/>
                    <a:pt x="1320" y="2347"/>
                  </a:cubicBezTo>
                  <a:cubicBezTo>
                    <a:pt x="1336" y="2363"/>
                    <a:pt x="1344" y="2379"/>
                    <a:pt x="1344" y="2387"/>
                  </a:cubicBezTo>
                  <a:cubicBezTo>
                    <a:pt x="1344" y="2387"/>
                    <a:pt x="1344" y="2387"/>
                    <a:pt x="1344" y="2395"/>
                  </a:cubicBezTo>
                  <a:cubicBezTo>
                    <a:pt x="1336" y="2395"/>
                    <a:pt x="1328" y="2395"/>
                    <a:pt x="1312" y="2395"/>
                  </a:cubicBezTo>
                  <a:cubicBezTo>
                    <a:pt x="1272" y="2402"/>
                    <a:pt x="1209" y="2411"/>
                    <a:pt x="1194" y="2442"/>
                  </a:cubicBezTo>
                  <a:cubicBezTo>
                    <a:pt x="1186" y="2450"/>
                    <a:pt x="1186" y="2458"/>
                    <a:pt x="1186" y="2466"/>
                  </a:cubicBezTo>
                  <a:cubicBezTo>
                    <a:pt x="1194" y="2497"/>
                    <a:pt x="1201" y="2513"/>
                    <a:pt x="1209" y="2529"/>
                  </a:cubicBezTo>
                  <a:cubicBezTo>
                    <a:pt x="1217" y="2545"/>
                    <a:pt x="1225" y="2553"/>
                    <a:pt x="1217" y="2561"/>
                  </a:cubicBezTo>
                  <a:cubicBezTo>
                    <a:pt x="1217" y="2584"/>
                    <a:pt x="1201" y="2608"/>
                    <a:pt x="1178" y="2608"/>
                  </a:cubicBezTo>
                  <a:cubicBezTo>
                    <a:pt x="1170" y="2608"/>
                    <a:pt x="1154" y="2608"/>
                    <a:pt x="1146" y="2600"/>
                  </a:cubicBezTo>
                  <a:cubicBezTo>
                    <a:pt x="1130" y="2584"/>
                    <a:pt x="1091" y="2569"/>
                    <a:pt x="1051" y="2569"/>
                  </a:cubicBezTo>
                  <a:cubicBezTo>
                    <a:pt x="1028" y="2569"/>
                    <a:pt x="1004" y="2576"/>
                    <a:pt x="988" y="2592"/>
                  </a:cubicBezTo>
                  <a:cubicBezTo>
                    <a:pt x="972" y="2608"/>
                    <a:pt x="964" y="2632"/>
                    <a:pt x="964" y="2655"/>
                  </a:cubicBezTo>
                  <a:lnTo>
                    <a:pt x="964" y="2655"/>
                  </a:lnTo>
                  <a:cubicBezTo>
                    <a:pt x="956" y="2655"/>
                    <a:pt x="956" y="2655"/>
                    <a:pt x="948" y="2655"/>
                  </a:cubicBezTo>
                  <a:cubicBezTo>
                    <a:pt x="941" y="2655"/>
                    <a:pt x="933" y="2655"/>
                    <a:pt x="925" y="2655"/>
                  </a:cubicBezTo>
                  <a:cubicBezTo>
                    <a:pt x="901" y="2655"/>
                    <a:pt x="885" y="2648"/>
                    <a:pt x="877" y="2632"/>
                  </a:cubicBezTo>
                  <a:cubicBezTo>
                    <a:pt x="869" y="2616"/>
                    <a:pt x="854" y="2592"/>
                    <a:pt x="846" y="2576"/>
                  </a:cubicBezTo>
                  <a:cubicBezTo>
                    <a:pt x="830" y="2561"/>
                    <a:pt x="814" y="2545"/>
                    <a:pt x="822" y="2529"/>
                  </a:cubicBezTo>
                  <a:cubicBezTo>
                    <a:pt x="830" y="2529"/>
                    <a:pt x="838" y="2521"/>
                    <a:pt x="846" y="2521"/>
                  </a:cubicBezTo>
                  <a:cubicBezTo>
                    <a:pt x="861" y="2513"/>
                    <a:pt x="869" y="2505"/>
                    <a:pt x="854" y="2474"/>
                  </a:cubicBezTo>
                  <a:cubicBezTo>
                    <a:pt x="846" y="2458"/>
                    <a:pt x="838" y="2442"/>
                    <a:pt x="830" y="2434"/>
                  </a:cubicBezTo>
                  <a:cubicBezTo>
                    <a:pt x="814" y="2402"/>
                    <a:pt x="806" y="2387"/>
                    <a:pt x="806" y="2363"/>
                  </a:cubicBezTo>
                  <a:cubicBezTo>
                    <a:pt x="806" y="2347"/>
                    <a:pt x="790" y="2347"/>
                    <a:pt x="775" y="2339"/>
                  </a:cubicBezTo>
                  <a:cubicBezTo>
                    <a:pt x="767" y="2339"/>
                    <a:pt x="751" y="2331"/>
                    <a:pt x="743" y="2324"/>
                  </a:cubicBezTo>
                  <a:cubicBezTo>
                    <a:pt x="727" y="2308"/>
                    <a:pt x="711" y="2300"/>
                    <a:pt x="695" y="2292"/>
                  </a:cubicBezTo>
                  <a:cubicBezTo>
                    <a:pt x="672" y="2284"/>
                    <a:pt x="656" y="2276"/>
                    <a:pt x="648" y="2260"/>
                  </a:cubicBezTo>
                  <a:cubicBezTo>
                    <a:pt x="640" y="2252"/>
                    <a:pt x="617" y="2236"/>
                    <a:pt x="593" y="2213"/>
                  </a:cubicBezTo>
                  <a:cubicBezTo>
                    <a:pt x="529" y="2165"/>
                    <a:pt x="427" y="2094"/>
                    <a:pt x="466" y="2024"/>
                  </a:cubicBezTo>
                  <a:cubicBezTo>
                    <a:pt x="522" y="1937"/>
                    <a:pt x="561" y="1826"/>
                    <a:pt x="522" y="1795"/>
                  </a:cubicBezTo>
                  <a:cubicBezTo>
                    <a:pt x="498" y="1779"/>
                    <a:pt x="474" y="1755"/>
                    <a:pt x="458" y="1755"/>
                  </a:cubicBezTo>
                  <a:cubicBezTo>
                    <a:pt x="458" y="1755"/>
                    <a:pt x="450" y="1763"/>
                    <a:pt x="450" y="1771"/>
                  </a:cubicBezTo>
                  <a:cubicBezTo>
                    <a:pt x="450" y="1779"/>
                    <a:pt x="442" y="1779"/>
                    <a:pt x="442" y="1779"/>
                  </a:cubicBezTo>
                  <a:cubicBezTo>
                    <a:pt x="435" y="1779"/>
                    <a:pt x="435" y="1779"/>
                    <a:pt x="427" y="1771"/>
                  </a:cubicBezTo>
                  <a:cubicBezTo>
                    <a:pt x="427" y="1763"/>
                    <a:pt x="419" y="1755"/>
                    <a:pt x="403" y="1755"/>
                  </a:cubicBezTo>
                  <a:cubicBezTo>
                    <a:pt x="395" y="1755"/>
                    <a:pt x="387" y="1755"/>
                    <a:pt x="379" y="1763"/>
                  </a:cubicBezTo>
                  <a:cubicBezTo>
                    <a:pt x="371" y="1763"/>
                    <a:pt x="371" y="1771"/>
                    <a:pt x="364" y="1771"/>
                  </a:cubicBezTo>
                  <a:cubicBezTo>
                    <a:pt x="355" y="1779"/>
                    <a:pt x="355" y="1779"/>
                    <a:pt x="348" y="1779"/>
                  </a:cubicBezTo>
                  <a:cubicBezTo>
                    <a:pt x="348" y="1779"/>
                    <a:pt x="340" y="1779"/>
                    <a:pt x="332" y="1755"/>
                  </a:cubicBezTo>
                  <a:cubicBezTo>
                    <a:pt x="324" y="1739"/>
                    <a:pt x="316" y="1716"/>
                    <a:pt x="316" y="1692"/>
                  </a:cubicBezTo>
                  <a:cubicBezTo>
                    <a:pt x="308" y="1653"/>
                    <a:pt x="300" y="1621"/>
                    <a:pt x="284" y="1613"/>
                  </a:cubicBezTo>
                  <a:cubicBezTo>
                    <a:pt x="229" y="1597"/>
                    <a:pt x="166" y="1558"/>
                    <a:pt x="166" y="1526"/>
                  </a:cubicBezTo>
                  <a:cubicBezTo>
                    <a:pt x="158" y="1502"/>
                    <a:pt x="126" y="1463"/>
                    <a:pt x="95" y="1431"/>
                  </a:cubicBezTo>
                  <a:cubicBezTo>
                    <a:pt x="55" y="1392"/>
                    <a:pt x="15" y="1352"/>
                    <a:pt x="15" y="1328"/>
                  </a:cubicBezTo>
                  <a:cubicBezTo>
                    <a:pt x="8" y="1273"/>
                    <a:pt x="0" y="1155"/>
                    <a:pt x="15" y="1123"/>
                  </a:cubicBezTo>
                  <a:lnTo>
                    <a:pt x="15" y="1123"/>
                  </a:lnTo>
                  <a:lnTo>
                    <a:pt x="15" y="1123"/>
                  </a:lnTo>
                  <a:cubicBezTo>
                    <a:pt x="0" y="1155"/>
                    <a:pt x="0" y="1273"/>
                    <a:pt x="8" y="1328"/>
                  </a:cubicBezTo>
                  <a:cubicBezTo>
                    <a:pt x="15" y="1384"/>
                    <a:pt x="158" y="1479"/>
                    <a:pt x="158" y="1526"/>
                  </a:cubicBezTo>
                  <a:cubicBezTo>
                    <a:pt x="166" y="1566"/>
                    <a:pt x="261" y="1613"/>
                    <a:pt x="284" y="1621"/>
                  </a:cubicBezTo>
                  <a:cubicBezTo>
                    <a:pt x="308" y="1629"/>
                    <a:pt x="308" y="1708"/>
                    <a:pt x="324" y="1755"/>
                  </a:cubicBezTo>
                  <a:cubicBezTo>
                    <a:pt x="332" y="1779"/>
                    <a:pt x="340" y="1779"/>
                    <a:pt x="348" y="1779"/>
                  </a:cubicBezTo>
                  <a:cubicBezTo>
                    <a:pt x="355" y="1779"/>
                    <a:pt x="364" y="1771"/>
                    <a:pt x="379" y="1763"/>
                  </a:cubicBezTo>
                  <a:cubicBezTo>
                    <a:pt x="387" y="1763"/>
                    <a:pt x="395" y="1763"/>
                    <a:pt x="403" y="1763"/>
                  </a:cubicBezTo>
                  <a:cubicBezTo>
                    <a:pt x="419" y="1763"/>
                    <a:pt x="419" y="1763"/>
                    <a:pt x="427" y="1771"/>
                  </a:cubicBezTo>
                  <a:cubicBezTo>
                    <a:pt x="427" y="1779"/>
                    <a:pt x="435" y="1787"/>
                    <a:pt x="442" y="1787"/>
                  </a:cubicBezTo>
                  <a:cubicBezTo>
                    <a:pt x="450" y="1787"/>
                    <a:pt x="458" y="1779"/>
                    <a:pt x="458" y="1771"/>
                  </a:cubicBezTo>
                  <a:cubicBezTo>
                    <a:pt x="458" y="1763"/>
                    <a:pt x="458" y="1763"/>
                    <a:pt x="458" y="1763"/>
                  </a:cubicBezTo>
                  <a:cubicBezTo>
                    <a:pt x="474" y="1763"/>
                    <a:pt x="498" y="1779"/>
                    <a:pt x="522" y="1795"/>
                  </a:cubicBezTo>
                  <a:cubicBezTo>
                    <a:pt x="553" y="1826"/>
                    <a:pt x="522" y="1929"/>
                    <a:pt x="458" y="2024"/>
                  </a:cubicBezTo>
                  <a:cubicBezTo>
                    <a:pt x="403" y="2118"/>
                    <a:pt x="624" y="2229"/>
                    <a:pt x="640" y="2260"/>
                  </a:cubicBezTo>
                  <a:cubicBezTo>
                    <a:pt x="656" y="2292"/>
                    <a:pt x="711" y="2292"/>
                    <a:pt x="735" y="2324"/>
                  </a:cubicBezTo>
                  <a:cubicBezTo>
                    <a:pt x="759" y="2355"/>
                    <a:pt x="798" y="2339"/>
                    <a:pt x="798" y="2363"/>
                  </a:cubicBezTo>
                  <a:cubicBezTo>
                    <a:pt x="798" y="2395"/>
                    <a:pt x="830" y="2434"/>
                    <a:pt x="846" y="2474"/>
                  </a:cubicBezTo>
                  <a:cubicBezTo>
                    <a:pt x="869" y="2521"/>
                    <a:pt x="838" y="2505"/>
                    <a:pt x="822" y="2529"/>
                  </a:cubicBezTo>
                  <a:cubicBezTo>
                    <a:pt x="798" y="2553"/>
                    <a:pt x="854" y="2584"/>
                    <a:pt x="877" y="2632"/>
                  </a:cubicBezTo>
                  <a:cubicBezTo>
                    <a:pt x="885" y="2655"/>
                    <a:pt x="909" y="2663"/>
                    <a:pt x="925" y="2663"/>
                  </a:cubicBezTo>
                  <a:cubicBezTo>
                    <a:pt x="933" y="2663"/>
                    <a:pt x="941" y="2663"/>
                    <a:pt x="948" y="2663"/>
                  </a:cubicBezTo>
                  <a:cubicBezTo>
                    <a:pt x="956" y="2663"/>
                    <a:pt x="956" y="2663"/>
                    <a:pt x="964" y="2663"/>
                  </a:cubicBezTo>
                  <a:lnTo>
                    <a:pt x="972" y="2663"/>
                  </a:lnTo>
                  <a:cubicBezTo>
                    <a:pt x="972" y="2663"/>
                    <a:pt x="972" y="2663"/>
                    <a:pt x="972" y="2671"/>
                  </a:cubicBezTo>
                  <a:cubicBezTo>
                    <a:pt x="972" y="2663"/>
                    <a:pt x="972" y="2663"/>
                    <a:pt x="972" y="2663"/>
                  </a:cubicBezTo>
                  <a:cubicBezTo>
                    <a:pt x="972" y="2632"/>
                    <a:pt x="980" y="2616"/>
                    <a:pt x="996" y="2600"/>
                  </a:cubicBezTo>
                  <a:cubicBezTo>
                    <a:pt x="1012" y="2584"/>
                    <a:pt x="1035" y="2576"/>
                    <a:pt x="1051" y="2576"/>
                  </a:cubicBezTo>
                  <a:cubicBezTo>
                    <a:pt x="1091" y="2576"/>
                    <a:pt x="1130" y="2592"/>
                    <a:pt x="1146" y="2608"/>
                  </a:cubicBezTo>
                  <a:cubicBezTo>
                    <a:pt x="1154" y="2616"/>
                    <a:pt x="1162" y="2616"/>
                    <a:pt x="1178" y="2616"/>
                  </a:cubicBezTo>
                  <a:cubicBezTo>
                    <a:pt x="1201" y="2616"/>
                    <a:pt x="1225" y="2584"/>
                    <a:pt x="1225" y="2569"/>
                  </a:cubicBezTo>
                  <a:cubicBezTo>
                    <a:pt x="1233" y="2553"/>
                    <a:pt x="1225" y="2537"/>
                    <a:pt x="1217" y="2521"/>
                  </a:cubicBezTo>
                  <a:cubicBezTo>
                    <a:pt x="1209" y="2513"/>
                    <a:pt x="1201" y="2497"/>
                    <a:pt x="1194" y="2466"/>
                  </a:cubicBezTo>
                  <a:cubicBezTo>
                    <a:pt x="1194" y="2458"/>
                    <a:pt x="1194" y="2450"/>
                    <a:pt x="1201" y="2442"/>
                  </a:cubicBezTo>
                  <a:cubicBezTo>
                    <a:pt x="1217" y="2418"/>
                    <a:pt x="1281" y="2411"/>
                    <a:pt x="1312" y="2402"/>
                  </a:cubicBezTo>
                  <a:cubicBezTo>
                    <a:pt x="1328" y="2402"/>
                    <a:pt x="1336" y="2402"/>
                    <a:pt x="1344" y="2395"/>
                  </a:cubicBezTo>
                  <a:cubicBezTo>
                    <a:pt x="1352" y="2395"/>
                    <a:pt x="1352" y="2395"/>
                    <a:pt x="1352" y="2387"/>
                  </a:cubicBezTo>
                  <a:cubicBezTo>
                    <a:pt x="1352" y="2379"/>
                    <a:pt x="1344" y="2363"/>
                    <a:pt x="1328" y="2347"/>
                  </a:cubicBezTo>
                  <a:cubicBezTo>
                    <a:pt x="1320" y="2339"/>
                    <a:pt x="1320" y="2339"/>
                    <a:pt x="1320" y="2339"/>
                  </a:cubicBezTo>
                  <a:cubicBezTo>
                    <a:pt x="1304" y="2331"/>
                    <a:pt x="1312" y="2324"/>
                    <a:pt x="1328" y="2308"/>
                  </a:cubicBezTo>
                  <a:cubicBezTo>
                    <a:pt x="1336" y="2300"/>
                    <a:pt x="1336" y="2292"/>
                    <a:pt x="1344" y="2292"/>
                  </a:cubicBezTo>
                  <a:cubicBezTo>
                    <a:pt x="1352" y="2276"/>
                    <a:pt x="1344" y="2260"/>
                    <a:pt x="1344" y="2244"/>
                  </a:cubicBezTo>
                  <a:cubicBezTo>
                    <a:pt x="1336" y="2229"/>
                    <a:pt x="1336" y="2221"/>
                    <a:pt x="1336" y="2205"/>
                  </a:cubicBezTo>
                  <a:cubicBezTo>
                    <a:pt x="1328" y="2173"/>
                    <a:pt x="1336" y="2158"/>
                    <a:pt x="1344" y="2142"/>
                  </a:cubicBezTo>
                  <a:cubicBezTo>
                    <a:pt x="1360" y="2118"/>
                    <a:pt x="1360" y="2094"/>
                    <a:pt x="1360" y="2078"/>
                  </a:cubicBezTo>
                  <a:lnTo>
                    <a:pt x="1360" y="2071"/>
                  </a:lnTo>
                  <a:cubicBezTo>
                    <a:pt x="1352" y="2055"/>
                    <a:pt x="1352" y="2024"/>
                    <a:pt x="1367" y="2016"/>
                  </a:cubicBezTo>
                  <a:cubicBezTo>
                    <a:pt x="1391" y="2008"/>
                    <a:pt x="1454" y="1898"/>
                    <a:pt x="1454" y="1882"/>
                  </a:cubicBezTo>
                  <a:cubicBezTo>
                    <a:pt x="1454" y="1858"/>
                    <a:pt x="1462" y="1842"/>
                    <a:pt x="1486" y="1826"/>
                  </a:cubicBezTo>
                  <a:cubicBezTo>
                    <a:pt x="1502" y="1819"/>
                    <a:pt x="1502" y="1811"/>
                    <a:pt x="1502" y="1795"/>
                  </a:cubicBezTo>
                  <a:cubicBezTo>
                    <a:pt x="1502" y="1771"/>
                    <a:pt x="1494" y="1747"/>
                    <a:pt x="1486" y="1747"/>
                  </a:cubicBezTo>
                  <a:cubicBezTo>
                    <a:pt x="1470" y="1739"/>
                    <a:pt x="1470" y="1716"/>
                    <a:pt x="1470" y="1676"/>
                  </a:cubicBezTo>
                  <a:cubicBezTo>
                    <a:pt x="1470" y="1668"/>
                    <a:pt x="1470" y="1668"/>
                    <a:pt x="1470" y="1668"/>
                  </a:cubicBezTo>
                  <a:cubicBezTo>
                    <a:pt x="1470" y="1637"/>
                    <a:pt x="1462" y="1629"/>
                    <a:pt x="1447" y="1621"/>
                  </a:cubicBezTo>
                  <a:cubicBezTo>
                    <a:pt x="1439" y="1621"/>
                    <a:pt x="1439" y="1613"/>
                    <a:pt x="1431" y="1605"/>
                  </a:cubicBezTo>
                  <a:cubicBezTo>
                    <a:pt x="1415" y="1581"/>
                    <a:pt x="1431" y="1542"/>
                    <a:pt x="1447" y="1526"/>
                  </a:cubicBezTo>
                  <a:cubicBezTo>
                    <a:pt x="1454" y="1510"/>
                    <a:pt x="1462" y="1431"/>
                    <a:pt x="1462" y="1423"/>
                  </a:cubicBezTo>
                  <a:cubicBezTo>
                    <a:pt x="1360" y="380"/>
                    <a:pt x="1360" y="380"/>
                    <a:pt x="1360" y="380"/>
                  </a:cubicBezTo>
                  <a:lnTo>
                    <a:pt x="1360" y="380"/>
                  </a:lnTo>
                  <a:lnTo>
                    <a:pt x="1360" y="380"/>
                  </a:lnTo>
                  <a:cubicBezTo>
                    <a:pt x="1344" y="364"/>
                    <a:pt x="1328" y="356"/>
                    <a:pt x="1328" y="340"/>
                  </a:cubicBezTo>
                  <a:cubicBezTo>
                    <a:pt x="1320" y="325"/>
                    <a:pt x="1312" y="309"/>
                    <a:pt x="1312" y="293"/>
                  </a:cubicBezTo>
                  <a:cubicBezTo>
                    <a:pt x="1304" y="261"/>
                    <a:pt x="1296" y="230"/>
                    <a:pt x="1272" y="206"/>
                  </a:cubicBezTo>
                  <a:cubicBezTo>
                    <a:pt x="1265" y="190"/>
                    <a:pt x="1257" y="182"/>
                    <a:pt x="1249" y="174"/>
                  </a:cubicBezTo>
                  <a:cubicBezTo>
                    <a:pt x="1233" y="166"/>
                    <a:pt x="1225" y="158"/>
                    <a:pt x="1225" y="111"/>
                  </a:cubicBezTo>
                  <a:cubicBezTo>
                    <a:pt x="1225" y="103"/>
                    <a:pt x="1225" y="103"/>
                    <a:pt x="1225" y="103"/>
                  </a:cubicBezTo>
                  <a:cubicBezTo>
                    <a:pt x="1225" y="79"/>
                    <a:pt x="1225" y="40"/>
                    <a:pt x="1225" y="8"/>
                  </a:cubicBezTo>
                  <a:lnTo>
                    <a:pt x="1225" y="0"/>
                  </a:lnTo>
                  <a:lnTo>
                    <a:pt x="1225" y="0"/>
                  </a:lnTo>
                  <a:lnTo>
                    <a:pt x="1225" y="0"/>
                  </a:lnTo>
                  <a:lnTo>
                    <a:pt x="1225" y="0"/>
                  </a:lnTo>
                  <a:lnTo>
                    <a:pt x="1225" y="0"/>
                  </a:lnTo>
                  <a:lnTo>
                    <a:pt x="1225" y="0"/>
                  </a:lnTo>
                  <a:lnTo>
                    <a:pt x="1225" y="0"/>
                  </a:lnTo>
                  <a:lnTo>
                    <a:pt x="182" y="617"/>
                  </a:lnTo>
                </a:path>
              </a:pathLst>
            </a:custGeom>
            <a:solidFill>
              <a:schemeClr val="accent6"/>
            </a:solidFill>
            <a:ln>
              <a:solidFill>
                <a:schemeClr val="bg2"/>
              </a:solidFill>
            </a:ln>
            <a:effectLst/>
          </p:spPr>
          <p:txBody>
            <a:bodyPr wrap="none" anchor="ctr"/>
            <a:lstStyle/>
            <a:p>
              <a:endParaRPr lang="en-US"/>
            </a:p>
          </p:txBody>
        </p:sp>
        <p:sp>
          <p:nvSpPr>
            <p:cNvPr id="83" name="Freeform 708"/>
            <p:cNvSpPr>
              <a:spLocks noChangeArrowheads="1"/>
            </p:cNvSpPr>
            <p:nvPr/>
          </p:nvSpPr>
          <p:spPr bwMode="auto">
            <a:xfrm>
              <a:off x="4820122" y="3012405"/>
              <a:ext cx="157434" cy="320868"/>
            </a:xfrm>
            <a:custGeom>
              <a:avLst/>
              <a:gdLst>
                <a:gd name="T0" fmla="*/ 237 w 435"/>
                <a:gd name="T1" fmla="*/ 0 h 1029"/>
                <a:gd name="T2" fmla="*/ 229 w 435"/>
                <a:gd name="T3" fmla="*/ 0 h 1029"/>
                <a:gd name="T4" fmla="*/ 237 w 435"/>
                <a:gd name="T5" fmla="*/ 16 h 1029"/>
                <a:gd name="T6" fmla="*/ 269 w 435"/>
                <a:gd name="T7" fmla="*/ 48 h 1029"/>
                <a:gd name="T8" fmla="*/ 379 w 435"/>
                <a:gd name="T9" fmla="*/ 174 h 1029"/>
                <a:gd name="T10" fmla="*/ 419 w 435"/>
                <a:gd name="T11" fmla="*/ 253 h 1029"/>
                <a:gd name="T12" fmla="*/ 387 w 435"/>
                <a:gd name="T13" fmla="*/ 340 h 1029"/>
                <a:gd name="T14" fmla="*/ 316 w 435"/>
                <a:gd name="T15" fmla="*/ 459 h 1029"/>
                <a:gd name="T16" fmla="*/ 276 w 435"/>
                <a:gd name="T17" fmla="*/ 483 h 1029"/>
                <a:gd name="T18" fmla="*/ 189 w 435"/>
                <a:gd name="T19" fmla="*/ 522 h 1029"/>
                <a:gd name="T20" fmla="*/ 150 w 435"/>
                <a:gd name="T21" fmla="*/ 514 h 1029"/>
                <a:gd name="T22" fmla="*/ 103 w 435"/>
                <a:gd name="T23" fmla="*/ 530 h 1029"/>
                <a:gd name="T24" fmla="*/ 103 w 435"/>
                <a:gd name="T25" fmla="*/ 585 h 1029"/>
                <a:gd name="T26" fmla="*/ 134 w 435"/>
                <a:gd name="T27" fmla="*/ 648 h 1029"/>
                <a:gd name="T28" fmla="*/ 158 w 435"/>
                <a:gd name="T29" fmla="*/ 688 h 1029"/>
                <a:gd name="T30" fmla="*/ 110 w 435"/>
                <a:gd name="T31" fmla="*/ 799 h 1029"/>
                <a:gd name="T32" fmla="*/ 118 w 435"/>
                <a:gd name="T33" fmla="*/ 846 h 1029"/>
                <a:gd name="T34" fmla="*/ 118 w 435"/>
                <a:gd name="T35" fmla="*/ 846 h 1029"/>
                <a:gd name="T36" fmla="*/ 7 w 435"/>
                <a:gd name="T37" fmla="*/ 917 h 1029"/>
                <a:gd name="T38" fmla="*/ 0 w 435"/>
                <a:gd name="T39" fmla="*/ 933 h 1029"/>
                <a:gd name="T40" fmla="*/ 23 w 435"/>
                <a:gd name="T41" fmla="*/ 965 h 1029"/>
                <a:gd name="T42" fmla="*/ 7 w 435"/>
                <a:gd name="T43" fmla="*/ 1020 h 1029"/>
                <a:gd name="T44" fmla="*/ 7 w 435"/>
                <a:gd name="T45" fmla="*/ 1020 h 1029"/>
                <a:gd name="T46" fmla="*/ 7 w 435"/>
                <a:gd name="T47" fmla="*/ 1028 h 1029"/>
                <a:gd name="T48" fmla="*/ 7 w 435"/>
                <a:gd name="T49" fmla="*/ 1028 h 1029"/>
                <a:gd name="T50" fmla="*/ 31 w 435"/>
                <a:gd name="T51" fmla="*/ 980 h 1029"/>
                <a:gd name="T52" fmla="*/ 16 w 435"/>
                <a:gd name="T53" fmla="*/ 941 h 1029"/>
                <a:gd name="T54" fmla="*/ 7 w 435"/>
                <a:gd name="T55" fmla="*/ 933 h 1029"/>
                <a:gd name="T56" fmla="*/ 39 w 435"/>
                <a:gd name="T57" fmla="*/ 917 h 1029"/>
                <a:gd name="T58" fmla="*/ 118 w 435"/>
                <a:gd name="T59" fmla="*/ 807 h 1029"/>
                <a:gd name="T60" fmla="*/ 126 w 435"/>
                <a:gd name="T61" fmla="*/ 783 h 1029"/>
                <a:gd name="T62" fmla="*/ 166 w 435"/>
                <a:gd name="T63" fmla="*/ 672 h 1029"/>
                <a:gd name="T64" fmla="*/ 118 w 435"/>
                <a:gd name="T65" fmla="*/ 617 h 1029"/>
                <a:gd name="T66" fmla="*/ 103 w 435"/>
                <a:gd name="T67" fmla="*/ 546 h 1029"/>
                <a:gd name="T68" fmla="*/ 126 w 435"/>
                <a:gd name="T69" fmla="*/ 530 h 1029"/>
                <a:gd name="T70" fmla="*/ 174 w 435"/>
                <a:gd name="T71" fmla="*/ 522 h 1029"/>
                <a:gd name="T72" fmla="*/ 189 w 435"/>
                <a:gd name="T73" fmla="*/ 530 h 1029"/>
                <a:gd name="T74" fmla="*/ 237 w 435"/>
                <a:gd name="T75" fmla="*/ 514 h 1029"/>
                <a:gd name="T76" fmla="*/ 308 w 435"/>
                <a:gd name="T77" fmla="*/ 474 h 1029"/>
                <a:gd name="T78" fmla="*/ 363 w 435"/>
                <a:gd name="T79" fmla="*/ 403 h 1029"/>
                <a:gd name="T80" fmla="*/ 411 w 435"/>
                <a:gd name="T81" fmla="*/ 316 h 1029"/>
                <a:gd name="T82" fmla="*/ 411 w 435"/>
                <a:gd name="T83" fmla="*/ 182 h 1029"/>
                <a:gd name="T84" fmla="*/ 332 w 435"/>
                <a:gd name="T85" fmla="*/ 119 h 1029"/>
                <a:gd name="T86" fmla="*/ 237 w 435"/>
                <a:gd name="T87" fmla="*/ 8 h 1029"/>
                <a:gd name="T88" fmla="*/ 237 w 435"/>
                <a:gd name="T89" fmla="*/ 8 h 1029"/>
                <a:gd name="T90" fmla="*/ 237 w 435"/>
                <a:gd name="T91"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5" h="1029">
                  <a:moveTo>
                    <a:pt x="237" y="0"/>
                  </a:moveTo>
                  <a:lnTo>
                    <a:pt x="237" y="0"/>
                  </a:lnTo>
                  <a:lnTo>
                    <a:pt x="237" y="0"/>
                  </a:lnTo>
                  <a:cubicBezTo>
                    <a:pt x="229" y="0"/>
                    <a:pt x="229" y="0"/>
                    <a:pt x="229" y="0"/>
                  </a:cubicBezTo>
                  <a:lnTo>
                    <a:pt x="229" y="8"/>
                  </a:lnTo>
                  <a:cubicBezTo>
                    <a:pt x="229" y="8"/>
                    <a:pt x="229" y="8"/>
                    <a:pt x="237" y="16"/>
                  </a:cubicBezTo>
                  <a:lnTo>
                    <a:pt x="237" y="16"/>
                  </a:lnTo>
                  <a:cubicBezTo>
                    <a:pt x="237" y="24"/>
                    <a:pt x="253" y="32"/>
                    <a:pt x="269" y="48"/>
                  </a:cubicBezTo>
                  <a:cubicBezTo>
                    <a:pt x="292" y="71"/>
                    <a:pt x="324" y="103"/>
                    <a:pt x="324" y="119"/>
                  </a:cubicBezTo>
                  <a:cubicBezTo>
                    <a:pt x="324" y="143"/>
                    <a:pt x="356" y="158"/>
                    <a:pt x="379" y="174"/>
                  </a:cubicBezTo>
                  <a:cubicBezTo>
                    <a:pt x="387" y="174"/>
                    <a:pt x="395" y="182"/>
                    <a:pt x="403" y="182"/>
                  </a:cubicBezTo>
                  <a:cubicBezTo>
                    <a:pt x="411" y="190"/>
                    <a:pt x="419" y="221"/>
                    <a:pt x="419" y="253"/>
                  </a:cubicBezTo>
                  <a:cubicBezTo>
                    <a:pt x="419" y="277"/>
                    <a:pt x="419" y="301"/>
                    <a:pt x="411" y="316"/>
                  </a:cubicBezTo>
                  <a:cubicBezTo>
                    <a:pt x="403" y="324"/>
                    <a:pt x="395" y="332"/>
                    <a:pt x="387" y="340"/>
                  </a:cubicBezTo>
                  <a:cubicBezTo>
                    <a:pt x="371" y="356"/>
                    <a:pt x="356" y="364"/>
                    <a:pt x="356" y="403"/>
                  </a:cubicBezTo>
                  <a:cubicBezTo>
                    <a:pt x="356" y="443"/>
                    <a:pt x="340" y="451"/>
                    <a:pt x="316" y="459"/>
                  </a:cubicBezTo>
                  <a:cubicBezTo>
                    <a:pt x="316" y="459"/>
                    <a:pt x="308" y="467"/>
                    <a:pt x="300" y="467"/>
                  </a:cubicBezTo>
                  <a:cubicBezTo>
                    <a:pt x="292" y="474"/>
                    <a:pt x="284" y="474"/>
                    <a:pt x="276" y="483"/>
                  </a:cubicBezTo>
                  <a:cubicBezTo>
                    <a:pt x="261" y="483"/>
                    <a:pt x="245" y="490"/>
                    <a:pt x="229" y="506"/>
                  </a:cubicBezTo>
                  <a:cubicBezTo>
                    <a:pt x="221" y="514"/>
                    <a:pt x="213" y="522"/>
                    <a:pt x="189" y="522"/>
                  </a:cubicBezTo>
                  <a:cubicBezTo>
                    <a:pt x="189" y="522"/>
                    <a:pt x="181" y="522"/>
                    <a:pt x="174" y="522"/>
                  </a:cubicBezTo>
                  <a:cubicBezTo>
                    <a:pt x="166" y="514"/>
                    <a:pt x="158" y="514"/>
                    <a:pt x="150" y="514"/>
                  </a:cubicBezTo>
                  <a:cubicBezTo>
                    <a:pt x="134" y="514"/>
                    <a:pt x="126" y="514"/>
                    <a:pt x="118" y="522"/>
                  </a:cubicBezTo>
                  <a:cubicBezTo>
                    <a:pt x="110" y="522"/>
                    <a:pt x="103" y="522"/>
                    <a:pt x="103" y="530"/>
                  </a:cubicBezTo>
                  <a:cubicBezTo>
                    <a:pt x="103" y="538"/>
                    <a:pt x="94" y="546"/>
                    <a:pt x="94" y="546"/>
                  </a:cubicBezTo>
                  <a:cubicBezTo>
                    <a:pt x="94" y="561"/>
                    <a:pt x="103" y="569"/>
                    <a:pt x="103" y="585"/>
                  </a:cubicBezTo>
                  <a:cubicBezTo>
                    <a:pt x="110" y="593"/>
                    <a:pt x="110" y="609"/>
                    <a:pt x="110" y="617"/>
                  </a:cubicBezTo>
                  <a:cubicBezTo>
                    <a:pt x="110" y="633"/>
                    <a:pt x="126" y="641"/>
                    <a:pt x="134" y="648"/>
                  </a:cubicBezTo>
                  <a:cubicBezTo>
                    <a:pt x="150" y="656"/>
                    <a:pt x="158" y="664"/>
                    <a:pt x="158" y="680"/>
                  </a:cubicBezTo>
                  <a:cubicBezTo>
                    <a:pt x="158" y="680"/>
                    <a:pt x="158" y="680"/>
                    <a:pt x="158" y="688"/>
                  </a:cubicBezTo>
                  <a:cubicBezTo>
                    <a:pt x="158" y="720"/>
                    <a:pt x="142" y="767"/>
                    <a:pt x="126" y="775"/>
                  </a:cubicBezTo>
                  <a:cubicBezTo>
                    <a:pt x="118" y="783"/>
                    <a:pt x="110" y="791"/>
                    <a:pt x="110" y="799"/>
                  </a:cubicBezTo>
                  <a:cubicBezTo>
                    <a:pt x="110" y="799"/>
                    <a:pt x="110" y="807"/>
                    <a:pt x="110" y="814"/>
                  </a:cubicBezTo>
                  <a:cubicBezTo>
                    <a:pt x="118" y="822"/>
                    <a:pt x="118" y="830"/>
                    <a:pt x="118" y="846"/>
                  </a:cubicBezTo>
                  <a:lnTo>
                    <a:pt x="118" y="846"/>
                  </a:lnTo>
                  <a:lnTo>
                    <a:pt x="118" y="846"/>
                  </a:lnTo>
                  <a:cubicBezTo>
                    <a:pt x="118" y="878"/>
                    <a:pt x="71" y="894"/>
                    <a:pt x="31" y="909"/>
                  </a:cubicBezTo>
                  <a:cubicBezTo>
                    <a:pt x="23" y="909"/>
                    <a:pt x="16" y="917"/>
                    <a:pt x="7" y="917"/>
                  </a:cubicBezTo>
                  <a:cubicBezTo>
                    <a:pt x="0" y="925"/>
                    <a:pt x="0" y="925"/>
                    <a:pt x="0" y="933"/>
                  </a:cubicBezTo>
                  <a:lnTo>
                    <a:pt x="0" y="933"/>
                  </a:lnTo>
                  <a:cubicBezTo>
                    <a:pt x="0" y="941"/>
                    <a:pt x="0" y="941"/>
                    <a:pt x="7" y="949"/>
                  </a:cubicBezTo>
                  <a:cubicBezTo>
                    <a:pt x="16" y="949"/>
                    <a:pt x="16" y="957"/>
                    <a:pt x="23" y="965"/>
                  </a:cubicBezTo>
                  <a:cubicBezTo>
                    <a:pt x="23" y="965"/>
                    <a:pt x="23" y="973"/>
                    <a:pt x="23" y="980"/>
                  </a:cubicBezTo>
                  <a:cubicBezTo>
                    <a:pt x="23" y="988"/>
                    <a:pt x="16" y="1004"/>
                    <a:pt x="7" y="1020"/>
                  </a:cubicBezTo>
                  <a:lnTo>
                    <a:pt x="7" y="1020"/>
                  </a:lnTo>
                  <a:lnTo>
                    <a:pt x="7" y="1020"/>
                  </a:lnTo>
                  <a:cubicBezTo>
                    <a:pt x="7" y="1020"/>
                    <a:pt x="7" y="1020"/>
                    <a:pt x="7" y="1028"/>
                  </a:cubicBezTo>
                  <a:lnTo>
                    <a:pt x="7" y="1028"/>
                  </a:lnTo>
                  <a:lnTo>
                    <a:pt x="7" y="1028"/>
                  </a:lnTo>
                  <a:lnTo>
                    <a:pt x="7" y="1028"/>
                  </a:lnTo>
                  <a:cubicBezTo>
                    <a:pt x="7" y="1028"/>
                    <a:pt x="7" y="1028"/>
                    <a:pt x="7" y="1020"/>
                  </a:cubicBezTo>
                  <a:cubicBezTo>
                    <a:pt x="23" y="1004"/>
                    <a:pt x="31" y="988"/>
                    <a:pt x="31" y="980"/>
                  </a:cubicBezTo>
                  <a:cubicBezTo>
                    <a:pt x="31" y="973"/>
                    <a:pt x="31" y="965"/>
                    <a:pt x="23" y="957"/>
                  </a:cubicBezTo>
                  <a:cubicBezTo>
                    <a:pt x="23" y="949"/>
                    <a:pt x="16" y="949"/>
                    <a:pt x="16" y="941"/>
                  </a:cubicBezTo>
                  <a:cubicBezTo>
                    <a:pt x="7" y="941"/>
                    <a:pt x="7" y="933"/>
                    <a:pt x="7" y="933"/>
                  </a:cubicBezTo>
                  <a:lnTo>
                    <a:pt x="7" y="933"/>
                  </a:lnTo>
                  <a:cubicBezTo>
                    <a:pt x="7" y="933"/>
                    <a:pt x="7" y="933"/>
                    <a:pt x="16" y="925"/>
                  </a:cubicBezTo>
                  <a:cubicBezTo>
                    <a:pt x="23" y="925"/>
                    <a:pt x="31" y="917"/>
                    <a:pt x="39" y="917"/>
                  </a:cubicBezTo>
                  <a:cubicBezTo>
                    <a:pt x="71" y="901"/>
                    <a:pt x="126" y="878"/>
                    <a:pt x="126" y="846"/>
                  </a:cubicBezTo>
                  <a:cubicBezTo>
                    <a:pt x="126" y="830"/>
                    <a:pt x="118" y="814"/>
                    <a:pt x="118" y="807"/>
                  </a:cubicBezTo>
                  <a:lnTo>
                    <a:pt x="118" y="799"/>
                  </a:lnTo>
                  <a:cubicBezTo>
                    <a:pt x="118" y="791"/>
                    <a:pt x="118" y="791"/>
                    <a:pt x="126" y="783"/>
                  </a:cubicBezTo>
                  <a:cubicBezTo>
                    <a:pt x="150" y="775"/>
                    <a:pt x="166" y="720"/>
                    <a:pt x="166" y="688"/>
                  </a:cubicBezTo>
                  <a:cubicBezTo>
                    <a:pt x="166" y="680"/>
                    <a:pt x="166" y="680"/>
                    <a:pt x="166" y="672"/>
                  </a:cubicBezTo>
                  <a:cubicBezTo>
                    <a:pt x="166" y="664"/>
                    <a:pt x="150" y="656"/>
                    <a:pt x="142" y="648"/>
                  </a:cubicBezTo>
                  <a:cubicBezTo>
                    <a:pt x="126" y="641"/>
                    <a:pt x="118" y="633"/>
                    <a:pt x="118" y="617"/>
                  </a:cubicBezTo>
                  <a:cubicBezTo>
                    <a:pt x="118" y="609"/>
                    <a:pt x="118" y="593"/>
                    <a:pt x="110" y="585"/>
                  </a:cubicBezTo>
                  <a:cubicBezTo>
                    <a:pt x="110" y="569"/>
                    <a:pt x="103" y="561"/>
                    <a:pt x="103" y="546"/>
                  </a:cubicBezTo>
                  <a:cubicBezTo>
                    <a:pt x="103" y="546"/>
                    <a:pt x="103" y="538"/>
                    <a:pt x="110" y="538"/>
                  </a:cubicBezTo>
                  <a:cubicBezTo>
                    <a:pt x="110" y="530"/>
                    <a:pt x="118" y="530"/>
                    <a:pt x="126" y="530"/>
                  </a:cubicBezTo>
                  <a:cubicBezTo>
                    <a:pt x="126" y="522"/>
                    <a:pt x="134" y="522"/>
                    <a:pt x="150" y="522"/>
                  </a:cubicBezTo>
                  <a:cubicBezTo>
                    <a:pt x="158" y="522"/>
                    <a:pt x="166" y="522"/>
                    <a:pt x="174" y="522"/>
                  </a:cubicBezTo>
                  <a:lnTo>
                    <a:pt x="174" y="522"/>
                  </a:lnTo>
                  <a:cubicBezTo>
                    <a:pt x="181" y="522"/>
                    <a:pt x="189" y="530"/>
                    <a:pt x="189" y="530"/>
                  </a:cubicBezTo>
                  <a:lnTo>
                    <a:pt x="189" y="530"/>
                  </a:lnTo>
                  <a:cubicBezTo>
                    <a:pt x="205" y="530"/>
                    <a:pt x="221" y="522"/>
                    <a:pt x="237" y="514"/>
                  </a:cubicBezTo>
                  <a:cubicBezTo>
                    <a:pt x="253" y="498"/>
                    <a:pt x="261" y="490"/>
                    <a:pt x="276" y="483"/>
                  </a:cubicBezTo>
                  <a:cubicBezTo>
                    <a:pt x="284" y="483"/>
                    <a:pt x="292" y="483"/>
                    <a:pt x="308" y="474"/>
                  </a:cubicBezTo>
                  <a:cubicBezTo>
                    <a:pt x="308" y="467"/>
                    <a:pt x="316" y="467"/>
                    <a:pt x="324" y="467"/>
                  </a:cubicBezTo>
                  <a:cubicBezTo>
                    <a:pt x="347" y="459"/>
                    <a:pt x="363" y="443"/>
                    <a:pt x="363" y="403"/>
                  </a:cubicBezTo>
                  <a:cubicBezTo>
                    <a:pt x="363" y="364"/>
                    <a:pt x="379" y="356"/>
                    <a:pt x="387" y="348"/>
                  </a:cubicBezTo>
                  <a:cubicBezTo>
                    <a:pt x="395" y="340"/>
                    <a:pt x="411" y="332"/>
                    <a:pt x="411" y="316"/>
                  </a:cubicBezTo>
                  <a:cubicBezTo>
                    <a:pt x="434" y="285"/>
                    <a:pt x="427" y="214"/>
                    <a:pt x="411" y="182"/>
                  </a:cubicBezTo>
                  <a:lnTo>
                    <a:pt x="411" y="182"/>
                  </a:lnTo>
                  <a:cubicBezTo>
                    <a:pt x="403" y="174"/>
                    <a:pt x="387" y="166"/>
                    <a:pt x="379" y="166"/>
                  </a:cubicBezTo>
                  <a:cubicBezTo>
                    <a:pt x="356" y="150"/>
                    <a:pt x="332" y="143"/>
                    <a:pt x="332" y="119"/>
                  </a:cubicBezTo>
                  <a:cubicBezTo>
                    <a:pt x="332" y="95"/>
                    <a:pt x="300" y="71"/>
                    <a:pt x="276" y="48"/>
                  </a:cubicBezTo>
                  <a:cubicBezTo>
                    <a:pt x="261" y="32"/>
                    <a:pt x="245" y="16"/>
                    <a:pt x="237" y="8"/>
                  </a:cubicBezTo>
                  <a:lnTo>
                    <a:pt x="237" y="8"/>
                  </a:lnTo>
                  <a:lnTo>
                    <a:pt x="237" y="8"/>
                  </a:lnTo>
                  <a:lnTo>
                    <a:pt x="237" y="8"/>
                  </a:lnTo>
                  <a:cubicBezTo>
                    <a:pt x="237" y="0"/>
                    <a:pt x="237" y="0"/>
                    <a:pt x="237" y="0"/>
                  </a:cubicBezTo>
                </a:path>
              </a:pathLst>
            </a:custGeom>
            <a:solidFill>
              <a:schemeClr val="accent6"/>
            </a:solidFill>
            <a:ln>
              <a:solidFill>
                <a:schemeClr val="bg2"/>
              </a:solidFill>
            </a:ln>
            <a:effectLst/>
          </p:spPr>
          <p:txBody>
            <a:bodyPr wrap="none" anchor="ctr"/>
            <a:lstStyle/>
            <a:p>
              <a:endParaRPr lang="en-US"/>
            </a:p>
          </p:txBody>
        </p:sp>
        <p:sp>
          <p:nvSpPr>
            <p:cNvPr id="84" name="Freeform 709"/>
            <p:cNvSpPr>
              <a:spLocks noChangeArrowheads="1"/>
            </p:cNvSpPr>
            <p:nvPr/>
          </p:nvSpPr>
          <p:spPr bwMode="auto">
            <a:xfrm>
              <a:off x="4815351" y="3331896"/>
              <a:ext cx="353034" cy="486121"/>
            </a:xfrm>
            <a:custGeom>
              <a:avLst/>
              <a:gdLst>
                <a:gd name="T0" fmla="*/ 23 w 981"/>
                <a:gd name="T1" fmla="*/ 0 h 1557"/>
                <a:gd name="T2" fmla="*/ 23 w 981"/>
                <a:gd name="T3" fmla="*/ 0 h 1557"/>
                <a:gd name="T4" fmla="*/ 16 w 981"/>
                <a:gd name="T5" fmla="*/ 213 h 1557"/>
                <a:gd name="T6" fmla="*/ 95 w 981"/>
                <a:gd name="T7" fmla="*/ 316 h 1557"/>
                <a:gd name="T8" fmla="*/ 166 w 981"/>
                <a:gd name="T9" fmla="*/ 411 h 1557"/>
                <a:gd name="T10" fmla="*/ 292 w 981"/>
                <a:gd name="T11" fmla="*/ 506 h 1557"/>
                <a:gd name="T12" fmla="*/ 316 w 981"/>
                <a:gd name="T13" fmla="*/ 577 h 1557"/>
                <a:gd name="T14" fmla="*/ 332 w 981"/>
                <a:gd name="T15" fmla="*/ 640 h 1557"/>
                <a:gd name="T16" fmla="*/ 356 w 981"/>
                <a:gd name="T17" fmla="*/ 672 h 1557"/>
                <a:gd name="T18" fmla="*/ 379 w 981"/>
                <a:gd name="T19" fmla="*/ 664 h 1557"/>
                <a:gd name="T20" fmla="*/ 387 w 981"/>
                <a:gd name="T21" fmla="*/ 656 h 1557"/>
                <a:gd name="T22" fmla="*/ 411 w 981"/>
                <a:gd name="T23" fmla="*/ 648 h 1557"/>
                <a:gd name="T24" fmla="*/ 427 w 981"/>
                <a:gd name="T25" fmla="*/ 664 h 1557"/>
                <a:gd name="T26" fmla="*/ 450 w 981"/>
                <a:gd name="T27" fmla="*/ 672 h 1557"/>
                <a:gd name="T28" fmla="*/ 466 w 981"/>
                <a:gd name="T29" fmla="*/ 656 h 1557"/>
                <a:gd name="T30" fmla="*/ 466 w 981"/>
                <a:gd name="T31" fmla="*/ 648 h 1557"/>
                <a:gd name="T32" fmla="*/ 522 w 981"/>
                <a:gd name="T33" fmla="*/ 688 h 1557"/>
                <a:gd name="T34" fmla="*/ 466 w 981"/>
                <a:gd name="T35" fmla="*/ 909 h 1557"/>
                <a:gd name="T36" fmla="*/ 593 w 981"/>
                <a:gd name="T37" fmla="*/ 1106 h 1557"/>
                <a:gd name="T38" fmla="*/ 648 w 981"/>
                <a:gd name="T39" fmla="*/ 1145 h 1557"/>
                <a:gd name="T40" fmla="*/ 696 w 981"/>
                <a:gd name="T41" fmla="*/ 1185 h 1557"/>
                <a:gd name="T42" fmla="*/ 743 w 981"/>
                <a:gd name="T43" fmla="*/ 1209 h 1557"/>
                <a:gd name="T44" fmla="*/ 783 w 981"/>
                <a:gd name="T45" fmla="*/ 1232 h 1557"/>
                <a:gd name="T46" fmla="*/ 806 w 981"/>
                <a:gd name="T47" fmla="*/ 1248 h 1557"/>
                <a:gd name="T48" fmla="*/ 830 w 981"/>
                <a:gd name="T49" fmla="*/ 1319 h 1557"/>
                <a:gd name="T50" fmla="*/ 854 w 981"/>
                <a:gd name="T51" fmla="*/ 1367 h 1557"/>
                <a:gd name="T52" fmla="*/ 846 w 981"/>
                <a:gd name="T53" fmla="*/ 1398 h 1557"/>
                <a:gd name="T54" fmla="*/ 830 w 981"/>
                <a:gd name="T55" fmla="*/ 1414 h 1557"/>
                <a:gd name="T56" fmla="*/ 846 w 981"/>
                <a:gd name="T57" fmla="*/ 1469 h 1557"/>
                <a:gd name="T58" fmla="*/ 877 w 981"/>
                <a:gd name="T59" fmla="*/ 1517 h 1557"/>
                <a:gd name="T60" fmla="*/ 933 w 981"/>
                <a:gd name="T61" fmla="*/ 1548 h 1557"/>
                <a:gd name="T62" fmla="*/ 956 w 981"/>
                <a:gd name="T63" fmla="*/ 1548 h 1557"/>
                <a:gd name="T64" fmla="*/ 972 w 981"/>
                <a:gd name="T65" fmla="*/ 1548 h 1557"/>
                <a:gd name="T66" fmla="*/ 972 w 981"/>
                <a:gd name="T67" fmla="*/ 1548 h 1557"/>
                <a:gd name="T68" fmla="*/ 980 w 981"/>
                <a:gd name="T69" fmla="*/ 1556 h 1557"/>
                <a:gd name="T70" fmla="*/ 980 w 981"/>
                <a:gd name="T71" fmla="*/ 1556 h 1557"/>
                <a:gd name="T72" fmla="*/ 980 w 981"/>
                <a:gd name="T73" fmla="*/ 1548 h 1557"/>
                <a:gd name="T74" fmla="*/ 972 w 981"/>
                <a:gd name="T75" fmla="*/ 1548 h 1557"/>
                <a:gd name="T76" fmla="*/ 956 w 981"/>
                <a:gd name="T77" fmla="*/ 1548 h 1557"/>
                <a:gd name="T78" fmla="*/ 933 w 981"/>
                <a:gd name="T79" fmla="*/ 1548 h 1557"/>
                <a:gd name="T80" fmla="*/ 885 w 981"/>
                <a:gd name="T81" fmla="*/ 1517 h 1557"/>
                <a:gd name="T82" fmla="*/ 830 w 981"/>
                <a:gd name="T83" fmla="*/ 1414 h 1557"/>
                <a:gd name="T84" fmla="*/ 854 w 981"/>
                <a:gd name="T85" fmla="*/ 1359 h 1557"/>
                <a:gd name="T86" fmla="*/ 806 w 981"/>
                <a:gd name="T87" fmla="*/ 1248 h 1557"/>
                <a:gd name="T88" fmla="*/ 743 w 981"/>
                <a:gd name="T89" fmla="*/ 1209 h 1557"/>
                <a:gd name="T90" fmla="*/ 648 w 981"/>
                <a:gd name="T91" fmla="*/ 1145 h 1557"/>
                <a:gd name="T92" fmla="*/ 466 w 981"/>
                <a:gd name="T93" fmla="*/ 909 h 1557"/>
                <a:gd name="T94" fmla="*/ 530 w 981"/>
                <a:gd name="T95" fmla="*/ 680 h 1557"/>
                <a:gd name="T96" fmla="*/ 466 w 981"/>
                <a:gd name="T97" fmla="*/ 648 h 1557"/>
                <a:gd name="T98" fmla="*/ 466 w 981"/>
                <a:gd name="T99" fmla="*/ 656 h 1557"/>
                <a:gd name="T100" fmla="*/ 450 w 981"/>
                <a:gd name="T101" fmla="*/ 672 h 1557"/>
                <a:gd name="T102" fmla="*/ 435 w 981"/>
                <a:gd name="T103" fmla="*/ 656 h 1557"/>
                <a:gd name="T104" fmla="*/ 411 w 981"/>
                <a:gd name="T105" fmla="*/ 648 h 1557"/>
                <a:gd name="T106" fmla="*/ 387 w 981"/>
                <a:gd name="T107" fmla="*/ 648 h 1557"/>
                <a:gd name="T108" fmla="*/ 356 w 981"/>
                <a:gd name="T109" fmla="*/ 664 h 1557"/>
                <a:gd name="T110" fmla="*/ 332 w 981"/>
                <a:gd name="T111" fmla="*/ 640 h 1557"/>
                <a:gd name="T112" fmla="*/ 292 w 981"/>
                <a:gd name="T113" fmla="*/ 506 h 1557"/>
                <a:gd name="T114" fmla="*/ 166 w 981"/>
                <a:gd name="T115" fmla="*/ 411 h 1557"/>
                <a:gd name="T116" fmla="*/ 16 w 981"/>
                <a:gd name="T117" fmla="*/ 213 h 1557"/>
                <a:gd name="T118" fmla="*/ 23 w 981"/>
                <a:gd name="T119" fmla="*/ 8 h 1557"/>
                <a:gd name="T120" fmla="*/ 23 w 981"/>
                <a:gd name="T121" fmla="*/ 8 h 1557"/>
                <a:gd name="T122" fmla="*/ 23 w 981"/>
                <a:gd name="T123" fmla="*/ 0 h 1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1" h="1557">
                  <a:moveTo>
                    <a:pt x="23" y="0"/>
                  </a:moveTo>
                  <a:lnTo>
                    <a:pt x="23" y="0"/>
                  </a:lnTo>
                  <a:cubicBezTo>
                    <a:pt x="0" y="32"/>
                    <a:pt x="8" y="166"/>
                    <a:pt x="16" y="213"/>
                  </a:cubicBezTo>
                  <a:cubicBezTo>
                    <a:pt x="16" y="245"/>
                    <a:pt x="55" y="285"/>
                    <a:pt x="95" y="316"/>
                  </a:cubicBezTo>
                  <a:cubicBezTo>
                    <a:pt x="126" y="356"/>
                    <a:pt x="158" y="387"/>
                    <a:pt x="166" y="411"/>
                  </a:cubicBezTo>
                  <a:cubicBezTo>
                    <a:pt x="166" y="458"/>
                    <a:pt x="269" y="498"/>
                    <a:pt x="292" y="506"/>
                  </a:cubicBezTo>
                  <a:cubicBezTo>
                    <a:pt x="300" y="514"/>
                    <a:pt x="308" y="545"/>
                    <a:pt x="316" y="577"/>
                  </a:cubicBezTo>
                  <a:cubicBezTo>
                    <a:pt x="324" y="601"/>
                    <a:pt x="324" y="624"/>
                    <a:pt x="332" y="640"/>
                  </a:cubicBezTo>
                  <a:cubicBezTo>
                    <a:pt x="340" y="664"/>
                    <a:pt x="348" y="672"/>
                    <a:pt x="356" y="672"/>
                  </a:cubicBezTo>
                  <a:cubicBezTo>
                    <a:pt x="363" y="672"/>
                    <a:pt x="372" y="664"/>
                    <a:pt x="379" y="664"/>
                  </a:cubicBezTo>
                  <a:lnTo>
                    <a:pt x="387" y="656"/>
                  </a:lnTo>
                  <a:cubicBezTo>
                    <a:pt x="395" y="648"/>
                    <a:pt x="403" y="648"/>
                    <a:pt x="411" y="648"/>
                  </a:cubicBezTo>
                  <a:cubicBezTo>
                    <a:pt x="419" y="648"/>
                    <a:pt x="427" y="656"/>
                    <a:pt x="427" y="664"/>
                  </a:cubicBezTo>
                  <a:cubicBezTo>
                    <a:pt x="435" y="672"/>
                    <a:pt x="443" y="672"/>
                    <a:pt x="450" y="672"/>
                  </a:cubicBezTo>
                  <a:cubicBezTo>
                    <a:pt x="458" y="672"/>
                    <a:pt x="466" y="664"/>
                    <a:pt x="466" y="656"/>
                  </a:cubicBezTo>
                  <a:cubicBezTo>
                    <a:pt x="466" y="648"/>
                    <a:pt x="466" y="648"/>
                    <a:pt x="466" y="648"/>
                  </a:cubicBezTo>
                  <a:cubicBezTo>
                    <a:pt x="474" y="648"/>
                    <a:pt x="498" y="664"/>
                    <a:pt x="522" y="688"/>
                  </a:cubicBezTo>
                  <a:cubicBezTo>
                    <a:pt x="553" y="711"/>
                    <a:pt x="530" y="798"/>
                    <a:pt x="466" y="909"/>
                  </a:cubicBezTo>
                  <a:cubicBezTo>
                    <a:pt x="427" y="979"/>
                    <a:pt x="530" y="1058"/>
                    <a:pt x="593" y="1106"/>
                  </a:cubicBezTo>
                  <a:cubicBezTo>
                    <a:pt x="625" y="1121"/>
                    <a:pt x="640" y="1137"/>
                    <a:pt x="648" y="1145"/>
                  </a:cubicBezTo>
                  <a:cubicBezTo>
                    <a:pt x="656" y="1169"/>
                    <a:pt x="680" y="1177"/>
                    <a:pt x="696" y="1185"/>
                  </a:cubicBezTo>
                  <a:cubicBezTo>
                    <a:pt x="711" y="1185"/>
                    <a:pt x="735" y="1193"/>
                    <a:pt x="743" y="1209"/>
                  </a:cubicBezTo>
                  <a:cubicBezTo>
                    <a:pt x="759" y="1224"/>
                    <a:pt x="775" y="1232"/>
                    <a:pt x="783" y="1232"/>
                  </a:cubicBezTo>
                  <a:cubicBezTo>
                    <a:pt x="798" y="1240"/>
                    <a:pt x="806" y="1240"/>
                    <a:pt x="806" y="1248"/>
                  </a:cubicBezTo>
                  <a:cubicBezTo>
                    <a:pt x="806" y="1272"/>
                    <a:pt x="814" y="1296"/>
                    <a:pt x="830" y="1319"/>
                  </a:cubicBezTo>
                  <a:cubicBezTo>
                    <a:pt x="838" y="1335"/>
                    <a:pt x="846" y="1351"/>
                    <a:pt x="854" y="1367"/>
                  </a:cubicBezTo>
                  <a:cubicBezTo>
                    <a:pt x="862" y="1390"/>
                    <a:pt x="862" y="1390"/>
                    <a:pt x="846" y="1398"/>
                  </a:cubicBezTo>
                  <a:cubicBezTo>
                    <a:pt x="838" y="1398"/>
                    <a:pt x="830" y="1406"/>
                    <a:pt x="830" y="1414"/>
                  </a:cubicBezTo>
                  <a:cubicBezTo>
                    <a:pt x="814" y="1430"/>
                    <a:pt x="830" y="1446"/>
                    <a:pt x="846" y="1469"/>
                  </a:cubicBezTo>
                  <a:cubicBezTo>
                    <a:pt x="862" y="1485"/>
                    <a:pt x="877" y="1501"/>
                    <a:pt x="877" y="1517"/>
                  </a:cubicBezTo>
                  <a:cubicBezTo>
                    <a:pt x="893" y="1540"/>
                    <a:pt x="909" y="1548"/>
                    <a:pt x="933" y="1548"/>
                  </a:cubicBezTo>
                  <a:cubicBezTo>
                    <a:pt x="941" y="1548"/>
                    <a:pt x="949" y="1548"/>
                    <a:pt x="956" y="1548"/>
                  </a:cubicBezTo>
                  <a:cubicBezTo>
                    <a:pt x="964" y="1548"/>
                    <a:pt x="964" y="1548"/>
                    <a:pt x="972" y="1548"/>
                  </a:cubicBezTo>
                  <a:lnTo>
                    <a:pt x="972" y="1548"/>
                  </a:lnTo>
                  <a:cubicBezTo>
                    <a:pt x="980" y="1556"/>
                    <a:pt x="980" y="1556"/>
                    <a:pt x="980" y="1556"/>
                  </a:cubicBezTo>
                  <a:lnTo>
                    <a:pt x="980" y="1556"/>
                  </a:lnTo>
                  <a:cubicBezTo>
                    <a:pt x="980" y="1548"/>
                    <a:pt x="980" y="1548"/>
                    <a:pt x="980" y="1548"/>
                  </a:cubicBezTo>
                  <a:lnTo>
                    <a:pt x="972" y="1548"/>
                  </a:lnTo>
                  <a:cubicBezTo>
                    <a:pt x="964" y="1548"/>
                    <a:pt x="964" y="1548"/>
                    <a:pt x="956" y="1548"/>
                  </a:cubicBezTo>
                  <a:cubicBezTo>
                    <a:pt x="949" y="1548"/>
                    <a:pt x="941" y="1548"/>
                    <a:pt x="933" y="1548"/>
                  </a:cubicBezTo>
                  <a:cubicBezTo>
                    <a:pt x="917" y="1548"/>
                    <a:pt x="893" y="1540"/>
                    <a:pt x="885" y="1517"/>
                  </a:cubicBezTo>
                  <a:cubicBezTo>
                    <a:pt x="862" y="1469"/>
                    <a:pt x="806" y="1438"/>
                    <a:pt x="830" y="1414"/>
                  </a:cubicBezTo>
                  <a:cubicBezTo>
                    <a:pt x="846" y="1390"/>
                    <a:pt x="877" y="1406"/>
                    <a:pt x="854" y="1359"/>
                  </a:cubicBezTo>
                  <a:cubicBezTo>
                    <a:pt x="838" y="1319"/>
                    <a:pt x="806" y="1280"/>
                    <a:pt x="806" y="1248"/>
                  </a:cubicBezTo>
                  <a:cubicBezTo>
                    <a:pt x="806" y="1224"/>
                    <a:pt x="767" y="1240"/>
                    <a:pt x="743" y="1209"/>
                  </a:cubicBezTo>
                  <a:cubicBezTo>
                    <a:pt x="719" y="1177"/>
                    <a:pt x="664" y="1177"/>
                    <a:pt x="648" y="1145"/>
                  </a:cubicBezTo>
                  <a:cubicBezTo>
                    <a:pt x="632" y="1114"/>
                    <a:pt x="411" y="1003"/>
                    <a:pt x="466" y="909"/>
                  </a:cubicBezTo>
                  <a:cubicBezTo>
                    <a:pt x="530" y="814"/>
                    <a:pt x="561" y="711"/>
                    <a:pt x="530" y="680"/>
                  </a:cubicBezTo>
                  <a:cubicBezTo>
                    <a:pt x="506" y="664"/>
                    <a:pt x="482" y="648"/>
                    <a:pt x="466" y="648"/>
                  </a:cubicBezTo>
                  <a:cubicBezTo>
                    <a:pt x="466" y="648"/>
                    <a:pt x="466" y="648"/>
                    <a:pt x="466" y="656"/>
                  </a:cubicBezTo>
                  <a:cubicBezTo>
                    <a:pt x="466" y="664"/>
                    <a:pt x="458" y="672"/>
                    <a:pt x="450" y="672"/>
                  </a:cubicBezTo>
                  <a:cubicBezTo>
                    <a:pt x="443" y="672"/>
                    <a:pt x="435" y="664"/>
                    <a:pt x="435" y="656"/>
                  </a:cubicBezTo>
                  <a:cubicBezTo>
                    <a:pt x="427" y="648"/>
                    <a:pt x="427" y="648"/>
                    <a:pt x="411" y="648"/>
                  </a:cubicBezTo>
                  <a:cubicBezTo>
                    <a:pt x="403" y="648"/>
                    <a:pt x="395" y="648"/>
                    <a:pt x="387" y="648"/>
                  </a:cubicBezTo>
                  <a:cubicBezTo>
                    <a:pt x="372" y="656"/>
                    <a:pt x="363" y="664"/>
                    <a:pt x="356" y="664"/>
                  </a:cubicBezTo>
                  <a:cubicBezTo>
                    <a:pt x="348" y="664"/>
                    <a:pt x="340" y="664"/>
                    <a:pt x="332" y="640"/>
                  </a:cubicBezTo>
                  <a:cubicBezTo>
                    <a:pt x="316" y="593"/>
                    <a:pt x="316" y="514"/>
                    <a:pt x="292" y="506"/>
                  </a:cubicBezTo>
                  <a:cubicBezTo>
                    <a:pt x="269" y="498"/>
                    <a:pt x="174" y="451"/>
                    <a:pt x="166" y="411"/>
                  </a:cubicBezTo>
                  <a:cubicBezTo>
                    <a:pt x="166" y="364"/>
                    <a:pt x="23" y="269"/>
                    <a:pt x="16" y="213"/>
                  </a:cubicBezTo>
                  <a:cubicBezTo>
                    <a:pt x="8" y="158"/>
                    <a:pt x="8" y="40"/>
                    <a:pt x="23" y="8"/>
                  </a:cubicBezTo>
                  <a:lnTo>
                    <a:pt x="23" y="8"/>
                  </a:lnTo>
                  <a:cubicBezTo>
                    <a:pt x="23" y="0"/>
                    <a:pt x="23" y="0"/>
                    <a:pt x="23" y="0"/>
                  </a:cubicBezTo>
                </a:path>
              </a:pathLst>
            </a:custGeom>
            <a:solidFill>
              <a:schemeClr val="accent6"/>
            </a:solidFill>
            <a:ln>
              <a:solidFill>
                <a:schemeClr val="bg2"/>
              </a:solidFill>
            </a:ln>
            <a:effectLst/>
          </p:spPr>
          <p:txBody>
            <a:bodyPr wrap="none" anchor="ctr"/>
            <a:lstStyle/>
            <a:p>
              <a:endParaRPr lang="en-US"/>
            </a:p>
          </p:txBody>
        </p:sp>
        <p:sp>
          <p:nvSpPr>
            <p:cNvPr id="85" name="Freeform 752"/>
            <p:cNvSpPr>
              <a:spLocks noChangeArrowheads="1"/>
            </p:cNvSpPr>
            <p:nvPr/>
          </p:nvSpPr>
          <p:spPr bwMode="auto">
            <a:xfrm>
              <a:off x="7237290" y="1887301"/>
              <a:ext cx="448448" cy="572880"/>
            </a:xfrm>
            <a:custGeom>
              <a:avLst/>
              <a:gdLst>
                <a:gd name="T0" fmla="*/ 1202 w 1243"/>
                <a:gd name="T1" fmla="*/ 1012 h 1835"/>
                <a:gd name="T2" fmla="*/ 1202 w 1243"/>
                <a:gd name="T3" fmla="*/ 1012 h 1835"/>
                <a:gd name="T4" fmla="*/ 1155 w 1243"/>
                <a:gd name="T5" fmla="*/ 989 h 1835"/>
                <a:gd name="T6" fmla="*/ 1163 w 1243"/>
                <a:gd name="T7" fmla="*/ 925 h 1835"/>
                <a:gd name="T8" fmla="*/ 1131 w 1243"/>
                <a:gd name="T9" fmla="*/ 894 h 1835"/>
                <a:gd name="T10" fmla="*/ 1092 w 1243"/>
                <a:gd name="T11" fmla="*/ 933 h 1835"/>
                <a:gd name="T12" fmla="*/ 997 w 1243"/>
                <a:gd name="T13" fmla="*/ 846 h 1835"/>
                <a:gd name="T14" fmla="*/ 981 w 1243"/>
                <a:gd name="T15" fmla="*/ 728 h 1835"/>
                <a:gd name="T16" fmla="*/ 870 w 1243"/>
                <a:gd name="T17" fmla="*/ 720 h 1835"/>
                <a:gd name="T18" fmla="*/ 823 w 1243"/>
                <a:gd name="T19" fmla="*/ 641 h 1835"/>
                <a:gd name="T20" fmla="*/ 657 w 1243"/>
                <a:gd name="T21" fmla="*/ 174 h 1835"/>
                <a:gd name="T22" fmla="*/ 491 w 1243"/>
                <a:gd name="T23" fmla="*/ 24 h 1835"/>
                <a:gd name="T24" fmla="*/ 428 w 1243"/>
                <a:gd name="T25" fmla="*/ 56 h 1835"/>
                <a:gd name="T26" fmla="*/ 253 w 1243"/>
                <a:gd name="T27" fmla="*/ 143 h 1835"/>
                <a:gd name="T28" fmla="*/ 182 w 1243"/>
                <a:gd name="T29" fmla="*/ 56 h 1835"/>
                <a:gd name="T30" fmla="*/ 119 w 1243"/>
                <a:gd name="T31" fmla="*/ 135 h 1835"/>
                <a:gd name="T32" fmla="*/ 32 w 1243"/>
                <a:gd name="T33" fmla="*/ 427 h 1835"/>
                <a:gd name="T34" fmla="*/ 32 w 1243"/>
                <a:gd name="T35" fmla="*/ 554 h 1835"/>
                <a:gd name="T36" fmla="*/ 32 w 1243"/>
                <a:gd name="T37" fmla="*/ 569 h 1835"/>
                <a:gd name="T38" fmla="*/ 380 w 1243"/>
                <a:gd name="T39" fmla="*/ 1755 h 1835"/>
                <a:gd name="T40" fmla="*/ 396 w 1243"/>
                <a:gd name="T41" fmla="*/ 1755 h 1835"/>
                <a:gd name="T42" fmla="*/ 428 w 1243"/>
                <a:gd name="T43" fmla="*/ 1779 h 1835"/>
                <a:gd name="T44" fmla="*/ 483 w 1243"/>
                <a:gd name="T45" fmla="*/ 1811 h 1835"/>
                <a:gd name="T46" fmla="*/ 475 w 1243"/>
                <a:gd name="T47" fmla="*/ 1763 h 1835"/>
                <a:gd name="T48" fmla="*/ 483 w 1243"/>
                <a:gd name="T49" fmla="*/ 1732 h 1835"/>
                <a:gd name="T50" fmla="*/ 506 w 1243"/>
                <a:gd name="T51" fmla="*/ 1692 h 1835"/>
                <a:gd name="T52" fmla="*/ 538 w 1243"/>
                <a:gd name="T53" fmla="*/ 1724 h 1835"/>
                <a:gd name="T54" fmla="*/ 554 w 1243"/>
                <a:gd name="T55" fmla="*/ 1676 h 1835"/>
                <a:gd name="T56" fmla="*/ 562 w 1243"/>
                <a:gd name="T57" fmla="*/ 1637 h 1835"/>
                <a:gd name="T58" fmla="*/ 625 w 1243"/>
                <a:gd name="T59" fmla="*/ 1645 h 1835"/>
                <a:gd name="T60" fmla="*/ 657 w 1243"/>
                <a:gd name="T61" fmla="*/ 1613 h 1835"/>
                <a:gd name="T62" fmla="*/ 649 w 1243"/>
                <a:gd name="T63" fmla="*/ 1463 h 1835"/>
                <a:gd name="T64" fmla="*/ 680 w 1243"/>
                <a:gd name="T65" fmla="*/ 1439 h 1835"/>
                <a:gd name="T66" fmla="*/ 688 w 1243"/>
                <a:gd name="T67" fmla="*/ 1384 h 1835"/>
                <a:gd name="T68" fmla="*/ 712 w 1243"/>
                <a:gd name="T69" fmla="*/ 1400 h 1835"/>
                <a:gd name="T70" fmla="*/ 752 w 1243"/>
                <a:gd name="T71" fmla="*/ 1439 h 1835"/>
                <a:gd name="T72" fmla="*/ 783 w 1243"/>
                <a:gd name="T73" fmla="*/ 1439 h 1835"/>
                <a:gd name="T74" fmla="*/ 823 w 1243"/>
                <a:gd name="T75" fmla="*/ 1431 h 1835"/>
                <a:gd name="T76" fmla="*/ 807 w 1243"/>
                <a:gd name="T77" fmla="*/ 1376 h 1835"/>
                <a:gd name="T78" fmla="*/ 839 w 1243"/>
                <a:gd name="T79" fmla="*/ 1400 h 1835"/>
                <a:gd name="T80" fmla="*/ 870 w 1243"/>
                <a:gd name="T81" fmla="*/ 1400 h 1835"/>
                <a:gd name="T82" fmla="*/ 902 w 1243"/>
                <a:gd name="T83" fmla="*/ 1376 h 1835"/>
                <a:gd name="T84" fmla="*/ 910 w 1243"/>
                <a:gd name="T85" fmla="*/ 1328 h 1835"/>
                <a:gd name="T86" fmla="*/ 854 w 1243"/>
                <a:gd name="T87" fmla="*/ 1313 h 1835"/>
                <a:gd name="T88" fmla="*/ 839 w 1243"/>
                <a:gd name="T89" fmla="*/ 1305 h 1835"/>
                <a:gd name="T90" fmla="*/ 902 w 1243"/>
                <a:gd name="T91" fmla="*/ 1281 h 1835"/>
                <a:gd name="T92" fmla="*/ 926 w 1243"/>
                <a:gd name="T93" fmla="*/ 1321 h 1835"/>
                <a:gd name="T94" fmla="*/ 965 w 1243"/>
                <a:gd name="T95" fmla="*/ 1321 h 1835"/>
                <a:gd name="T96" fmla="*/ 989 w 1243"/>
                <a:gd name="T97" fmla="*/ 1289 h 1835"/>
                <a:gd name="T98" fmla="*/ 1005 w 1243"/>
                <a:gd name="T99" fmla="*/ 1234 h 1835"/>
                <a:gd name="T100" fmla="*/ 1028 w 1243"/>
                <a:gd name="T101" fmla="*/ 1226 h 1835"/>
                <a:gd name="T102" fmla="*/ 1068 w 1243"/>
                <a:gd name="T103" fmla="*/ 1234 h 1835"/>
                <a:gd name="T104" fmla="*/ 1092 w 1243"/>
                <a:gd name="T105" fmla="*/ 1186 h 1835"/>
                <a:gd name="T106" fmla="*/ 1139 w 1243"/>
                <a:gd name="T107" fmla="*/ 1131 h 1835"/>
                <a:gd name="T108" fmla="*/ 1202 w 1243"/>
                <a:gd name="T109" fmla="*/ 1091 h 1835"/>
                <a:gd name="T110" fmla="*/ 1202 w 1243"/>
                <a:gd name="T111" fmla="*/ 1012 h 1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43" h="1835">
                  <a:moveTo>
                    <a:pt x="1202" y="1012"/>
                  </a:moveTo>
                  <a:lnTo>
                    <a:pt x="1202" y="1012"/>
                  </a:lnTo>
                  <a:cubicBezTo>
                    <a:pt x="1163" y="1012"/>
                    <a:pt x="1139" y="1020"/>
                    <a:pt x="1155" y="989"/>
                  </a:cubicBezTo>
                  <a:cubicBezTo>
                    <a:pt x="1179" y="949"/>
                    <a:pt x="1186" y="933"/>
                    <a:pt x="1163" y="925"/>
                  </a:cubicBezTo>
                  <a:cubicBezTo>
                    <a:pt x="1147" y="917"/>
                    <a:pt x="1123" y="902"/>
                    <a:pt x="1131" y="894"/>
                  </a:cubicBezTo>
                  <a:cubicBezTo>
                    <a:pt x="1131" y="902"/>
                    <a:pt x="1107" y="925"/>
                    <a:pt x="1092" y="933"/>
                  </a:cubicBezTo>
                  <a:cubicBezTo>
                    <a:pt x="1076" y="941"/>
                    <a:pt x="1020" y="870"/>
                    <a:pt x="997" y="846"/>
                  </a:cubicBezTo>
                  <a:cubicBezTo>
                    <a:pt x="981" y="822"/>
                    <a:pt x="1005" y="759"/>
                    <a:pt x="981" y="728"/>
                  </a:cubicBezTo>
                  <a:cubicBezTo>
                    <a:pt x="957" y="696"/>
                    <a:pt x="902" y="751"/>
                    <a:pt x="870" y="720"/>
                  </a:cubicBezTo>
                  <a:cubicBezTo>
                    <a:pt x="831" y="696"/>
                    <a:pt x="823" y="641"/>
                    <a:pt x="823" y="641"/>
                  </a:cubicBezTo>
                  <a:cubicBezTo>
                    <a:pt x="823" y="641"/>
                    <a:pt x="680" y="230"/>
                    <a:pt x="657" y="174"/>
                  </a:cubicBezTo>
                  <a:cubicBezTo>
                    <a:pt x="641" y="119"/>
                    <a:pt x="538" y="48"/>
                    <a:pt x="491" y="24"/>
                  </a:cubicBezTo>
                  <a:cubicBezTo>
                    <a:pt x="443" y="0"/>
                    <a:pt x="435" y="24"/>
                    <a:pt x="428" y="56"/>
                  </a:cubicBezTo>
                  <a:cubicBezTo>
                    <a:pt x="412" y="79"/>
                    <a:pt x="285" y="158"/>
                    <a:pt x="253" y="143"/>
                  </a:cubicBezTo>
                  <a:cubicBezTo>
                    <a:pt x="230" y="127"/>
                    <a:pt x="206" y="72"/>
                    <a:pt x="182" y="56"/>
                  </a:cubicBezTo>
                  <a:cubicBezTo>
                    <a:pt x="159" y="32"/>
                    <a:pt x="135" y="95"/>
                    <a:pt x="119" y="135"/>
                  </a:cubicBezTo>
                  <a:cubicBezTo>
                    <a:pt x="111" y="174"/>
                    <a:pt x="56" y="388"/>
                    <a:pt x="32" y="427"/>
                  </a:cubicBezTo>
                  <a:cubicBezTo>
                    <a:pt x="0" y="475"/>
                    <a:pt x="32" y="498"/>
                    <a:pt x="32" y="554"/>
                  </a:cubicBezTo>
                  <a:cubicBezTo>
                    <a:pt x="32" y="562"/>
                    <a:pt x="32" y="569"/>
                    <a:pt x="32" y="569"/>
                  </a:cubicBezTo>
                  <a:cubicBezTo>
                    <a:pt x="380" y="1755"/>
                    <a:pt x="380" y="1755"/>
                    <a:pt x="380" y="1755"/>
                  </a:cubicBezTo>
                  <a:cubicBezTo>
                    <a:pt x="388" y="1755"/>
                    <a:pt x="388" y="1755"/>
                    <a:pt x="396" y="1755"/>
                  </a:cubicBezTo>
                  <a:cubicBezTo>
                    <a:pt x="428" y="1755"/>
                    <a:pt x="404" y="1803"/>
                    <a:pt x="428" y="1779"/>
                  </a:cubicBezTo>
                  <a:cubicBezTo>
                    <a:pt x="459" y="1763"/>
                    <a:pt x="475" y="1834"/>
                    <a:pt x="483" y="1811"/>
                  </a:cubicBezTo>
                  <a:cubicBezTo>
                    <a:pt x="491" y="1787"/>
                    <a:pt x="467" y="1779"/>
                    <a:pt x="475" y="1763"/>
                  </a:cubicBezTo>
                  <a:cubicBezTo>
                    <a:pt x="475" y="1748"/>
                    <a:pt x="491" y="1755"/>
                    <a:pt x="483" y="1732"/>
                  </a:cubicBezTo>
                  <a:cubicBezTo>
                    <a:pt x="475" y="1700"/>
                    <a:pt x="491" y="1668"/>
                    <a:pt x="506" y="1692"/>
                  </a:cubicBezTo>
                  <a:cubicBezTo>
                    <a:pt x="522" y="1724"/>
                    <a:pt x="530" y="1739"/>
                    <a:pt x="538" y="1724"/>
                  </a:cubicBezTo>
                  <a:cubicBezTo>
                    <a:pt x="554" y="1708"/>
                    <a:pt x="562" y="1716"/>
                    <a:pt x="554" y="1676"/>
                  </a:cubicBezTo>
                  <a:cubicBezTo>
                    <a:pt x="546" y="1645"/>
                    <a:pt x="538" y="1645"/>
                    <a:pt x="562" y="1637"/>
                  </a:cubicBezTo>
                  <a:cubicBezTo>
                    <a:pt x="586" y="1637"/>
                    <a:pt x="593" y="1661"/>
                    <a:pt x="625" y="1645"/>
                  </a:cubicBezTo>
                  <a:cubicBezTo>
                    <a:pt x="657" y="1629"/>
                    <a:pt x="665" y="1637"/>
                    <a:pt x="657" y="1613"/>
                  </a:cubicBezTo>
                  <a:cubicBezTo>
                    <a:pt x="657" y="1589"/>
                    <a:pt x="625" y="1510"/>
                    <a:pt x="649" y="1463"/>
                  </a:cubicBezTo>
                  <a:cubicBezTo>
                    <a:pt x="680" y="1415"/>
                    <a:pt x="680" y="1463"/>
                    <a:pt x="680" y="1439"/>
                  </a:cubicBezTo>
                  <a:cubicBezTo>
                    <a:pt x="673" y="1415"/>
                    <a:pt x="688" y="1423"/>
                    <a:pt x="688" y="1384"/>
                  </a:cubicBezTo>
                  <a:cubicBezTo>
                    <a:pt x="696" y="1344"/>
                    <a:pt x="704" y="1384"/>
                    <a:pt x="712" y="1400"/>
                  </a:cubicBezTo>
                  <a:cubicBezTo>
                    <a:pt x="728" y="1423"/>
                    <a:pt x="736" y="1447"/>
                    <a:pt x="752" y="1439"/>
                  </a:cubicBezTo>
                  <a:cubicBezTo>
                    <a:pt x="775" y="1431"/>
                    <a:pt x="759" y="1431"/>
                    <a:pt x="783" y="1439"/>
                  </a:cubicBezTo>
                  <a:cubicBezTo>
                    <a:pt x="807" y="1455"/>
                    <a:pt x="846" y="1455"/>
                    <a:pt x="823" y="1431"/>
                  </a:cubicBezTo>
                  <a:cubicBezTo>
                    <a:pt x="807" y="1408"/>
                    <a:pt x="783" y="1384"/>
                    <a:pt x="807" y="1376"/>
                  </a:cubicBezTo>
                  <a:cubicBezTo>
                    <a:pt x="831" y="1368"/>
                    <a:pt x="831" y="1384"/>
                    <a:pt x="839" y="1400"/>
                  </a:cubicBezTo>
                  <a:cubicBezTo>
                    <a:pt x="839" y="1423"/>
                    <a:pt x="870" y="1400"/>
                    <a:pt x="870" y="1400"/>
                  </a:cubicBezTo>
                  <a:cubicBezTo>
                    <a:pt x="870" y="1400"/>
                    <a:pt x="878" y="1400"/>
                    <a:pt x="902" y="1376"/>
                  </a:cubicBezTo>
                  <a:cubicBezTo>
                    <a:pt x="918" y="1352"/>
                    <a:pt x="926" y="1344"/>
                    <a:pt x="910" y="1328"/>
                  </a:cubicBezTo>
                  <a:cubicBezTo>
                    <a:pt x="894" y="1321"/>
                    <a:pt x="862" y="1305"/>
                    <a:pt x="854" y="1313"/>
                  </a:cubicBezTo>
                  <a:cubicBezTo>
                    <a:pt x="839" y="1328"/>
                    <a:pt x="815" y="1321"/>
                    <a:pt x="839" y="1305"/>
                  </a:cubicBezTo>
                  <a:cubicBezTo>
                    <a:pt x="870" y="1281"/>
                    <a:pt x="886" y="1265"/>
                    <a:pt x="902" y="1281"/>
                  </a:cubicBezTo>
                  <a:cubicBezTo>
                    <a:pt x="918" y="1305"/>
                    <a:pt x="894" y="1305"/>
                    <a:pt x="926" y="1321"/>
                  </a:cubicBezTo>
                  <a:cubicBezTo>
                    <a:pt x="949" y="1344"/>
                    <a:pt x="957" y="1360"/>
                    <a:pt x="965" y="1321"/>
                  </a:cubicBezTo>
                  <a:cubicBezTo>
                    <a:pt x="973" y="1289"/>
                    <a:pt x="973" y="1289"/>
                    <a:pt x="989" y="1289"/>
                  </a:cubicBezTo>
                  <a:cubicBezTo>
                    <a:pt x="1005" y="1289"/>
                    <a:pt x="1005" y="1265"/>
                    <a:pt x="1005" y="1234"/>
                  </a:cubicBezTo>
                  <a:cubicBezTo>
                    <a:pt x="1005" y="1210"/>
                    <a:pt x="1012" y="1210"/>
                    <a:pt x="1028" y="1226"/>
                  </a:cubicBezTo>
                  <a:cubicBezTo>
                    <a:pt x="1044" y="1249"/>
                    <a:pt x="1052" y="1257"/>
                    <a:pt x="1068" y="1234"/>
                  </a:cubicBezTo>
                  <a:cubicBezTo>
                    <a:pt x="1076" y="1210"/>
                    <a:pt x="1060" y="1218"/>
                    <a:pt x="1092" y="1186"/>
                  </a:cubicBezTo>
                  <a:cubicBezTo>
                    <a:pt x="1123" y="1155"/>
                    <a:pt x="1107" y="1131"/>
                    <a:pt x="1139" y="1131"/>
                  </a:cubicBezTo>
                  <a:cubicBezTo>
                    <a:pt x="1171" y="1123"/>
                    <a:pt x="1171" y="1123"/>
                    <a:pt x="1202" y="1091"/>
                  </a:cubicBezTo>
                  <a:cubicBezTo>
                    <a:pt x="1234" y="1068"/>
                    <a:pt x="1242" y="1020"/>
                    <a:pt x="1202" y="1012"/>
                  </a:cubicBezTo>
                </a:path>
              </a:pathLst>
            </a:custGeom>
            <a:solidFill>
              <a:schemeClr val="accent6"/>
            </a:solidFill>
            <a:ln>
              <a:solidFill>
                <a:schemeClr val="bg2"/>
              </a:solidFill>
            </a:ln>
            <a:effectLst/>
          </p:spPr>
          <p:txBody>
            <a:bodyPr wrap="none" anchor="ctr"/>
            <a:lstStyle/>
            <a:p>
              <a:endParaRPr lang="en-US"/>
            </a:p>
          </p:txBody>
        </p:sp>
        <p:sp>
          <p:nvSpPr>
            <p:cNvPr id="86" name="Freeform 753"/>
            <p:cNvSpPr>
              <a:spLocks noChangeArrowheads="1"/>
            </p:cNvSpPr>
            <p:nvPr/>
          </p:nvSpPr>
          <p:spPr bwMode="auto">
            <a:xfrm>
              <a:off x="7242060" y="1888679"/>
              <a:ext cx="442087" cy="565994"/>
            </a:xfrm>
            <a:custGeom>
              <a:avLst/>
              <a:gdLst>
                <a:gd name="T0" fmla="*/ 434 w 1226"/>
                <a:gd name="T1" fmla="*/ 1771 h 1812"/>
                <a:gd name="T2" fmla="*/ 387 w 1226"/>
                <a:gd name="T3" fmla="*/ 1747 h 1812"/>
                <a:gd name="T4" fmla="*/ 23 w 1226"/>
                <a:gd name="T5" fmla="*/ 561 h 1812"/>
                <a:gd name="T6" fmla="*/ 15 w 1226"/>
                <a:gd name="T7" fmla="*/ 419 h 1812"/>
                <a:gd name="T8" fmla="*/ 173 w 1226"/>
                <a:gd name="T9" fmla="*/ 40 h 1812"/>
                <a:gd name="T10" fmla="*/ 411 w 1226"/>
                <a:gd name="T11" fmla="*/ 40 h 1812"/>
                <a:gd name="T12" fmla="*/ 656 w 1226"/>
                <a:gd name="T13" fmla="*/ 166 h 1812"/>
                <a:gd name="T14" fmla="*/ 917 w 1226"/>
                <a:gd name="T15" fmla="*/ 712 h 1812"/>
                <a:gd name="T16" fmla="*/ 996 w 1226"/>
                <a:gd name="T17" fmla="*/ 838 h 1812"/>
                <a:gd name="T18" fmla="*/ 1138 w 1226"/>
                <a:gd name="T19" fmla="*/ 862 h 1812"/>
                <a:gd name="T20" fmla="*/ 1170 w 1226"/>
                <a:gd name="T21" fmla="*/ 925 h 1812"/>
                <a:gd name="T22" fmla="*/ 1170 w 1226"/>
                <a:gd name="T23" fmla="*/ 1004 h 1812"/>
                <a:gd name="T24" fmla="*/ 1130 w 1226"/>
                <a:gd name="T25" fmla="*/ 1123 h 1812"/>
                <a:gd name="T26" fmla="*/ 1067 w 1226"/>
                <a:gd name="T27" fmla="*/ 1210 h 1812"/>
                <a:gd name="T28" fmla="*/ 1003 w 1226"/>
                <a:gd name="T29" fmla="*/ 1210 h 1812"/>
                <a:gd name="T30" fmla="*/ 980 w 1226"/>
                <a:gd name="T31" fmla="*/ 1281 h 1812"/>
                <a:gd name="T32" fmla="*/ 909 w 1226"/>
                <a:gd name="T33" fmla="*/ 1320 h 1812"/>
                <a:gd name="T34" fmla="*/ 845 w 1226"/>
                <a:gd name="T35" fmla="*/ 1289 h 1812"/>
                <a:gd name="T36" fmla="*/ 901 w 1226"/>
                <a:gd name="T37" fmla="*/ 1320 h 1812"/>
                <a:gd name="T38" fmla="*/ 837 w 1226"/>
                <a:gd name="T39" fmla="*/ 1407 h 1812"/>
                <a:gd name="T40" fmla="*/ 798 w 1226"/>
                <a:gd name="T41" fmla="*/ 1368 h 1812"/>
                <a:gd name="T42" fmla="*/ 822 w 1226"/>
                <a:gd name="T43" fmla="*/ 1439 h 1812"/>
                <a:gd name="T44" fmla="*/ 750 w 1226"/>
                <a:gd name="T45" fmla="*/ 1431 h 1812"/>
                <a:gd name="T46" fmla="*/ 703 w 1226"/>
                <a:gd name="T47" fmla="*/ 1392 h 1812"/>
                <a:gd name="T48" fmla="*/ 679 w 1226"/>
                <a:gd name="T49" fmla="*/ 1407 h 1812"/>
                <a:gd name="T50" fmla="*/ 664 w 1226"/>
                <a:gd name="T51" fmla="*/ 1439 h 1812"/>
                <a:gd name="T52" fmla="*/ 632 w 1226"/>
                <a:gd name="T53" fmla="*/ 1637 h 1812"/>
                <a:gd name="T54" fmla="*/ 553 w 1226"/>
                <a:gd name="T55" fmla="*/ 1637 h 1812"/>
                <a:gd name="T56" fmla="*/ 545 w 1226"/>
                <a:gd name="T57" fmla="*/ 1716 h 1812"/>
                <a:gd name="T58" fmla="*/ 482 w 1226"/>
                <a:gd name="T59" fmla="*/ 1684 h 1812"/>
                <a:gd name="T60" fmla="*/ 466 w 1226"/>
                <a:gd name="T61" fmla="*/ 1755 h 1812"/>
                <a:gd name="T62" fmla="*/ 434 w 1226"/>
                <a:gd name="T63" fmla="*/ 1763 h 1812"/>
                <a:gd name="T64" fmla="*/ 466 w 1226"/>
                <a:gd name="T65" fmla="*/ 1795 h 1812"/>
                <a:gd name="T66" fmla="*/ 474 w 1226"/>
                <a:gd name="T67" fmla="*/ 1724 h 1812"/>
                <a:gd name="T68" fmla="*/ 521 w 1226"/>
                <a:gd name="T69" fmla="*/ 1716 h 1812"/>
                <a:gd name="T70" fmla="*/ 537 w 1226"/>
                <a:gd name="T71" fmla="*/ 1660 h 1812"/>
                <a:gd name="T72" fmla="*/ 600 w 1226"/>
                <a:gd name="T73" fmla="*/ 1637 h 1812"/>
                <a:gd name="T74" fmla="*/ 640 w 1226"/>
                <a:gd name="T75" fmla="*/ 1589 h 1812"/>
                <a:gd name="T76" fmla="*/ 671 w 1226"/>
                <a:gd name="T77" fmla="*/ 1407 h 1812"/>
                <a:gd name="T78" fmla="*/ 711 w 1226"/>
                <a:gd name="T79" fmla="*/ 1392 h 1812"/>
                <a:gd name="T80" fmla="*/ 743 w 1226"/>
                <a:gd name="T81" fmla="*/ 1423 h 1812"/>
                <a:gd name="T82" fmla="*/ 806 w 1226"/>
                <a:gd name="T83" fmla="*/ 1439 h 1812"/>
                <a:gd name="T84" fmla="*/ 790 w 1226"/>
                <a:gd name="T85" fmla="*/ 1376 h 1812"/>
                <a:gd name="T86" fmla="*/ 830 w 1226"/>
                <a:gd name="T87" fmla="*/ 1392 h 1812"/>
                <a:gd name="T88" fmla="*/ 885 w 1226"/>
                <a:gd name="T89" fmla="*/ 1368 h 1812"/>
                <a:gd name="T90" fmla="*/ 845 w 1226"/>
                <a:gd name="T91" fmla="*/ 1313 h 1812"/>
                <a:gd name="T92" fmla="*/ 837 w 1226"/>
                <a:gd name="T93" fmla="*/ 1281 h 1812"/>
                <a:gd name="T94" fmla="*/ 917 w 1226"/>
                <a:gd name="T95" fmla="*/ 1313 h 1812"/>
                <a:gd name="T96" fmla="*/ 980 w 1226"/>
                <a:gd name="T97" fmla="*/ 1273 h 1812"/>
                <a:gd name="T98" fmla="*/ 1003 w 1226"/>
                <a:gd name="T99" fmla="*/ 1202 h 1812"/>
                <a:gd name="T100" fmla="*/ 1059 w 1226"/>
                <a:gd name="T101" fmla="*/ 1210 h 1812"/>
                <a:gd name="T102" fmla="*/ 1130 w 1226"/>
                <a:gd name="T103" fmla="*/ 1115 h 1812"/>
                <a:gd name="T104" fmla="*/ 1170 w 1226"/>
                <a:gd name="T105" fmla="*/ 1012 h 1812"/>
                <a:gd name="T106" fmla="*/ 1162 w 1226"/>
                <a:gd name="T107" fmla="*/ 925 h 1812"/>
                <a:gd name="T108" fmla="*/ 1083 w 1226"/>
                <a:gd name="T109" fmla="*/ 925 h 1812"/>
                <a:gd name="T110" fmla="*/ 972 w 1226"/>
                <a:gd name="T111" fmla="*/ 720 h 1812"/>
                <a:gd name="T112" fmla="*/ 861 w 1226"/>
                <a:gd name="T113" fmla="*/ 720 h 1812"/>
                <a:gd name="T114" fmla="*/ 450 w 1226"/>
                <a:gd name="T115" fmla="*/ 8 h 1812"/>
                <a:gd name="T116" fmla="*/ 244 w 1226"/>
                <a:gd name="T117" fmla="*/ 143 h 1812"/>
                <a:gd name="T118" fmla="*/ 118 w 1226"/>
                <a:gd name="T119" fmla="*/ 127 h 1812"/>
                <a:gd name="T120" fmla="*/ 31 w 1226"/>
                <a:gd name="T121" fmla="*/ 546 h 1812"/>
                <a:gd name="T122" fmla="*/ 411 w 1226"/>
                <a:gd name="T123" fmla="*/ 1771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6" h="1812">
                  <a:moveTo>
                    <a:pt x="466" y="1811"/>
                  </a:moveTo>
                  <a:lnTo>
                    <a:pt x="466" y="1811"/>
                  </a:lnTo>
                  <a:cubicBezTo>
                    <a:pt x="466" y="1811"/>
                    <a:pt x="458" y="1803"/>
                    <a:pt x="458" y="1795"/>
                  </a:cubicBezTo>
                  <a:cubicBezTo>
                    <a:pt x="450" y="1787"/>
                    <a:pt x="442" y="1771"/>
                    <a:pt x="434" y="1771"/>
                  </a:cubicBezTo>
                  <a:cubicBezTo>
                    <a:pt x="426" y="1771"/>
                    <a:pt x="426" y="1771"/>
                    <a:pt x="426" y="1779"/>
                  </a:cubicBezTo>
                  <a:cubicBezTo>
                    <a:pt x="419" y="1779"/>
                    <a:pt x="411" y="1787"/>
                    <a:pt x="411" y="1787"/>
                  </a:cubicBezTo>
                  <a:cubicBezTo>
                    <a:pt x="403" y="1787"/>
                    <a:pt x="403" y="1779"/>
                    <a:pt x="403" y="1771"/>
                  </a:cubicBezTo>
                  <a:cubicBezTo>
                    <a:pt x="395" y="1755"/>
                    <a:pt x="395" y="1755"/>
                    <a:pt x="387" y="1747"/>
                  </a:cubicBezTo>
                  <a:cubicBezTo>
                    <a:pt x="379" y="1747"/>
                    <a:pt x="379" y="1747"/>
                    <a:pt x="371" y="1755"/>
                  </a:cubicBezTo>
                  <a:lnTo>
                    <a:pt x="371" y="1755"/>
                  </a:lnTo>
                  <a:cubicBezTo>
                    <a:pt x="371" y="1747"/>
                    <a:pt x="371" y="1747"/>
                    <a:pt x="371" y="1747"/>
                  </a:cubicBezTo>
                  <a:cubicBezTo>
                    <a:pt x="23" y="561"/>
                    <a:pt x="23" y="561"/>
                    <a:pt x="23" y="561"/>
                  </a:cubicBezTo>
                  <a:lnTo>
                    <a:pt x="23" y="561"/>
                  </a:lnTo>
                  <a:cubicBezTo>
                    <a:pt x="23" y="561"/>
                    <a:pt x="23" y="554"/>
                    <a:pt x="23" y="546"/>
                  </a:cubicBezTo>
                  <a:cubicBezTo>
                    <a:pt x="23" y="530"/>
                    <a:pt x="15" y="514"/>
                    <a:pt x="15" y="498"/>
                  </a:cubicBezTo>
                  <a:cubicBezTo>
                    <a:pt x="7" y="475"/>
                    <a:pt x="0" y="451"/>
                    <a:pt x="15" y="419"/>
                  </a:cubicBezTo>
                  <a:cubicBezTo>
                    <a:pt x="39" y="388"/>
                    <a:pt x="79" y="245"/>
                    <a:pt x="94" y="174"/>
                  </a:cubicBezTo>
                  <a:cubicBezTo>
                    <a:pt x="102" y="150"/>
                    <a:pt x="110" y="135"/>
                    <a:pt x="110" y="127"/>
                  </a:cubicBezTo>
                  <a:cubicBezTo>
                    <a:pt x="118" y="103"/>
                    <a:pt x="142" y="40"/>
                    <a:pt x="166" y="40"/>
                  </a:cubicBezTo>
                  <a:cubicBezTo>
                    <a:pt x="173" y="40"/>
                    <a:pt x="173" y="40"/>
                    <a:pt x="173" y="40"/>
                  </a:cubicBezTo>
                  <a:cubicBezTo>
                    <a:pt x="189" y="48"/>
                    <a:pt x="197" y="64"/>
                    <a:pt x="205" y="79"/>
                  </a:cubicBezTo>
                  <a:cubicBezTo>
                    <a:pt x="221" y="103"/>
                    <a:pt x="229" y="127"/>
                    <a:pt x="253" y="135"/>
                  </a:cubicBezTo>
                  <a:cubicBezTo>
                    <a:pt x="253" y="135"/>
                    <a:pt x="253" y="135"/>
                    <a:pt x="260" y="135"/>
                  </a:cubicBezTo>
                  <a:cubicBezTo>
                    <a:pt x="292" y="135"/>
                    <a:pt x="403" y="64"/>
                    <a:pt x="411" y="40"/>
                  </a:cubicBezTo>
                  <a:cubicBezTo>
                    <a:pt x="411" y="40"/>
                    <a:pt x="419" y="40"/>
                    <a:pt x="419" y="32"/>
                  </a:cubicBezTo>
                  <a:cubicBezTo>
                    <a:pt x="426" y="16"/>
                    <a:pt x="434" y="0"/>
                    <a:pt x="450" y="0"/>
                  </a:cubicBezTo>
                  <a:cubicBezTo>
                    <a:pt x="458" y="0"/>
                    <a:pt x="474" y="8"/>
                    <a:pt x="482" y="8"/>
                  </a:cubicBezTo>
                  <a:cubicBezTo>
                    <a:pt x="529" y="32"/>
                    <a:pt x="632" y="103"/>
                    <a:pt x="656" y="166"/>
                  </a:cubicBezTo>
                  <a:cubicBezTo>
                    <a:pt x="671" y="222"/>
                    <a:pt x="814" y="625"/>
                    <a:pt x="822" y="633"/>
                  </a:cubicBezTo>
                  <a:cubicBezTo>
                    <a:pt x="822" y="633"/>
                    <a:pt x="830" y="688"/>
                    <a:pt x="861" y="712"/>
                  </a:cubicBezTo>
                  <a:cubicBezTo>
                    <a:pt x="869" y="712"/>
                    <a:pt x="877" y="720"/>
                    <a:pt x="885" y="720"/>
                  </a:cubicBezTo>
                  <a:cubicBezTo>
                    <a:pt x="893" y="720"/>
                    <a:pt x="909" y="712"/>
                    <a:pt x="917" y="712"/>
                  </a:cubicBezTo>
                  <a:cubicBezTo>
                    <a:pt x="932" y="704"/>
                    <a:pt x="940" y="704"/>
                    <a:pt x="948" y="704"/>
                  </a:cubicBezTo>
                  <a:cubicBezTo>
                    <a:pt x="964" y="704"/>
                    <a:pt x="972" y="704"/>
                    <a:pt x="972" y="712"/>
                  </a:cubicBezTo>
                  <a:cubicBezTo>
                    <a:pt x="988" y="736"/>
                    <a:pt x="988" y="759"/>
                    <a:pt x="988" y="783"/>
                  </a:cubicBezTo>
                  <a:cubicBezTo>
                    <a:pt x="988" y="807"/>
                    <a:pt x="988" y="823"/>
                    <a:pt x="996" y="838"/>
                  </a:cubicBezTo>
                  <a:cubicBezTo>
                    <a:pt x="996" y="838"/>
                    <a:pt x="996" y="838"/>
                    <a:pt x="1003" y="846"/>
                  </a:cubicBezTo>
                  <a:cubicBezTo>
                    <a:pt x="1019" y="862"/>
                    <a:pt x="1067" y="917"/>
                    <a:pt x="1083" y="917"/>
                  </a:cubicBezTo>
                  <a:cubicBezTo>
                    <a:pt x="1090" y="917"/>
                    <a:pt x="1106" y="894"/>
                    <a:pt x="1122" y="886"/>
                  </a:cubicBezTo>
                  <a:cubicBezTo>
                    <a:pt x="1138" y="862"/>
                    <a:pt x="1138" y="862"/>
                    <a:pt x="1138" y="862"/>
                  </a:cubicBezTo>
                  <a:cubicBezTo>
                    <a:pt x="1122" y="894"/>
                    <a:pt x="1122" y="894"/>
                    <a:pt x="1122" y="894"/>
                  </a:cubicBezTo>
                  <a:lnTo>
                    <a:pt x="1122" y="894"/>
                  </a:lnTo>
                  <a:cubicBezTo>
                    <a:pt x="1130" y="894"/>
                    <a:pt x="1146" y="909"/>
                    <a:pt x="1154" y="909"/>
                  </a:cubicBezTo>
                  <a:cubicBezTo>
                    <a:pt x="1162" y="917"/>
                    <a:pt x="1170" y="917"/>
                    <a:pt x="1170" y="925"/>
                  </a:cubicBezTo>
                  <a:cubicBezTo>
                    <a:pt x="1170" y="933"/>
                    <a:pt x="1162" y="949"/>
                    <a:pt x="1154" y="973"/>
                  </a:cubicBezTo>
                  <a:cubicBezTo>
                    <a:pt x="1154" y="981"/>
                    <a:pt x="1154" y="981"/>
                    <a:pt x="1154" y="981"/>
                  </a:cubicBezTo>
                  <a:cubicBezTo>
                    <a:pt x="1146" y="989"/>
                    <a:pt x="1146" y="996"/>
                    <a:pt x="1146" y="996"/>
                  </a:cubicBezTo>
                  <a:cubicBezTo>
                    <a:pt x="1146" y="1004"/>
                    <a:pt x="1154" y="1004"/>
                    <a:pt x="1170" y="1004"/>
                  </a:cubicBezTo>
                  <a:cubicBezTo>
                    <a:pt x="1177" y="1004"/>
                    <a:pt x="1185" y="1004"/>
                    <a:pt x="1193" y="1004"/>
                  </a:cubicBezTo>
                  <a:cubicBezTo>
                    <a:pt x="1209" y="1004"/>
                    <a:pt x="1217" y="1012"/>
                    <a:pt x="1217" y="1020"/>
                  </a:cubicBezTo>
                  <a:cubicBezTo>
                    <a:pt x="1225" y="1044"/>
                    <a:pt x="1217" y="1067"/>
                    <a:pt x="1193" y="1091"/>
                  </a:cubicBezTo>
                  <a:cubicBezTo>
                    <a:pt x="1162" y="1115"/>
                    <a:pt x="1162" y="1115"/>
                    <a:pt x="1130" y="1123"/>
                  </a:cubicBezTo>
                  <a:lnTo>
                    <a:pt x="1130" y="1123"/>
                  </a:lnTo>
                  <a:cubicBezTo>
                    <a:pt x="1114" y="1123"/>
                    <a:pt x="1114" y="1131"/>
                    <a:pt x="1106" y="1139"/>
                  </a:cubicBezTo>
                  <a:cubicBezTo>
                    <a:pt x="1106" y="1154"/>
                    <a:pt x="1106" y="1162"/>
                    <a:pt x="1090" y="1178"/>
                  </a:cubicBezTo>
                  <a:cubicBezTo>
                    <a:pt x="1067" y="1202"/>
                    <a:pt x="1067" y="1202"/>
                    <a:pt x="1067" y="1210"/>
                  </a:cubicBezTo>
                  <a:cubicBezTo>
                    <a:pt x="1067" y="1210"/>
                    <a:pt x="1059" y="1218"/>
                    <a:pt x="1059" y="1226"/>
                  </a:cubicBezTo>
                  <a:cubicBezTo>
                    <a:pt x="1059" y="1234"/>
                    <a:pt x="1051" y="1241"/>
                    <a:pt x="1043" y="1241"/>
                  </a:cubicBezTo>
                  <a:cubicBezTo>
                    <a:pt x="1035" y="1241"/>
                    <a:pt x="1027" y="1234"/>
                    <a:pt x="1019" y="1226"/>
                  </a:cubicBezTo>
                  <a:cubicBezTo>
                    <a:pt x="1011" y="1210"/>
                    <a:pt x="1003" y="1210"/>
                    <a:pt x="1003" y="1210"/>
                  </a:cubicBezTo>
                  <a:cubicBezTo>
                    <a:pt x="1003" y="1210"/>
                    <a:pt x="1003" y="1210"/>
                    <a:pt x="1003" y="1226"/>
                  </a:cubicBezTo>
                  <a:cubicBezTo>
                    <a:pt x="1003" y="1234"/>
                    <a:pt x="1003" y="1234"/>
                    <a:pt x="1003" y="1234"/>
                  </a:cubicBezTo>
                  <a:cubicBezTo>
                    <a:pt x="996" y="1257"/>
                    <a:pt x="996" y="1281"/>
                    <a:pt x="980" y="1281"/>
                  </a:cubicBezTo>
                  <a:lnTo>
                    <a:pt x="980" y="1281"/>
                  </a:lnTo>
                  <a:cubicBezTo>
                    <a:pt x="972" y="1281"/>
                    <a:pt x="964" y="1281"/>
                    <a:pt x="956" y="1320"/>
                  </a:cubicBezTo>
                  <a:cubicBezTo>
                    <a:pt x="956" y="1328"/>
                    <a:pt x="956" y="1344"/>
                    <a:pt x="940" y="1344"/>
                  </a:cubicBezTo>
                  <a:cubicBezTo>
                    <a:pt x="940" y="1344"/>
                    <a:pt x="932" y="1336"/>
                    <a:pt x="924" y="1328"/>
                  </a:cubicBezTo>
                  <a:cubicBezTo>
                    <a:pt x="917" y="1320"/>
                    <a:pt x="917" y="1320"/>
                    <a:pt x="909" y="1320"/>
                  </a:cubicBezTo>
                  <a:cubicBezTo>
                    <a:pt x="893" y="1305"/>
                    <a:pt x="893" y="1305"/>
                    <a:pt x="893" y="1297"/>
                  </a:cubicBezTo>
                  <a:cubicBezTo>
                    <a:pt x="901" y="1289"/>
                    <a:pt x="901" y="1289"/>
                    <a:pt x="893" y="1281"/>
                  </a:cubicBezTo>
                  <a:cubicBezTo>
                    <a:pt x="885" y="1273"/>
                    <a:pt x="885" y="1273"/>
                    <a:pt x="877" y="1273"/>
                  </a:cubicBezTo>
                  <a:cubicBezTo>
                    <a:pt x="869" y="1273"/>
                    <a:pt x="861" y="1281"/>
                    <a:pt x="845" y="1289"/>
                  </a:cubicBezTo>
                  <a:lnTo>
                    <a:pt x="837" y="1297"/>
                  </a:lnTo>
                  <a:cubicBezTo>
                    <a:pt x="830" y="1305"/>
                    <a:pt x="822" y="1305"/>
                    <a:pt x="822" y="1313"/>
                  </a:cubicBezTo>
                  <a:cubicBezTo>
                    <a:pt x="830" y="1313"/>
                    <a:pt x="837" y="1313"/>
                    <a:pt x="837" y="1305"/>
                  </a:cubicBezTo>
                  <a:cubicBezTo>
                    <a:pt x="845" y="1297"/>
                    <a:pt x="869" y="1297"/>
                    <a:pt x="901" y="1320"/>
                  </a:cubicBezTo>
                  <a:cubicBezTo>
                    <a:pt x="909" y="1320"/>
                    <a:pt x="909" y="1328"/>
                    <a:pt x="909" y="1336"/>
                  </a:cubicBezTo>
                  <a:cubicBezTo>
                    <a:pt x="909" y="1344"/>
                    <a:pt x="909" y="1352"/>
                    <a:pt x="893" y="1368"/>
                  </a:cubicBezTo>
                  <a:cubicBezTo>
                    <a:pt x="877" y="1392"/>
                    <a:pt x="869" y="1400"/>
                    <a:pt x="861" y="1400"/>
                  </a:cubicBezTo>
                  <a:cubicBezTo>
                    <a:pt x="861" y="1400"/>
                    <a:pt x="853" y="1407"/>
                    <a:pt x="837" y="1407"/>
                  </a:cubicBezTo>
                  <a:cubicBezTo>
                    <a:pt x="830" y="1407"/>
                    <a:pt x="822" y="1400"/>
                    <a:pt x="822" y="1392"/>
                  </a:cubicBezTo>
                  <a:lnTo>
                    <a:pt x="822" y="1384"/>
                  </a:lnTo>
                  <a:cubicBezTo>
                    <a:pt x="814" y="1368"/>
                    <a:pt x="814" y="1368"/>
                    <a:pt x="806" y="1368"/>
                  </a:cubicBezTo>
                  <a:cubicBezTo>
                    <a:pt x="806" y="1368"/>
                    <a:pt x="806" y="1368"/>
                    <a:pt x="798" y="1368"/>
                  </a:cubicBezTo>
                  <a:cubicBezTo>
                    <a:pt x="798" y="1368"/>
                    <a:pt x="790" y="1368"/>
                    <a:pt x="790" y="1376"/>
                  </a:cubicBezTo>
                  <a:cubicBezTo>
                    <a:pt x="790" y="1384"/>
                    <a:pt x="806" y="1400"/>
                    <a:pt x="814" y="1415"/>
                  </a:cubicBezTo>
                  <a:cubicBezTo>
                    <a:pt x="814" y="1415"/>
                    <a:pt x="822" y="1415"/>
                    <a:pt x="822" y="1423"/>
                  </a:cubicBezTo>
                  <a:cubicBezTo>
                    <a:pt x="830" y="1431"/>
                    <a:pt x="830" y="1431"/>
                    <a:pt x="822" y="1439"/>
                  </a:cubicBezTo>
                  <a:cubicBezTo>
                    <a:pt x="822" y="1439"/>
                    <a:pt x="814" y="1447"/>
                    <a:pt x="806" y="1447"/>
                  </a:cubicBezTo>
                  <a:cubicBezTo>
                    <a:pt x="798" y="1447"/>
                    <a:pt x="782" y="1439"/>
                    <a:pt x="774" y="1439"/>
                  </a:cubicBezTo>
                  <a:cubicBezTo>
                    <a:pt x="759" y="1431"/>
                    <a:pt x="759" y="1431"/>
                    <a:pt x="750" y="1431"/>
                  </a:cubicBezTo>
                  <a:lnTo>
                    <a:pt x="750" y="1431"/>
                  </a:lnTo>
                  <a:cubicBezTo>
                    <a:pt x="743" y="1431"/>
                    <a:pt x="743" y="1431"/>
                    <a:pt x="743" y="1431"/>
                  </a:cubicBezTo>
                  <a:cubicBezTo>
                    <a:pt x="743" y="1431"/>
                    <a:pt x="743" y="1431"/>
                    <a:pt x="735" y="1431"/>
                  </a:cubicBezTo>
                  <a:cubicBezTo>
                    <a:pt x="719" y="1431"/>
                    <a:pt x="711" y="1415"/>
                    <a:pt x="703" y="1392"/>
                  </a:cubicBezTo>
                  <a:lnTo>
                    <a:pt x="703" y="1392"/>
                  </a:lnTo>
                  <a:cubicBezTo>
                    <a:pt x="703" y="1392"/>
                    <a:pt x="703" y="1384"/>
                    <a:pt x="695" y="1384"/>
                  </a:cubicBezTo>
                  <a:cubicBezTo>
                    <a:pt x="695" y="1376"/>
                    <a:pt x="695" y="1368"/>
                    <a:pt x="687" y="1360"/>
                  </a:cubicBezTo>
                  <a:cubicBezTo>
                    <a:pt x="687" y="1368"/>
                    <a:pt x="687" y="1368"/>
                    <a:pt x="687" y="1376"/>
                  </a:cubicBezTo>
                  <a:cubicBezTo>
                    <a:pt x="687" y="1392"/>
                    <a:pt x="679" y="1407"/>
                    <a:pt x="679" y="1407"/>
                  </a:cubicBezTo>
                  <a:cubicBezTo>
                    <a:pt x="671" y="1415"/>
                    <a:pt x="671" y="1423"/>
                    <a:pt x="671" y="1431"/>
                  </a:cubicBezTo>
                  <a:cubicBezTo>
                    <a:pt x="671" y="1439"/>
                    <a:pt x="671" y="1439"/>
                    <a:pt x="671" y="1439"/>
                  </a:cubicBezTo>
                  <a:cubicBezTo>
                    <a:pt x="664" y="1439"/>
                    <a:pt x="664" y="1439"/>
                    <a:pt x="664" y="1439"/>
                  </a:cubicBezTo>
                  <a:lnTo>
                    <a:pt x="664" y="1439"/>
                  </a:lnTo>
                  <a:cubicBezTo>
                    <a:pt x="664" y="1439"/>
                    <a:pt x="656" y="1439"/>
                    <a:pt x="648" y="1455"/>
                  </a:cubicBezTo>
                  <a:cubicBezTo>
                    <a:pt x="624" y="1494"/>
                    <a:pt x="640" y="1550"/>
                    <a:pt x="648" y="1581"/>
                  </a:cubicBezTo>
                  <a:cubicBezTo>
                    <a:pt x="648" y="1589"/>
                    <a:pt x="656" y="1597"/>
                    <a:pt x="656" y="1605"/>
                  </a:cubicBezTo>
                  <a:cubicBezTo>
                    <a:pt x="656" y="1621"/>
                    <a:pt x="656" y="1629"/>
                    <a:pt x="632" y="1637"/>
                  </a:cubicBezTo>
                  <a:cubicBezTo>
                    <a:pt x="624" y="1637"/>
                    <a:pt x="624" y="1637"/>
                    <a:pt x="616" y="1645"/>
                  </a:cubicBezTo>
                  <a:cubicBezTo>
                    <a:pt x="608" y="1645"/>
                    <a:pt x="600" y="1645"/>
                    <a:pt x="600" y="1645"/>
                  </a:cubicBezTo>
                  <a:cubicBezTo>
                    <a:pt x="584" y="1645"/>
                    <a:pt x="584" y="1645"/>
                    <a:pt x="577" y="1637"/>
                  </a:cubicBezTo>
                  <a:cubicBezTo>
                    <a:pt x="569" y="1637"/>
                    <a:pt x="561" y="1637"/>
                    <a:pt x="553" y="1637"/>
                  </a:cubicBezTo>
                  <a:cubicBezTo>
                    <a:pt x="545" y="1637"/>
                    <a:pt x="545" y="1637"/>
                    <a:pt x="537" y="1637"/>
                  </a:cubicBezTo>
                  <a:cubicBezTo>
                    <a:pt x="537" y="1645"/>
                    <a:pt x="545" y="1653"/>
                    <a:pt x="545" y="1660"/>
                  </a:cubicBezTo>
                  <a:lnTo>
                    <a:pt x="545" y="1668"/>
                  </a:lnTo>
                  <a:cubicBezTo>
                    <a:pt x="553" y="1700"/>
                    <a:pt x="553" y="1708"/>
                    <a:pt x="545" y="1716"/>
                  </a:cubicBezTo>
                  <a:cubicBezTo>
                    <a:pt x="537" y="1716"/>
                    <a:pt x="537" y="1716"/>
                    <a:pt x="537" y="1716"/>
                  </a:cubicBezTo>
                  <a:cubicBezTo>
                    <a:pt x="529" y="1724"/>
                    <a:pt x="529" y="1724"/>
                    <a:pt x="521" y="1724"/>
                  </a:cubicBezTo>
                  <a:cubicBezTo>
                    <a:pt x="513" y="1724"/>
                    <a:pt x="506" y="1708"/>
                    <a:pt x="490" y="1692"/>
                  </a:cubicBezTo>
                  <a:cubicBezTo>
                    <a:pt x="490" y="1684"/>
                    <a:pt x="490" y="1684"/>
                    <a:pt x="482" y="1684"/>
                  </a:cubicBezTo>
                  <a:lnTo>
                    <a:pt x="482" y="1684"/>
                  </a:lnTo>
                  <a:cubicBezTo>
                    <a:pt x="474" y="1692"/>
                    <a:pt x="474" y="1708"/>
                    <a:pt x="482" y="1716"/>
                  </a:cubicBezTo>
                  <a:cubicBezTo>
                    <a:pt x="482" y="1740"/>
                    <a:pt x="482" y="1740"/>
                    <a:pt x="474" y="1747"/>
                  </a:cubicBezTo>
                  <a:cubicBezTo>
                    <a:pt x="474" y="1747"/>
                    <a:pt x="466" y="1747"/>
                    <a:pt x="466" y="1755"/>
                  </a:cubicBezTo>
                  <a:cubicBezTo>
                    <a:pt x="466" y="1763"/>
                    <a:pt x="466" y="1763"/>
                    <a:pt x="474" y="1771"/>
                  </a:cubicBezTo>
                  <a:cubicBezTo>
                    <a:pt x="474" y="1779"/>
                    <a:pt x="482" y="1787"/>
                    <a:pt x="474" y="1803"/>
                  </a:cubicBezTo>
                  <a:cubicBezTo>
                    <a:pt x="474" y="1803"/>
                    <a:pt x="474" y="1811"/>
                    <a:pt x="466" y="1811"/>
                  </a:cubicBezTo>
                  <a:close/>
                  <a:moveTo>
                    <a:pt x="434" y="1763"/>
                  </a:moveTo>
                  <a:lnTo>
                    <a:pt x="434" y="1763"/>
                  </a:lnTo>
                  <a:cubicBezTo>
                    <a:pt x="442" y="1763"/>
                    <a:pt x="458" y="1779"/>
                    <a:pt x="458" y="1787"/>
                  </a:cubicBezTo>
                  <a:cubicBezTo>
                    <a:pt x="466" y="1795"/>
                    <a:pt x="466" y="1795"/>
                    <a:pt x="466" y="1803"/>
                  </a:cubicBezTo>
                  <a:cubicBezTo>
                    <a:pt x="466" y="1795"/>
                    <a:pt x="466" y="1795"/>
                    <a:pt x="466" y="1795"/>
                  </a:cubicBezTo>
                  <a:cubicBezTo>
                    <a:pt x="474" y="1787"/>
                    <a:pt x="466" y="1779"/>
                    <a:pt x="466" y="1771"/>
                  </a:cubicBezTo>
                  <a:cubicBezTo>
                    <a:pt x="458" y="1771"/>
                    <a:pt x="458" y="1763"/>
                    <a:pt x="458" y="1755"/>
                  </a:cubicBezTo>
                  <a:cubicBezTo>
                    <a:pt x="466" y="1747"/>
                    <a:pt x="466" y="1740"/>
                    <a:pt x="474" y="1740"/>
                  </a:cubicBezTo>
                  <a:cubicBezTo>
                    <a:pt x="474" y="1740"/>
                    <a:pt x="474" y="1731"/>
                    <a:pt x="474" y="1724"/>
                  </a:cubicBezTo>
                  <a:cubicBezTo>
                    <a:pt x="466" y="1708"/>
                    <a:pt x="466" y="1692"/>
                    <a:pt x="474" y="1684"/>
                  </a:cubicBezTo>
                  <a:cubicBezTo>
                    <a:pt x="482" y="1676"/>
                    <a:pt x="482" y="1676"/>
                    <a:pt x="482" y="1676"/>
                  </a:cubicBezTo>
                  <a:cubicBezTo>
                    <a:pt x="490" y="1676"/>
                    <a:pt x="497" y="1676"/>
                    <a:pt x="497" y="1684"/>
                  </a:cubicBezTo>
                  <a:cubicBezTo>
                    <a:pt x="506" y="1700"/>
                    <a:pt x="521" y="1716"/>
                    <a:pt x="521" y="1716"/>
                  </a:cubicBezTo>
                  <a:cubicBezTo>
                    <a:pt x="529" y="1716"/>
                    <a:pt x="529" y="1716"/>
                    <a:pt x="529" y="1716"/>
                  </a:cubicBezTo>
                  <a:cubicBezTo>
                    <a:pt x="529" y="1708"/>
                    <a:pt x="537" y="1708"/>
                    <a:pt x="537" y="1708"/>
                  </a:cubicBezTo>
                  <a:cubicBezTo>
                    <a:pt x="545" y="1700"/>
                    <a:pt x="545" y="1700"/>
                    <a:pt x="545" y="1676"/>
                  </a:cubicBezTo>
                  <a:cubicBezTo>
                    <a:pt x="537" y="1668"/>
                    <a:pt x="537" y="1668"/>
                    <a:pt x="537" y="1660"/>
                  </a:cubicBezTo>
                  <a:cubicBezTo>
                    <a:pt x="537" y="1645"/>
                    <a:pt x="529" y="1637"/>
                    <a:pt x="537" y="1637"/>
                  </a:cubicBezTo>
                  <a:cubicBezTo>
                    <a:pt x="537" y="1629"/>
                    <a:pt x="545" y="1629"/>
                    <a:pt x="553" y="1629"/>
                  </a:cubicBezTo>
                  <a:cubicBezTo>
                    <a:pt x="561" y="1629"/>
                    <a:pt x="569" y="1629"/>
                    <a:pt x="577" y="1637"/>
                  </a:cubicBezTo>
                  <a:cubicBezTo>
                    <a:pt x="584" y="1637"/>
                    <a:pt x="592" y="1637"/>
                    <a:pt x="600" y="1637"/>
                  </a:cubicBezTo>
                  <a:cubicBezTo>
                    <a:pt x="600" y="1637"/>
                    <a:pt x="608" y="1637"/>
                    <a:pt x="616" y="1637"/>
                  </a:cubicBezTo>
                  <a:lnTo>
                    <a:pt x="624" y="1629"/>
                  </a:lnTo>
                  <a:cubicBezTo>
                    <a:pt x="648" y="1621"/>
                    <a:pt x="648" y="1621"/>
                    <a:pt x="648" y="1605"/>
                  </a:cubicBezTo>
                  <a:cubicBezTo>
                    <a:pt x="648" y="1597"/>
                    <a:pt x="640" y="1589"/>
                    <a:pt x="640" y="1589"/>
                  </a:cubicBezTo>
                  <a:cubicBezTo>
                    <a:pt x="632" y="1558"/>
                    <a:pt x="616" y="1494"/>
                    <a:pt x="640" y="1455"/>
                  </a:cubicBezTo>
                  <a:cubicBezTo>
                    <a:pt x="648" y="1439"/>
                    <a:pt x="656" y="1431"/>
                    <a:pt x="664" y="1431"/>
                  </a:cubicBezTo>
                  <a:lnTo>
                    <a:pt x="664" y="1431"/>
                  </a:lnTo>
                  <a:cubicBezTo>
                    <a:pt x="664" y="1415"/>
                    <a:pt x="664" y="1415"/>
                    <a:pt x="671" y="1407"/>
                  </a:cubicBezTo>
                  <a:cubicBezTo>
                    <a:pt x="671" y="1400"/>
                    <a:pt x="679" y="1392"/>
                    <a:pt x="679" y="1376"/>
                  </a:cubicBezTo>
                  <a:cubicBezTo>
                    <a:pt x="679" y="1360"/>
                    <a:pt x="679" y="1352"/>
                    <a:pt x="687" y="1352"/>
                  </a:cubicBezTo>
                  <a:cubicBezTo>
                    <a:pt x="695" y="1352"/>
                    <a:pt x="695" y="1360"/>
                    <a:pt x="703" y="1384"/>
                  </a:cubicBezTo>
                  <a:cubicBezTo>
                    <a:pt x="711" y="1384"/>
                    <a:pt x="711" y="1392"/>
                    <a:pt x="711" y="1392"/>
                  </a:cubicBezTo>
                  <a:lnTo>
                    <a:pt x="711" y="1392"/>
                  </a:lnTo>
                  <a:cubicBezTo>
                    <a:pt x="719" y="1407"/>
                    <a:pt x="727" y="1423"/>
                    <a:pt x="735" y="1423"/>
                  </a:cubicBezTo>
                  <a:cubicBezTo>
                    <a:pt x="743" y="1423"/>
                    <a:pt x="743" y="1423"/>
                    <a:pt x="743" y="1423"/>
                  </a:cubicBezTo>
                  <a:lnTo>
                    <a:pt x="743" y="1423"/>
                  </a:lnTo>
                  <a:cubicBezTo>
                    <a:pt x="750" y="1423"/>
                    <a:pt x="750" y="1423"/>
                    <a:pt x="759" y="1423"/>
                  </a:cubicBezTo>
                  <a:lnTo>
                    <a:pt x="759" y="1423"/>
                  </a:lnTo>
                  <a:cubicBezTo>
                    <a:pt x="759" y="1423"/>
                    <a:pt x="766" y="1431"/>
                    <a:pt x="774" y="1431"/>
                  </a:cubicBezTo>
                  <a:cubicBezTo>
                    <a:pt x="782" y="1439"/>
                    <a:pt x="798" y="1439"/>
                    <a:pt x="806" y="1439"/>
                  </a:cubicBezTo>
                  <a:cubicBezTo>
                    <a:pt x="814" y="1439"/>
                    <a:pt x="822" y="1439"/>
                    <a:pt x="822" y="1431"/>
                  </a:cubicBezTo>
                  <a:cubicBezTo>
                    <a:pt x="822" y="1431"/>
                    <a:pt x="822" y="1431"/>
                    <a:pt x="814" y="1423"/>
                  </a:cubicBezTo>
                  <a:cubicBezTo>
                    <a:pt x="814" y="1423"/>
                    <a:pt x="814" y="1415"/>
                    <a:pt x="806" y="1415"/>
                  </a:cubicBezTo>
                  <a:cubicBezTo>
                    <a:pt x="798" y="1400"/>
                    <a:pt x="782" y="1384"/>
                    <a:pt x="790" y="1376"/>
                  </a:cubicBezTo>
                  <a:cubicBezTo>
                    <a:pt x="790" y="1368"/>
                    <a:pt x="790" y="1360"/>
                    <a:pt x="798" y="1360"/>
                  </a:cubicBezTo>
                  <a:lnTo>
                    <a:pt x="806" y="1360"/>
                  </a:lnTo>
                  <a:cubicBezTo>
                    <a:pt x="822" y="1360"/>
                    <a:pt x="822" y="1368"/>
                    <a:pt x="830" y="1384"/>
                  </a:cubicBezTo>
                  <a:lnTo>
                    <a:pt x="830" y="1392"/>
                  </a:lnTo>
                  <a:cubicBezTo>
                    <a:pt x="830" y="1400"/>
                    <a:pt x="837" y="1400"/>
                    <a:pt x="837" y="1400"/>
                  </a:cubicBezTo>
                  <a:cubicBezTo>
                    <a:pt x="845" y="1400"/>
                    <a:pt x="861" y="1392"/>
                    <a:pt x="861" y="1392"/>
                  </a:cubicBezTo>
                  <a:lnTo>
                    <a:pt x="861" y="1392"/>
                  </a:lnTo>
                  <a:cubicBezTo>
                    <a:pt x="861" y="1392"/>
                    <a:pt x="869" y="1392"/>
                    <a:pt x="885" y="1368"/>
                  </a:cubicBezTo>
                  <a:cubicBezTo>
                    <a:pt x="901" y="1352"/>
                    <a:pt x="901" y="1344"/>
                    <a:pt x="901" y="1336"/>
                  </a:cubicBezTo>
                  <a:cubicBezTo>
                    <a:pt x="901" y="1328"/>
                    <a:pt x="901" y="1328"/>
                    <a:pt x="893" y="1328"/>
                  </a:cubicBezTo>
                  <a:cubicBezTo>
                    <a:pt x="877" y="1313"/>
                    <a:pt x="861" y="1305"/>
                    <a:pt x="853" y="1305"/>
                  </a:cubicBezTo>
                  <a:cubicBezTo>
                    <a:pt x="853" y="1305"/>
                    <a:pt x="845" y="1305"/>
                    <a:pt x="845" y="1313"/>
                  </a:cubicBezTo>
                  <a:cubicBezTo>
                    <a:pt x="845" y="1313"/>
                    <a:pt x="837" y="1320"/>
                    <a:pt x="830" y="1320"/>
                  </a:cubicBezTo>
                  <a:cubicBezTo>
                    <a:pt x="822" y="1320"/>
                    <a:pt x="822" y="1313"/>
                    <a:pt x="822" y="1313"/>
                  </a:cubicBezTo>
                  <a:cubicBezTo>
                    <a:pt x="814" y="1305"/>
                    <a:pt x="814" y="1305"/>
                    <a:pt x="830" y="1289"/>
                  </a:cubicBezTo>
                  <a:cubicBezTo>
                    <a:pt x="837" y="1289"/>
                    <a:pt x="837" y="1289"/>
                    <a:pt x="837" y="1281"/>
                  </a:cubicBezTo>
                  <a:cubicBezTo>
                    <a:pt x="853" y="1273"/>
                    <a:pt x="869" y="1265"/>
                    <a:pt x="877" y="1265"/>
                  </a:cubicBezTo>
                  <a:cubicBezTo>
                    <a:pt x="885" y="1265"/>
                    <a:pt x="893" y="1265"/>
                    <a:pt x="901" y="1273"/>
                  </a:cubicBezTo>
                  <a:cubicBezTo>
                    <a:pt x="909" y="1281"/>
                    <a:pt x="901" y="1289"/>
                    <a:pt x="901" y="1297"/>
                  </a:cubicBezTo>
                  <a:cubicBezTo>
                    <a:pt x="901" y="1297"/>
                    <a:pt x="901" y="1305"/>
                    <a:pt x="917" y="1313"/>
                  </a:cubicBezTo>
                  <a:lnTo>
                    <a:pt x="924" y="1320"/>
                  </a:lnTo>
                  <a:cubicBezTo>
                    <a:pt x="932" y="1328"/>
                    <a:pt x="940" y="1336"/>
                    <a:pt x="940" y="1336"/>
                  </a:cubicBezTo>
                  <a:cubicBezTo>
                    <a:pt x="948" y="1336"/>
                    <a:pt x="948" y="1328"/>
                    <a:pt x="948" y="1313"/>
                  </a:cubicBezTo>
                  <a:cubicBezTo>
                    <a:pt x="956" y="1281"/>
                    <a:pt x="964" y="1273"/>
                    <a:pt x="980" y="1273"/>
                  </a:cubicBezTo>
                  <a:lnTo>
                    <a:pt x="980" y="1273"/>
                  </a:lnTo>
                  <a:cubicBezTo>
                    <a:pt x="988" y="1273"/>
                    <a:pt x="988" y="1249"/>
                    <a:pt x="996" y="1234"/>
                  </a:cubicBezTo>
                  <a:cubicBezTo>
                    <a:pt x="996" y="1226"/>
                    <a:pt x="996" y="1226"/>
                    <a:pt x="996" y="1226"/>
                  </a:cubicBezTo>
                  <a:cubicBezTo>
                    <a:pt x="996" y="1218"/>
                    <a:pt x="996" y="1202"/>
                    <a:pt x="1003" y="1202"/>
                  </a:cubicBezTo>
                  <a:cubicBezTo>
                    <a:pt x="1011" y="1202"/>
                    <a:pt x="1011" y="1210"/>
                    <a:pt x="1019" y="1218"/>
                  </a:cubicBezTo>
                  <a:cubicBezTo>
                    <a:pt x="1027" y="1226"/>
                    <a:pt x="1035" y="1234"/>
                    <a:pt x="1043" y="1234"/>
                  </a:cubicBezTo>
                  <a:cubicBezTo>
                    <a:pt x="1043" y="1234"/>
                    <a:pt x="1051" y="1234"/>
                    <a:pt x="1051" y="1226"/>
                  </a:cubicBezTo>
                  <a:cubicBezTo>
                    <a:pt x="1059" y="1218"/>
                    <a:pt x="1059" y="1210"/>
                    <a:pt x="1059" y="1210"/>
                  </a:cubicBezTo>
                  <a:cubicBezTo>
                    <a:pt x="1059" y="1202"/>
                    <a:pt x="1059" y="1194"/>
                    <a:pt x="1083" y="1178"/>
                  </a:cubicBezTo>
                  <a:cubicBezTo>
                    <a:pt x="1098" y="1162"/>
                    <a:pt x="1098" y="1147"/>
                    <a:pt x="1106" y="1139"/>
                  </a:cubicBezTo>
                  <a:cubicBezTo>
                    <a:pt x="1106" y="1131"/>
                    <a:pt x="1106" y="1115"/>
                    <a:pt x="1130" y="1115"/>
                  </a:cubicBezTo>
                  <a:lnTo>
                    <a:pt x="1130" y="1115"/>
                  </a:lnTo>
                  <a:cubicBezTo>
                    <a:pt x="1162" y="1115"/>
                    <a:pt x="1162" y="1115"/>
                    <a:pt x="1193" y="1083"/>
                  </a:cubicBezTo>
                  <a:cubicBezTo>
                    <a:pt x="1209" y="1067"/>
                    <a:pt x="1217" y="1044"/>
                    <a:pt x="1209" y="1028"/>
                  </a:cubicBezTo>
                  <a:cubicBezTo>
                    <a:pt x="1209" y="1020"/>
                    <a:pt x="1201" y="1012"/>
                    <a:pt x="1193" y="1012"/>
                  </a:cubicBezTo>
                  <a:cubicBezTo>
                    <a:pt x="1185" y="1012"/>
                    <a:pt x="1177" y="1012"/>
                    <a:pt x="1170" y="1012"/>
                  </a:cubicBezTo>
                  <a:cubicBezTo>
                    <a:pt x="1154" y="1012"/>
                    <a:pt x="1146" y="1012"/>
                    <a:pt x="1138" y="1004"/>
                  </a:cubicBezTo>
                  <a:cubicBezTo>
                    <a:pt x="1138" y="996"/>
                    <a:pt x="1138" y="989"/>
                    <a:pt x="1146" y="973"/>
                  </a:cubicBezTo>
                  <a:lnTo>
                    <a:pt x="1146" y="973"/>
                  </a:lnTo>
                  <a:cubicBezTo>
                    <a:pt x="1162" y="949"/>
                    <a:pt x="1170" y="933"/>
                    <a:pt x="1162" y="925"/>
                  </a:cubicBezTo>
                  <a:cubicBezTo>
                    <a:pt x="1162" y="925"/>
                    <a:pt x="1162" y="917"/>
                    <a:pt x="1154" y="917"/>
                  </a:cubicBezTo>
                  <a:cubicBezTo>
                    <a:pt x="1138" y="909"/>
                    <a:pt x="1122" y="901"/>
                    <a:pt x="1122" y="894"/>
                  </a:cubicBezTo>
                  <a:cubicBezTo>
                    <a:pt x="1114" y="909"/>
                    <a:pt x="1098" y="925"/>
                    <a:pt x="1083" y="925"/>
                  </a:cubicBezTo>
                  <a:lnTo>
                    <a:pt x="1083" y="925"/>
                  </a:lnTo>
                  <a:cubicBezTo>
                    <a:pt x="1067" y="925"/>
                    <a:pt x="1035" y="894"/>
                    <a:pt x="996" y="846"/>
                  </a:cubicBezTo>
                  <a:lnTo>
                    <a:pt x="988" y="838"/>
                  </a:lnTo>
                  <a:cubicBezTo>
                    <a:pt x="980" y="830"/>
                    <a:pt x="980" y="807"/>
                    <a:pt x="980" y="783"/>
                  </a:cubicBezTo>
                  <a:cubicBezTo>
                    <a:pt x="980" y="759"/>
                    <a:pt x="980" y="736"/>
                    <a:pt x="972" y="720"/>
                  </a:cubicBezTo>
                  <a:cubicBezTo>
                    <a:pt x="964" y="712"/>
                    <a:pt x="956" y="712"/>
                    <a:pt x="948" y="712"/>
                  </a:cubicBezTo>
                  <a:cubicBezTo>
                    <a:pt x="940" y="712"/>
                    <a:pt x="932" y="712"/>
                    <a:pt x="924" y="720"/>
                  </a:cubicBezTo>
                  <a:cubicBezTo>
                    <a:pt x="909" y="720"/>
                    <a:pt x="893" y="728"/>
                    <a:pt x="885" y="728"/>
                  </a:cubicBezTo>
                  <a:cubicBezTo>
                    <a:pt x="877" y="728"/>
                    <a:pt x="861" y="720"/>
                    <a:pt x="861" y="720"/>
                  </a:cubicBezTo>
                  <a:cubicBezTo>
                    <a:pt x="822" y="688"/>
                    <a:pt x="814" y="633"/>
                    <a:pt x="814" y="633"/>
                  </a:cubicBezTo>
                  <a:cubicBezTo>
                    <a:pt x="814" y="633"/>
                    <a:pt x="664" y="222"/>
                    <a:pt x="648" y="166"/>
                  </a:cubicBezTo>
                  <a:cubicBezTo>
                    <a:pt x="624" y="111"/>
                    <a:pt x="529" y="40"/>
                    <a:pt x="482" y="16"/>
                  </a:cubicBezTo>
                  <a:cubicBezTo>
                    <a:pt x="466" y="16"/>
                    <a:pt x="458" y="8"/>
                    <a:pt x="450" y="8"/>
                  </a:cubicBezTo>
                  <a:cubicBezTo>
                    <a:pt x="434" y="8"/>
                    <a:pt x="434" y="24"/>
                    <a:pt x="426" y="40"/>
                  </a:cubicBezTo>
                  <a:cubicBezTo>
                    <a:pt x="419" y="40"/>
                    <a:pt x="419" y="40"/>
                    <a:pt x="419" y="48"/>
                  </a:cubicBezTo>
                  <a:cubicBezTo>
                    <a:pt x="403" y="71"/>
                    <a:pt x="300" y="143"/>
                    <a:pt x="260" y="143"/>
                  </a:cubicBezTo>
                  <a:cubicBezTo>
                    <a:pt x="253" y="143"/>
                    <a:pt x="244" y="143"/>
                    <a:pt x="244" y="143"/>
                  </a:cubicBezTo>
                  <a:cubicBezTo>
                    <a:pt x="229" y="127"/>
                    <a:pt x="213" y="111"/>
                    <a:pt x="197" y="87"/>
                  </a:cubicBezTo>
                  <a:cubicBezTo>
                    <a:pt x="189" y="71"/>
                    <a:pt x="181" y="56"/>
                    <a:pt x="173" y="48"/>
                  </a:cubicBezTo>
                  <a:lnTo>
                    <a:pt x="166" y="48"/>
                  </a:lnTo>
                  <a:cubicBezTo>
                    <a:pt x="150" y="48"/>
                    <a:pt x="126" y="87"/>
                    <a:pt x="118" y="127"/>
                  </a:cubicBezTo>
                  <a:cubicBezTo>
                    <a:pt x="110" y="135"/>
                    <a:pt x="110" y="150"/>
                    <a:pt x="102" y="174"/>
                  </a:cubicBezTo>
                  <a:cubicBezTo>
                    <a:pt x="79" y="253"/>
                    <a:pt x="47" y="388"/>
                    <a:pt x="23" y="427"/>
                  </a:cubicBezTo>
                  <a:cubicBezTo>
                    <a:pt x="7" y="451"/>
                    <a:pt x="15" y="467"/>
                    <a:pt x="15" y="498"/>
                  </a:cubicBezTo>
                  <a:cubicBezTo>
                    <a:pt x="23" y="506"/>
                    <a:pt x="31" y="530"/>
                    <a:pt x="31" y="546"/>
                  </a:cubicBezTo>
                  <a:cubicBezTo>
                    <a:pt x="31" y="554"/>
                    <a:pt x="31" y="561"/>
                    <a:pt x="31" y="561"/>
                  </a:cubicBezTo>
                  <a:cubicBezTo>
                    <a:pt x="379" y="1747"/>
                    <a:pt x="379" y="1747"/>
                    <a:pt x="379" y="1747"/>
                  </a:cubicBezTo>
                  <a:cubicBezTo>
                    <a:pt x="379" y="1740"/>
                    <a:pt x="379" y="1740"/>
                    <a:pt x="387" y="1740"/>
                  </a:cubicBezTo>
                  <a:cubicBezTo>
                    <a:pt x="403" y="1747"/>
                    <a:pt x="403" y="1755"/>
                    <a:pt x="411" y="1771"/>
                  </a:cubicBezTo>
                  <a:lnTo>
                    <a:pt x="411" y="1779"/>
                  </a:lnTo>
                  <a:cubicBezTo>
                    <a:pt x="411" y="1779"/>
                    <a:pt x="411" y="1779"/>
                    <a:pt x="419" y="1771"/>
                  </a:cubicBezTo>
                  <a:cubicBezTo>
                    <a:pt x="426" y="1771"/>
                    <a:pt x="426" y="1763"/>
                    <a:pt x="434" y="1763"/>
                  </a:cubicBezTo>
                  <a:close/>
                </a:path>
              </a:pathLst>
            </a:custGeom>
            <a:solidFill>
              <a:schemeClr val="accent6"/>
            </a:solidFill>
            <a:ln>
              <a:solidFill>
                <a:schemeClr val="bg2"/>
              </a:solidFill>
            </a:ln>
            <a:effectLst/>
          </p:spPr>
          <p:txBody>
            <a:bodyPr wrap="none" anchor="ctr"/>
            <a:lstStyle/>
            <a:p>
              <a:endParaRPr lang="en-US"/>
            </a:p>
          </p:txBody>
        </p:sp>
        <p:sp>
          <p:nvSpPr>
            <p:cNvPr id="87" name="Freeform 755"/>
            <p:cNvSpPr>
              <a:spLocks noChangeArrowheads="1"/>
            </p:cNvSpPr>
            <p:nvPr/>
          </p:nvSpPr>
          <p:spPr bwMode="auto">
            <a:xfrm>
              <a:off x="7183221" y="2064950"/>
              <a:ext cx="190829" cy="528812"/>
            </a:xfrm>
            <a:custGeom>
              <a:avLst/>
              <a:gdLst>
                <a:gd name="T0" fmla="*/ 340 w 531"/>
                <a:gd name="T1" fmla="*/ 1534 h 1693"/>
                <a:gd name="T2" fmla="*/ 340 w 531"/>
                <a:gd name="T3" fmla="*/ 1534 h 1693"/>
                <a:gd name="T4" fmla="*/ 364 w 531"/>
                <a:gd name="T5" fmla="*/ 1692 h 1693"/>
                <a:gd name="T6" fmla="*/ 380 w 531"/>
                <a:gd name="T7" fmla="*/ 1676 h 1693"/>
                <a:gd name="T8" fmla="*/ 419 w 531"/>
                <a:gd name="T9" fmla="*/ 1613 h 1693"/>
                <a:gd name="T10" fmla="*/ 435 w 531"/>
                <a:gd name="T11" fmla="*/ 1510 h 1693"/>
                <a:gd name="T12" fmla="*/ 490 w 531"/>
                <a:gd name="T13" fmla="*/ 1376 h 1693"/>
                <a:gd name="T14" fmla="*/ 490 w 531"/>
                <a:gd name="T15" fmla="*/ 1321 h 1693"/>
                <a:gd name="T16" fmla="*/ 490 w 531"/>
                <a:gd name="T17" fmla="*/ 1257 h 1693"/>
                <a:gd name="T18" fmla="*/ 530 w 531"/>
                <a:gd name="T19" fmla="*/ 1186 h 1693"/>
                <a:gd name="T20" fmla="*/ 182 w 531"/>
                <a:gd name="T21" fmla="*/ 0 h 1693"/>
                <a:gd name="T22" fmla="*/ 127 w 531"/>
                <a:gd name="T23" fmla="*/ 103 h 1693"/>
                <a:gd name="T24" fmla="*/ 159 w 531"/>
                <a:gd name="T25" fmla="*/ 167 h 1693"/>
                <a:gd name="T26" fmla="*/ 159 w 531"/>
                <a:gd name="T27" fmla="*/ 238 h 1693"/>
                <a:gd name="T28" fmla="*/ 190 w 531"/>
                <a:gd name="T29" fmla="*/ 325 h 1693"/>
                <a:gd name="T30" fmla="*/ 127 w 531"/>
                <a:gd name="T31" fmla="*/ 412 h 1693"/>
                <a:gd name="T32" fmla="*/ 103 w 531"/>
                <a:gd name="T33" fmla="*/ 530 h 1693"/>
                <a:gd name="T34" fmla="*/ 79 w 531"/>
                <a:gd name="T35" fmla="*/ 578 h 1693"/>
                <a:gd name="T36" fmla="*/ 48 w 531"/>
                <a:gd name="T37" fmla="*/ 617 h 1693"/>
                <a:gd name="T38" fmla="*/ 24 w 531"/>
                <a:gd name="T39" fmla="*/ 609 h 1693"/>
                <a:gd name="T40" fmla="*/ 0 w 531"/>
                <a:gd name="T41" fmla="*/ 657 h 1693"/>
                <a:gd name="T42" fmla="*/ 261 w 531"/>
                <a:gd name="T43" fmla="*/ 1447 h 1693"/>
                <a:gd name="T44" fmla="*/ 340 w 531"/>
                <a:gd name="T45" fmla="*/ 1534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31" h="1693">
                  <a:moveTo>
                    <a:pt x="340" y="1534"/>
                  </a:moveTo>
                  <a:lnTo>
                    <a:pt x="340" y="1534"/>
                  </a:lnTo>
                  <a:cubicBezTo>
                    <a:pt x="364" y="1542"/>
                    <a:pt x="340" y="1653"/>
                    <a:pt x="364" y="1692"/>
                  </a:cubicBezTo>
                  <a:cubicBezTo>
                    <a:pt x="364" y="1684"/>
                    <a:pt x="372" y="1684"/>
                    <a:pt x="380" y="1676"/>
                  </a:cubicBezTo>
                  <a:cubicBezTo>
                    <a:pt x="419" y="1645"/>
                    <a:pt x="419" y="1653"/>
                    <a:pt x="419" y="1613"/>
                  </a:cubicBezTo>
                  <a:cubicBezTo>
                    <a:pt x="419" y="1574"/>
                    <a:pt x="451" y="1542"/>
                    <a:pt x="435" y="1510"/>
                  </a:cubicBezTo>
                  <a:cubicBezTo>
                    <a:pt x="419" y="1479"/>
                    <a:pt x="514" y="1392"/>
                    <a:pt x="490" y="1376"/>
                  </a:cubicBezTo>
                  <a:cubicBezTo>
                    <a:pt x="467" y="1360"/>
                    <a:pt x="498" y="1368"/>
                    <a:pt x="490" y="1321"/>
                  </a:cubicBezTo>
                  <a:cubicBezTo>
                    <a:pt x="475" y="1273"/>
                    <a:pt x="459" y="1273"/>
                    <a:pt x="490" y="1257"/>
                  </a:cubicBezTo>
                  <a:cubicBezTo>
                    <a:pt x="506" y="1234"/>
                    <a:pt x="514" y="1194"/>
                    <a:pt x="530" y="1186"/>
                  </a:cubicBezTo>
                  <a:cubicBezTo>
                    <a:pt x="182" y="0"/>
                    <a:pt x="182" y="0"/>
                    <a:pt x="182" y="0"/>
                  </a:cubicBezTo>
                  <a:cubicBezTo>
                    <a:pt x="182" y="48"/>
                    <a:pt x="143" y="72"/>
                    <a:pt x="127" y="103"/>
                  </a:cubicBezTo>
                  <a:cubicBezTo>
                    <a:pt x="111" y="135"/>
                    <a:pt x="159" y="143"/>
                    <a:pt x="159" y="167"/>
                  </a:cubicBezTo>
                  <a:cubicBezTo>
                    <a:pt x="166" y="182"/>
                    <a:pt x="103" y="190"/>
                    <a:pt x="159" y="238"/>
                  </a:cubicBezTo>
                  <a:cubicBezTo>
                    <a:pt x="214" y="285"/>
                    <a:pt x="174" y="309"/>
                    <a:pt x="190" y="325"/>
                  </a:cubicBezTo>
                  <a:cubicBezTo>
                    <a:pt x="198" y="340"/>
                    <a:pt x="143" y="372"/>
                    <a:pt x="127" y="412"/>
                  </a:cubicBezTo>
                  <a:cubicBezTo>
                    <a:pt x="103" y="443"/>
                    <a:pt x="79" y="483"/>
                    <a:pt x="103" y="530"/>
                  </a:cubicBezTo>
                  <a:cubicBezTo>
                    <a:pt x="119" y="570"/>
                    <a:pt x="79" y="562"/>
                    <a:pt x="79" y="578"/>
                  </a:cubicBezTo>
                  <a:cubicBezTo>
                    <a:pt x="79" y="593"/>
                    <a:pt x="48" y="617"/>
                    <a:pt x="48" y="617"/>
                  </a:cubicBezTo>
                  <a:cubicBezTo>
                    <a:pt x="48" y="617"/>
                    <a:pt x="32" y="546"/>
                    <a:pt x="24" y="609"/>
                  </a:cubicBezTo>
                  <a:cubicBezTo>
                    <a:pt x="16" y="633"/>
                    <a:pt x="8" y="649"/>
                    <a:pt x="0" y="657"/>
                  </a:cubicBezTo>
                  <a:cubicBezTo>
                    <a:pt x="261" y="1447"/>
                    <a:pt x="261" y="1447"/>
                    <a:pt x="261" y="1447"/>
                  </a:cubicBezTo>
                  <a:cubicBezTo>
                    <a:pt x="261" y="1447"/>
                    <a:pt x="317" y="1526"/>
                    <a:pt x="340" y="1534"/>
                  </a:cubicBezTo>
                </a:path>
              </a:pathLst>
            </a:custGeom>
            <a:solidFill>
              <a:schemeClr val="accent6"/>
            </a:solidFill>
            <a:ln>
              <a:solidFill>
                <a:schemeClr val="bg2"/>
              </a:solidFill>
            </a:ln>
            <a:effectLst/>
          </p:spPr>
          <p:txBody>
            <a:bodyPr wrap="none" anchor="ctr"/>
            <a:lstStyle/>
            <a:p>
              <a:endParaRPr lang="en-US"/>
            </a:p>
          </p:txBody>
        </p:sp>
        <p:sp>
          <p:nvSpPr>
            <p:cNvPr id="88" name="Freeform 756"/>
            <p:cNvSpPr>
              <a:spLocks noChangeArrowheads="1"/>
            </p:cNvSpPr>
            <p:nvPr/>
          </p:nvSpPr>
          <p:spPr bwMode="auto">
            <a:xfrm>
              <a:off x="7181631" y="2059441"/>
              <a:ext cx="197190" cy="535697"/>
            </a:xfrm>
            <a:custGeom>
              <a:avLst/>
              <a:gdLst>
                <a:gd name="T0" fmla="*/ 372 w 547"/>
                <a:gd name="T1" fmla="*/ 1715 h 1716"/>
                <a:gd name="T2" fmla="*/ 356 w 547"/>
                <a:gd name="T3" fmla="*/ 1620 h 1716"/>
                <a:gd name="T4" fmla="*/ 269 w 547"/>
                <a:gd name="T5" fmla="*/ 1462 h 1716"/>
                <a:gd name="T6" fmla="*/ 0 w 547"/>
                <a:gd name="T7" fmla="*/ 664 h 1716"/>
                <a:gd name="T8" fmla="*/ 24 w 547"/>
                <a:gd name="T9" fmla="*/ 624 h 1716"/>
                <a:gd name="T10" fmla="*/ 64 w 547"/>
                <a:gd name="T11" fmla="*/ 624 h 1716"/>
                <a:gd name="T12" fmla="*/ 95 w 547"/>
                <a:gd name="T13" fmla="*/ 577 h 1716"/>
                <a:gd name="T14" fmla="*/ 127 w 547"/>
                <a:gd name="T15" fmla="*/ 427 h 1716"/>
                <a:gd name="T16" fmla="*/ 167 w 547"/>
                <a:gd name="T17" fmla="*/ 379 h 1716"/>
                <a:gd name="T18" fmla="*/ 190 w 547"/>
                <a:gd name="T19" fmla="*/ 316 h 1716"/>
                <a:gd name="T20" fmla="*/ 143 w 547"/>
                <a:gd name="T21" fmla="*/ 221 h 1716"/>
                <a:gd name="T22" fmla="*/ 167 w 547"/>
                <a:gd name="T23" fmla="*/ 182 h 1716"/>
                <a:gd name="T24" fmla="*/ 135 w 547"/>
                <a:gd name="T25" fmla="*/ 118 h 1716"/>
                <a:gd name="T26" fmla="*/ 190 w 547"/>
                <a:gd name="T27" fmla="*/ 15 h 1716"/>
                <a:gd name="T28" fmla="*/ 546 w 547"/>
                <a:gd name="T29" fmla="*/ 1201 h 1716"/>
                <a:gd name="T30" fmla="*/ 522 w 547"/>
                <a:gd name="T31" fmla="*/ 1233 h 1716"/>
                <a:gd name="T32" fmla="*/ 491 w 547"/>
                <a:gd name="T33" fmla="*/ 1304 h 1716"/>
                <a:gd name="T34" fmla="*/ 498 w 547"/>
                <a:gd name="T35" fmla="*/ 1375 h 1716"/>
                <a:gd name="T36" fmla="*/ 506 w 547"/>
                <a:gd name="T37" fmla="*/ 1391 h 1716"/>
                <a:gd name="T38" fmla="*/ 443 w 547"/>
                <a:gd name="T39" fmla="*/ 1525 h 1716"/>
                <a:gd name="T40" fmla="*/ 435 w 547"/>
                <a:gd name="T41" fmla="*/ 1628 h 1716"/>
                <a:gd name="T42" fmla="*/ 396 w 547"/>
                <a:gd name="T43" fmla="*/ 1691 h 1716"/>
                <a:gd name="T44" fmla="*/ 372 w 547"/>
                <a:gd name="T45" fmla="*/ 1715 h 1716"/>
                <a:gd name="T46" fmla="*/ 277 w 547"/>
                <a:gd name="T47" fmla="*/ 1462 h 1716"/>
                <a:gd name="T48" fmla="*/ 364 w 547"/>
                <a:gd name="T49" fmla="*/ 1620 h 1716"/>
                <a:gd name="T50" fmla="*/ 388 w 547"/>
                <a:gd name="T51" fmla="*/ 1684 h 1716"/>
                <a:gd name="T52" fmla="*/ 427 w 547"/>
                <a:gd name="T53" fmla="*/ 1628 h 1716"/>
                <a:gd name="T54" fmla="*/ 443 w 547"/>
                <a:gd name="T55" fmla="*/ 1533 h 1716"/>
                <a:gd name="T56" fmla="*/ 498 w 547"/>
                <a:gd name="T57" fmla="*/ 1399 h 1716"/>
                <a:gd name="T58" fmla="*/ 491 w 547"/>
                <a:gd name="T59" fmla="*/ 1375 h 1716"/>
                <a:gd name="T60" fmla="*/ 483 w 547"/>
                <a:gd name="T61" fmla="*/ 1304 h 1716"/>
                <a:gd name="T62" fmla="*/ 514 w 547"/>
                <a:gd name="T63" fmla="*/ 1233 h 1716"/>
                <a:gd name="T64" fmla="*/ 190 w 547"/>
                <a:gd name="T65" fmla="*/ 31 h 1716"/>
                <a:gd name="T66" fmla="*/ 143 w 547"/>
                <a:gd name="T67" fmla="*/ 118 h 1716"/>
                <a:gd name="T68" fmla="*/ 174 w 547"/>
                <a:gd name="T69" fmla="*/ 182 h 1716"/>
                <a:gd name="T70" fmla="*/ 151 w 547"/>
                <a:gd name="T71" fmla="*/ 221 h 1716"/>
                <a:gd name="T72" fmla="*/ 198 w 547"/>
                <a:gd name="T73" fmla="*/ 324 h 1716"/>
                <a:gd name="T74" fmla="*/ 167 w 547"/>
                <a:gd name="T75" fmla="*/ 387 h 1716"/>
                <a:gd name="T76" fmla="*/ 135 w 547"/>
                <a:gd name="T77" fmla="*/ 427 h 1716"/>
                <a:gd name="T78" fmla="*/ 103 w 547"/>
                <a:gd name="T79" fmla="*/ 585 h 1716"/>
                <a:gd name="T80" fmla="*/ 64 w 547"/>
                <a:gd name="T81" fmla="*/ 632 h 1716"/>
                <a:gd name="T82" fmla="*/ 56 w 547"/>
                <a:gd name="T83" fmla="*/ 632 h 1716"/>
                <a:gd name="T84" fmla="*/ 32 w 547"/>
                <a:gd name="T85" fmla="*/ 624 h 1716"/>
                <a:gd name="T86" fmla="*/ 277 w 547"/>
                <a:gd name="T87" fmla="*/ 1462 h 1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7" h="1716">
                  <a:moveTo>
                    <a:pt x="372" y="1715"/>
                  </a:moveTo>
                  <a:lnTo>
                    <a:pt x="372" y="1715"/>
                  </a:lnTo>
                  <a:cubicBezTo>
                    <a:pt x="364" y="1707"/>
                    <a:pt x="364" y="1707"/>
                    <a:pt x="364" y="1707"/>
                  </a:cubicBezTo>
                  <a:cubicBezTo>
                    <a:pt x="356" y="1691"/>
                    <a:pt x="356" y="1652"/>
                    <a:pt x="356" y="1620"/>
                  </a:cubicBezTo>
                  <a:cubicBezTo>
                    <a:pt x="356" y="1589"/>
                    <a:pt x="356" y="1557"/>
                    <a:pt x="348" y="1549"/>
                  </a:cubicBezTo>
                  <a:cubicBezTo>
                    <a:pt x="317" y="1541"/>
                    <a:pt x="269" y="1462"/>
                    <a:pt x="269" y="1462"/>
                  </a:cubicBezTo>
                  <a:lnTo>
                    <a:pt x="269" y="1462"/>
                  </a:lnTo>
                  <a:cubicBezTo>
                    <a:pt x="0" y="664"/>
                    <a:pt x="0" y="664"/>
                    <a:pt x="0" y="664"/>
                  </a:cubicBezTo>
                  <a:lnTo>
                    <a:pt x="0" y="664"/>
                  </a:lnTo>
                  <a:cubicBezTo>
                    <a:pt x="16" y="656"/>
                    <a:pt x="24" y="648"/>
                    <a:pt x="24" y="624"/>
                  </a:cubicBezTo>
                  <a:cubicBezTo>
                    <a:pt x="32" y="601"/>
                    <a:pt x="32" y="593"/>
                    <a:pt x="40" y="593"/>
                  </a:cubicBezTo>
                  <a:cubicBezTo>
                    <a:pt x="48" y="593"/>
                    <a:pt x="56" y="616"/>
                    <a:pt x="64" y="624"/>
                  </a:cubicBezTo>
                  <a:cubicBezTo>
                    <a:pt x="72" y="616"/>
                    <a:pt x="87" y="608"/>
                    <a:pt x="87" y="593"/>
                  </a:cubicBezTo>
                  <a:cubicBezTo>
                    <a:pt x="87" y="585"/>
                    <a:pt x="87" y="585"/>
                    <a:pt x="95" y="577"/>
                  </a:cubicBezTo>
                  <a:cubicBezTo>
                    <a:pt x="103" y="577"/>
                    <a:pt x="119" y="569"/>
                    <a:pt x="103" y="545"/>
                  </a:cubicBezTo>
                  <a:cubicBezTo>
                    <a:pt x="87" y="498"/>
                    <a:pt x="111" y="458"/>
                    <a:pt x="127" y="427"/>
                  </a:cubicBezTo>
                  <a:lnTo>
                    <a:pt x="127" y="427"/>
                  </a:lnTo>
                  <a:cubicBezTo>
                    <a:pt x="135" y="411"/>
                    <a:pt x="151" y="395"/>
                    <a:pt x="167" y="379"/>
                  </a:cubicBezTo>
                  <a:cubicBezTo>
                    <a:pt x="182" y="363"/>
                    <a:pt x="198" y="348"/>
                    <a:pt x="190" y="340"/>
                  </a:cubicBezTo>
                  <a:cubicBezTo>
                    <a:pt x="190" y="332"/>
                    <a:pt x="190" y="324"/>
                    <a:pt x="190" y="316"/>
                  </a:cubicBezTo>
                  <a:cubicBezTo>
                    <a:pt x="190" y="308"/>
                    <a:pt x="198" y="284"/>
                    <a:pt x="167" y="261"/>
                  </a:cubicBezTo>
                  <a:cubicBezTo>
                    <a:pt x="151" y="245"/>
                    <a:pt x="143" y="229"/>
                    <a:pt x="143" y="221"/>
                  </a:cubicBezTo>
                  <a:cubicBezTo>
                    <a:pt x="143" y="213"/>
                    <a:pt x="151" y="205"/>
                    <a:pt x="158" y="197"/>
                  </a:cubicBezTo>
                  <a:cubicBezTo>
                    <a:pt x="158" y="190"/>
                    <a:pt x="167" y="182"/>
                    <a:pt x="167" y="182"/>
                  </a:cubicBezTo>
                  <a:cubicBezTo>
                    <a:pt x="167" y="174"/>
                    <a:pt x="158" y="166"/>
                    <a:pt x="151" y="166"/>
                  </a:cubicBezTo>
                  <a:cubicBezTo>
                    <a:pt x="135" y="150"/>
                    <a:pt x="119" y="142"/>
                    <a:pt x="135" y="118"/>
                  </a:cubicBezTo>
                  <a:cubicBezTo>
                    <a:pt x="143" y="110"/>
                    <a:pt x="143" y="103"/>
                    <a:pt x="151" y="87"/>
                  </a:cubicBezTo>
                  <a:cubicBezTo>
                    <a:pt x="167" y="71"/>
                    <a:pt x="182" y="47"/>
                    <a:pt x="190" y="15"/>
                  </a:cubicBezTo>
                  <a:cubicBezTo>
                    <a:pt x="190" y="0"/>
                    <a:pt x="190" y="0"/>
                    <a:pt x="190" y="0"/>
                  </a:cubicBezTo>
                  <a:cubicBezTo>
                    <a:pt x="546" y="1201"/>
                    <a:pt x="546" y="1201"/>
                    <a:pt x="546" y="1201"/>
                  </a:cubicBezTo>
                  <a:cubicBezTo>
                    <a:pt x="538" y="1209"/>
                    <a:pt x="538" y="1209"/>
                    <a:pt x="538" y="1209"/>
                  </a:cubicBezTo>
                  <a:cubicBezTo>
                    <a:pt x="530" y="1209"/>
                    <a:pt x="530" y="1225"/>
                    <a:pt x="522" y="1233"/>
                  </a:cubicBezTo>
                  <a:cubicBezTo>
                    <a:pt x="514" y="1249"/>
                    <a:pt x="506" y="1265"/>
                    <a:pt x="498" y="1272"/>
                  </a:cubicBezTo>
                  <a:cubicBezTo>
                    <a:pt x="483" y="1288"/>
                    <a:pt x="483" y="1288"/>
                    <a:pt x="491" y="1304"/>
                  </a:cubicBezTo>
                  <a:cubicBezTo>
                    <a:pt x="491" y="1312"/>
                    <a:pt x="491" y="1320"/>
                    <a:pt x="498" y="1336"/>
                  </a:cubicBezTo>
                  <a:cubicBezTo>
                    <a:pt x="506" y="1360"/>
                    <a:pt x="498" y="1367"/>
                    <a:pt x="498" y="1375"/>
                  </a:cubicBezTo>
                  <a:cubicBezTo>
                    <a:pt x="491" y="1383"/>
                    <a:pt x="491" y="1383"/>
                    <a:pt x="498" y="1391"/>
                  </a:cubicBezTo>
                  <a:cubicBezTo>
                    <a:pt x="506" y="1391"/>
                    <a:pt x="506" y="1391"/>
                    <a:pt x="506" y="1391"/>
                  </a:cubicBezTo>
                  <a:cubicBezTo>
                    <a:pt x="506" y="1407"/>
                    <a:pt x="498" y="1423"/>
                    <a:pt x="483" y="1447"/>
                  </a:cubicBezTo>
                  <a:cubicBezTo>
                    <a:pt x="459" y="1478"/>
                    <a:pt x="435" y="1510"/>
                    <a:pt x="443" y="1525"/>
                  </a:cubicBezTo>
                  <a:cubicBezTo>
                    <a:pt x="459" y="1549"/>
                    <a:pt x="451" y="1565"/>
                    <a:pt x="443" y="1589"/>
                  </a:cubicBezTo>
                  <a:cubicBezTo>
                    <a:pt x="435" y="1597"/>
                    <a:pt x="435" y="1612"/>
                    <a:pt x="435" y="1628"/>
                  </a:cubicBezTo>
                  <a:cubicBezTo>
                    <a:pt x="435" y="1660"/>
                    <a:pt x="435" y="1660"/>
                    <a:pt x="411" y="1676"/>
                  </a:cubicBezTo>
                  <a:cubicBezTo>
                    <a:pt x="411" y="1676"/>
                    <a:pt x="404" y="1684"/>
                    <a:pt x="396" y="1691"/>
                  </a:cubicBezTo>
                  <a:cubicBezTo>
                    <a:pt x="380" y="1699"/>
                    <a:pt x="372" y="1707"/>
                    <a:pt x="372" y="1707"/>
                  </a:cubicBezTo>
                  <a:lnTo>
                    <a:pt x="372" y="1715"/>
                  </a:lnTo>
                  <a:close/>
                  <a:moveTo>
                    <a:pt x="277" y="1462"/>
                  </a:moveTo>
                  <a:lnTo>
                    <a:pt x="277" y="1462"/>
                  </a:lnTo>
                  <a:cubicBezTo>
                    <a:pt x="285" y="1478"/>
                    <a:pt x="325" y="1541"/>
                    <a:pt x="348" y="1541"/>
                  </a:cubicBezTo>
                  <a:cubicBezTo>
                    <a:pt x="364" y="1549"/>
                    <a:pt x="364" y="1573"/>
                    <a:pt x="364" y="1620"/>
                  </a:cubicBezTo>
                  <a:cubicBezTo>
                    <a:pt x="364" y="1652"/>
                    <a:pt x="364" y="1684"/>
                    <a:pt x="372" y="1699"/>
                  </a:cubicBezTo>
                  <a:cubicBezTo>
                    <a:pt x="372" y="1699"/>
                    <a:pt x="380" y="1691"/>
                    <a:pt x="388" y="1684"/>
                  </a:cubicBezTo>
                  <a:cubicBezTo>
                    <a:pt x="396" y="1676"/>
                    <a:pt x="404" y="1676"/>
                    <a:pt x="411" y="1668"/>
                  </a:cubicBezTo>
                  <a:cubicBezTo>
                    <a:pt x="427" y="1660"/>
                    <a:pt x="427" y="1660"/>
                    <a:pt x="427" y="1628"/>
                  </a:cubicBezTo>
                  <a:cubicBezTo>
                    <a:pt x="427" y="1612"/>
                    <a:pt x="427" y="1597"/>
                    <a:pt x="435" y="1581"/>
                  </a:cubicBezTo>
                  <a:cubicBezTo>
                    <a:pt x="443" y="1565"/>
                    <a:pt x="451" y="1549"/>
                    <a:pt x="443" y="1533"/>
                  </a:cubicBezTo>
                  <a:cubicBezTo>
                    <a:pt x="427" y="1510"/>
                    <a:pt x="451" y="1478"/>
                    <a:pt x="475" y="1447"/>
                  </a:cubicBezTo>
                  <a:cubicBezTo>
                    <a:pt x="483" y="1423"/>
                    <a:pt x="498" y="1407"/>
                    <a:pt x="498" y="1399"/>
                  </a:cubicBezTo>
                  <a:cubicBezTo>
                    <a:pt x="498" y="1391"/>
                    <a:pt x="498" y="1391"/>
                    <a:pt x="498" y="1391"/>
                  </a:cubicBezTo>
                  <a:cubicBezTo>
                    <a:pt x="483" y="1383"/>
                    <a:pt x="483" y="1383"/>
                    <a:pt x="491" y="1375"/>
                  </a:cubicBezTo>
                  <a:cubicBezTo>
                    <a:pt x="491" y="1367"/>
                    <a:pt x="498" y="1360"/>
                    <a:pt x="491" y="1336"/>
                  </a:cubicBezTo>
                  <a:cubicBezTo>
                    <a:pt x="491" y="1320"/>
                    <a:pt x="483" y="1312"/>
                    <a:pt x="483" y="1304"/>
                  </a:cubicBezTo>
                  <a:cubicBezTo>
                    <a:pt x="475" y="1288"/>
                    <a:pt x="475" y="1280"/>
                    <a:pt x="491" y="1265"/>
                  </a:cubicBezTo>
                  <a:cubicBezTo>
                    <a:pt x="506" y="1257"/>
                    <a:pt x="514" y="1241"/>
                    <a:pt x="514" y="1233"/>
                  </a:cubicBezTo>
                  <a:cubicBezTo>
                    <a:pt x="522" y="1217"/>
                    <a:pt x="530" y="1209"/>
                    <a:pt x="538" y="1201"/>
                  </a:cubicBezTo>
                  <a:cubicBezTo>
                    <a:pt x="190" y="31"/>
                    <a:pt x="190" y="31"/>
                    <a:pt x="190" y="31"/>
                  </a:cubicBezTo>
                  <a:cubicBezTo>
                    <a:pt x="190" y="63"/>
                    <a:pt x="174" y="79"/>
                    <a:pt x="158" y="95"/>
                  </a:cubicBezTo>
                  <a:cubicBezTo>
                    <a:pt x="151" y="103"/>
                    <a:pt x="143" y="110"/>
                    <a:pt x="143" y="118"/>
                  </a:cubicBezTo>
                  <a:cubicBezTo>
                    <a:pt x="127" y="142"/>
                    <a:pt x="143" y="142"/>
                    <a:pt x="151" y="158"/>
                  </a:cubicBezTo>
                  <a:cubicBezTo>
                    <a:pt x="158" y="166"/>
                    <a:pt x="174" y="166"/>
                    <a:pt x="174" y="182"/>
                  </a:cubicBezTo>
                  <a:cubicBezTo>
                    <a:pt x="174" y="190"/>
                    <a:pt x="167" y="197"/>
                    <a:pt x="158" y="197"/>
                  </a:cubicBezTo>
                  <a:cubicBezTo>
                    <a:pt x="151" y="205"/>
                    <a:pt x="143" y="213"/>
                    <a:pt x="151" y="221"/>
                  </a:cubicBezTo>
                  <a:cubicBezTo>
                    <a:pt x="151" y="229"/>
                    <a:pt x="151" y="237"/>
                    <a:pt x="167" y="253"/>
                  </a:cubicBezTo>
                  <a:cubicBezTo>
                    <a:pt x="206" y="284"/>
                    <a:pt x="198" y="308"/>
                    <a:pt x="198" y="324"/>
                  </a:cubicBezTo>
                  <a:cubicBezTo>
                    <a:pt x="198" y="324"/>
                    <a:pt x="198" y="332"/>
                    <a:pt x="198" y="340"/>
                  </a:cubicBezTo>
                  <a:cubicBezTo>
                    <a:pt x="206" y="355"/>
                    <a:pt x="190" y="371"/>
                    <a:pt x="167" y="387"/>
                  </a:cubicBezTo>
                  <a:cubicBezTo>
                    <a:pt x="158" y="403"/>
                    <a:pt x="143" y="411"/>
                    <a:pt x="135" y="427"/>
                  </a:cubicBezTo>
                  <a:lnTo>
                    <a:pt x="135" y="427"/>
                  </a:lnTo>
                  <a:cubicBezTo>
                    <a:pt x="111" y="458"/>
                    <a:pt x="95" y="498"/>
                    <a:pt x="111" y="545"/>
                  </a:cubicBezTo>
                  <a:cubicBezTo>
                    <a:pt x="127" y="569"/>
                    <a:pt x="111" y="577"/>
                    <a:pt x="103" y="585"/>
                  </a:cubicBezTo>
                  <a:cubicBezTo>
                    <a:pt x="95" y="593"/>
                    <a:pt x="95" y="593"/>
                    <a:pt x="95" y="593"/>
                  </a:cubicBezTo>
                  <a:cubicBezTo>
                    <a:pt x="95" y="616"/>
                    <a:pt x="64" y="632"/>
                    <a:pt x="64" y="632"/>
                  </a:cubicBezTo>
                  <a:cubicBezTo>
                    <a:pt x="56" y="640"/>
                    <a:pt x="56" y="640"/>
                    <a:pt x="56" y="640"/>
                  </a:cubicBezTo>
                  <a:cubicBezTo>
                    <a:pt x="56" y="632"/>
                    <a:pt x="56" y="632"/>
                    <a:pt x="56" y="632"/>
                  </a:cubicBezTo>
                  <a:cubicBezTo>
                    <a:pt x="48" y="616"/>
                    <a:pt x="48" y="601"/>
                    <a:pt x="40" y="601"/>
                  </a:cubicBezTo>
                  <a:cubicBezTo>
                    <a:pt x="40" y="601"/>
                    <a:pt x="40" y="601"/>
                    <a:pt x="32" y="624"/>
                  </a:cubicBezTo>
                  <a:cubicBezTo>
                    <a:pt x="24" y="648"/>
                    <a:pt x="24" y="664"/>
                    <a:pt x="8" y="672"/>
                  </a:cubicBezTo>
                  <a:lnTo>
                    <a:pt x="277" y="1462"/>
                  </a:lnTo>
                  <a:close/>
                </a:path>
              </a:pathLst>
            </a:custGeom>
            <a:solidFill>
              <a:schemeClr val="accent6"/>
            </a:solidFill>
            <a:ln>
              <a:solidFill>
                <a:schemeClr val="bg2"/>
              </a:solidFill>
            </a:ln>
            <a:effectLst/>
          </p:spPr>
          <p:txBody>
            <a:bodyPr wrap="none" anchor="ctr"/>
            <a:lstStyle/>
            <a:p>
              <a:endParaRPr lang="en-US"/>
            </a:p>
          </p:txBody>
        </p:sp>
        <p:sp>
          <p:nvSpPr>
            <p:cNvPr id="89" name="Freeform 757"/>
            <p:cNvSpPr>
              <a:spLocks noChangeArrowheads="1"/>
            </p:cNvSpPr>
            <p:nvPr/>
          </p:nvSpPr>
          <p:spPr bwMode="auto">
            <a:xfrm>
              <a:off x="7084626" y="2270139"/>
              <a:ext cx="230585" cy="397987"/>
            </a:xfrm>
            <a:custGeom>
              <a:avLst/>
              <a:gdLst>
                <a:gd name="T0" fmla="*/ 182 w 641"/>
                <a:gd name="T1" fmla="*/ 174 h 1273"/>
                <a:gd name="T2" fmla="*/ 182 w 641"/>
                <a:gd name="T3" fmla="*/ 174 h 1273"/>
                <a:gd name="T4" fmla="*/ 166 w 641"/>
                <a:gd name="T5" fmla="*/ 300 h 1273"/>
                <a:gd name="T6" fmla="*/ 213 w 641"/>
                <a:gd name="T7" fmla="*/ 379 h 1273"/>
                <a:gd name="T8" fmla="*/ 102 w 641"/>
                <a:gd name="T9" fmla="*/ 569 h 1273"/>
                <a:gd name="T10" fmla="*/ 102 w 641"/>
                <a:gd name="T11" fmla="*/ 711 h 1273"/>
                <a:gd name="T12" fmla="*/ 79 w 641"/>
                <a:gd name="T13" fmla="*/ 964 h 1273"/>
                <a:gd name="T14" fmla="*/ 102 w 641"/>
                <a:gd name="T15" fmla="*/ 1099 h 1273"/>
                <a:gd name="T16" fmla="*/ 87 w 641"/>
                <a:gd name="T17" fmla="*/ 1193 h 1273"/>
                <a:gd name="T18" fmla="*/ 118 w 641"/>
                <a:gd name="T19" fmla="*/ 1265 h 1273"/>
                <a:gd name="T20" fmla="*/ 458 w 641"/>
                <a:gd name="T21" fmla="*/ 1201 h 1273"/>
                <a:gd name="T22" fmla="*/ 529 w 641"/>
                <a:gd name="T23" fmla="*/ 1162 h 1273"/>
                <a:gd name="T24" fmla="*/ 640 w 641"/>
                <a:gd name="T25" fmla="*/ 1035 h 1273"/>
                <a:gd name="T26" fmla="*/ 616 w 641"/>
                <a:gd name="T27" fmla="*/ 877 h 1273"/>
                <a:gd name="T28" fmla="*/ 537 w 641"/>
                <a:gd name="T29" fmla="*/ 790 h 1273"/>
                <a:gd name="T30" fmla="*/ 276 w 641"/>
                <a:gd name="T31" fmla="*/ 0 h 1273"/>
                <a:gd name="T32" fmla="*/ 213 w 641"/>
                <a:gd name="T33" fmla="*/ 8 h 1273"/>
                <a:gd name="T34" fmla="*/ 182 w 641"/>
                <a:gd name="T35" fmla="*/ 126 h 1273"/>
                <a:gd name="T36" fmla="*/ 182 w 641"/>
                <a:gd name="T37" fmla="*/ 174 h 1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1" h="1273">
                  <a:moveTo>
                    <a:pt x="182" y="174"/>
                  </a:moveTo>
                  <a:lnTo>
                    <a:pt x="182" y="174"/>
                  </a:lnTo>
                  <a:cubicBezTo>
                    <a:pt x="182" y="197"/>
                    <a:pt x="142" y="269"/>
                    <a:pt x="166" y="300"/>
                  </a:cubicBezTo>
                  <a:cubicBezTo>
                    <a:pt x="197" y="324"/>
                    <a:pt x="229" y="355"/>
                    <a:pt x="213" y="379"/>
                  </a:cubicBezTo>
                  <a:cubicBezTo>
                    <a:pt x="189" y="395"/>
                    <a:pt x="0" y="529"/>
                    <a:pt x="102" y="569"/>
                  </a:cubicBezTo>
                  <a:cubicBezTo>
                    <a:pt x="197" y="608"/>
                    <a:pt x="118" y="664"/>
                    <a:pt x="102" y="711"/>
                  </a:cubicBezTo>
                  <a:cubicBezTo>
                    <a:pt x="87" y="751"/>
                    <a:pt x="47" y="877"/>
                    <a:pt x="79" y="964"/>
                  </a:cubicBezTo>
                  <a:cubicBezTo>
                    <a:pt x="110" y="1043"/>
                    <a:pt x="110" y="1067"/>
                    <a:pt x="102" y="1099"/>
                  </a:cubicBezTo>
                  <a:cubicBezTo>
                    <a:pt x="102" y="1138"/>
                    <a:pt x="71" y="1162"/>
                    <a:pt x="87" y="1193"/>
                  </a:cubicBezTo>
                  <a:cubicBezTo>
                    <a:pt x="102" y="1233"/>
                    <a:pt x="102" y="1265"/>
                    <a:pt x="118" y="1265"/>
                  </a:cubicBezTo>
                  <a:cubicBezTo>
                    <a:pt x="134" y="1272"/>
                    <a:pt x="411" y="1201"/>
                    <a:pt x="458" y="1201"/>
                  </a:cubicBezTo>
                  <a:cubicBezTo>
                    <a:pt x="514" y="1193"/>
                    <a:pt x="514" y="1193"/>
                    <a:pt x="529" y="1162"/>
                  </a:cubicBezTo>
                  <a:cubicBezTo>
                    <a:pt x="545" y="1138"/>
                    <a:pt x="640" y="1035"/>
                    <a:pt x="640" y="1035"/>
                  </a:cubicBezTo>
                  <a:cubicBezTo>
                    <a:pt x="616" y="996"/>
                    <a:pt x="640" y="885"/>
                    <a:pt x="616" y="877"/>
                  </a:cubicBezTo>
                  <a:cubicBezTo>
                    <a:pt x="593" y="869"/>
                    <a:pt x="537" y="790"/>
                    <a:pt x="537" y="790"/>
                  </a:cubicBezTo>
                  <a:cubicBezTo>
                    <a:pt x="276" y="0"/>
                    <a:pt x="276" y="0"/>
                    <a:pt x="276" y="0"/>
                  </a:cubicBezTo>
                  <a:cubicBezTo>
                    <a:pt x="253" y="16"/>
                    <a:pt x="229" y="0"/>
                    <a:pt x="213" y="8"/>
                  </a:cubicBezTo>
                  <a:cubicBezTo>
                    <a:pt x="189" y="8"/>
                    <a:pt x="182" y="79"/>
                    <a:pt x="182" y="126"/>
                  </a:cubicBezTo>
                  <a:cubicBezTo>
                    <a:pt x="182" y="126"/>
                    <a:pt x="182" y="150"/>
                    <a:pt x="182" y="174"/>
                  </a:cubicBezTo>
                </a:path>
              </a:pathLst>
            </a:custGeom>
            <a:solidFill>
              <a:schemeClr val="accent6"/>
            </a:solidFill>
            <a:ln>
              <a:solidFill>
                <a:schemeClr val="bg2"/>
              </a:solidFill>
            </a:ln>
            <a:effectLst/>
          </p:spPr>
          <p:txBody>
            <a:bodyPr wrap="none" anchor="ctr"/>
            <a:lstStyle/>
            <a:p>
              <a:endParaRPr lang="en-US"/>
            </a:p>
          </p:txBody>
        </p:sp>
        <p:sp>
          <p:nvSpPr>
            <p:cNvPr id="90" name="Freeform 758"/>
            <p:cNvSpPr>
              <a:spLocks noChangeArrowheads="1"/>
            </p:cNvSpPr>
            <p:nvPr/>
          </p:nvSpPr>
          <p:spPr bwMode="auto">
            <a:xfrm>
              <a:off x="7102119" y="2267385"/>
              <a:ext cx="214683" cy="399363"/>
            </a:xfrm>
            <a:custGeom>
              <a:avLst/>
              <a:gdLst>
                <a:gd name="T0" fmla="*/ 71 w 594"/>
                <a:gd name="T1" fmla="*/ 1280 h 1281"/>
                <a:gd name="T2" fmla="*/ 71 w 594"/>
                <a:gd name="T3" fmla="*/ 1280 h 1281"/>
                <a:gd name="T4" fmla="*/ 40 w 594"/>
                <a:gd name="T5" fmla="*/ 1201 h 1281"/>
                <a:gd name="T6" fmla="*/ 55 w 594"/>
                <a:gd name="T7" fmla="*/ 1107 h 1281"/>
                <a:gd name="T8" fmla="*/ 32 w 594"/>
                <a:gd name="T9" fmla="*/ 972 h 1281"/>
                <a:gd name="T10" fmla="*/ 55 w 594"/>
                <a:gd name="T11" fmla="*/ 711 h 1281"/>
                <a:gd name="T12" fmla="*/ 95 w 594"/>
                <a:gd name="T13" fmla="*/ 616 h 1281"/>
                <a:gd name="T14" fmla="*/ 24 w 594"/>
                <a:gd name="T15" fmla="*/ 545 h 1281"/>
                <a:gd name="T16" fmla="*/ 158 w 594"/>
                <a:gd name="T17" fmla="*/ 379 h 1281"/>
                <a:gd name="T18" fmla="*/ 119 w 594"/>
                <a:gd name="T19" fmla="*/ 308 h 1281"/>
                <a:gd name="T20" fmla="*/ 135 w 594"/>
                <a:gd name="T21" fmla="*/ 182 h 1281"/>
                <a:gd name="T22" fmla="*/ 127 w 594"/>
                <a:gd name="T23" fmla="*/ 134 h 1281"/>
                <a:gd name="T24" fmla="*/ 166 w 594"/>
                <a:gd name="T25" fmla="*/ 8 h 1281"/>
                <a:gd name="T26" fmla="*/ 198 w 594"/>
                <a:gd name="T27" fmla="*/ 8 h 1281"/>
                <a:gd name="T28" fmla="*/ 229 w 594"/>
                <a:gd name="T29" fmla="*/ 0 h 1281"/>
                <a:gd name="T30" fmla="*/ 498 w 594"/>
                <a:gd name="T31" fmla="*/ 798 h 1281"/>
                <a:gd name="T32" fmla="*/ 585 w 594"/>
                <a:gd name="T33" fmla="*/ 956 h 1281"/>
                <a:gd name="T34" fmla="*/ 593 w 594"/>
                <a:gd name="T35" fmla="*/ 1043 h 1281"/>
                <a:gd name="T36" fmla="*/ 490 w 594"/>
                <a:gd name="T37" fmla="*/ 1170 h 1281"/>
                <a:gd name="T38" fmla="*/ 411 w 594"/>
                <a:gd name="T39" fmla="*/ 1209 h 1281"/>
                <a:gd name="T40" fmla="*/ 71 w 594"/>
                <a:gd name="T41" fmla="*/ 1280 h 1281"/>
                <a:gd name="T42" fmla="*/ 135 w 594"/>
                <a:gd name="T43" fmla="*/ 134 h 1281"/>
                <a:gd name="T44" fmla="*/ 135 w 594"/>
                <a:gd name="T45" fmla="*/ 213 h 1281"/>
                <a:gd name="T46" fmla="*/ 135 w 594"/>
                <a:gd name="T47" fmla="*/ 316 h 1281"/>
                <a:gd name="T48" fmla="*/ 142 w 594"/>
                <a:gd name="T49" fmla="*/ 411 h 1281"/>
                <a:gd name="T50" fmla="*/ 55 w 594"/>
                <a:gd name="T51" fmla="*/ 569 h 1281"/>
                <a:gd name="T52" fmla="*/ 79 w 594"/>
                <a:gd name="T53" fmla="*/ 680 h 1281"/>
                <a:gd name="T54" fmla="*/ 55 w 594"/>
                <a:gd name="T55" fmla="*/ 719 h 1281"/>
                <a:gd name="T56" fmla="*/ 63 w 594"/>
                <a:gd name="T57" fmla="*/ 1107 h 1281"/>
                <a:gd name="T58" fmla="*/ 48 w 594"/>
                <a:gd name="T59" fmla="*/ 1146 h 1281"/>
                <a:gd name="T60" fmla="*/ 55 w 594"/>
                <a:gd name="T61" fmla="*/ 1233 h 1281"/>
                <a:gd name="T62" fmla="*/ 221 w 594"/>
                <a:gd name="T63" fmla="*/ 1241 h 1281"/>
                <a:gd name="T64" fmla="*/ 419 w 594"/>
                <a:gd name="T65" fmla="*/ 1201 h 1281"/>
                <a:gd name="T66" fmla="*/ 585 w 594"/>
                <a:gd name="T67" fmla="*/ 1043 h 1281"/>
                <a:gd name="T68" fmla="*/ 569 w 594"/>
                <a:gd name="T69" fmla="*/ 885 h 1281"/>
                <a:gd name="T70" fmla="*/ 490 w 594"/>
                <a:gd name="T71" fmla="*/ 798 h 1281"/>
                <a:gd name="T72" fmla="*/ 198 w 594"/>
                <a:gd name="T73" fmla="*/ 16 h 1281"/>
                <a:gd name="T74" fmla="*/ 166 w 594"/>
                <a:gd name="T75" fmla="*/ 16 h 1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4" h="1281">
                  <a:moveTo>
                    <a:pt x="71" y="1280"/>
                  </a:moveTo>
                  <a:lnTo>
                    <a:pt x="71" y="1280"/>
                  </a:lnTo>
                  <a:lnTo>
                    <a:pt x="71" y="1280"/>
                  </a:lnTo>
                  <a:lnTo>
                    <a:pt x="71" y="1280"/>
                  </a:lnTo>
                  <a:cubicBezTo>
                    <a:pt x="63" y="1280"/>
                    <a:pt x="55" y="1257"/>
                    <a:pt x="48" y="1233"/>
                  </a:cubicBezTo>
                  <a:cubicBezTo>
                    <a:pt x="48" y="1225"/>
                    <a:pt x="40" y="1217"/>
                    <a:pt x="40" y="1201"/>
                  </a:cubicBezTo>
                  <a:cubicBezTo>
                    <a:pt x="24" y="1178"/>
                    <a:pt x="32" y="1162"/>
                    <a:pt x="40" y="1146"/>
                  </a:cubicBezTo>
                  <a:cubicBezTo>
                    <a:pt x="48" y="1130"/>
                    <a:pt x="55" y="1122"/>
                    <a:pt x="55" y="1107"/>
                  </a:cubicBezTo>
                  <a:lnTo>
                    <a:pt x="55" y="1107"/>
                  </a:lnTo>
                  <a:cubicBezTo>
                    <a:pt x="55" y="1075"/>
                    <a:pt x="63" y="1051"/>
                    <a:pt x="32" y="972"/>
                  </a:cubicBezTo>
                  <a:cubicBezTo>
                    <a:pt x="0" y="893"/>
                    <a:pt x="40" y="767"/>
                    <a:pt x="48" y="719"/>
                  </a:cubicBezTo>
                  <a:cubicBezTo>
                    <a:pt x="55" y="711"/>
                    <a:pt x="55" y="711"/>
                    <a:pt x="55" y="711"/>
                  </a:cubicBezTo>
                  <a:cubicBezTo>
                    <a:pt x="55" y="703"/>
                    <a:pt x="63" y="687"/>
                    <a:pt x="71" y="680"/>
                  </a:cubicBezTo>
                  <a:cubicBezTo>
                    <a:pt x="87" y="656"/>
                    <a:pt x="103" y="632"/>
                    <a:pt x="95" y="616"/>
                  </a:cubicBezTo>
                  <a:cubicBezTo>
                    <a:pt x="95" y="601"/>
                    <a:pt x="79" y="593"/>
                    <a:pt x="55" y="577"/>
                  </a:cubicBezTo>
                  <a:cubicBezTo>
                    <a:pt x="32" y="569"/>
                    <a:pt x="24" y="561"/>
                    <a:pt x="24" y="545"/>
                  </a:cubicBezTo>
                  <a:cubicBezTo>
                    <a:pt x="16" y="506"/>
                    <a:pt x="95" y="435"/>
                    <a:pt x="135" y="403"/>
                  </a:cubicBezTo>
                  <a:cubicBezTo>
                    <a:pt x="150" y="395"/>
                    <a:pt x="158" y="387"/>
                    <a:pt x="158" y="379"/>
                  </a:cubicBezTo>
                  <a:cubicBezTo>
                    <a:pt x="174" y="363"/>
                    <a:pt x="158" y="348"/>
                    <a:pt x="135" y="324"/>
                  </a:cubicBezTo>
                  <a:cubicBezTo>
                    <a:pt x="127" y="316"/>
                    <a:pt x="119" y="308"/>
                    <a:pt x="119" y="308"/>
                  </a:cubicBezTo>
                  <a:cubicBezTo>
                    <a:pt x="95" y="284"/>
                    <a:pt x="111" y="237"/>
                    <a:pt x="127" y="205"/>
                  </a:cubicBezTo>
                  <a:cubicBezTo>
                    <a:pt x="127" y="197"/>
                    <a:pt x="135" y="182"/>
                    <a:pt x="135" y="182"/>
                  </a:cubicBezTo>
                  <a:cubicBezTo>
                    <a:pt x="135" y="158"/>
                    <a:pt x="127" y="134"/>
                    <a:pt x="127" y="134"/>
                  </a:cubicBezTo>
                  <a:lnTo>
                    <a:pt x="127" y="134"/>
                  </a:lnTo>
                  <a:lnTo>
                    <a:pt x="127" y="134"/>
                  </a:lnTo>
                  <a:cubicBezTo>
                    <a:pt x="127" y="103"/>
                    <a:pt x="142" y="16"/>
                    <a:pt x="166" y="8"/>
                  </a:cubicBezTo>
                  <a:cubicBezTo>
                    <a:pt x="174" y="8"/>
                    <a:pt x="174" y="8"/>
                    <a:pt x="182" y="8"/>
                  </a:cubicBezTo>
                  <a:cubicBezTo>
                    <a:pt x="182" y="8"/>
                    <a:pt x="190" y="8"/>
                    <a:pt x="198" y="8"/>
                  </a:cubicBezTo>
                  <a:cubicBezTo>
                    <a:pt x="206" y="8"/>
                    <a:pt x="214" y="8"/>
                    <a:pt x="221" y="0"/>
                  </a:cubicBezTo>
                  <a:cubicBezTo>
                    <a:pt x="229" y="0"/>
                    <a:pt x="229" y="0"/>
                    <a:pt x="229" y="0"/>
                  </a:cubicBezTo>
                  <a:lnTo>
                    <a:pt x="229" y="0"/>
                  </a:lnTo>
                  <a:cubicBezTo>
                    <a:pt x="498" y="798"/>
                    <a:pt x="498" y="798"/>
                    <a:pt x="498" y="798"/>
                  </a:cubicBezTo>
                  <a:cubicBezTo>
                    <a:pt x="506" y="814"/>
                    <a:pt x="546" y="877"/>
                    <a:pt x="569" y="877"/>
                  </a:cubicBezTo>
                  <a:cubicBezTo>
                    <a:pt x="585" y="885"/>
                    <a:pt x="585" y="909"/>
                    <a:pt x="585" y="956"/>
                  </a:cubicBezTo>
                  <a:cubicBezTo>
                    <a:pt x="585" y="988"/>
                    <a:pt x="585" y="1020"/>
                    <a:pt x="593" y="1043"/>
                  </a:cubicBezTo>
                  <a:lnTo>
                    <a:pt x="593" y="1043"/>
                  </a:lnTo>
                  <a:lnTo>
                    <a:pt x="593" y="1043"/>
                  </a:lnTo>
                  <a:cubicBezTo>
                    <a:pt x="593" y="1043"/>
                    <a:pt x="506" y="1146"/>
                    <a:pt x="490" y="1170"/>
                  </a:cubicBezTo>
                  <a:cubicBezTo>
                    <a:pt x="474" y="1201"/>
                    <a:pt x="467" y="1201"/>
                    <a:pt x="427" y="1209"/>
                  </a:cubicBezTo>
                  <a:cubicBezTo>
                    <a:pt x="411" y="1209"/>
                    <a:pt x="411" y="1209"/>
                    <a:pt x="411" y="1209"/>
                  </a:cubicBezTo>
                  <a:cubicBezTo>
                    <a:pt x="388" y="1209"/>
                    <a:pt x="301" y="1233"/>
                    <a:pt x="221" y="1249"/>
                  </a:cubicBezTo>
                  <a:cubicBezTo>
                    <a:pt x="135" y="1265"/>
                    <a:pt x="79" y="1280"/>
                    <a:pt x="71" y="1280"/>
                  </a:cubicBezTo>
                  <a:close/>
                  <a:moveTo>
                    <a:pt x="135" y="134"/>
                  </a:moveTo>
                  <a:lnTo>
                    <a:pt x="135" y="134"/>
                  </a:lnTo>
                  <a:cubicBezTo>
                    <a:pt x="135" y="134"/>
                    <a:pt x="142" y="158"/>
                    <a:pt x="142" y="182"/>
                  </a:cubicBezTo>
                  <a:cubicBezTo>
                    <a:pt x="142" y="190"/>
                    <a:pt x="135" y="197"/>
                    <a:pt x="135" y="213"/>
                  </a:cubicBezTo>
                  <a:cubicBezTo>
                    <a:pt x="119" y="237"/>
                    <a:pt x="103" y="284"/>
                    <a:pt x="127" y="300"/>
                  </a:cubicBezTo>
                  <a:cubicBezTo>
                    <a:pt x="127" y="308"/>
                    <a:pt x="135" y="308"/>
                    <a:pt x="135" y="316"/>
                  </a:cubicBezTo>
                  <a:cubicBezTo>
                    <a:pt x="158" y="340"/>
                    <a:pt x="182" y="363"/>
                    <a:pt x="166" y="387"/>
                  </a:cubicBezTo>
                  <a:cubicBezTo>
                    <a:pt x="166" y="395"/>
                    <a:pt x="158" y="395"/>
                    <a:pt x="142" y="411"/>
                  </a:cubicBezTo>
                  <a:cubicBezTo>
                    <a:pt x="103" y="443"/>
                    <a:pt x="24" y="506"/>
                    <a:pt x="32" y="545"/>
                  </a:cubicBezTo>
                  <a:cubicBezTo>
                    <a:pt x="32" y="553"/>
                    <a:pt x="40" y="569"/>
                    <a:pt x="55" y="569"/>
                  </a:cubicBezTo>
                  <a:cubicBezTo>
                    <a:pt x="79" y="585"/>
                    <a:pt x="95" y="601"/>
                    <a:pt x="103" y="616"/>
                  </a:cubicBezTo>
                  <a:cubicBezTo>
                    <a:pt x="111" y="640"/>
                    <a:pt x="95" y="656"/>
                    <a:pt x="79" y="680"/>
                  </a:cubicBezTo>
                  <a:cubicBezTo>
                    <a:pt x="71" y="696"/>
                    <a:pt x="63" y="703"/>
                    <a:pt x="55" y="719"/>
                  </a:cubicBezTo>
                  <a:lnTo>
                    <a:pt x="55" y="719"/>
                  </a:lnTo>
                  <a:cubicBezTo>
                    <a:pt x="48" y="767"/>
                    <a:pt x="8" y="893"/>
                    <a:pt x="40" y="972"/>
                  </a:cubicBezTo>
                  <a:cubicBezTo>
                    <a:pt x="63" y="1051"/>
                    <a:pt x="63" y="1075"/>
                    <a:pt x="63" y="1107"/>
                  </a:cubicBezTo>
                  <a:lnTo>
                    <a:pt x="63" y="1107"/>
                  </a:lnTo>
                  <a:cubicBezTo>
                    <a:pt x="55" y="1122"/>
                    <a:pt x="55" y="1138"/>
                    <a:pt x="48" y="1146"/>
                  </a:cubicBezTo>
                  <a:cubicBezTo>
                    <a:pt x="40" y="1162"/>
                    <a:pt x="32" y="1178"/>
                    <a:pt x="40" y="1201"/>
                  </a:cubicBezTo>
                  <a:cubicBezTo>
                    <a:pt x="48" y="1209"/>
                    <a:pt x="48" y="1225"/>
                    <a:pt x="55" y="1233"/>
                  </a:cubicBezTo>
                  <a:cubicBezTo>
                    <a:pt x="63" y="1257"/>
                    <a:pt x="63" y="1273"/>
                    <a:pt x="71" y="1273"/>
                  </a:cubicBezTo>
                  <a:cubicBezTo>
                    <a:pt x="79" y="1273"/>
                    <a:pt x="150" y="1257"/>
                    <a:pt x="221" y="1241"/>
                  </a:cubicBezTo>
                  <a:cubicBezTo>
                    <a:pt x="293" y="1225"/>
                    <a:pt x="388" y="1209"/>
                    <a:pt x="411" y="1201"/>
                  </a:cubicBezTo>
                  <a:cubicBezTo>
                    <a:pt x="419" y="1201"/>
                    <a:pt x="419" y="1201"/>
                    <a:pt x="419" y="1201"/>
                  </a:cubicBezTo>
                  <a:cubicBezTo>
                    <a:pt x="467" y="1194"/>
                    <a:pt x="467" y="1194"/>
                    <a:pt x="482" y="1170"/>
                  </a:cubicBezTo>
                  <a:cubicBezTo>
                    <a:pt x="498" y="1146"/>
                    <a:pt x="577" y="1059"/>
                    <a:pt x="585" y="1043"/>
                  </a:cubicBezTo>
                  <a:cubicBezTo>
                    <a:pt x="577" y="1020"/>
                    <a:pt x="577" y="988"/>
                    <a:pt x="577" y="956"/>
                  </a:cubicBezTo>
                  <a:cubicBezTo>
                    <a:pt x="577" y="925"/>
                    <a:pt x="577" y="893"/>
                    <a:pt x="569" y="885"/>
                  </a:cubicBezTo>
                  <a:cubicBezTo>
                    <a:pt x="538" y="877"/>
                    <a:pt x="490" y="798"/>
                    <a:pt x="490" y="798"/>
                  </a:cubicBezTo>
                  <a:lnTo>
                    <a:pt x="490" y="798"/>
                  </a:lnTo>
                  <a:cubicBezTo>
                    <a:pt x="229" y="8"/>
                    <a:pt x="229" y="8"/>
                    <a:pt x="229" y="8"/>
                  </a:cubicBezTo>
                  <a:cubicBezTo>
                    <a:pt x="214" y="16"/>
                    <a:pt x="206" y="16"/>
                    <a:pt x="198" y="16"/>
                  </a:cubicBezTo>
                  <a:cubicBezTo>
                    <a:pt x="190" y="16"/>
                    <a:pt x="182" y="16"/>
                    <a:pt x="182" y="16"/>
                  </a:cubicBezTo>
                  <a:cubicBezTo>
                    <a:pt x="174" y="16"/>
                    <a:pt x="174" y="16"/>
                    <a:pt x="166" y="16"/>
                  </a:cubicBezTo>
                  <a:cubicBezTo>
                    <a:pt x="150" y="16"/>
                    <a:pt x="135" y="79"/>
                    <a:pt x="135" y="134"/>
                  </a:cubicBezTo>
                  <a:close/>
                </a:path>
              </a:pathLst>
            </a:custGeom>
            <a:solidFill>
              <a:schemeClr val="accent6"/>
            </a:solidFill>
            <a:ln>
              <a:solidFill>
                <a:schemeClr val="bg2"/>
              </a:solidFill>
            </a:ln>
            <a:effectLst/>
          </p:spPr>
          <p:txBody>
            <a:bodyPr wrap="none" anchor="ctr"/>
            <a:lstStyle/>
            <a:p>
              <a:endParaRPr lang="en-US"/>
            </a:p>
          </p:txBody>
        </p:sp>
        <p:sp>
          <p:nvSpPr>
            <p:cNvPr id="91" name="Freeform 759"/>
            <p:cNvSpPr>
              <a:spLocks noChangeArrowheads="1"/>
            </p:cNvSpPr>
            <p:nvPr/>
          </p:nvSpPr>
          <p:spPr bwMode="auto">
            <a:xfrm>
              <a:off x="6933553" y="2308699"/>
              <a:ext cx="233766" cy="380083"/>
            </a:xfrm>
            <a:custGeom>
              <a:avLst/>
              <a:gdLst>
                <a:gd name="T0" fmla="*/ 15 w 649"/>
                <a:gd name="T1" fmla="*/ 269 h 1219"/>
                <a:gd name="T2" fmla="*/ 15 w 649"/>
                <a:gd name="T3" fmla="*/ 269 h 1219"/>
                <a:gd name="T4" fmla="*/ 23 w 649"/>
                <a:gd name="T5" fmla="*/ 364 h 1219"/>
                <a:gd name="T6" fmla="*/ 63 w 649"/>
                <a:gd name="T7" fmla="*/ 419 h 1219"/>
                <a:gd name="T8" fmla="*/ 102 w 649"/>
                <a:gd name="T9" fmla="*/ 522 h 1219"/>
                <a:gd name="T10" fmla="*/ 95 w 649"/>
                <a:gd name="T11" fmla="*/ 617 h 1219"/>
                <a:gd name="T12" fmla="*/ 118 w 649"/>
                <a:gd name="T13" fmla="*/ 743 h 1219"/>
                <a:gd name="T14" fmla="*/ 150 w 649"/>
                <a:gd name="T15" fmla="*/ 838 h 1219"/>
                <a:gd name="T16" fmla="*/ 190 w 649"/>
                <a:gd name="T17" fmla="*/ 838 h 1219"/>
                <a:gd name="T18" fmla="*/ 237 w 649"/>
                <a:gd name="T19" fmla="*/ 988 h 1219"/>
                <a:gd name="T20" fmla="*/ 284 w 649"/>
                <a:gd name="T21" fmla="*/ 1210 h 1219"/>
                <a:gd name="T22" fmla="*/ 537 w 649"/>
                <a:gd name="T23" fmla="*/ 1139 h 1219"/>
                <a:gd name="T24" fmla="*/ 506 w 649"/>
                <a:gd name="T25" fmla="*/ 1067 h 1219"/>
                <a:gd name="T26" fmla="*/ 521 w 649"/>
                <a:gd name="T27" fmla="*/ 973 h 1219"/>
                <a:gd name="T28" fmla="*/ 498 w 649"/>
                <a:gd name="T29" fmla="*/ 838 h 1219"/>
                <a:gd name="T30" fmla="*/ 521 w 649"/>
                <a:gd name="T31" fmla="*/ 585 h 1219"/>
                <a:gd name="T32" fmla="*/ 521 w 649"/>
                <a:gd name="T33" fmla="*/ 443 h 1219"/>
                <a:gd name="T34" fmla="*/ 632 w 649"/>
                <a:gd name="T35" fmla="*/ 253 h 1219"/>
                <a:gd name="T36" fmla="*/ 585 w 649"/>
                <a:gd name="T37" fmla="*/ 174 h 1219"/>
                <a:gd name="T38" fmla="*/ 601 w 649"/>
                <a:gd name="T39" fmla="*/ 48 h 1219"/>
                <a:gd name="T40" fmla="*/ 601 w 649"/>
                <a:gd name="T41" fmla="*/ 0 h 1219"/>
                <a:gd name="T42" fmla="*/ 0 w 649"/>
                <a:gd name="T43" fmla="*/ 174 h 1219"/>
                <a:gd name="T44" fmla="*/ 15 w 649"/>
                <a:gd name="T45" fmla="*/ 269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9" h="1219">
                  <a:moveTo>
                    <a:pt x="15" y="269"/>
                  </a:moveTo>
                  <a:lnTo>
                    <a:pt x="15" y="269"/>
                  </a:lnTo>
                  <a:cubicBezTo>
                    <a:pt x="23" y="285"/>
                    <a:pt x="15" y="324"/>
                    <a:pt x="23" y="364"/>
                  </a:cubicBezTo>
                  <a:cubicBezTo>
                    <a:pt x="31" y="396"/>
                    <a:pt x="55" y="396"/>
                    <a:pt x="63" y="419"/>
                  </a:cubicBezTo>
                  <a:cubicBezTo>
                    <a:pt x="79" y="443"/>
                    <a:pt x="95" y="498"/>
                    <a:pt x="102" y="522"/>
                  </a:cubicBezTo>
                  <a:cubicBezTo>
                    <a:pt x="102" y="553"/>
                    <a:pt x="79" y="577"/>
                    <a:pt x="95" y="617"/>
                  </a:cubicBezTo>
                  <a:cubicBezTo>
                    <a:pt x="110" y="656"/>
                    <a:pt x="118" y="720"/>
                    <a:pt x="118" y="743"/>
                  </a:cubicBezTo>
                  <a:cubicBezTo>
                    <a:pt x="118" y="767"/>
                    <a:pt x="126" y="830"/>
                    <a:pt x="150" y="838"/>
                  </a:cubicBezTo>
                  <a:cubicBezTo>
                    <a:pt x="174" y="838"/>
                    <a:pt x="174" y="807"/>
                    <a:pt x="190" y="838"/>
                  </a:cubicBezTo>
                  <a:cubicBezTo>
                    <a:pt x="205" y="862"/>
                    <a:pt x="221" y="933"/>
                    <a:pt x="237" y="988"/>
                  </a:cubicBezTo>
                  <a:cubicBezTo>
                    <a:pt x="253" y="1044"/>
                    <a:pt x="284" y="1202"/>
                    <a:pt x="284" y="1210"/>
                  </a:cubicBezTo>
                  <a:cubicBezTo>
                    <a:pt x="292" y="1218"/>
                    <a:pt x="537" y="1139"/>
                    <a:pt x="537" y="1139"/>
                  </a:cubicBezTo>
                  <a:cubicBezTo>
                    <a:pt x="521" y="1139"/>
                    <a:pt x="521" y="1107"/>
                    <a:pt x="506" y="1067"/>
                  </a:cubicBezTo>
                  <a:cubicBezTo>
                    <a:pt x="490" y="1036"/>
                    <a:pt x="521" y="1012"/>
                    <a:pt x="521" y="973"/>
                  </a:cubicBezTo>
                  <a:cubicBezTo>
                    <a:pt x="529" y="941"/>
                    <a:pt x="529" y="917"/>
                    <a:pt x="498" y="838"/>
                  </a:cubicBezTo>
                  <a:cubicBezTo>
                    <a:pt x="466" y="751"/>
                    <a:pt x="506" y="625"/>
                    <a:pt x="521" y="585"/>
                  </a:cubicBezTo>
                  <a:cubicBezTo>
                    <a:pt x="537" y="538"/>
                    <a:pt x="616" y="482"/>
                    <a:pt x="521" y="443"/>
                  </a:cubicBezTo>
                  <a:cubicBezTo>
                    <a:pt x="419" y="403"/>
                    <a:pt x="608" y="269"/>
                    <a:pt x="632" y="253"/>
                  </a:cubicBezTo>
                  <a:cubicBezTo>
                    <a:pt x="648" y="229"/>
                    <a:pt x="616" y="198"/>
                    <a:pt x="585" y="174"/>
                  </a:cubicBezTo>
                  <a:cubicBezTo>
                    <a:pt x="561" y="143"/>
                    <a:pt x="601" y="71"/>
                    <a:pt x="601" y="48"/>
                  </a:cubicBezTo>
                  <a:cubicBezTo>
                    <a:pt x="601" y="24"/>
                    <a:pt x="601" y="0"/>
                    <a:pt x="601" y="0"/>
                  </a:cubicBezTo>
                  <a:cubicBezTo>
                    <a:pt x="593" y="24"/>
                    <a:pt x="292" y="103"/>
                    <a:pt x="0" y="174"/>
                  </a:cubicBezTo>
                  <a:cubicBezTo>
                    <a:pt x="0" y="198"/>
                    <a:pt x="8" y="253"/>
                    <a:pt x="15" y="269"/>
                  </a:cubicBezTo>
                </a:path>
              </a:pathLst>
            </a:custGeom>
            <a:solidFill>
              <a:schemeClr val="accent6"/>
            </a:solidFill>
            <a:ln>
              <a:solidFill>
                <a:schemeClr val="bg2"/>
              </a:solidFill>
            </a:ln>
            <a:effectLst/>
          </p:spPr>
          <p:txBody>
            <a:bodyPr wrap="none" anchor="ctr"/>
            <a:lstStyle/>
            <a:p>
              <a:endParaRPr lang="en-US"/>
            </a:p>
          </p:txBody>
        </p:sp>
        <p:sp>
          <p:nvSpPr>
            <p:cNvPr id="92" name="Freeform 760"/>
            <p:cNvSpPr>
              <a:spLocks noChangeArrowheads="1"/>
            </p:cNvSpPr>
            <p:nvPr/>
          </p:nvSpPr>
          <p:spPr bwMode="auto">
            <a:xfrm>
              <a:off x="6933553" y="2301813"/>
              <a:ext cx="233766" cy="388346"/>
            </a:xfrm>
            <a:custGeom>
              <a:avLst/>
              <a:gdLst>
                <a:gd name="T0" fmla="*/ 292 w 649"/>
                <a:gd name="T1" fmla="*/ 1242 h 1243"/>
                <a:gd name="T2" fmla="*/ 253 w 649"/>
                <a:gd name="T3" fmla="*/ 1091 h 1243"/>
                <a:gd name="T4" fmla="*/ 190 w 649"/>
                <a:gd name="T5" fmla="*/ 862 h 1243"/>
                <a:gd name="T6" fmla="*/ 174 w 649"/>
                <a:gd name="T7" fmla="*/ 854 h 1243"/>
                <a:gd name="T8" fmla="*/ 150 w 649"/>
                <a:gd name="T9" fmla="*/ 862 h 1243"/>
                <a:gd name="T10" fmla="*/ 95 w 649"/>
                <a:gd name="T11" fmla="*/ 641 h 1243"/>
                <a:gd name="T12" fmla="*/ 95 w 649"/>
                <a:gd name="T13" fmla="*/ 554 h 1243"/>
                <a:gd name="T14" fmla="*/ 47 w 649"/>
                <a:gd name="T15" fmla="*/ 427 h 1243"/>
                <a:gd name="T16" fmla="*/ 15 w 649"/>
                <a:gd name="T17" fmla="*/ 340 h 1243"/>
                <a:gd name="T18" fmla="*/ 0 w 649"/>
                <a:gd name="T19" fmla="*/ 198 h 1243"/>
                <a:gd name="T20" fmla="*/ 0 w 649"/>
                <a:gd name="T21" fmla="*/ 190 h 1243"/>
                <a:gd name="T22" fmla="*/ 593 w 649"/>
                <a:gd name="T23" fmla="*/ 0 h 1243"/>
                <a:gd name="T24" fmla="*/ 608 w 649"/>
                <a:gd name="T25" fmla="*/ 72 h 1243"/>
                <a:gd name="T26" fmla="*/ 593 w 649"/>
                <a:gd name="T27" fmla="*/ 190 h 1243"/>
                <a:gd name="T28" fmla="*/ 632 w 649"/>
                <a:gd name="T29" fmla="*/ 277 h 1243"/>
                <a:gd name="T30" fmla="*/ 498 w 649"/>
                <a:gd name="T31" fmla="*/ 435 h 1243"/>
                <a:gd name="T32" fmla="*/ 569 w 649"/>
                <a:gd name="T33" fmla="*/ 506 h 1243"/>
                <a:gd name="T34" fmla="*/ 521 w 649"/>
                <a:gd name="T35" fmla="*/ 609 h 1243"/>
                <a:gd name="T36" fmla="*/ 506 w 649"/>
                <a:gd name="T37" fmla="*/ 862 h 1243"/>
                <a:gd name="T38" fmla="*/ 529 w 649"/>
                <a:gd name="T39" fmla="*/ 997 h 1243"/>
                <a:gd name="T40" fmla="*/ 506 w 649"/>
                <a:gd name="T41" fmla="*/ 1091 h 1243"/>
                <a:gd name="T42" fmla="*/ 537 w 649"/>
                <a:gd name="T43" fmla="*/ 1163 h 1243"/>
                <a:gd name="T44" fmla="*/ 537 w 649"/>
                <a:gd name="T45" fmla="*/ 1170 h 1243"/>
                <a:gd name="T46" fmla="*/ 181 w 649"/>
                <a:gd name="T47" fmla="*/ 846 h 1243"/>
                <a:gd name="T48" fmla="*/ 197 w 649"/>
                <a:gd name="T49" fmla="*/ 854 h 1243"/>
                <a:gd name="T50" fmla="*/ 261 w 649"/>
                <a:gd name="T51" fmla="*/ 1091 h 1243"/>
                <a:gd name="T52" fmla="*/ 529 w 649"/>
                <a:gd name="T53" fmla="*/ 1163 h 1243"/>
                <a:gd name="T54" fmla="*/ 506 w 649"/>
                <a:gd name="T55" fmla="*/ 1091 h 1243"/>
                <a:gd name="T56" fmla="*/ 521 w 649"/>
                <a:gd name="T57" fmla="*/ 997 h 1243"/>
                <a:gd name="T58" fmla="*/ 498 w 649"/>
                <a:gd name="T59" fmla="*/ 862 h 1243"/>
                <a:gd name="T60" fmla="*/ 521 w 649"/>
                <a:gd name="T61" fmla="*/ 601 h 1243"/>
                <a:gd name="T62" fmla="*/ 561 w 649"/>
                <a:gd name="T63" fmla="*/ 506 h 1243"/>
                <a:gd name="T64" fmla="*/ 490 w 649"/>
                <a:gd name="T65" fmla="*/ 435 h 1243"/>
                <a:gd name="T66" fmla="*/ 624 w 649"/>
                <a:gd name="T67" fmla="*/ 269 h 1243"/>
                <a:gd name="T68" fmla="*/ 585 w 649"/>
                <a:gd name="T69" fmla="*/ 198 h 1243"/>
                <a:gd name="T70" fmla="*/ 601 w 649"/>
                <a:gd name="T71" fmla="*/ 72 h 1243"/>
                <a:gd name="T72" fmla="*/ 8 w 649"/>
                <a:gd name="T73" fmla="*/ 198 h 1243"/>
                <a:gd name="T74" fmla="*/ 23 w 649"/>
                <a:gd name="T75" fmla="*/ 340 h 1243"/>
                <a:gd name="T76" fmla="*/ 55 w 649"/>
                <a:gd name="T77" fmla="*/ 420 h 1243"/>
                <a:gd name="T78" fmla="*/ 102 w 649"/>
                <a:gd name="T79" fmla="*/ 546 h 1243"/>
                <a:gd name="T80" fmla="*/ 95 w 649"/>
                <a:gd name="T81" fmla="*/ 641 h 1243"/>
                <a:gd name="T82" fmla="*/ 150 w 649"/>
                <a:gd name="T83" fmla="*/ 854 h 1243"/>
                <a:gd name="T84" fmla="*/ 174 w 649"/>
                <a:gd name="T85" fmla="*/ 846 h 1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9" h="1243">
                  <a:moveTo>
                    <a:pt x="292" y="1242"/>
                  </a:moveTo>
                  <a:lnTo>
                    <a:pt x="292" y="1242"/>
                  </a:lnTo>
                  <a:cubicBezTo>
                    <a:pt x="292" y="1242"/>
                    <a:pt x="284" y="1242"/>
                    <a:pt x="284" y="1234"/>
                  </a:cubicBezTo>
                  <a:cubicBezTo>
                    <a:pt x="284" y="1234"/>
                    <a:pt x="276" y="1186"/>
                    <a:pt x="253" y="1091"/>
                  </a:cubicBezTo>
                  <a:cubicBezTo>
                    <a:pt x="245" y="1060"/>
                    <a:pt x="237" y="1028"/>
                    <a:pt x="237" y="1012"/>
                  </a:cubicBezTo>
                  <a:cubicBezTo>
                    <a:pt x="213" y="933"/>
                    <a:pt x="197" y="886"/>
                    <a:pt x="190" y="862"/>
                  </a:cubicBezTo>
                  <a:cubicBezTo>
                    <a:pt x="181" y="854"/>
                    <a:pt x="181" y="854"/>
                    <a:pt x="181" y="854"/>
                  </a:cubicBezTo>
                  <a:cubicBezTo>
                    <a:pt x="181" y="854"/>
                    <a:pt x="181" y="854"/>
                    <a:pt x="174" y="854"/>
                  </a:cubicBezTo>
                  <a:cubicBezTo>
                    <a:pt x="174" y="862"/>
                    <a:pt x="166" y="862"/>
                    <a:pt x="158" y="862"/>
                  </a:cubicBezTo>
                  <a:cubicBezTo>
                    <a:pt x="150" y="862"/>
                    <a:pt x="150" y="862"/>
                    <a:pt x="150" y="862"/>
                  </a:cubicBezTo>
                  <a:cubicBezTo>
                    <a:pt x="126" y="854"/>
                    <a:pt x="118" y="799"/>
                    <a:pt x="118" y="767"/>
                  </a:cubicBezTo>
                  <a:cubicBezTo>
                    <a:pt x="118" y="744"/>
                    <a:pt x="102" y="673"/>
                    <a:pt x="95" y="641"/>
                  </a:cubicBezTo>
                  <a:cubicBezTo>
                    <a:pt x="87" y="617"/>
                    <a:pt x="87" y="601"/>
                    <a:pt x="95" y="577"/>
                  </a:cubicBezTo>
                  <a:cubicBezTo>
                    <a:pt x="95" y="570"/>
                    <a:pt x="95" y="562"/>
                    <a:pt x="95" y="554"/>
                  </a:cubicBezTo>
                  <a:cubicBezTo>
                    <a:pt x="95" y="522"/>
                    <a:pt x="79" y="467"/>
                    <a:pt x="63" y="443"/>
                  </a:cubicBezTo>
                  <a:cubicBezTo>
                    <a:pt x="63" y="435"/>
                    <a:pt x="55" y="427"/>
                    <a:pt x="47" y="427"/>
                  </a:cubicBezTo>
                  <a:cubicBezTo>
                    <a:pt x="39" y="420"/>
                    <a:pt x="31" y="411"/>
                    <a:pt x="23" y="388"/>
                  </a:cubicBezTo>
                  <a:cubicBezTo>
                    <a:pt x="15" y="372"/>
                    <a:pt x="15" y="356"/>
                    <a:pt x="15" y="340"/>
                  </a:cubicBezTo>
                  <a:cubicBezTo>
                    <a:pt x="15" y="317"/>
                    <a:pt x="15" y="301"/>
                    <a:pt x="8" y="293"/>
                  </a:cubicBezTo>
                  <a:cubicBezTo>
                    <a:pt x="0" y="277"/>
                    <a:pt x="0" y="238"/>
                    <a:pt x="0" y="198"/>
                  </a:cubicBezTo>
                  <a:cubicBezTo>
                    <a:pt x="0" y="190"/>
                    <a:pt x="0" y="190"/>
                    <a:pt x="0" y="190"/>
                  </a:cubicBezTo>
                  <a:lnTo>
                    <a:pt x="0" y="190"/>
                  </a:lnTo>
                  <a:cubicBezTo>
                    <a:pt x="545" y="64"/>
                    <a:pt x="593" y="24"/>
                    <a:pt x="593" y="24"/>
                  </a:cubicBezTo>
                  <a:cubicBezTo>
                    <a:pt x="593" y="0"/>
                    <a:pt x="593" y="0"/>
                    <a:pt x="593" y="0"/>
                  </a:cubicBezTo>
                  <a:cubicBezTo>
                    <a:pt x="601" y="24"/>
                    <a:pt x="601" y="24"/>
                    <a:pt x="601" y="24"/>
                  </a:cubicBezTo>
                  <a:cubicBezTo>
                    <a:pt x="601" y="24"/>
                    <a:pt x="608" y="48"/>
                    <a:pt x="608" y="72"/>
                  </a:cubicBezTo>
                  <a:cubicBezTo>
                    <a:pt x="608" y="80"/>
                    <a:pt x="601" y="87"/>
                    <a:pt x="601" y="103"/>
                  </a:cubicBezTo>
                  <a:cubicBezTo>
                    <a:pt x="585" y="127"/>
                    <a:pt x="569" y="174"/>
                    <a:pt x="593" y="190"/>
                  </a:cubicBezTo>
                  <a:cubicBezTo>
                    <a:pt x="593" y="198"/>
                    <a:pt x="601" y="198"/>
                    <a:pt x="601" y="206"/>
                  </a:cubicBezTo>
                  <a:cubicBezTo>
                    <a:pt x="624" y="230"/>
                    <a:pt x="648" y="253"/>
                    <a:pt x="632" y="277"/>
                  </a:cubicBezTo>
                  <a:cubicBezTo>
                    <a:pt x="632" y="285"/>
                    <a:pt x="624" y="285"/>
                    <a:pt x="608" y="301"/>
                  </a:cubicBezTo>
                  <a:cubicBezTo>
                    <a:pt x="569" y="333"/>
                    <a:pt x="490" y="396"/>
                    <a:pt x="498" y="435"/>
                  </a:cubicBezTo>
                  <a:cubicBezTo>
                    <a:pt x="498" y="443"/>
                    <a:pt x="506" y="459"/>
                    <a:pt x="521" y="459"/>
                  </a:cubicBezTo>
                  <a:cubicBezTo>
                    <a:pt x="545" y="475"/>
                    <a:pt x="561" y="491"/>
                    <a:pt x="569" y="506"/>
                  </a:cubicBezTo>
                  <a:cubicBezTo>
                    <a:pt x="577" y="530"/>
                    <a:pt x="561" y="546"/>
                    <a:pt x="545" y="570"/>
                  </a:cubicBezTo>
                  <a:cubicBezTo>
                    <a:pt x="537" y="586"/>
                    <a:pt x="529" y="593"/>
                    <a:pt x="521" y="609"/>
                  </a:cubicBezTo>
                  <a:lnTo>
                    <a:pt x="521" y="609"/>
                  </a:lnTo>
                  <a:cubicBezTo>
                    <a:pt x="514" y="657"/>
                    <a:pt x="474" y="783"/>
                    <a:pt x="506" y="862"/>
                  </a:cubicBezTo>
                  <a:cubicBezTo>
                    <a:pt x="529" y="941"/>
                    <a:pt x="529" y="965"/>
                    <a:pt x="529" y="997"/>
                  </a:cubicBezTo>
                  <a:lnTo>
                    <a:pt x="529" y="997"/>
                  </a:lnTo>
                  <a:cubicBezTo>
                    <a:pt x="521" y="1012"/>
                    <a:pt x="521" y="1028"/>
                    <a:pt x="514" y="1036"/>
                  </a:cubicBezTo>
                  <a:cubicBezTo>
                    <a:pt x="506" y="1052"/>
                    <a:pt x="498" y="1068"/>
                    <a:pt x="506" y="1091"/>
                  </a:cubicBezTo>
                  <a:cubicBezTo>
                    <a:pt x="514" y="1099"/>
                    <a:pt x="514" y="1115"/>
                    <a:pt x="521" y="1123"/>
                  </a:cubicBezTo>
                  <a:cubicBezTo>
                    <a:pt x="529" y="1147"/>
                    <a:pt x="529" y="1163"/>
                    <a:pt x="537" y="1163"/>
                  </a:cubicBezTo>
                  <a:cubicBezTo>
                    <a:pt x="553" y="1163"/>
                    <a:pt x="553" y="1163"/>
                    <a:pt x="553" y="1163"/>
                  </a:cubicBezTo>
                  <a:cubicBezTo>
                    <a:pt x="537" y="1170"/>
                    <a:pt x="537" y="1170"/>
                    <a:pt x="537" y="1170"/>
                  </a:cubicBezTo>
                  <a:cubicBezTo>
                    <a:pt x="529" y="1170"/>
                    <a:pt x="316" y="1242"/>
                    <a:pt x="292" y="1242"/>
                  </a:cubicBezTo>
                  <a:close/>
                  <a:moveTo>
                    <a:pt x="181" y="846"/>
                  </a:moveTo>
                  <a:lnTo>
                    <a:pt x="181" y="846"/>
                  </a:lnTo>
                  <a:cubicBezTo>
                    <a:pt x="190" y="846"/>
                    <a:pt x="190" y="846"/>
                    <a:pt x="197" y="854"/>
                  </a:cubicBezTo>
                  <a:cubicBezTo>
                    <a:pt x="213" y="886"/>
                    <a:pt x="229" y="957"/>
                    <a:pt x="237" y="1012"/>
                  </a:cubicBezTo>
                  <a:cubicBezTo>
                    <a:pt x="245" y="1028"/>
                    <a:pt x="253" y="1060"/>
                    <a:pt x="261" y="1091"/>
                  </a:cubicBezTo>
                  <a:cubicBezTo>
                    <a:pt x="268" y="1147"/>
                    <a:pt x="284" y="1218"/>
                    <a:pt x="292" y="1234"/>
                  </a:cubicBezTo>
                  <a:cubicBezTo>
                    <a:pt x="308" y="1234"/>
                    <a:pt x="450" y="1186"/>
                    <a:pt x="529" y="1163"/>
                  </a:cubicBezTo>
                  <a:cubicBezTo>
                    <a:pt x="521" y="1155"/>
                    <a:pt x="521" y="1147"/>
                    <a:pt x="514" y="1123"/>
                  </a:cubicBezTo>
                  <a:cubicBezTo>
                    <a:pt x="514" y="1115"/>
                    <a:pt x="506" y="1107"/>
                    <a:pt x="506" y="1091"/>
                  </a:cubicBezTo>
                  <a:cubicBezTo>
                    <a:pt x="490" y="1068"/>
                    <a:pt x="498" y="1052"/>
                    <a:pt x="506" y="1036"/>
                  </a:cubicBezTo>
                  <a:cubicBezTo>
                    <a:pt x="514" y="1020"/>
                    <a:pt x="521" y="1012"/>
                    <a:pt x="521" y="997"/>
                  </a:cubicBezTo>
                  <a:lnTo>
                    <a:pt x="521" y="997"/>
                  </a:lnTo>
                  <a:cubicBezTo>
                    <a:pt x="521" y="965"/>
                    <a:pt x="529" y="941"/>
                    <a:pt x="498" y="862"/>
                  </a:cubicBezTo>
                  <a:cubicBezTo>
                    <a:pt x="466" y="783"/>
                    <a:pt x="506" y="657"/>
                    <a:pt x="514" y="609"/>
                  </a:cubicBezTo>
                  <a:cubicBezTo>
                    <a:pt x="521" y="601"/>
                    <a:pt x="521" y="601"/>
                    <a:pt x="521" y="601"/>
                  </a:cubicBezTo>
                  <a:cubicBezTo>
                    <a:pt x="521" y="593"/>
                    <a:pt x="529" y="577"/>
                    <a:pt x="537" y="570"/>
                  </a:cubicBezTo>
                  <a:cubicBezTo>
                    <a:pt x="553" y="546"/>
                    <a:pt x="569" y="522"/>
                    <a:pt x="561" y="506"/>
                  </a:cubicBezTo>
                  <a:cubicBezTo>
                    <a:pt x="561" y="491"/>
                    <a:pt x="545" y="483"/>
                    <a:pt x="521" y="467"/>
                  </a:cubicBezTo>
                  <a:cubicBezTo>
                    <a:pt x="498" y="459"/>
                    <a:pt x="490" y="451"/>
                    <a:pt x="490" y="435"/>
                  </a:cubicBezTo>
                  <a:cubicBezTo>
                    <a:pt x="482" y="396"/>
                    <a:pt x="561" y="325"/>
                    <a:pt x="601" y="293"/>
                  </a:cubicBezTo>
                  <a:cubicBezTo>
                    <a:pt x="616" y="285"/>
                    <a:pt x="624" y="277"/>
                    <a:pt x="624" y="269"/>
                  </a:cubicBezTo>
                  <a:cubicBezTo>
                    <a:pt x="640" y="253"/>
                    <a:pt x="624" y="238"/>
                    <a:pt x="601" y="214"/>
                  </a:cubicBezTo>
                  <a:cubicBezTo>
                    <a:pt x="593" y="206"/>
                    <a:pt x="585" y="198"/>
                    <a:pt x="585" y="198"/>
                  </a:cubicBezTo>
                  <a:cubicBezTo>
                    <a:pt x="561" y="174"/>
                    <a:pt x="577" y="127"/>
                    <a:pt x="593" y="95"/>
                  </a:cubicBezTo>
                  <a:cubicBezTo>
                    <a:pt x="593" y="87"/>
                    <a:pt x="601" y="72"/>
                    <a:pt x="601" y="72"/>
                  </a:cubicBezTo>
                  <a:cubicBezTo>
                    <a:pt x="601" y="56"/>
                    <a:pt x="601" y="40"/>
                    <a:pt x="593" y="32"/>
                  </a:cubicBezTo>
                  <a:cubicBezTo>
                    <a:pt x="577" y="48"/>
                    <a:pt x="474" y="87"/>
                    <a:pt x="8" y="198"/>
                  </a:cubicBezTo>
                  <a:cubicBezTo>
                    <a:pt x="8" y="246"/>
                    <a:pt x="8" y="277"/>
                    <a:pt x="15" y="293"/>
                  </a:cubicBezTo>
                  <a:cubicBezTo>
                    <a:pt x="23" y="301"/>
                    <a:pt x="23" y="317"/>
                    <a:pt x="23" y="340"/>
                  </a:cubicBezTo>
                  <a:cubicBezTo>
                    <a:pt x="23" y="356"/>
                    <a:pt x="23" y="372"/>
                    <a:pt x="31" y="380"/>
                  </a:cubicBezTo>
                  <a:cubicBezTo>
                    <a:pt x="31" y="404"/>
                    <a:pt x="47" y="411"/>
                    <a:pt x="55" y="420"/>
                  </a:cubicBezTo>
                  <a:cubicBezTo>
                    <a:pt x="55" y="427"/>
                    <a:pt x="63" y="435"/>
                    <a:pt x="71" y="443"/>
                  </a:cubicBezTo>
                  <a:cubicBezTo>
                    <a:pt x="87" y="459"/>
                    <a:pt x="102" y="522"/>
                    <a:pt x="102" y="546"/>
                  </a:cubicBezTo>
                  <a:cubicBezTo>
                    <a:pt x="102" y="562"/>
                    <a:pt x="102" y="570"/>
                    <a:pt x="95" y="586"/>
                  </a:cubicBezTo>
                  <a:cubicBezTo>
                    <a:pt x="95" y="601"/>
                    <a:pt x="87" y="617"/>
                    <a:pt x="95" y="641"/>
                  </a:cubicBezTo>
                  <a:cubicBezTo>
                    <a:pt x="110" y="673"/>
                    <a:pt x="126" y="736"/>
                    <a:pt x="126" y="767"/>
                  </a:cubicBezTo>
                  <a:cubicBezTo>
                    <a:pt x="126" y="807"/>
                    <a:pt x="134" y="854"/>
                    <a:pt x="150" y="854"/>
                  </a:cubicBezTo>
                  <a:lnTo>
                    <a:pt x="158" y="854"/>
                  </a:lnTo>
                  <a:cubicBezTo>
                    <a:pt x="166" y="854"/>
                    <a:pt x="166" y="854"/>
                    <a:pt x="174" y="846"/>
                  </a:cubicBezTo>
                  <a:cubicBezTo>
                    <a:pt x="174" y="846"/>
                    <a:pt x="174" y="846"/>
                    <a:pt x="181" y="846"/>
                  </a:cubicBezTo>
                  <a:close/>
                </a:path>
              </a:pathLst>
            </a:custGeom>
            <a:solidFill>
              <a:schemeClr val="accent6"/>
            </a:solidFill>
            <a:ln>
              <a:solidFill>
                <a:schemeClr val="bg2"/>
              </a:solidFill>
            </a:ln>
            <a:effectLst/>
          </p:spPr>
          <p:txBody>
            <a:bodyPr wrap="none" anchor="ctr"/>
            <a:lstStyle/>
            <a:p>
              <a:endParaRPr lang="en-US"/>
            </a:p>
          </p:txBody>
        </p:sp>
        <p:sp>
          <p:nvSpPr>
            <p:cNvPr id="93" name="Freeform 761"/>
            <p:cNvSpPr>
              <a:spLocks noChangeArrowheads="1"/>
            </p:cNvSpPr>
            <p:nvPr/>
          </p:nvSpPr>
          <p:spPr bwMode="auto">
            <a:xfrm>
              <a:off x="7035328" y="2592384"/>
              <a:ext cx="462761" cy="214830"/>
            </a:xfrm>
            <a:custGeom>
              <a:avLst/>
              <a:gdLst>
                <a:gd name="T0" fmla="*/ 1241 w 1282"/>
                <a:gd name="T1" fmla="*/ 404 h 689"/>
                <a:gd name="T2" fmla="*/ 1241 w 1282"/>
                <a:gd name="T3" fmla="*/ 404 h 689"/>
                <a:gd name="T4" fmla="*/ 1186 w 1282"/>
                <a:gd name="T5" fmla="*/ 324 h 689"/>
                <a:gd name="T6" fmla="*/ 1107 w 1282"/>
                <a:gd name="T7" fmla="*/ 309 h 689"/>
                <a:gd name="T8" fmla="*/ 1139 w 1282"/>
                <a:gd name="T9" fmla="*/ 340 h 689"/>
                <a:gd name="T10" fmla="*/ 1170 w 1282"/>
                <a:gd name="T11" fmla="*/ 364 h 689"/>
                <a:gd name="T12" fmla="*/ 1194 w 1282"/>
                <a:gd name="T13" fmla="*/ 388 h 689"/>
                <a:gd name="T14" fmla="*/ 1218 w 1282"/>
                <a:gd name="T15" fmla="*/ 427 h 689"/>
                <a:gd name="T16" fmla="*/ 1170 w 1282"/>
                <a:gd name="T17" fmla="*/ 451 h 689"/>
                <a:gd name="T18" fmla="*/ 1131 w 1282"/>
                <a:gd name="T19" fmla="*/ 482 h 689"/>
                <a:gd name="T20" fmla="*/ 1076 w 1282"/>
                <a:gd name="T21" fmla="*/ 475 h 689"/>
                <a:gd name="T22" fmla="*/ 1044 w 1282"/>
                <a:gd name="T23" fmla="*/ 467 h 689"/>
                <a:gd name="T24" fmla="*/ 1004 w 1282"/>
                <a:gd name="T25" fmla="*/ 419 h 689"/>
                <a:gd name="T26" fmla="*/ 965 w 1282"/>
                <a:gd name="T27" fmla="*/ 404 h 689"/>
                <a:gd name="T28" fmla="*/ 981 w 1282"/>
                <a:gd name="T29" fmla="*/ 356 h 689"/>
                <a:gd name="T30" fmla="*/ 854 w 1282"/>
                <a:gd name="T31" fmla="*/ 293 h 689"/>
                <a:gd name="T32" fmla="*/ 830 w 1282"/>
                <a:gd name="T33" fmla="*/ 253 h 689"/>
                <a:gd name="T34" fmla="*/ 862 w 1282"/>
                <a:gd name="T35" fmla="*/ 158 h 689"/>
                <a:gd name="T36" fmla="*/ 909 w 1282"/>
                <a:gd name="T37" fmla="*/ 119 h 689"/>
                <a:gd name="T38" fmla="*/ 886 w 1282"/>
                <a:gd name="T39" fmla="*/ 87 h 689"/>
                <a:gd name="T40" fmla="*/ 823 w 1282"/>
                <a:gd name="T41" fmla="*/ 79 h 689"/>
                <a:gd name="T42" fmla="*/ 783 w 1282"/>
                <a:gd name="T43" fmla="*/ 16 h 689"/>
                <a:gd name="T44" fmla="*/ 775 w 1282"/>
                <a:gd name="T45" fmla="*/ 8 h 689"/>
                <a:gd name="T46" fmla="*/ 775 w 1282"/>
                <a:gd name="T47" fmla="*/ 0 h 689"/>
                <a:gd name="T48" fmla="*/ 664 w 1282"/>
                <a:gd name="T49" fmla="*/ 127 h 689"/>
                <a:gd name="T50" fmla="*/ 593 w 1282"/>
                <a:gd name="T51" fmla="*/ 166 h 689"/>
                <a:gd name="T52" fmla="*/ 253 w 1282"/>
                <a:gd name="T53" fmla="*/ 230 h 689"/>
                <a:gd name="T54" fmla="*/ 0 w 1282"/>
                <a:gd name="T55" fmla="*/ 301 h 689"/>
                <a:gd name="T56" fmla="*/ 0 w 1282"/>
                <a:gd name="T57" fmla="*/ 625 h 689"/>
                <a:gd name="T58" fmla="*/ 16 w 1282"/>
                <a:gd name="T59" fmla="*/ 633 h 689"/>
                <a:gd name="T60" fmla="*/ 506 w 1282"/>
                <a:gd name="T61" fmla="*/ 506 h 689"/>
                <a:gd name="T62" fmla="*/ 585 w 1282"/>
                <a:gd name="T63" fmla="*/ 506 h 689"/>
                <a:gd name="T64" fmla="*/ 704 w 1282"/>
                <a:gd name="T65" fmla="*/ 475 h 689"/>
                <a:gd name="T66" fmla="*/ 759 w 1282"/>
                <a:gd name="T67" fmla="*/ 546 h 689"/>
                <a:gd name="T68" fmla="*/ 775 w 1282"/>
                <a:gd name="T69" fmla="*/ 554 h 689"/>
                <a:gd name="T70" fmla="*/ 838 w 1282"/>
                <a:gd name="T71" fmla="*/ 609 h 689"/>
                <a:gd name="T72" fmla="*/ 846 w 1282"/>
                <a:gd name="T73" fmla="*/ 672 h 689"/>
                <a:gd name="T74" fmla="*/ 925 w 1282"/>
                <a:gd name="T75" fmla="*/ 641 h 689"/>
                <a:gd name="T76" fmla="*/ 981 w 1282"/>
                <a:gd name="T77" fmla="*/ 546 h 689"/>
                <a:gd name="T78" fmla="*/ 1028 w 1282"/>
                <a:gd name="T79" fmla="*/ 585 h 689"/>
                <a:gd name="T80" fmla="*/ 1083 w 1282"/>
                <a:gd name="T81" fmla="*/ 593 h 689"/>
                <a:gd name="T82" fmla="*/ 1131 w 1282"/>
                <a:gd name="T83" fmla="*/ 530 h 689"/>
                <a:gd name="T84" fmla="*/ 1154 w 1282"/>
                <a:gd name="T85" fmla="*/ 530 h 689"/>
                <a:gd name="T86" fmla="*/ 1194 w 1282"/>
                <a:gd name="T87" fmla="*/ 498 h 689"/>
                <a:gd name="T88" fmla="*/ 1234 w 1282"/>
                <a:gd name="T89" fmla="*/ 498 h 689"/>
                <a:gd name="T90" fmla="*/ 1257 w 1282"/>
                <a:gd name="T91" fmla="*/ 475 h 689"/>
                <a:gd name="T92" fmla="*/ 1265 w 1282"/>
                <a:gd name="T93" fmla="*/ 554 h 689"/>
                <a:gd name="T94" fmla="*/ 1273 w 1282"/>
                <a:gd name="T95" fmla="*/ 530 h 689"/>
                <a:gd name="T96" fmla="*/ 1241 w 1282"/>
                <a:gd name="T97" fmla="*/ 40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2" h="689">
                  <a:moveTo>
                    <a:pt x="1241" y="404"/>
                  </a:moveTo>
                  <a:lnTo>
                    <a:pt x="1241" y="404"/>
                  </a:lnTo>
                  <a:cubicBezTo>
                    <a:pt x="1210" y="348"/>
                    <a:pt x="1218" y="332"/>
                    <a:pt x="1186" y="324"/>
                  </a:cubicBezTo>
                  <a:cubicBezTo>
                    <a:pt x="1154" y="317"/>
                    <a:pt x="1107" y="285"/>
                    <a:pt x="1107" y="309"/>
                  </a:cubicBezTo>
                  <a:cubicBezTo>
                    <a:pt x="1107" y="332"/>
                    <a:pt x="1115" y="332"/>
                    <a:pt x="1139" y="340"/>
                  </a:cubicBezTo>
                  <a:cubicBezTo>
                    <a:pt x="1154" y="340"/>
                    <a:pt x="1170" y="340"/>
                    <a:pt x="1170" y="364"/>
                  </a:cubicBezTo>
                  <a:cubicBezTo>
                    <a:pt x="1162" y="388"/>
                    <a:pt x="1178" y="388"/>
                    <a:pt x="1194" y="388"/>
                  </a:cubicBezTo>
                  <a:cubicBezTo>
                    <a:pt x="1210" y="388"/>
                    <a:pt x="1234" y="404"/>
                    <a:pt x="1218" y="427"/>
                  </a:cubicBezTo>
                  <a:cubicBezTo>
                    <a:pt x="1210" y="443"/>
                    <a:pt x="1178" y="435"/>
                    <a:pt x="1170" y="451"/>
                  </a:cubicBezTo>
                  <a:cubicBezTo>
                    <a:pt x="1162" y="475"/>
                    <a:pt x="1154" y="490"/>
                    <a:pt x="1131" y="482"/>
                  </a:cubicBezTo>
                  <a:cubicBezTo>
                    <a:pt x="1115" y="482"/>
                    <a:pt x="1083" y="467"/>
                    <a:pt x="1076" y="475"/>
                  </a:cubicBezTo>
                  <a:cubicBezTo>
                    <a:pt x="1060" y="490"/>
                    <a:pt x="1067" y="498"/>
                    <a:pt x="1044" y="467"/>
                  </a:cubicBezTo>
                  <a:cubicBezTo>
                    <a:pt x="1020" y="427"/>
                    <a:pt x="1028" y="419"/>
                    <a:pt x="1004" y="419"/>
                  </a:cubicBezTo>
                  <a:cubicBezTo>
                    <a:pt x="973" y="411"/>
                    <a:pt x="941" y="419"/>
                    <a:pt x="965" y="404"/>
                  </a:cubicBezTo>
                  <a:cubicBezTo>
                    <a:pt x="981" y="380"/>
                    <a:pt x="996" y="380"/>
                    <a:pt x="981" y="356"/>
                  </a:cubicBezTo>
                  <a:cubicBezTo>
                    <a:pt x="957" y="340"/>
                    <a:pt x="894" y="301"/>
                    <a:pt x="854" y="293"/>
                  </a:cubicBezTo>
                  <a:cubicBezTo>
                    <a:pt x="814" y="285"/>
                    <a:pt x="814" y="285"/>
                    <a:pt x="830" y="253"/>
                  </a:cubicBezTo>
                  <a:cubicBezTo>
                    <a:pt x="846" y="222"/>
                    <a:pt x="830" y="166"/>
                    <a:pt x="862" y="158"/>
                  </a:cubicBezTo>
                  <a:cubicBezTo>
                    <a:pt x="894" y="143"/>
                    <a:pt x="909" y="135"/>
                    <a:pt x="909" y="119"/>
                  </a:cubicBezTo>
                  <a:cubicBezTo>
                    <a:pt x="917" y="103"/>
                    <a:pt x="909" y="87"/>
                    <a:pt x="886" y="87"/>
                  </a:cubicBezTo>
                  <a:cubicBezTo>
                    <a:pt x="870" y="95"/>
                    <a:pt x="838" y="119"/>
                    <a:pt x="823" y="79"/>
                  </a:cubicBezTo>
                  <a:cubicBezTo>
                    <a:pt x="814" y="40"/>
                    <a:pt x="799" y="24"/>
                    <a:pt x="783" y="16"/>
                  </a:cubicBezTo>
                  <a:cubicBezTo>
                    <a:pt x="783" y="8"/>
                    <a:pt x="783" y="8"/>
                    <a:pt x="775" y="8"/>
                  </a:cubicBezTo>
                  <a:cubicBezTo>
                    <a:pt x="775" y="8"/>
                    <a:pt x="767" y="8"/>
                    <a:pt x="775" y="0"/>
                  </a:cubicBezTo>
                  <a:cubicBezTo>
                    <a:pt x="775" y="0"/>
                    <a:pt x="680" y="103"/>
                    <a:pt x="664" y="127"/>
                  </a:cubicBezTo>
                  <a:cubicBezTo>
                    <a:pt x="649" y="158"/>
                    <a:pt x="649" y="158"/>
                    <a:pt x="593" y="166"/>
                  </a:cubicBezTo>
                  <a:cubicBezTo>
                    <a:pt x="546" y="166"/>
                    <a:pt x="269" y="237"/>
                    <a:pt x="253" y="230"/>
                  </a:cubicBezTo>
                  <a:cubicBezTo>
                    <a:pt x="253" y="230"/>
                    <a:pt x="8" y="309"/>
                    <a:pt x="0" y="301"/>
                  </a:cubicBezTo>
                  <a:cubicBezTo>
                    <a:pt x="0" y="625"/>
                    <a:pt x="0" y="625"/>
                    <a:pt x="0" y="625"/>
                  </a:cubicBezTo>
                  <a:cubicBezTo>
                    <a:pt x="0" y="625"/>
                    <a:pt x="0" y="641"/>
                    <a:pt x="16" y="633"/>
                  </a:cubicBezTo>
                  <a:cubicBezTo>
                    <a:pt x="32" y="625"/>
                    <a:pt x="475" y="522"/>
                    <a:pt x="506" y="506"/>
                  </a:cubicBezTo>
                  <a:cubicBezTo>
                    <a:pt x="538" y="490"/>
                    <a:pt x="577" y="506"/>
                    <a:pt x="585" y="506"/>
                  </a:cubicBezTo>
                  <a:cubicBezTo>
                    <a:pt x="593" y="514"/>
                    <a:pt x="672" y="467"/>
                    <a:pt x="704" y="475"/>
                  </a:cubicBezTo>
                  <a:cubicBezTo>
                    <a:pt x="720" y="482"/>
                    <a:pt x="743" y="522"/>
                    <a:pt x="759" y="546"/>
                  </a:cubicBezTo>
                  <a:cubicBezTo>
                    <a:pt x="759" y="546"/>
                    <a:pt x="767" y="546"/>
                    <a:pt x="775" y="554"/>
                  </a:cubicBezTo>
                  <a:cubicBezTo>
                    <a:pt x="807" y="593"/>
                    <a:pt x="830" y="562"/>
                    <a:pt x="838" y="609"/>
                  </a:cubicBezTo>
                  <a:cubicBezTo>
                    <a:pt x="846" y="657"/>
                    <a:pt x="814" y="664"/>
                    <a:pt x="846" y="672"/>
                  </a:cubicBezTo>
                  <a:cubicBezTo>
                    <a:pt x="886" y="688"/>
                    <a:pt x="886" y="680"/>
                    <a:pt x="925" y="641"/>
                  </a:cubicBezTo>
                  <a:cubicBezTo>
                    <a:pt x="965" y="593"/>
                    <a:pt x="933" y="554"/>
                    <a:pt x="981" y="546"/>
                  </a:cubicBezTo>
                  <a:cubicBezTo>
                    <a:pt x="1028" y="538"/>
                    <a:pt x="1028" y="562"/>
                    <a:pt x="1028" y="585"/>
                  </a:cubicBezTo>
                  <a:cubicBezTo>
                    <a:pt x="1028" y="609"/>
                    <a:pt x="1067" y="617"/>
                    <a:pt x="1083" y="593"/>
                  </a:cubicBezTo>
                  <a:cubicBezTo>
                    <a:pt x="1091" y="562"/>
                    <a:pt x="1123" y="530"/>
                    <a:pt x="1131" y="530"/>
                  </a:cubicBezTo>
                  <a:cubicBezTo>
                    <a:pt x="1131" y="530"/>
                    <a:pt x="1139" y="562"/>
                    <a:pt x="1154" y="530"/>
                  </a:cubicBezTo>
                  <a:cubicBezTo>
                    <a:pt x="1178" y="498"/>
                    <a:pt x="1162" y="490"/>
                    <a:pt x="1194" y="498"/>
                  </a:cubicBezTo>
                  <a:cubicBezTo>
                    <a:pt x="1226" y="514"/>
                    <a:pt x="1234" y="522"/>
                    <a:pt x="1234" y="498"/>
                  </a:cubicBezTo>
                  <a:cubicBezTo>
                    <a:pt x="1234" y="482"/>
                    <a:pt x="1257" y="451"/>
                    <a:pt x="1257" y="475"/>
                  </a:cubicBezTo>
                  <a:cubicBezTo>
                    <a:pt x="1265" y="506"/>
                    <a:pt x="1249" y="530"/>
                    <a:pt x="1265" y="554"/>
                  </a:cubicBezTo>
                  <a:cubicBezTo>
                    <a:pt x="1273" y="570"/>
                    <a:pt x="1265" y="562"/>
                    <a:pt x="1273" y="530"/>
                  </a:cubicBezTo>
                  <a:cubicBezTo>
                    <a:pt x="1281" y="506"/>
                    <a:pt x="1273" y="451"/>
                    <a:pt x="1241" y="404"/>
                  </a:cubicBezTo>
                </a:path>
              </a:pathLst>
            </a:custGeom>
            <a:solidFill>
              <a:schemeClr val="accent6"/>
            </a:solidFill>
            <a:ln>
              <a:solidFill>
                <a:schemeClr val="bg2"/>
              </a:solidFill>
            </a:ln>
            <a:effectLst/>
          </p:spPr>
          <p:txBody>
            <a:bodyPr wrap="none" anchor="ctr"/>
            <a:lstStyle/>
            <a:p>
              <a:endParaRPr lang="en-US"/>
            </a:p>
          </p:txBody>
        </p:sp>
        <p:sp>
          <p:nvSpPr>
            <p:cNvPr id="94" name="Freeform 762"/>
            <p:cNvSpPr>
              <a:spLocks noChangeArrowheads="1"/>
            </p:cNvSpPr>
            <p:nvPr/>
          </p:nvSpPr>
          <p:spPr bwMode="auto">
            <a:xfrm>
              <a:off x="7032148" y="2592384"/>
              <a:ext cx="465941" cy="214830"/>
            </a:xfrm>
            <a:custGeom>
              <a:avLst/>
              <a:gdLst>
                <a:gd name="T0" fmla="*/ 838 w 1290"/>
                <a:gd name="T1" fmla="*/ 664 h 689"/>
                <a:gd name="T2" fmla="*/ 783 w 1290"/>
                <a:gd name="T3" fmla="*/ 562 h 689"/>
                <a:gd name="T4" fmla="*/ 712 w 1290"/>
                <a:gd name="T5" fmla="*/ 482 h 689"/>
                <a:gd name="T6" fmla="*/ 514 w 1290"/>
                <a:gd name="T7" fmla="*/ 514 h 689"/>
                <a:gd name="T8" fmla="*/ 0 w 1290"/>
                <a:gd name="T9" fmla="*/ 625 h 689"/>
                <a:gd name="T10" fmla="*/ 261 w 1290"/>
                <a:gd name="T11" fmla="*/ 230 h 689"/>
                <a:gd name="T12" fmla="*/ 609 w 1290"/>
                <a:gd name="T13" fmla="*/ 158 h 689"/>
                <a:gd name="T14" fmla="*/ 783 w 1290"/>
                <a:gd name="T15" fmla="*/ 0 h 689"/>
                <a:gd name="T16" fmla="*/ 799 w 1290"/>
                <a:gd name="T17" fmla="*/ 8 h 689"/>
                <a:gd name="T18" fmla="*/ 878 w 1290"/>
                <a:gd name="T19" fmla="*/ 95 h 689"/>
                <a:gd name="T20" fmla="*/ 870 w 1290"/>
                <a:gd name="T21" fmla="*/ 158 h 689"/>
                <a:gd name="T22" fmla="*/ 854 w 1290"/>
                <a:gd name="T23" fmla="*/ 293 h 689"/>
                <a:gd name="T24" fmla="*/ 989 w 1290"/>
                <a:gd name="T25" fmla="*/ 388 h 689"/>
                <a:gd name="T26" fmla="*/ 1012 w 1290"/>
                <a:gd name="T27" fmla="*/ 411 h 689"/>
                <a:gd name="T28" fmla="*/ 1075 w 1290"/>
                <a:gd name="T29" fmla="*/ 482 h 689"/>
                <a:gd name="T30" fmla="*/ 1147 w 1290"/>
                <a:gd name="T31" fmla="*/ 482 h 689"/>
                <a:gd name="T32" fmla="*/ 1226 w 1290"/>
                <a:gd name="T33" fmla="*/ 404 h 689"/>
                <a:gd name="T34" fmla="*/ 1170 w 1290"/>
                <a:gd name="T35" fmla="*/ 348 h 689"/>
                <a:gd name="T36" fmla="*/ 1123 w 1290"/>
                <a:gd name="T37" fmla="*/ 301 h 689"/>
                <a:gd name="T38" fmla="*/ 1257 w 1290"/>
                <a:gd name="T39" fmla="*/ 395 h 689"/>
                <a:gd name="T40" fmla="*/ 1265 w 1290"/>
                <a:gd name="T41" fmla="*/ 554 h 689"/>
                <a:gd name="T42" fmla="*/ 1242 w 1290"/>
                <a:gd name="T43" fmla="*/ 498 h 689"/>
                <a:gd name="T44" fmla="*/ 1186 w 1290"/>
                <a:gd name="T45" fmla="*/ 498 h 689"/>
                <a:gd name="T46" fmla="*/ 1139 w 1290"/>
                <a:gd name="T47" fmla="*/ 538 h 689"/>
                <a:gd name="T48" fmla="*/ 1028 w 1290"/>
                <a:gd name="T49" fmla="*/ 585 h 689"/>
                <a:gd name="T50" fmla="*/ 965 w 1290"/>
                <a:gd name="T51" fmla="*/ 585 h 689"/>
                <a:gd name="T52" fmla="*/ 767 w 1290"/>
                <a:gd name="T53" fmla="*/ 538 h 689"/>
                <a:gd name="T54" fmla="*/ 846 w 1290"/>
                <a:gd name="T55" fmla="*/ 609 h 689"/>
                <a:gd name="T56" fmla="*/ 886 w 1290"/>
                <a:gd name="T57" fmla="*/ 680 h 689"/>
                <a:gd name="T58" fmla="*/ 989 w 1290"/>
                <a:gd name="T59" fmla="*/ 546 h 689"/>
                <a:gd name="T60" fmla="*/ 1068 w 1290"/>
                <a:gd name="T61" fmla="*/ 601 h 689"/>
                <a:gd name="T62" fmla="*/ 1147 w 1290"/>
                <a:gd name="T63" fmla="*/ 546 h 689"/>
                <a:gd name="T64" fmla="*/ 1202 w 1290"/>
                <a:gd name="T65" fmla="*/ 498 h 689"/>
                <a:gd name="T66" fmla="*/ 1265 w 1290"/>
                <a:gd name="T67" fmla="*/ 467 h 689"/>
                <a:gd name="T68" fmla="*/ 1273 w 1290"/>
                <a:gd name="T69" fmla="*/ 554 h 689"/>
                <a:gd name="T70" fmla="*/ 1226 w 1290"/>
                <a:gd name="T71" fmla="*/ 364 h 689"/>
                <a:gd name="T72" fmla="*/ 1115 w 1290"/>
                <a:gd name="T73" fmla="*/ 309 h 689"/>
                <a:gd name="T74" fmla="*/ 1178 w 1290"/>
                <a:gd name="T75" fmla="*/ 364 h 689"/>
                <a:gd name="T76" fmla="*/ 1234 w 1290"/>
                <a:gd name="T77" fmla="*/ 427 h 689"/>
                <a:gd name="T78" fmla="*/ 1139 w 1290"/>
                <a:gd name="T79" fmla="*/ 490 h 689"/>
                <a:gd name="T80" fmla="*/ 1075 w 1290"/>
                <a:gd name="T81" fmla="*/ 490 h 689"/>
                <a:gd name="T82" fmla="*/ 1012 w 1290"/>
                <a:gd name="T83" fmla="*/ 419 h 689"/>
                <a:gd name="T84" fmla="*/ 981 w 1290"/>
                <a:gd name="T85" fmla="*/ 380 h 689"/>
                <a:gd name="T86" fmla="*/ 854 w 1290"/>
                <a:gd name="T87" fmla="*/ 293 h 689"/>
                <a:gd name="T88" fmla="*/ 870 w 1290"/>
                <a:gd name="T89" fmla="*/ 151 h 689"/>
                <a:gd name="T90" fmla="*/ 886 w 1290"/>
                <a:gd name="T91" fmla="*/ 103 h 689"/>
                <a:gd name="T92" fmla="*/ 783 w 1290"/>
                <a:gd name="T93" fmla="*/ 8 h 689"/>
                <a:gd name="T94" fmla="*/ 617 w 1290"/>
                <a:gd name="T95" fmla="*/ 166 h 689"/>
                <a:gd name="T96" fmla="*/ 16 w 1290"/>
                <a:gd name="T97" fmla="*/ 309 h 689"/>
                <a:gd name="T98" fmla="*/ 135 w 1290"/>
                <a:gd name="T99" fmla="*/ 601 h 689"/>
                <a:gd name="T100" fmla="*/ 704 w 1290"/>
                <a:gd name="T101" fmla="*/ 475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90" h="689">
                  <a:moveTo>
                    <a:pt x="886" y="688"/>
                  </a:moveTo>
                  <a:lnTo>
                    <a:pt x="886" y="688"/>
                  </a:lnTo>
                  <a:cubicBezTo>
                    <a:pt x="878" y="688"/>
                    <a:pt x="870" y="680"/>
                    <a:pt x="854" y="680"/>
                  </a:cubicBezTo>
                  <a:cubicBezTo>
                    <a:pt x="846" y="672"/>
                    <a:pt x="838" y="672"/>
                    <a:pt x="838" y="664"/>
                  </a:cubicBezTo>
                  <a:cubicBezTo>
                    <a:pt x="831" y="664"/>
                    <a:pt x="838" y="657"/>
                    <a:pt x="838" y="648"/>
                  </a:cubicBezTo>
                  <a:cubicBezTo>
                    <a:pt x="838" y="641"/>
                    <a:pt x="846" y="633"/>
                    <a:pt x="846" y="609"/>
                  </a:cubicBezTo>
                  <a:cubicBezTo>
                    <a:pt x="838" y="585"/>
                    <a:pt x="831" y="585"/>
                    <a:pt x="822" y="585"/>
                  </a:cubicBezTo>
                  <a:cubicBezTo>
                    <a:pt x="807" y="577"/>
                    <a:pt x="799" y="577"/>
                    <a:pt x="783" y="562"/>
                  </a:cubicBezTo>
                  <a:cubicBezTo>
                    <a:pt x="767" y="546"/>
                    <a:pt x="767" y="546"/>
                    <a:pt x="767" y="546"/>
                  </a:cubicBezTo>
                  <a:cubicBezTo>
                    <a:pt x="759" y="546"/>
                    <a:pt x="759" y="546"/>
                    <a:pt x="759" y="546"/>
                  </a:cubicBezTo>
                  <a:lnTo>
                    <a:pt x="759" y="546"/>
                  </a:lnTo>
                  <a:cubicBezTo>
                    <a:pt x="744" y="506"/>
                    <a:pt x="720" y="482"/>
                    <a:pt x="712" y="482"/>
                  </a:cubicBezTo>
                  <a:cubicBezTo>
                    <a:pt x="704" y="482"/>
                    <a:pt x="704" y="482"/>
                    <a:pt x="704" y="482"/>
                  </a:cubicBezTo>
                  <a:cubicBezTo>
                    <a:pt x="680" y="482"/>
                    <a:pt x="649" y="490"/>
                    <a:pt x="625" y="498"/>
                  </a:cubicBezTo>
                  <a:cubicBezTo>
                    <a:pt x="609" y="514"/>
                    <a:pt x="593" y="514"/>
                    <a:pt x="593" y="514"/>
                  </a:cubicBezTo>
                  <a:cubicBezTo>
                    <a:pt x="562" y="498"/>
                    <a:pt x="530" y="498"/>
                    <a:pt x="514" y="514"/>
                  </a:cubicBezTo>
                  <a:cubicBezTo>
                    <a:pt x="491" y="522"/>
                    <a:pt x="277" y="577"/>
                    <a:pt x="135" y="609"/>
                  </a:cubicBezTo>
                  <a:cubicBezTo>
                    <a:pt x="79" y="625"/>
                    <a:pt x="24" y="633"/>
                    <a:pt x="24" y="641"/>
                  </a:cubicBezTo>
                  <a:lnTo>
                    <a:pt x="16" y="641"/>
                  </a:lnTo>
                  <a:cubicBezTo>
                    <a:pt x="8" y="641"/>
                    <a:pt x="0" y="633"/>
                    <a:pt x="0" y="625"/>
                  </a:cubicBezTo>
                  <a:cubicBezTo>
                    <a:pt x="8" y="293"/>
                    <a:pt x="8" y="293"/>
                    <a:pt x="8" y="293"/>
                  </a:cubicBezTo>
                  <a:cubicBezTo>
                    <a:pt x="16" y="301"/>
                    <a:pt x="16" y="301"/>
                    <a:pt x="16" y="301"/>
                  </a:cubicBezTo>
                  <a:cubicBezTo>
                    <a:pt x="32" y="293"/>
                    <a:pt x="182" y="253"/>
                    <a:pt x="261" y="230"/>
                  </a:cubicBezTo>
                  <a:lnTo>
                    <a:pt x="261" y="230"/>
                  </a:lnTo>
                  <a:lnTo>
                    <a:pt x="261" y="230"/>
                  </a:lnTo>
                  <a:cubicBezTo>
                    <a:pt x="269" y="230"/>
                    <a:pt x="340" y="214"/>
                    <a:pt x="411" y="198"/>
                  </a:cubicBezTo>
                  <a:cubicBezTo>
                    <a:pt x="483" y="182"/>
                    <a:pt x="578" y="166"/>
                    <a:pt x="601" y="158"/>
                  </a:cubicBezTo>
                  <a:cubicBezTo>
                    <a:pt x="609" y="158"/>
                    <a:pt x="609" y="158"/>
                    <a:pt x="609" y="158"/>
                  </a:cubicBezTo>
                  <a:cubicBezTo>
                    <a:pt x="657" y="151"/>
                    <a:pt x="657" y="151"/>
                    <a:pt x="672" y="127"/>
                  </a:cubicBezTo>
                  <a:cubicBezTo>
                    <a:pt x="688" y="95"/>
                    <a:pt x="775" y="0"/>
                    <a:pt x="775" y="0"/>
                  </a:cubicBezTo>
                  <a:cubicBezTo>
                    <a:pt x="783" y="0"/>
                    <a:pt x="783" y="0"/>
                    <a:pt x="783" y="0"/>
                  </a:cubicBezTo>
                  <a:lnTo>
                    <a:pt x="783" y="0"/>
                  </a:lnTo>
                  <a:lnTo>
                    <a:pt x="783" y="0"/>
                  </a:lnTo>
                  <a:cubicBezTo>
                    <a:pt x="791" y="8"/>
                    <a:pt x="791" y="8"/>
                    <a:pt x="791" y="8"/>
                  </a:cubicBezTo>
                  <a:lnTo>
                    <a:pt x="791" y="8"/>
                  </a:lnTo>
                  <a:cubicBezTo>
                    <a:pt x="799" y="8"/>
                    <a:pt x="799" y="8"/>
                    <a:pt x="799" y="8"/>
                  </a:cubicBezTo>
                  <a:lnTo>
                    <a:pt x="799" y="8"/>
                  </a:lnTo>
                  <a:cubicBezTo>
                    <a:pt x="815" y="24"/>
                    <a:pt x="822" y="48"/>
                    <a:pt x="838" y="79"/>
                  </a:cubicBezTo>
                  <a:cubicBezTo>
                    <a:pt x="838" y="95"/>
                    <a:pt x="846" y="103"/>
                    <a:pt x="854" y="103"/>
                  </a:cubicBezTo>
                  <a:cubicBezTo>
                    <a:pt x="862" y="103"/>
                    <a:pt x="870" y="95"/>
                    <a:pt x="878" y="95"/>
                  </a:cubicBezTo>
                  <a:cubicBezTo>
                    <a:pt x="886" y="87"/>
                    <a:pt x="886" y="87"/>
                    <a:pt x="894" y="87"/>
                  </a:cubicBezTo>
                  <a:cubicBezTo>
                    <a:pt x="902" y="87"/>
                    <a:pt x="909" y="87"/>
                    <a:pt x="917" y="95"/>
                  </a:cubicBezTo>
                  <a:cubicBezTo>
                    <a:pt x="925" y="103"/>
                    <a:pt x="925" y="111"/>
                    <a:pt x="925" y="119"/>
                  </a:cubicBezTo>
                  <a:cubicBezTo>
                    <a:pt x="925" y="135"/>
                    <a:pt x="902" y="151"/>
                    <a:pt x="870" y="158"/>
                  </a:cubicBezTo>
                  <a:cubicBezTo>
                    <a:pt x="854" y="166"/>
                    <a:pt x="854" y="182"/>
                    <a:pt x="854" y="206"/>
                  </a:cubicBezTo>
                  <a:cubicBezTo>
                    <a:pt x="846" y="222"/>
                    <a:pt x="846" y="237"/>
                    <a:pt x="838" y="253"/>
                  </a:cubicBezTo>
                  <a:cubicBezTo>
                    <a:pt x="838" y="269"/>
                    <a:pt x="831" y="277"/>
                    <a:pt x="831" y="285"/>
                  </a:cubicBezTo>
                  <a:cubicBezTo>
                    <a:pt x="831" y="285"/>
                    <a:pt x="838" y="285"/>
                    <a:pt x="854" y="293"/>
                  </a:cubicBezTo>
                  <a:cubicBezTo>
                    <a:pt x="862" y="293"/>
                    <a:pt x="862" y="293"/>
                    <a:pt x="862" y="293"/>
                  </a:cubicBezTo>
                  <a:cubicBezTo>
                    <a:pt x="902" y="301"/>
                    <a:pt x="965" y="340"/>
                    <a:pt x="989" y="356"/>
                  </a:cubicBezTo>
                  <a:cubicBezTo>
                    <a:pt x="997" y="364"/>
                    <a:pt x="997" y="372"/>
                    <a:pt x="997" y="372"/>
                  </a:cubicBezTo>
                  <a:cubicBezTo>
                    <a:pt x="997" y="380"/>
                    <a:pt x="997" y="388"/>
                    <a:pt x="989" y="388"/>
                  </a:cubicBezTo>
                  <a:cubicBezTo>
                    <a:pt x="989" y="395"/>
                    <a:pt x="981" y="395"/>
                    <a:pt x="973" y="404"/>
                  </a:cubicBezTo>
                  <a:cubicBezTo>
                    <a:pt x="973" y="411"/>
                    <a:pt x="973" y="411"/>
                    <a:pt x="973" y="411"/>
                  </a:cubicBezTo>
                  <a:cubicBezTo>
                    <a:pt x="973" y="411"/>
                    <a:pt x="981" y="411"/>
                    <a:pt x="989" y="411"/>
                  </a:cubicBezTo>
                  <a:cubicBezTo>
                    <a:pt x="997" y="411"/>
                    <a:pt x="1004" y="411"/>
                    <a:pt x="1012" y="411"/>
                  </a:cubicBezTo>
                  <a:cubicBezTo>
                    <a:pt x="1028" y="411"/>
                    <a:pt x="1036" y="419"/>
                    <a:pt x="1044" y="435"/>
                  </a:cubicBezTo>
                  <a:cubicBezTo>
                    <a:pt x="1044" y="443"/>
                    <a:pt x="1044" y="451"/>
                    <a:pt x="1052" y="467"/>
                  </a:cubicBezTo>
                  <a:cubicBezTo>
                    <a:pt x="1060" y="467"/>
                    <a:pt x="1068" y="482"/>
                    <a:pt x="1068" y="490"/>
                  </a:cubicBezTo>
                  <a:lnTo>
                    <a:pt x="1075" y="482"/>
                  </a:lnTo>
                  <a:lnTo>
                    <a:pt x="1075" y="475"/>
                  </a:lnTo>
                  <a:cubicBezTo>
                    <a:pt x="1084" y="475"/>
                    <a:pt x="1084" y="467"/>
                    <a:pt x="1091" y="467"/>
                  </a:cubicBezTo>
                  <a:cubicBezTo>
                    <a:pt x="1099" y="467"/>
                    <a:pt x="1115" y="475"/>
                    <a:pt x="1123" y="475"/>
                  </a:cubicBezTo>
                  <a:cubicBezTo>
                    <a:pt x="1131" y="475"/>
                    <a:pt x="1139" y="482"/>
                    <a:pt x="1147" y="482"/>
                  </a:cubicBezTo>
                  <a:cubicBezTo>
                    <a:pt x="1162" y="482"/>
                    <a:pt x="1170" y="475"/>
                    <a:pt x="1178" y="451"/>
                  </a:cubicBezTo>
                  <a:cubicBezTo>
                    <a:pt x="1178" y="443"/>
                    <a:pt x="1194" y="435"/>
                    <a:pt x="1202" y="435"/>
                  </a:cubicBezTo>
                  <a:cubicBezTo>
                    <a:pt x="1210" y="435"/>
                    <a:pt x="1218" y="435"/>
                    <a:pt x="1226" y="427"/>
                  </a:cubicBezTo>
                  <a:cubicBezTo>
                    <a:pt x="1234" y="419"/>
                    <a:pt x="1234" y="411"/>
                    <a:pt x="1226" y="404"/>
                  </a:cubicBezTo>
                  <a:cubicBezTo>
                    <a:pt x="1226" y="395"/>
                    <a:pt x="1210" y="388"/>
                    <a:pt x="1202" y="388"/>
                  </a:cubicBezTo>
                  <a:cubicBezTo>
                    <a:pt x="1194" y="388"/>
                    <a:pt x="1186" y="388"/>
                    <a:pt x="1178" y="380"/>
                  </a:cubicBezTo>
                  <a:cubicBezTo>
                    <a:pt x="1170" y="380"/>
                    <a:pt x="1170" y="372"/>
                    <a:pt x="1170" y="364"/>
                  </a:cubicBezTo>
                  <a:cubicBezTo>
                    <a:pt x="1170" y="356"/>
                    <a:pt x="1170" y="348"/>
                    <a:pt x="1170" y="348"/>
                  </a:cubicBezTo>
                  <a:cubicBezTo>
                    <a:pt x="1162" y="340"/>
                    <a:pt x="1155" y="340"/>
                    <a:pt x="1147" y="340"/>
                  </a:cubicBezTo>
                  <a:cubicBezTo>
                    <a:pt x="1139" y="340"/>
                    <a:pt x="1139" y="340"/>
                    <a:pt x="1139" y="340"/>
                  </a:cubicBezTo>
                  <a:cubicBezTo>
                    <a:pt x="1123" y="340"/>
                    <a:pt x="1107" y="340"/>
                    <a:pt x="1107" y="309"/>
                  </a:cubicBezTo>
                  <a:cubicBezTo>
                    <a:pt x="1107" y="301"/>
                    <a:pt x="1115" y="301"/>
                    <a:pt x="1123" y="301"/>
                  </a:cubicBezTo>
                  <a:cubicBezTo>
                    <a:pt x="1131" y="301"/>
                    <a:pt x="1147" y="309"/>
                    <a:pt x="1162" y="309"/>
                  </a:cubicBezTo>
                  <a:cubicBezTo>
                    <a:pt x="1178" y="317"/>
                    <a:pt x="1186" y="317"/>
                    <a:pt x="1194" y="324"/>
                  </a:cubicBezTo>
                  <a:cubicBezTo>
                    <a:pt x="1218" y="332"/>
                    <a:pt x="1226" y="340"/>
                    <a:pt x="1234" y="364"/>
                  </a:cubicBezTo>
                  <a:cubicBezTo>
                    <a:pt x="1242" y="372"/>
                    <a:pt x="1242" y="388"/>
                    <a:pt x="1257" y="395"/>
                  </a:cubicBezTo>
                  <a:cubicBezTo>
                    <a:pt x="1281" y="451"/>
                    <a:pt x="1289" y="506"/>
                    <a:pt x="1289" y="538"/>
                  </a:cubicBezTo>
                  <a:cubicBezTo>
                    <a:pt x="1281" y="538"/>
                    <a:pt x="1281" y="546"/>
                    <a:pt x="1281" y="554"/>
                  </a:cubicBezTo>
                  <a:cubicBezTo>
                    <a:pt x="1281" y="562"/>
                    <a:pt x="1281" y="570"/>
                    <a:pt x="1273" y="570"/>
                  </a:cubicBezTo>
                  <a:cubicBezTo>
                    <a:pt x="1273" y="570"/>
                    <a:pt x="1273" y="562"/>
                    <a:pt x="1265" y="554"/>
                  </a:cubicBezTo>
                  <a:cubicBezTo>
                    <a:pt x="1257" y="538"/>
                    <a:pt x="1265" y="522"/>
                    <a:pt x="1265" y="506"/>
                  </a:cubicBezTo>
                  <a:cubicBezTo>
                    <a:pt x="1265" y="498"/>
                    <a:pt x="1265" y="490"/>
                    <a:pt x="1265" y="482"/>
                  </a:cubicBezTo>
                  <a:cubicBezTo>
                    <a:pt x="1265" y="475"/>
                    <a:pt x="1265" y="475"/>
                    <a:pt x="1265" y="475"/>
                  </a:cubicBezTo>
                  <a:cubicBezTo>
                    <a:pt x="1257" y="475"/>
                    <a:pt x="1242" y="490"/>
                    <a:pt x="1242" y="498"/>
                  </a:cubicBezTo>
                  <a:cubicBezTo>
                    <a:pt x="1242" y="506"/>
                    <a:pt x="1242" y="514"/>
                    <a:pt x="1234" y="514"/>
                  </a:cubicBezTo>
                  <a:lnTo>
                    <a:pt x="1226" y="514"/>
                  </a:lnTo>
                  <a:cubicBezTo>
                    <a:pt x="1218" y="514"/>
                    <a:pt x="1210" y="506"/>
                    <a:pt x="1202" y="506"/>
                  </a:cubicBezTo>
                  <a:cubicBezTo>
                    <a:pt x="1194" y="506"/>
                    <a:pt x="1186" y="498"/>
                    <a:pt x="1186" y="498"/>
                  </a:cubicBezTo>
                  <a:cubicBezTo>
                    <a:pt x="1178" y="498"/>
                    <a:pt x="1178" y="498"/>
                    <a:pt x="1178" y="506"/>
                  </a:cubicBezTo>
                  <a:cubicBezTo>
                    <a:pt x="1178" y="514"/>
                    <a:pt x="1170" y="522"/>
                    <a:pt x="1162" y="530"/>
                  </a:cubicBezTo>
                  <a:cubicBezTo>
                    <a:pt x="1162" y="546"/>
                    <a:pt x="1155" y="546"/>
                    <a:pt x="1147" y="546"/>
                  </a:cubicBezTo>
                  <a:cubicBezTo>
                    <a:pt x="1147" y="546"/>
                    <a:pt x="1139" y="546"/>
                    <a:pt x="1139" y="538"/>
                  </a:cubicBezTo>
                  <a:lnTo>
                    <a:pt x="1139" y="538"/>
                  </a:lnTo>
                  <a:cubicBezTo>
                    <a:pt x="1131" y="538"/>
                    <a:pt x="1107" y="570"/>
                    <a:pt x="1091" y="593"/>
                  </a:cubicBezTo>
                  <a:cubicBezTo>
                    <a:pt x="1084" y="601"/>
                    <a:pt x="1075" y="609"/>
                    <a:pt x="1068" y="609"/>
                  </a:cubicBezTo>
                  <a:cubicBezTo>
                    <a:pt x="1052" y="609"/>
                    <a:pt x="1036" y="601"/>
                    <a:pt x="1028" y="585"/>
                  </a:cubicBezTo>
                  <a:cubicBezTo>
                    <a:pt x="1028" y="577"/>
                    <a:pt x="1028" y="577"/>
                    <a:pt x="1028" y="577"/>
                  </a:cubicBezTo>
                  <a:cubicBezTo>
                    <a:pt x="1028" y="562"/>
                    <a:pt x="1028" y="554"/>
                    <a:pt x="1012" y="554"/>
                  </a:cubicBezTo>
                  <a:cubicBezTo>
                    <a:pt x="1004" y="554"/>
                    <a:pt x="997" y="554"/>
                    <a:pt x="989" y="554"/>
                  </a:cubicBezTo>
                  <a:cubicBezTo>
                    <a:pt x="965" y="554"/>
                    <a:pt x="965" y="570"/>
                    <a:pt x="965" y="585"/>
                  </a:cubicBezTo>
                  <a:cubicBezTo>
                    <a:pt x="957" y="601"/>
                    <a:pt x="957" y="617"/>
                    <a:pt x="941" y="641"/>
                  </a:cubicBezTo>
                  <a:cubicBezTo>
                    <a:pt x="933" y="648"/>
                    <a:pt x="933" y="648"/>
                    <a:pt x="933" y="648"/>
                  </a:cubicBezTo>
                  <a:cubicBezTo>
                    <a:pt x="909" y="672"/>
                    <a:pt x="902" y="688"/>
                    <a:pt x="886" y="688"/>
                  </a:cubicBezTo>
                  <a:close/>
                  <a:moveTo>
                    <a:pt x="767" y="538"/>
                  </a:moveTo>
                  <a:lnTo>
                    <a:pt x="767" y="538"/>
                  </a:lnTo>
                  <a:cubicBezTo>
                    <a:pt x="775" y="546"/>
                    <a:pt x="775" y="546"/>
                    <a:pt x="783" y="554"/>
                  </a:cubicBezTo>
                  <a:cubicBezTo>
                    <a:pt x="799" y="570"/>
                    <a:pt x="815" y="570"/>
                    <a:pt x="822" y="577"/>
                  </a:cubicBezTo>
                  <a:cubicBezTo>
                    <a:pt x="838" y="577"/>
                    <a:pt x="846" y="585"/>
                    <a:pt x="846" y="609"/>
                  </a:cubicBezTo>
                  <a:cubicBezTo>
                    <a:pt x="854" y="633"/>
                    <a:pt x="846" y="648"/>
                    <a:pt x="846" y="657"/>
                  </a:cubicBezTo>
                  <a:cubicBezTo>
                    <a:pt x="838" y="657"/>
                    <a:pt x="838" y="664"/>
                    <a:pt x="838" y="664"/>
                  </a:cubicBezTo>
                  <a:cubicBezTo>
                    <a:pt x="846" y="664"/>
                    <a:pt x="854" y="672"/>
                    <a:pt x="854" y="672"/>
                  </a:cubicBezTo>
                  <a:cubicBezTo>
                    <a:pt x="870" y="672"/>
                    <a:pt x="878" y="680"/>
                    <a:pt x="886" y="680"/>
                  </a:cubicBezTo>
                  <a:cubicBezTo>
                    <a:pt x="894" y="680"/>
                    <a:pt x="902" y="672"/>
                    <a:pt x="925" y="641"/>
                  </a:cubicBezTo>
                  <a:cubicBezTo>
                    <a:pt x="933" y="641"/>
                    <a:pt x="933" y="641"/>
                    <a:pt x="933" y="641"/>
                  </a:cubicBezTo>
                  <a:cubicBezTo>
                    <a:pt x="949" y="617"/>
                    <a:pt x="949" y="601"/>
                    <a:pt x="957" y="585"/>
                  </a:cubicBezTo>
                  <a:cubicBezTo>
                    <a:pt x="957" y="570"/>
                    <a:pt x="957" y="554"/>
                    <a:pt x="989" y="546"/>
                  </a:cubicBezTo>
                  <a:cubicBezTo>
                    <a:pt x="997" y="546"/>
                    <a:pt x="1004" y="546"/>
                    <a:pt x="1012" y="546"/>
                  </a:cubicBezTo>
                  <a:cubicBezTo>
                    <a:pt x="1036" y="546"/>
                    <a:pt x="1036" y="562"/>
                    <a:pt x="1036" y="577"/>
                  </a:cubicBezTo>
                  <a:cubicBezTo>
                    <a:pt x="1036" y="577"/>
                    <a:pt x="1036" y="577"/>
                    <a:pt x="1036" y="585"/>
                  </a:cubicBezTo>
                  <a:cubicBezTo>
                    <a:pt x="1044" y="593"/>
                    <a:pt x="1052" y="601"/>
                    <a:pt x="1068" y="601"/>
                  </a:cubicBezTo>
                  <a:cubicBezTo>
                    <a:pt x="1068" y="601"/>
                    <a:pt x="1084" y="601"/>
                    <a:pt x="1084" y="593"/>
                  </a:cubicBezTo>
                  <a:cubicBezTo>
                    <a:pt x="1099" y="562"/>
                    <a:pt x="1123" y="530"/>
                    <a:pt x="1139" y="530"/>
                  </a:cubicBezTo>
                  <a:cubicBezTo>
                    <a:pt x="1139" y="530"/>
                    <a:pt x="1139" y="530"/>
                    <a:pt x="1147" y="538"/>
                  </a:cubicBezTo>
                  <a:lnTo>
                    <a:pt x="1147" y="546"/>
                  </a:lnTo>
                  <a:cubicBezTo>
                    <a:pt x="1147" y="546"/>
                    <a:pt x="1155" y="538"/>
                    <a:pt x="1162" y="530"/>
                  </a:cubicBezTo>
                  <a:cubicBezTo>
                    <a:pt x="1162" y="522"/>
                    <a:pt x="1170" y="514"/>
                    <a:pt x="1170" y="506"/>
                  </a:cubicBezTo>
                  <a:cubicBezTo>
                    <a:pt x="1170" y="498"/>
                    <a:pt x="1178" y="498"/>
                    <a:pt x="1186" y="498"/>
                  </a:cubicBezTo>
                  <a:cubicBezTo>
                    <a:pt x="1186" y="498"/>
                    <a:pt x="1194" y="498"/>
                    <a:pt x="1202" y="498"/>
                  </a:cubicBezTo>
                  <a:cubicBezTo>
                    <a:pt x="1218" y="498"/>
                    <a:pt x="1226" y="506"/>
                    <a:pt x="1226" y="506"/>
                  </a:cubicBezTo>
                  <a:cubicBezTo>
                    <a:pt x="1234" y="506"/>
                    <a:pt x="1234" y="506"/>
                    <a:pt x="1234" y="506"/>
                  </a:cubicBezTo>
                  <a:cubicBezTo>
                    <a:pt x="1234" y="506"/>
                    <a:pt x="1234" y="506"/>
                    <a:pt x="1234" y="498"/>
                  </a:cubicBezTo>
                  <a:cubicBezTo>
                    <a:pt x="1242" y="490"/>
                    <a:pt x="1249" y="467"/>
                    <a:pt x="1265" y="467"/>
                  </a:cubicBezTo>
                  <a:cubicBezTo>
                    <a:pt x="1265" y="467"/>
                    <a:pt x="1273" y="467"/>
                    <a:pt x="1273" y="475"/>
                  </a:cubicBezTo>
                  <a:cubicBezTo>
                    <a:pt x="1273" y="490"/>
                    <a:pt x="1273" y="498"/>
                    <a:pt x="1273" y="506"/>
                  </a:cubicBezTo>
                  <a:cubicBezTo>
                    <a:pt x="1273" y="522"/>
                    <a:pt x="1265" y="538"/>
                    <a:pt x="1273" y="554"/>
                  </a:cubicBezTo>
                  <a:lnTo>
                    <a:pt x="1273" y="554"/>
                  </a:lnTo>
                  <a:lnTo>
                    <a:pt x="1273" y="554"/>
                  </a:lnTo>
                  <a:cubicBezTo>
                    <a:pt x="1273" y="546"/>
                    <a:pt x="1281" y="538"/>
                    <a:pt x="1281" y="530"/>
                  </a:cubicBezTo>
                  <a:cubicBezTo>
                    <a:pt x="1289" y="506"/>
                    <a:pt x="1273" y="451"/>
                    <a:pt x="1249" y="404"/>
                  </a:cubicBezTo>
                  <a:cubicBezTo>
                    <a:pt x="1242" y="388"/>
                    <a:pt x="1234" y="372"/>
                    <a:pt x="1226" y="364"/>
                  </a:cubicBezTo>
                  <a:cubicBezTo>
                    <a:pt x="1218" y="340"/>
                    <a:pt x="1210" y="332"/>
                    <a:pt x="1194" y="332"/>
                  </a:cubicBezTo>
                  <a:cubicBezTo>
                    <a:pt x="1186" y="324"/>
                    <a:pt x="1170" y="324"/>
                    <a:pt x="1162" y="317"/>
                  </a:cubicBezTo>
                  <a:cubicBezTo>
                    <a:pt x="1147" y="309"/>
                    <a:pt x="1131" y="309"/>
                    <a:pt x="1123" y="309"/>
                  </a:cubicBezTo>
                  <a:lnTo>
                    <a:pt x="1115" y="309"/>
                  </a:lnTo>
                  <a:cubicBezTo>
                    <a:pt x="1115" y="332"/>
                    <a:pt x="1123" y="332"/>
                    <a:pt x="1139" y="332"/>
                  </a:cubicBezTo>
                  <a:cubicBezTo>
                    <a:pt x="1147" y="332"/>
                    <a:pt x="1147" y="332"/>
                    <a:pt x="1147" y="332"/>
                  </a:cubicBezTo>
                  <a:cubicBezTo>
                    <a:pt x="1155" y="332"/>
                    <a:pt x="1162" y="332"/>
                    <a:pt x="1170" y="340"/>
                  </a:cubicBezTo>
                  <a:cubicBezTo>
                    <a:pt x="1178" y="348"/>
                    <a:pt x="1178" y="356"/>
                    <a:pt x="1178" y="364"/>
                  </a:cubicBezTo>
                  <a:cubicBezTo>
                    <a:pt x="1178" y="372"/>
                    <a:pt x="1178" y="372"/>
                    <a:pt x="1186" y="380"/>
                  </a:cubicBezTo>
                  <a:cubicBezTo>
                    <a:pt x="1186" y="380"/>
                    <a:pt x="1194" y="388"/>
                    <a:pt x="1202" y="388"/>
                  </a:cubicBezTo>
                  <a:cubicBezTo>
                    <a:pt x="1210" y="388"/>
                    <a:pt x="1226" y="388"/>
                    <a:pt x="1234" y="404"/>
                  </a:cubicBezTo>
                  <a:cubicBezTo>
                    <a:pt x="1242" y="411"/>
                    <a:pt x="1242" y="419"/>
                    <a:pt x="1234" y="427"/>
                  </a:cubicBezTo>
                  <a:cubicBezTo>
                    <a:pt x="1226" y="443"/>
                    <a:pt x="1210" y="443"/>
                    <a:pt x="1202" y="443"/>
                  </a:cubicBezTo>
                  <a:cubicBezTo>
                    <a:pt x="1194" y="443"/>
                    <a:pt x="1186" y="451"/>
                    <a:pt x="1186" y="451"/>
                  </a:cubicBezTo>
                  <a:cubicBezTo>
                    <a:pt x="1178" y="467"/>
                    <a:pt x="1170" y="490"/>
                    <a:pt x="1147" y="490"/>
                  </a:cubicBezTo>
                  <a:cubicBezTo>
                    <a:pt x="1147" y="490"/>
                    <a:pt x="1147" y="490"/>
                    <a:pt x="1139" y="490"/>
                  </a:cubicBezTo>
                  <a:cubicBezTo>
                    <a:pt x="1139" y="490"/>
                    <a:pt x="1131" y="482"/>
                    <a:pt x="1123" y="482"/>
                  </a:cubicBezTo>
                  <a:cubicBezTo>
                    <a:pt x="1115" y="482"/>
                    <a:pt x="1099" y="475"/>
                    <a:pt x="1091" y="475"/>
                  </a:cubicBezTo>
                  <a:cubicBezTo>
                    <a:pt x="1091" y="475"/>
                    <a:pt x="1084" y="475"/>
                    <a:pt x="1084" y="482"/>
                  </a:cubicBezTo>
                  <a:cubicBezTo>
                    <a:pt x="1084" y="482"/>
                    <a:pt x="1084" y="482"/>
                    <a:pt x="1075" y="490"/>
                  </a:cubicBezTo>
                  <a:cubicBezTo>
                    <a:pt x="1075" y="490"/>
                    <a:pt x="1075" y="490"/>
                    <a:pt x="1068" y="490"/>
                  </a:cubicBezTo>
                  <a:cubicBezTo>
                    <a:pt x="1068" y="490"/>
                    <a:pt x="1060" y="490"/>
                    <a:pt x="1044" y="467"/>
                  </a:cubicBezTo>
                  <a:cubicBezTo>
                    <a:pt x="1044" y="459"/>
                    <a:pt x="1036" y="443"/>
                    <a:pt x="1036" y="435"/>
                  </a:cubicBezTo>
                  <a:cubicBezTo>
                    <a:pt x="1028" y="427"/>
                    <a:pt x="1028" y="419"/>
                    <a:pt x="1012" y="419"/>
                  </a:cubicBezTo>
                  <a:cubicBezTo>
                    <a:pt x="1004" y="419"/>
                    <a:pt x="997" y="419"/>
                    <a:pt x="989" y="419"/>
                  </a:cubicBezTo>
                  <a:cubicBezTo>
                    <a:pt x="973" y="419"/>
                    <a:pt x="965" y="419"/>
                    <a:pt x="965" y="411"/>
                  </a:cubicBezTo>
                  <a:cubicBezTo>
                    <a:pt x="957" y="411"/>
                    <a:pt x="965" y="404"/>
                    <a:pt x="973" y="395"/>
                  </a:cubicBezTo>
                  <a:cubicBezTo>
                    <a:pt x="973" y="395"/>
                    <a:pt x="981" y="388"/>
                    <a:pt x="981" y="380"/>
                  </a:cubicBezTo>
                  <a:cubicBezTo>
                    <a:pt x="989" y="380"/>
                    <a:pt x="997" y="380"/>
                    <a:pt x="997" y="372"/>
                  </a:cubicBezTo>
                  <a:cubicBezTo>
                    <a:pt x="997" y="372"/>
                    <a:pt x="989" y="364"/>
                    <a:pt x="981" y="364"/>
                  </a:cubicBezTo>
                  <a:cubicBezTo>
                    <a:pt x="965" y="340"/>
                    <a:pt x="894" y="309"/>
                    <a:pt x="862" y="301"/>
                  </a:cubicBezTo>
                  <a:cubicBezTo>
                    <a:pt x="854" y="293"/>
                    <a:pt x="854" y="293"/>
                    <a:pt x="854" y="293"/>
                  </a:cubicBezTo>
                  <a:cubicBezTo>
                    <a:pt x="838" y="293"/>
                    <a:pt x="831" y="293"/>
                    <a:pt x="822" y="285"/>
                  </a:cubicBezTo>
                  <a:cubicBezTo>
                    <a:pt x="822" y="277"/>
                    <a:pt x="822" y="269"/>
                    <a:pt x="838" y="253"/>
                  </a:cubicBezTo>
                  <a:cubicBezTo>
                    <a:pt x="838" y="237"/>
                    <a:pt x="838" y="222"/>
                    <a:pt x="846" y="206"/>
                  </a:cubicBezTo>
                  <a:cubicBezTo>
                    <a:pt x="846" y="182"/>
                    <a:pt x="846" y="158"/>
                    <a:pt x="870" y="151"/>
                  </a:cubicBezTo>
                  <a:cubicBezTo>
                    <a:pt x="902" y="143"/>
                    <a:pt x="917" y="135"/>
                    <a:pt x="917" y="119"/>
                  </a:cubicBezTo>
                  <a:cubicBezTo>
                    <a:pt x="917" y="111"/>
                    <a:pt x="917" y="103"/>
                    <a:pt x="909" y="95"/>
                  </a:cubicBezTo>
                  <a:cubicBezTo>
                    <a:pt x="909" y="95"/>
                    <a:pt x="902" y="95"/>
                    <a:pt x="894" y="95"/>
                  </a:cubicBezTo>
                  <a:cubicBezTo>
                    <a:pt x="894" y="95"/>
                    <a:pt x="886" y="95"/>
                    <a:pt x="886" y="103"/>
                  </a:cubicBezTo>
                  <a:cubicBezTo>
                    <a:pt x="870" y="103"/>
                    <a:pt x="862" y="111"/>
                    <a:pt x="854" y="111"/>
                  </a:cubicBezTo>
                  <a:cubicBezTo>
                    <a:pt x="838" y="111"/>
                    <a:pt x="831" y="103"/>
                    <a:pt x="831" y="87"/>
                  </a:cubicBezTo>
                  <a:cubicBezTo>
                    <a:pt x="815" y="55"/>
                    <a:pt x="807" y="32"/>
                    <a:pt x="791" y="16"/>
                  </a:cubicBezTo>
                  <a:cubicBezTo>
                    <a:pt x="791" y="16"/>
                    <a:pt x="783" y="16"/>
                    <a:pt x="783" y="8"/>
                  </a:cubicBezTo>
                  <a:lnTo>
                    <a:pt x="783" y="8"/>
                  </a:lnTo>
                  <a:lnTo>
                    <a:pt x="775" y="8"/>
                  </a:lnTo>
                  <a:cubicBezTo>
                    <a:pt x="759" y="32"/>
                    <a:pt x="688" y="111"/>
                    <a:pt x="680" y="127"/>
                  </a:cubicBezTo>
                  <a:cubicBezTo>
                    <a:pt x="664" y="158"/>
                    <a:pt x="657" y="158"/>
                    <a:pt x="617" y="166"/>
                  </a:cubicBezTo>
                  <a:cubicBezTo>
                    <a:pt x="601" y="166"/>
                    <a:pt x="601" y="166"/>
                    <a:pt x="601" y="166"/>
                  </a:cubicBezTo>
                  <a:cubicBezTo>
                    <a:pt x="578" y="166"/>
                    <a:pt x="491" y="190"/>
                    <a:pt x="411" y="206"/>
                  </a:cubicBezTo>
                  <a:cubicBezTo>
                    <a:pt x="325" y="222"/>
                    <a:pt x="269" y="237"/>
                    <a:pt x="261" y="237"/>
                  </a:cubicBezTo>
                  <a:cubicBezTo>
                    <a:pt x="245" y="245"/>
                    <a:pt x="48" y="301"/>
                    <a:pt x="16" y="309"/>
                  </a:cubicBezTo>
                  <a:cubicBezTo>
                    <a:pt x="8" y="625"/>
                    <a:pt x="8" y="625"/>
                    <a:pt x="8" y="625"/>
                  </a:cubicBezTo>
                  <a:cubicBezTo>
                    <a:pt x="8" y="625"/>
                    <a:pt x="8" y="633"/>
                    <a:pt x="16" y="633"/>
                  </a:cubicBezTo>
                  <a:cubicBezTo>
                    <a:pt x="16" y="633"/>
                    <a:pt x="16" y="633"/>
                    <a:pt x="24" y="633"/>
                  </a:cubicBezTo>
                  <a:cubicBezTo>
                    <a:pt x="24" y="625"/>
                    <a:pt x="64" y="617"/>
                    <a:pt x="135" y="601"/>
                  </a:cubicBezTo>
                  <a:cubicBezTo>
                    <a:pt x="269" y="570"/>
                    <a:pt x="491" y="514"/>
                    <a:pt x="514" y="506"/>
                  </a:cubicBezTo>
                  <a:cubicBezTo>
                    <a:pt x="530" y="490"/>
                    <a:pt x="562" y="490"/>
                    <a:pt x="593" y="506"/>
                  </a:cubicBezTo>
                  <a:cubicBezTo>
                    <a:pt x="601" y="506"/>
                    <a:pt x="609" y="498"/>
                    <a:pt x="625" y="498"/>
                  </a:cubicBezTo>
                  <a:cubicBezTo>
                    <a:pt x="649" y="482"/>
                    <a:pt x="680" y="475"/>
                    <a:pt x="704" y="475"/>
                  </a:cubicBezTo>
                  <a:lnTo>
                    <a:pt x="712" y="475"/>
                  </a:lnTo>
                  <a:cubicBezTo>
                    <a:pt x="728" y="482"/>
                    <a:pt x="751" y="514"/>
                    <a:pt x="767" y="538"/>
                  </a:cubicBezTo>
                  <a:close/>
                </a:path>
              </a:pathLst>
            </a:custGeom>
            <a:solidFill>
              <a:schemeClr val="accent6"/>
            </a:solidFill>
            <a:ln>
              <a:solidFill>
                <a:schemeClr val="bg2"/>
              </a:solidFill>
            </a:ln>
            <a:effectLst/>
          </p:spPr>
          <p:txBody>
            <a:bodyPr wrap="none" anchor="ctr"/>
            <a:lstStyle/>
            <a:p>
              <a:endParaRPr lang="en-US"/>
            </a:p>
          </p:txBody>
        </p:sp>
        <p:sp>
          <p:nvSpPr>
            <p:cNvPr id="95" name="Freeform 765"/>
            <p:cNvSpPr>
              <a:spLocks noChangeArrowheads="1"/>
            </p:cNvSpPr>
            <p:nvPr/>
          </p:nvSpPr>
          <p:spPr bwMode="auto">
            <a:xfrm>
              <a:off x="7038509" y="2746621"/>
              <a:ext cx="233766" cy="205190"/>
            </a:xfrm>
            <a:custGeom>
              <a:avLst/>
              <a:gdLst>
                <a:gd name="T0" fmla="*/ 8 w 649"/>
                <a:gd name="T1" fmla="*/ 222 h 658"/>
                <a:gd name="T2" fmla="*/ 8 w 649"/>
                <a:gd name="T3" fmla="*/ 222 h 658"/>
                <a:gd name="T4" fmla="*/ 32 w 649"/>
                <a:gd name="T5" fmla="*/ 325 h 658"/>
                <a:gd name="T6" fmla="*/ 63 w 649"/>
                <a:gd name="T7" fmla="*/ 459 h 658"/>
                <a:gd name="T8" fmla="*/ 79 w 649"/>
                <a:gd name="T9" fmla="*/ 506 h 658"/>
                <a:gd name="T10" fmla="*/ 71 w 649"/>
                <a:gd name="T11" fmla="*/ 554 h 658"/>
                <a:gd name="T12" fmla="*/ 32 w 649"/>
                <a:gd name="T13" fmla="*/ 617 h 658"/>
                <a:gd name="T14" fmla="*/ 63 w 649"/>
                <a:gd name="T15" fmla="*/ 657 h 658"/>
                <a:gd name="T16" fmla="*/ 127 w 649"/>
                <a:gd name="T17" fmla="*/ 601 h 658"/>
                <a:gd name="T18" fmla="*/ 269 w 649"/>
                <a:gd name="T19" fmla="*/ 475 h 658"/>
                <a:gd name="T20" fmla="*/ 514 w 649"/>
                <a:gd name="T21" fmla="*/ 388 h 658"/>
                <a:gd name="T22" fmla="*/ 648 w 649"/>
                <a:gd name="T23" fmla="*/ 325 h 658"/>
                <a:gd name="T24" fmla="*/ 593 w 649"/>
                <a:gd name="T25" fmla="*/ 80 h 658"/>
                <a:gd name="T26" fmla="*/ 585 w 649"/>
                <a:gd name="T27" fmla="*/ 16 h 658"/>
                <a:gd name="T28" fmla="*/ 577 w 649"/>
                <a:gd name="T29" fmla="*/ 16 h 658"/>
                <a:gd name="T30" fmla="*/ 498 w 649"/>
                <a:gd name="T31" fmla="*/ 16 h 658"/>
                <a:gd name="T32" fmla="*/ 8 w 649"/>
                <a:gd name="T33" fmla="*/ 143 h 658"/>
                <a:gd name="T34" fmla="*/ 0 w 649"/>
                <a:gd name="T35" fmla="*/ 143 h 658"/>
                <a:gd name="T36" fmla="*/ 0 w 649"/>
                <a:gd name="T37" fmla="*/ 143 h 658"/>
                <a:gd name="T38" fmla="*/ 8 w 649"/>
                <a:gd name="T39" fmla="*/ 222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658">
                  <a:moveTo>
                    <a:pt x="8" y="222"/>
                  </a:moveTo>
                  <a:lnTo>
                    <a:pt x="8" y="222"/>
                  </a:lnTo>
                  <a:cubicBezTo>
                    <a:pt x="8" y="230"/>
                    <a:pt x="16" y="293"/>
                    <a:pt x="32" y="325"/>
                  </a:cubicBezTo>
                  <a:cubicBezTo>
                    <a:pt x="48" y="364"/>
                    <a:pt x="63" y="435"/>
                    <a:pt x="63" y="459"/>
                  </a:cubicBezTo>
                  <a:cubicBezTo>
                    <a:pt x="63" y="483"/>
                    <a:pt x="71" y="491"/>
                    <a:pt x="79" y="506"/>
                  </a:cubicBezTo>
                  <a:cubicBezTo>
                    <a:pt x="87" y="522"/>
                    <a:pt x="87" y="546"/>
                    <a:pt x="71" y="554"/>
                  </a:cubicBezTo>
                  <a:cubicBezTo>
                    <a:pt x="56" y="570"/>
                    <a:pt x="32" y="601"/>
                    <a:pt x="32" y="617"/>
                  </a:cubicBezTo>
                  <a:cubicBezTo>
                    <a:pt x="40" y="625"/>
                    <a:pt x="56" y="641"/>
                    <a:pt x="63" y="657"/>
                  </a:cubicBezTo>
                  <a:cubicBezTo>
                    <a:pt x="87" y="641"/>
                    <a:pt x="111" y="625"/>
                    <a:pt x="127" y="601"/>
                  </a:cubicBezTo>
                  <a:cubicBezTo>
                    <a:pt x="158" y="562"/>
                    <a:pt x="222" y="514"/>
                    <a:pt x="269" y="475"/>
                  </a:cubicBezTo>
                  <a:cubicBezTo>
                    <a:pt x="324" y="435"/>
                    <a:pt x="475" y="396"/>
                    <a:pt x="514" y="388"/>
                  </a:cubicBezTo>
                  <a:cubicBezTo>
                    <a:pt x="530" y="380"/>
                    <a:pt x="593" y="348"/>
                    <a:pt x="648" y="325"/>
                  </a:cubicBezTo>
                  <a:cubicBezTo>
                    <a:pt x="633" y="230"/>
                    <a:pt x="593" y="95"/>
                    <a:pt x="593" y="80"/>
                  </a:cubicBezTo>
                  <a:cubicBezTo>
                    <a:pt x="585" y="72"/>
                    <a:pt x="585" y="40"/>
                    <a:pt x="585" y="16"/>
                  </a:cubicBezTo>
                  <a:cubicBezTo>
                    <a:pt x="577" y="16"/>
                    <a:pt x="577" y="16"/>
                    <a:pt x="577" y="16"/>
                  </a:cubicBezTo>
                  <a:cubicBezTo>
                    <a:pt x="569" y="16"/>
                    <a:pt x="530" y="0"/>
                    <a:pt x="498" y="16"/>
                  </a:cubicBezTo>
                  <a:cubicBezTo>
                    <a:pt x="467" y="32"/>
                    <a:pt x="24" y="135"/>
                    <a:pt x="8" y="143"/>
                  </a:cubicBezTo>
                  <a:cubicBezTo>
                    <a:pt x="0" y="143"/>
                    <a:pt x="0" y="143"/>
                    <a:pt x="0" y="143"/>
                  </a:cubicBezTo>
                  <a:lnTo>
                    <a:pt x="0" y="143"/>
                  </a:lnTo>
                  <a:cubicBezTo>
                    <a:pt x="0" y="151"/>
                    <a:pt x="0" y="214"/>
                    <a:pt x="8" y="222"/>
                  </a:cubicBezTo>
                </a:path>
              </a:pathLst>
            </a:custGeom>
            <a:solidFill>
              <a:schemeClr val="accent6"/>
            </a:solidFill>
            <a:ln>
              <a:solidFill>
                <a:schemeClr val="bg2"/>
              </a:solidFill>
            </a:ln>
            <a:effectLst/>
          </p:spPr>
          <p:txBody>
            <a:bodyPr wrap="none" anchor="ctr"/>
            <a:lstStyle/>
            <a:p>
              <a:endParaRPr lang="en-US"/>
            </a:p>
          </p:txBody>
        </p:sp>
        <p:sp>
          <p:nvSpPr>
            <p:cNvPr id="96" name="Freeform 766"/>
            <p:cNvSpPr>
              <a:spLocks noChangeArrowheads="1"/>
            </p:cNvSpPr>
            <p:nvPr/>
          </p:nvSpPr>
          <p:spPr bwMode="auto">
            <a:xfrm>
              <a:off x="7035328" y="2746621"/>
              <a:ext cx="236946" cy="207945"/>
            </a:xfrm>
            <a:custGeom>
              <a:avLst/>
              <a:gdLst>
                <a:gd name="T0" fmla="*/ 71 w 657"/>
                <a:gd name="T1" fmla="*/ 664 h 665"/>
                <a:gd name="T2" fmla="*/ 71 w 657"/>
                <a:gd name="T3" fmla="*/ 664 h 665"/>
                <a:gd name="T4" fmla="*/ 71 w 657"/>
                <a:gd name="T5" fmla="*/ 657 h 665"/>
                <a:gd name="T6" fmla="*/ 40 w 657"/>
                <a:gd name="T7" fmla="*/ 617 h 665"/>
                <a:gd name="T8" fmla="*/ 79 w 657"/>
                <a:gd name="T9" fmla="*/ 554 h 665"/>
                <a:gd name="T10" fmla="*/ 79 w 657"/>
                <a:gd name="T11" fmla="*/ 506 h 665"/>
                <a:gd name="T12" fmla="*/ 71 w 657"/>
                <a:gd name="T13" fmla="*/ 491 h 665"/>
                <a:gd name="T14" fmla="*/ 64 w 657"/>
                <a:gd name="T15" fmla="*/ 459 h 665"/>
                <a:gd name="T16" fmla="*/ 40 w 657"/>
                <a:gd name="T17" fmla="*/ 332 h 665"/>
                <a:gd name="T18" fmla="*/ 16 w 657"/>
                <a:gd name="T19" fmla="*/ 245 h 665"/>
                <a:gd name="T20" fmla="*/ 8 w 657"/>
                <a:gd name="T21" fmla="*/ 222 h 665"/>
                <a:gd name="T22" fmla="*/ 8 w 657"/>
                <a:gd name="T23" fmla="*/ 174 h 665"/>
                <a:gd name="T24" fmla="*/ 0 w 657"/>
                <a:gd name="T25" fmla="*/ 151 h 665"/>
                <a:gd name="T26" fmla="*/ 0 w 657"/>
                <a:gd name="T27" fmla="*/ 143 h 665"/>
                <a:gd name="T28" fmla="*/ 0 w 657"/>
                <a:gd name="T29" fmla="*/ 143 h 665"/>
                <a:gd name="T30" fmla="*/ 8 w 657"/>
                <a:gd name="T31" fmla="*/ 143 h 665"/>
                <a:gd name="T32" fmla="*/ 16 w 657"/>
                <a:gd name="T33" fmla="*/ 143 h 665"/>
                <a:gd name="T34" fmla="*/ 127 w 657"/>
                <a:gd name="T35" fmla="*/ 111 h 665"/>
                <a:gd name="T36" fmla="*/ 506 w 657"/>
                <a:gd name="T37" fmla="*/ 16 h 665"/>
                <a:gd name="T38" fmla="*/ 585 w 657"/>
                <a:gd name="T39" fmla="*/ 16 h 665"/>
                <a:gd name="T40" fmla="*/ 585 w 657"/>
                <a:gd name="T41" fmla="*/ 16 h 665"/>
                <a:gd name="T42" fmla="*/ 593 w 657"/>
                <a:gd name="T43" fmla="*/ 16 h 665"/>
                <a:gd name="T44" fmla="*/ 593 w 657"/>
                <a:gd name="T45" fmla="*/ 16 h 665"/>
                <a:gd name="T46" fmla="*/ 601 w 657"/>
                <a:gd name="T47" fmla="*/ 80 h 665"/>
                <a:gd name="T48" fmla="*/ 656 w 657"/>
                <a:gd name="T49" fmla="*/ 325 h 665"/>
                <a:gd name="T50" fmla="*/ 656 w 657"/>
                <a:gd name="T51" fmla="*/ 325 h 665"/>
                <a:gd name="T52" fmla="*/ 656 w 657"/>
                <a:gd name="T53" fmla="*/ 325 h 665"/>
                <a:gd name="T54" fmla="*/ 617 w 657"/>
                <a:gd name="T55" fmla="*/ 340 h 665"/>
                <a:gd name="T56" fmla="*/ 522 w 657"/>
                <a:gd name="T57" fmla="*/ 388 h 665"/>
                <a:gd name="T58" fmla="*/ 490 w 657"/>
                <a:gd name="T59" fmla="*/ 404 h 665"/>
                <a:gd name="T60" fmla="*/ 285 w 657"/>
                <a:gd name="T61" fmla="*/ 483 h 665"/>
                <a:gd name="T62" fmla="*/ 143 w 657"/>
                <a:gd name="T63" fmla="*/ 601 h 665"/>
                <a:gd name="T64" fmla="*/ 87 w 657"/>
                <a:gd name="T65" fmla="*/ 649 h 665"/>
                <a:gd name="T66" fmla="*/ 79 w 657"/>
                <a:gd name="T67" fmla="*/ 657 h 665"/>
                <a:gd name="T68" fmla="*/ 71 w 657"/>
                <a:gd name="T69" fmla="*/ 664 h 665"/>
                <a:gd name="T70" fmla="*/ 8 w 657"/>
                <a:gd name="T71" fmla="*/ 151 h 665"/>
                <a:gd name="T72" fmla="*/ 8 w 657"/>
                <a:gd name="T73" fmla="*/ 151 h 665"/>
                <a:gd name="T74" fmla="*/ 16 w 657"/>
                <a:gd name="T75" fmla="*/ 174 h 665"/>
                <a:gd name="T76" fmla="*/ 16 w 657"/>
                <a:gd name="T77" fmla="*/ 214 h 665"/>
                <a:gd name="T78" fmla="*/ 24 w 657"/>
                <a:gd name="T79" fmla="*/ 245 h 665"/>
                <a:gd name="T80" fmla="*/ 40 w 657"/>
                <a:gd name="T81" fmla="*/ 325 h 665"/>
                <a:gd name="T82" fmla="*/ 71 w 657"/>
                <a:gd name="T83" fmla="*/ 459 h 665"/>
                <a:gd name="T84" fmla="*/ 79 w 657"/>
                <a:gd name="T85" fmla="*/ 491 h 665"/>
                <a:gd name="T86" fmla="*/ 87 w 657"/>
                <a:gd name="T87" fmla="*/ 506 h 665"/>
                <a:gd name="T88" fmla="*/ 79 w 657"/>
                <a:gd name="T89" fmla="*/ 562 h 665"/>
                <a:gd name="T90" fmla="*/ 48 w 657"/>
                <a:gd name="T91" fmla="*/ 617 h 665"/>
                <a:gd name="T92" fmla="*/ 71 w 657"/>
                <a:gd name="T93" fmla="*/ 649 h 665"/>
                <a:gd name="T94" fmla="*/ 87 w 657"/>
                <a:gd name="T95" fmla="*/ 641 h 665"/>
                <a:gd name="T96" fmla="*/ 135 w 657"/>
                <a:gd name="T97" fmla="*/ 601 h 665"/>
                <a:gd name="T98" fmla="*/ 277 w 657"/>
                <a:gd name="T99" fmla="*/ 475 h 665"/>
                <a:gd name="T100" fmla="*/ 483 w 657"/>
                <a:gd name="T101" fmla="*/ 396 h 665"/>
                <a:gd name="T102" fmla="*/ 514 w 657"/>
                <a:gd name="T103" fmla="*/ 380 h 665"/>
                <a:gd name="T104" fmla="*/ 617 w 657"/>
                <a:gd name="T105" fmla="*/ 340 h 665"/>
                <a:gd name="T106" fmla="*/ 649 w 657"/>
                <a:gd name="T107" fmla="*/ 317 h 665"/>
                <a:gd name="T108" fmla="*/ 593 w 657"/>
                <a:gd name="T109" fmla="*/ 80 h 665"/>
                <a:gd name="T110" fmla="*/ 585 w 657"/>
                <a:gd name="T111" fmla="*/ 24 h 665"/>
                <a:gd name="T112" fmla="*/ 585 w 657"/>
                <a:gd name="T113" fmla="*/ 24 h 665"/>
                <a:gd name="T114" fmla="*/ 506 w 657"/>
                <a:gd name="T115" fmla="*/ 24 h 665"/>
                <a:gd name="T116" fmla="*/ 127 w 657"/>
                <a:gd name="T117" fmla="*/ 119 h 665"/>
                <a:gd name="T118" fmla="*/ 16 w 657"/>
                <a:gd name="T119" fmla="*/ 151 h 665"/>
                <a:gd name="T120" fmla="*/ 8 w 657"/>
                <a:gd name="T121" fmla="*/ 151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7" h="665">
                  <a:moveTo>
                    <a:pt x="71" y="664"/>
                  </a:moveTo>
                  <a:lnTo>
                    <a:pt x="71" y="664"/>
                  </a:lnTo>
                  <a:cubicBezTo>
                    <a:pt x="71" y="657"/>
                    <a:pt x="71" y="657"/>
                    <a:pt x="71" y="657"/>
                  </a:cubicBezTo>
                  <a:cubicBezTo>
                    <a:pt x="48" y="641"/>
                    <a:pt x="40" y="625"/>
                    <a:pt x="40" y="617"/>
                  </a:cubicBezTo>
                  <a:cubicBezTo>
                    <a:pt x="40" y="601"/>
                    <a:pt x="64" y="570"/>
                    <a:pt x="79" y="554"/>
                  </a:cubicBezTo>
                  <a:cubicBezTo>
                    <a:pt x="95" y="546"/>
                    <a:pt x="87" y="514"/>
                    <a:pt x="79" y="506"/>
                  </a:cubicBezTo>
                  <a:cubicBezTo>
                    <a:pt x="79" y="498"/>
                    <a:pt x="79" y="498"/>
                    <a:pt x="71" y="491"/>
                  </a:cubicBezTo>
                  <a:cubicBezTo>
                    <a:pt x="71" y="483"/>
                    <a:pt x="64" y="475"/>
                    <a:pt x="64" y="459"/>
                  </a:cubicBezTo>
                  <a:cubicBezTo>
                    <a:pt x="64" y="443"/>
                    <a:pt x="56" y="372"/>
                    <a:pt x="40" y="332"/>
                  </a:cubicBezTo>
                  <a:cubicBezTo>
                    <a:pt x="24" y="301"/>
                    <a:pt x="16" y="269"/>
                    <a:pt x="16" y="245"/>
                  </a:cubicBezTo>
                  <a:cubicBezTo>
                    <a:pt x="16" y="230"/>
                    <a:pt x="8" y="222"/>
                    <a:pt x="8" y="222"/>
                  </a:cubicBezTo>
                  <a:cubicBezTo>
                    <a:pt x="8" y="222"/>
                    <a:pt x="8" y="206"/>
                    <a:pt x="8" y="174"/>
                  </a:cubicBezTo>
                  <a:cubicBezTo>
                    <a:pt x="8" y="158"/>
                    <a:pt x="0" y="151"/>
                    <a:pt x="0" y="151"/>
                  </a:cubicBezTo>
                  <a:cubicBezTo>
                    <a:pt x="0" y="143"/>
                    <a:pt x="0" y="143"/>
                    <a:pt x="0" y="143"/>
                  </a:cubicBezTo>
                  <a:lnTo>
                    <a:pt x="0" y="143"/>
                  </a:lnTo>
                  <a:cubicBezTo>
                    <a:pt x="8" y="143"/>
                    <a:pt x="8" y="143"/>
                    <a:pt x="8" y="143"/>
                  </a:cubicBezTo>
                  <a:cubicBezTo>
                    <a:pt x="8" y="143"/>
                    <a:pt x="8" y="143"/>
                    <a:pt x="16" y="143"/>
                  </a:cubicBezTo>
                  <a:cubicBezTo>
                    <a:pt x="16" y="135"/>
                    <a:pt x="56" y="127"/>
                    <a:pt x="127" y="111"/>
                  </a:cubicBezTo>
                  <a:cubicBezTo>
                    <a:pt x="261" y="80"/>
                    <a:pt x="483" y="24"/>
                    <a:pt x="506" y="16"/>
                  </a:cubicBezTo>
                  <a:cubicBezTo>
                    <a:pt x="522" y="0"/>
                    <a:pt x="554" y="0"/>
                    <a:pt x="585" y="16"/>
                  </a:cubicBezTo>
                  <a:lnTo>
                    <a:pt x="585" y="16"/>
                  </a:lnTo>
                  <a:cubicBezTo>
                    <a:pt x="593" y="16"/>
                    <a:pt x="593" y="16"/>
                    <a:pt x="593" y="16"/>
                  </a:cubicBezTo>
                  <a:lnTo>
                    <a:pt x="593" y="16"/>
                  </a:lnTo>
                  <a:cubicBezTo>
                    <a:pt x="601" y="64"/>
                    <a:pt x="601" y="72"/>
                    <a:pt x="601" y="80"/>
                  </a:cubicBezTo>
                  <a:cubicBezTo>
                    <a:pt x="609" y="95"/>
                    <a:pt x="649" y="230"/>
                    <a:pt x="656" y="325"/>
                  </a:cubicBezTo>
                  <a:lnTo>
                    <a:pt x="656" y="325"/>
                  </a:lnTo>
                  <a:lnTo>
                    <a:pt x="656" y="325"/>
                  </a:lnTo>
                  <a:cubicBezTo>
                    <a:pt x="641" y="332"/>
                    <a:pt x="633" y="340"/>
                    <a:pt x="617" y="340"/>
                  </a:cubicBezTo>
                  <a:cubicBezTo>
                    <a:pt x="577" y="364"/>
                    <a:pt x="538" y="388"/>
                    <a:pt x="522" y="388"/>
                  </a:cubicBezTo>
                  <a:cubicBezTo>
                    <a:pt x="514" y="396"/>
                    <a:pt x="498" y="396"/>
                    <a:pt x="490" y="404"/>
                  </a:cubicBezTo>
                  <a:cubicBezTo>
                    <a:pt x="427" y="420"/>
                    <a:pt x="324" y="451"/>
                    <a:pt x="285" y="483"/>
                  </a:cubicBezTo>
                  <a:cubicBezTo>
                    <a:pt x="230" y="514"/>
                    <a:pt x="174" y="570"/>
                    <a:pt x="143" y="601"/>
                  </a:cubicBezTo>
                  <a:cubicBezTo>
                    <a:pt x="127" y="625"/>
                    <a:pt x="103" y="633"/>
                    <a:pt x="87" y="649"/>
                  </a:cubicBezTo>
                  <a:cubicBezTo>
                    <a:pt x="87" y="657"/>
                    <a:pt x="79" y="657"/>
                    <a:pt x="79" y="657"/>
                  </a:cubicBezTo>
                  <a:lnTo>
                    <a:pt x="71" y="664"/>
                  </a:lnTo>
                  <a:close/>
                  <a:moveTo>
                    <a:pt x="8" y="151"/>
                  </a:moveTo>
                  <a:lnTo>
                    <a:pt x="8" y="151"/>
                  </a:lnTo>
                  <a:cubicBezTo>
                    <a:pt x="8" y="151"/>
                    <a:pt x="8" y="158"/>
                    <a:pt x="16" y="174"/>
                  </a:cubicBezTo>
                  <a:cubicBezTo>
                    <a:pt x="16" y="190"/>
                    <a:pt x="16" y="214"/>
                    <a:pt x="16" y="214"/>
                  </a:cubicBezTo>
                  <a:cubicBezTo>
                    <a:pt x="16" y="222"/>
                    <a:pt x="16" y="230"/>
                    <a:pt x="24" y="245"/>
                  </a:cubicBezTo>
                  <a:cubicBezTo>
                    <a:pt x="24" y="269"/>
                    <a:pt x="32" y="301"/>
                    <a:pt x="40" y="325"/>
                  </a:cubicBezTo>
                  <a:cubicBezTo>
                    <a:pt x="64" y="364"/>
                    <a:pt x="71" y="435"/>
                    <a:pt x="71" y="459"/>
                  </a:cubicBezTo>
                  <a:cubicBezTo>
                    <a:pt x="71" y="475"/>
                    <a:pt x="79" y="483"/>
                    <a:pt x="79" y="491"/>
                  </a:cubicBezTo>
                  <a:cubicBezTo>
                    <a:pt x="87" y="491"/>
                    <a:pt x="87" y="498"/>
                    <a:pt x="87" y="506"/>
                  </a:cubicBezTo>
                  <a:cubicBezTo>
                    <a:pt x="95" y="514"/>
                    <a:pt x="103" y="546"/>
                    <a:pt x="79" y="562"/>
                  </a:cubicBezTo>
                  <a:cubicBezTo>
                    <a:pt x="64" y="570"/>
                    <a:pt x="48" y="601"/>
                    <a:pt x="48" y="617"/>
                  </a:cubicBezTo>
                  <a:cubicBezTo>
                    <a:pt x="48" y="617"/>
                    <a:pt x="48" y="625"/>
                    <a:pt x="71" y="649"/>
                  </a:cubicBezTo>
                  <a:cubicBezTo>
                    <a:pt x="79" y="649"/>
                    <a:pt x="79" y="649"/>
                    <a:pt x="87" y="641"/>
                  </a:cubicBezTo>
                  <a:cubicBezTo>
                    <a:pt x="103" y="633"/>
                    <a:pt x="119" y="617"/>
                    <a:pt x="135" y="601"/>
                  </a:cubicBezTo>
                  <a:cubicBezTo>
                    <a:pt x="166" y="562"/>
                    <a:pt x="230" y="514"/>
                    <a:pt x="277" y="475"/>
                  </a:cubicBezTo>
                  <a:cubicBezTo>
                    <a:pt x="324" y="443"/>
                    <a:pt x="427" y="411"/>
                    <a:pt x="483" y="396"/>
                  </a:cubicBezTo>
                  <a:cubicBezTo>
                    <a:pt x="498" y="388"/>
                    <a:pt x="514" y="388"/>
                    <a:pt x="514" y="380"/>
                  </a:cubicBezTo>
                  <a:cubicBezTo>
                    <a:pt x="538" y="380"/>
                    <a:pt x="577" y="356"/>
                    <a:pt x="617" y="340"/>
                  </a:cubicBezTo>
                  <a:cubicBezTo>
                    <a:pt x="625" y="332"/>
                    <a:pt x="641" y="325"/>
                    <a:pt x="649" y="317"/>
                  </a:cubicBezTo>
                  <a:cubicBezTo>
                    <a:pt x="641" y="230"/>
                    <a:pt x="601" y="95"/>
                    <a:pt x="593" y="80"/>
                  </a:cubicBezTo>
                  <a:cubicBezTo>
                    <a:pt x="593" y="72"/>
                    <a:pt x="593" y="56"/>
                    <a:pt x="585" y="24"/>
                  </a:cubicBezTo>
                  <a:lnTo>
                    <a:pt x="585" y="24"/>
                  </a:lnTo>
                  <a:cubicBezTo>
                    <a:pt x="554" y="8"/>
                    <a:pt x="522" y="8"/>
                    <a:pt x="506" y="24"/>
                  </a:cubicBezTo>
                  <a:cubicBezTo>
                    <a:pt x="483" y="32"/>
                    <a:pt x="269" y="87"/>
                    <a:pt x="127" y="119"/>
                  </a:cubicBezTo>
                  <a:cubicBezTo>
                    <a:pt x="71" y="135"/>
                    <a:pt x="16" y="143"/>
                    <a:pt x="16" y="151"/>
                  </a:cubicBezTo>
                  <a:lnTo>
                    <a:pt x="8" y="151"/>
                  </a:lnTo>
                  <a:close/>
                </a:path>
              </a:pathLst>
            </a:custGeom>
            <a:solidFill>
              <a:schemeClr val="accent6"/>
            </a:solidFill>
            <a:ln>
              <a:solidFill>
                <a:schemeClr val="bg2"/>
              </a:solidFill>
            </a:ln>
            <a:effectLst/>
          </p:spPr>
          <p:txBody>
            <a:bodyPr wrap="none" anchor="ctr"/>
            <a:lstStyle/>
            <a:p>
              <a:endParaRPr lang="en-US"/>
            </a:p>
          </p:txBody>
        </p:sp>
        <p:sp>
          <p:nvSpPr>
            <p:cNvPr id="97" name="Freeform 767"/>
            <p:cNvSpPr>
              <a:spLocks noChangeArrowheads="1"/>
            </p:cNvSpPr>
            <p:nvPr/>
          </p:nvSpPr>
          <p:spPr bwMode="auto">
            <a:xfrm>
              <a:off x="6257701" y="2363783"/>
              <a:ext cx="1017755" cy="651376"/>
            </a:xfrm>
            <a:custGeom>
              <a:avLst/>
              <a:gdLst>
                <a:gd name="T0" fmla="*/ 2807 w 2823"/>
                <a:gd name="T1" fmla="*/ 1692 h 2088"/>
                <a:gd name="T2" fmla="*/ 2688 w 2823"/>
                <a:gd name="T3" fmla="*/ 1731 h 2088"/>
                <a:gd name="T4" fmla="*/ 2656 w 2823"/>
                <a:gd name="T5" fmla="*/ 1723 h 2088"/>
                <a:gd name="T6" fmla="*/ 2577 w 2823"/>
                <a:gd name="T7" fmla="*/ 1779 h 2088"/>
                <a:gd name="T8" fmla="*/ 2388 w 2823"/>
                <a:gd name="T9" fmla="*/ 1842 h 2088"/>
                <a:gd name="T10" fmla="*/ 2229 w 2823"/>
                <a:gd name="T11" fmla="*/ 1921 h 2088"/>
                <a:gd name="T12" fmla="*/ 2229 w 2823"/>
                <a:gd name="T13" fmla="*/ 1882 h 2088"/>
                <a:gd name="T14" fmla="*/ 2237 w 2823"/>
                <a:gd name="T15" fmla="*/ 1779 h 2088"/>
                <a:gd name="T16" fmla="*/ 2229 w 2823"/>
                <a:gd name="T17" fmla="*/ 1684 h 2088"/>
                <a:gd name="T18" fmla="*/ 2174 w 2823"/>
                <a:gd name="T19" fmla="*/ 1447 h 2088"/>
                <a:gd name="T20" fmla="*/ 2166 w 2823"/>
                <a:gd name="T21" fmla="*/ 1368 h 2088"/>
                <a:gd name="T22" fmla="*/ 2158 w 2823"/>
                <a:gd name="T23" fmla="*/ 1036 h 2088"/>
                <a:gd name="T24" fmla="*/ 2064 w 2823"/>
                <a:gd name="T25" fmla="*/ 664 h 2088"/>
                <a:gd name="T26" fmla="*/ 1992 w 2823"/>
                <a:gd name="T27" fmla="*/ 569 h 2088"/>
                <a:gd name="T28" fmla="*/ 1976 w 2823"/>
                <a:gd name="T29" fmla="*/ 348 h 2088"/>
                <a:gd name="T30" fmla="*/ 1897 w 2823"/>
                <a:gd name="T31" fmla="*/ 190 h 2088"/>
                <a:gd name="T32" fmla="*/ 1874 w 2823"/>
                <a:gd name="T33" fmla="*/ 0 h 2088"/>
                <a:gd name="T34" fmla="*/ 1123 w 2823"/>
                <a:gd name="T35" fmla="*/ 451 h 2088"/>
                <a:gd name="T36" fmla="*/ 1044 w 2823"/>
                <a:gd name="T37" fmla="*/ 561 h 2088"/>
                <a:gd name="T38" fmla="*/ 1020 w 2823"/>
                <a:gd name="T39" fmla="*/ 656 h 2088"/>
                <a:gd name="T40" fmla="*/ 1067 w 2823"/>
                <a:gd name="T41" fmla="*/ 672 h 2088"/>
                <a:gd name="T42" fmla="*/ 1059 w 2823"/>
                <a:gd name="T43" fmla="*/ 727 h 2088"/>
                <a:gd name="T44" fmla="*/ 1067 w 2823"/>
                <a:gd name="T45" fmla="*/ 806 h 2088"/>
                <a:gd name="T46" fmla="*/ 1059 w 2823"/>
                <a:gd name="T47" fmla="*/ 917 h 2088"/>
                <a:gd name="T48" fmla="*/ 988 w 2823"/>
                <a:gd name="T49" fmla="*/ 957 h 2088"/>
                <a:gd name="T50" fmla="*/ 933 w 2823"/>
                <a:gd name="T51" fmla="*/ 1028 h 2088"/>
                <a:gd name="T52" fmla="*/ 870 w 2823"/>
                <a:gd name="T53" fmla="*/ 1083 h 2088"/>
                <a:gd name="T54" fmla="*/ 743 w 2823"/>
                <a:gd name="T55" fmla="*/ 1083 h 2088"/>
                <a:gd name="T56" fmla="*/ 641 w 2823"/>
                <a:gd name="T57" fmla="*/ 1123 h 2088"/>
                <a:gd name="T58" fmla="*/ 206 w 2823"/>
                <a:gd name="T59" fmla="*/ 1186 h 2088"/>
                <a:gd name="T60" fmla="*/ 182 w 2823"/>
                <a:gd name="T61" fmla="*/ 1305 h 2088"/>
                <a:gd name="T62" fmla="*/ 237 w 2823"/>
                <a:gd name="T63" fmla="*/ 1383 h 2088"/>
                <a:gd name="T64" fmla="*/ 229 w 2823"/>
                <a:gd name="T65" fmla="*/ 1478 h 2088"/>
                <a:gd name="T66" fmla="*/ 0 w 2823"/>
                <a:gd name="T67" fmla="*/ 1731 h 2088"/>
                <a:gd name="T68" fmla="*/ 1439 w 2823"/>
                <a:gd name="T69" fmla="*/ 1565 h 2088"/>
                <a:gd name="T70" fmla="*/ 1644 w 2823"/>
                <a:gd name="T71" fmla="*/ 1605 h 2088"/>
                <a:gd name="T72" fmla="*/ 1787 w 2823"/>
                <a:gd name="T73" fmla="*/ 1763 h 2088"/>
                <a:gd name="T74" fmla="*/ 2103 w 2823"/>
                <a:gd name="T75" fmla="*/ 1882 h 2088"/>
                <a:gd name="T76" fmla="*/ 2135 w 2823"/>
                <a:gd name="T77" fmla="*/ 2008 h 2088"/>
                <a:gd name="T78" fmla="*/ 2166 w 2823"/>
                <a:gd name="T79" fmla="*/ 2079 h 2088"/>
                <a:gd name="T80" fmla="*/ 2609 w 2823"/>
                <a:gd name="T81" fmla="*/ 1850 h 2088"/>
                <a:gd name="T82" fmla="*/ 2807 w 2823"/>
                <a:gd name="T83" fmla="*/ 1692 h 2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23" h="2088">
                  <a:moveTo>
                    <a:pt x="2807" y="1692"/>
                  </a:moveTo>
                  <a:lnTo>
                    <a:pt x="2807" y="1692"/>
                  </a:lnTo>
                  <a:cubicBezTo>
                    <a:pt x="2791" y="1684"/>
                    <a:pt x="2767" y="1716"/>
                    <a:pt x="2728" y="1700"/>
                  </a:cubicBezTo>
                  <a:cubicBezTo>
                    <a:pt x="2696" y="1676"/>
                    <a:pt x="2696" y="1716"/>
                    <a:pt x="2688" y="1731"/>
                  </a:cubicBezTo>
                  <a:cubicBezTo>
                    <a:pt x="2688" y="1739"/>
                    <a:pt x="2641" y="1795"/>
                    <a:pt x="2625" y="1795"/>
                  </a:cubicBezTo>
                  <a:cubicBezTo>
                    <a:pt x="2617" y="1787"/>
                    <a:pt x="2648" y="1747"/>
                    <a:pt x="2656" y="1723"/>
                  </a:cubicBezTo>
                  <a:cubicBezTo>
                    <a:pt x="2672" y="1700"/>
                    <a:pt x="2664" y="1652"/>
                    <a:pt x="2656" y="1676"/>
                  </a:cubicBezTo>
                  <a:cubicBezTo>
                    <a:pt x="2648" y="1708"/>
                    <a:pt x="2609" y="1755"/>
                    <a:pt x="2577" y="1779"/>
                  </a:cubicBezTo>
                  <a:cubicBezTo>
                    <a:pt x="2538" y="1795"/>
                    <a:pt x="2490" y="1803"/>
                    <a:pt x="2467" y="1803"/>
                  </a:cubicBezTo>
                  <a:cubicBezTo>
                    <a:pt x="2435" y="1810"/>
                    <a:pt x="2403" y="1810"/>
                    <a:pt x="2388" y="1842"/>
                  </a:cubicBezTo>
                  <a:cubicBezTo>
                    <a:pt x="2372" y="1874"/>
                    <a:pt x="2340" y="1866"/>
                    <a:pt x="2308" y="1874"/>
                  </a:cubicBezTo>
                  <a:cubicBezTo>
                    <a:pt x="2277" y="1882"/>
                    <a:pt x="2253" y="1913"/>
                    <a:pt x="2229" y="1921"/>
                  </a:cubicBezTo>
                  <a:cubicBezTo>
                    <a:pt x="2206" y="1937"/>
                    <a:pt x="2182" y="1937"/>
                    <a:pt x="2206" y="1905"/>
                  </a:cubicBezTo>
                  <a:cubicBezTo>
                    <a:pt x="2214" y="1897"/>
                    <a:pt x="2222" y="1889"/>
                    <a:pt x="2229" y="1882"/>
                  </a:cubicBezTo>
                  <a:cubicBezTo>
                    <a:pt x="2222" y="1866"/>
                    <a:pt x="2206" y="1850"/>
                    <a:pt x="2198" y="1842"/>
                  </a:cubicBezTo>
                  <a:cubicBezTo>
                    <a:pt x="2198" y="1826"/>
                    <a:pt x="2222" y="1795"/>
                    <a:pt x="2237" y="1779"/>
                  </a:cubicBezTo>
                  <a:cubicBezTo>
                    <a:pt x="2253" y="1771"/>
                    <a:pt x="2253" y="1747"/>
                    <a:pt x="2245" y="1731"/>
                  </a:cubicBezTo>
                  <a:cubicBezTo>
                    <a:pt x="2237" y="1716"/>
                    <a:pt x="2229" y="1708"/>
                    <a:pt x="2229" y="1684"/>
                  </a:cubicBezTo>
                  <a:cubicBezTo>
                    <a:pt x="2229" y="1660"/>
                    <a:pt x="2214" y="1589"/>
                    <a:pt x="2198" y="1550"/>
                  </a:cubicBezTo>
                  <a:cubicBezTo>
                    <a:pt x="2182" y="1518"/>
                    <a:pt x="2174" y="1455"/>
                    <a:pt x="2174" y="1447"/>
                  </a:cubicBezTo>
                  <a:cubicBezTo>
                    <a:pt x="2166" y="1439"/>
                    <a:pt x="2166" y="1376"/>
                    <a:pt x="2166" y="1368"/>
                  </a:cubicBezTo>
                  <a:lnTo>
                    <a:pt x="2166" y="1368"/>
                  </a:lnTo>
                  <a:cubicBezTo>
                    <a:pt x="2158" y="1368"/>
                    <a:pt x="2158" y="1360"/>
                    <a:pt x="2158" y="1360"/>
                  </a:cubicBezTo>
                  <a:cubicBezTo>
                    <a:pt x="2158" y="1036"/>
                    <a:pt x="2158" y="1036"/>
                    <a:pt x="2158" y="1036"/>
                  </a:cubicBezTo>
                  <a:cubicBezTo>
                    <a:pt x="2158" y="1028"/>
                    <a:pt x="2127" y="870"/>
                    <a:pt x="2111" y="814"/>
                  </a:cubicBezTo>
                  <a:cubicBezTo>
                    <a:pt x="2095" y="759"/>
                    <a:pt x="2079" y="688"/>
                    <a:pt x="2064" y="664"/>
                  </a:cubicBezTo>
                  <a:cubicBezTo>
                    <a:pt x="2048" y="633"/>
                    <a:pt x="2048" y="664"/>
                    <a:pt x="2024" y="664"/>
                  </a:cubicBezTo>
                  <a:cubicBezTo>
                    <a:pt x="2000" y="656"/>
                    <a:pt x="1992" y="593"/>
                    <a:pt x="1992" y="569"/>
                  </a:cubicBezTo>
                  <a:cubicBezTo>
                    <a:pt x="1992" y="546"/>
                    <a:pt x="1984" y="482"/>
                    <a:pt x="1969" y="443"/>
                  </a:cubicBezTo>
                  <a:cubicBezTo>
                    <a:pt x="1953" y="403"/>
                    <a:pt x="1976" y="379"/>
                    <a:pt x="1976" y="348"/>
                  </a:cubicBezTo>
                  <a:cubicBezTo>
                    <a:pt x="1969" y="324"/>
                    <a:pt x="1953" y="269"/>
                    <a:pt x="1937" y="245"/>
                  </a:cubicBezTo>
                  <a:cubicBezTo>
                    <a:pt x="1929" y="222"/>
                    <a:pt x="1905" y="222"/>
                    <a:pt x="1897" y="190"/>
                  </a:cubicBezTo>
                  <a:cubicBezTo>
                    <a:pt x="1889" y="150"/>
                    <a:pt x="1897" y="111"/>
                    <a:pt x="1889" y="95"/>
                  </a:cubicBezTo>
                  <a:cubicBezTo>
                    <a:pt x="1882" y="79"/>
                    <a:pt x="1874" y="24"/>
                    <a:pt x="1874" y="0"/>
                  </a:cubicBezTo>
                  <a:cubicBezTo>
                    <a:pt x="1629" y="55"/>
                    <a:pt x="1399" y="111"/>
                    <a:pt x="1384" y="111"/>
                  </a:cubicBezTo>
                  <a:cubicBezTo>
                    <a:pt x="1344" y="119"/>
                    <a:pt x="1123" y="411"/>
                    <a:pt x="1123" y="451"/>
                  </a:cubicBezTo>
                  <a:cubicBezTo>
                    <a:pt x="1123" y="482"/>
                    <a:pt x="1067" y="530"/>
                    <a:pt x="1028" y="561"/>
                  </a:cubicBezTo>
                  <a:cubicBezTo>
                    <a:pt x="1044" y="561"/>
                    <a:pt x="1044" y="561"/>
                    <a:pt x="1044" y="561"/>
                  </a:cubicBezTo>
                  <a:cubicBezTo>
                    <a:pt x="1028" y="577"/>
                    <a:pt x="980" y="633"/>
                    <a:pt x="980" y="640"/>
                  </a:cubicBezTo>
                  <a:cubicBezTo>
                    <a:pt x="980" y="648"/>
                    <a:pt x="1012" y="664"/>
                    <a:pt x="1020" y="656"/>
                  </a:cubicBezTo>
                  <a:cubicBezTo>
                    <a:pt x="1028" y="648"/>
                    <a:pt x="1059" y="640"/>
                    <a:pt x="1052" y="664"/>
                  </a:cubicBezTo>
                  <a:cubicBezTo>
                    <a:pt x="1052" y="680"/>
                    <a:pt x="1052" y="688"/>
                    <a:pt x="1067" y="672"/>
                  </a:cubicBezTo>
                  <a:cubicBezTo>
                    <a:pt x="1083" y="664"/>
                    <a:pt x="1107" y="680"/>
                    <a:pt x="1083" y="688"/>
                  </a:cubicBezTo>
                  <a:cubicBezTo>
                    <a:pt x="1067" y="696"/>
                    <a:pt x="1052" y="719"/>
                    <a:pt x="1059" y="727"/>
                  </a:cubicBezTo>
                  <a:cubicBezTo>
                    <a:pt x="1059" y="727"/>
                    <a:pt x="1052" y="735"/>
                    <a:pt x="1052" y="759"/>
                  </a:cubicBezTo>
                  <a:cubicBezTo>
                    <a:pt x="1052" y="775"/>
                    <a:pt x="1059" y="790"/>
                    <a:pt x="1067" y="806"/>
                  </a:cubicBezTo>
                  <a:cubicBezTo>
                    <a:pt x="1075" y="830"/>
                    <a:pt x="1091" y="846"/>
                    <a:pt x="1083" y="862"/>
                  </a:cubicBezTo>
                  <a:cubicBezTo>
                    <a:pt x="1083" y="886"/>
                    <a:pt x="1083" y="917"/>
                    <a:pt x="1059" y="917"/>
                  </a:cubicBezTo>
                  <a:cubicBezTo>
                    <a:pt x="1044" y="917"/>
                    <a:pt x="1028" y="901"/>
                    <a:pt x="1020" y="925"/>
                  </a:cubicBezTo>
                  <a:cubicBezTo>
                    <a:pt x="1012" y="941"/>
                    <a:pt x="1004" y="957"/>
                    <a:pt x="988" y="957"/>
                  </a:cubicBezTo>
                  <a:cubicBezTo>
                    <a:pt x="980" y="965"/>
                    <a:pt x="965" y="965"/>
                    <a:pt x="965" y="980"/>
                  </a:cubicBezTo>
                  <a:cubicBezTo>
                    <a:pt x="957" y="996"/>
                    <a:pt x="949" y="1012"/>
                    <a:pt x="933" y="1028"/>
                  </a:cubicBezTo>
                  <a:cubicBezTo>
                    <a:pt x="909" y="1036"/>
                    <a:pt x="894" y="1052"/>
                    <a:pt x="885" y="1059"/>
                  </a:cubicBezTo>
                  <a:cubicBezTo>
                    <a:pt x="878" y="1075"/>
                    <a:pt x="885" y="1083"/>
                    <a:pt x="870" y="1083"/>
                  </a:cubicBezTo>
                  <a:cubicBezTo>
                    <a:pt x="854" y="1075"/>
                    <a:pt x="846" y="1075"/>
                    <a:pt x="822" y="1075"/>
                  </a:cubicBezTo>
                  <a:cubicBezTo>
                    <a:pt x="799" y="1075"/>
                    <a:pt x="759" y="1075"/>
                    <a:pt x="743" y="1083"/>
                  </a:cubicBezTo>
                  <a:cubicBezTo>
                    <a:pt x="727" y="1099"/>
                    <a:pt x="696" y="1107"/>
                    <a:pt x="680" y="1115"/>
                  </a:cubicBezTo>
                  <a:cubicBezTo>
                    <a:pt x="672" y="1130"/>
                    <a:pt x="656" y="1139"/>
                    <a:pt x="641" y="1123"/>
                  </a:cubicBezTo>
                  <a:cubicBezTo>
                    <a:pt x="617" y="1107"/>
                    <a:pt x="593" y="1091"/>
                    <a:pt x="577" y="1099"/>
                  </a:cubicBezTo>
                  <a:cubicBezTo>
                    <a:pt x="554" y="1099"/>
                    <a:pt x="340" y="1083"/>
                    <a:pt x="206" y="1186"/>
                  </a:cubicBezTo>
                  <a:cubicBezTo>
                    <a:pt x="190" y="1202"/>
                    <a:pt x="174" y="1210"/>
                    <a:pt x="158" y="1217"/>
                  </a:cubicBezTo>
                  <a:cubicBezTo>
                    <a:pt x="174" y="1249"/>
                    <a:pt x="182" y="1281"/>
                    <a:pt x="182" y="1305"/>
                  </a:cubicBezTo>
                  <a:cubicBezTo>
                    <a:pt x="190" y="1328"/>
                    <a:pt x="221" y="1376"/>
                    <a:pt x="229" y="1392"/>
                  </a:cubicBezTo>
                  <a:cubicBezTo>
                    <a:pt x="237" y="1392"/>
                    <a:pt x="237" y="1392"/>
                    <a:pt x="237" y="1383"/>
                  </a:cubicBezTo>
                  <a:cubicBezTo>
                    <a:pt x="237" y="1383"/>
                    <a:pt x="277" y="1392"/>
                    <a:pt x="269" y="1407"/>
                  </a:cubicBezTo>
                  <a:cubicBezTo>
                    <a:pt x="261" y="1423"/>
                    <a:pt x="253" y="1463"/>
                    <a:pt x="229" y="1478"/>
                  </a:cubicBezTo>
                  <a:cubicBezTo>
                    <a:pt x="206" y="1494"/>
                    <a:pt x="126" y="1613"/>
                    <a:pt x="95" y="1652"/>
                  </a:cubicBezTo>
                  <a:cubicBezTo>
                    <a:pt x="79" y="1660"/>
                    <a:pt x="48" y="1700"/>
                    <a:pt x="0" y="1731"/>
                  </a:cubicBezTo>
                  <a:cubicBezTo>
                    <a:pt x="24" y="1842"/>
                    <a:pt x="24" y="1842"/>
                    <a:pt x="24" y="1842"/>
                  </a:cubicBezTo>
                  <a:cubicBezTo>
                    <a:pt x="24" y="1842"/>
                    <a:pt x="1415" y="1581"/>
                    <a:pt x="1439" y="1565"/>
                  </a:cubicBezTo>
                  <a:cubicBezTo>
                    <a:pt x="1471" y="1557"/>
                    <a:pt x="1494" y="1526"/>
                    <a:pt x="1542" y="1565"/>
                  </a:cubicBezTo>
                  <a:cubicBezTo>
                    <a:pt x="1589" y="1597"/>
                    <a:pt x="1613" y="1597"/>
                    <a:pt x="1644" y="1605"/>
                  </a:cubicBezTo>
                  <a:cubicBezTo>
                    <a:pt x="1676" y="1605"/>
                    <a:pt x="1700" y="1716"/>
                    <a:pt x="1716" y="1747"/>
                  </a:cubicBezTo>
                  <a:cubicBezTo>
                    <a:pt x="1739" y="1779"/>
                    <a:pt x="1739" y="1755"/>
                    <a:pt x="1787" y="1763"/>
                  </a:cubicBezTo>
                  <a:cubicBezTo>
                    <a:pt x="1826" y="1771"/>
                    <a:pt x="1842" y="1779"/>
                    <a:pt x="1866" y="1810"/>
                  </a:cubicBezTo>
                  <a:cubicBezTo>
                    <a:pt x="1889" y="1834"/>
                    <a:pt x="2079" y="1882"/>
                    <a:pt x="2103" y="1882"/>
                  </a:cubicBezTo>
                  <a:cubicBezTo>
                    <a:pt x="2127" y="1889"/>
                    <a:pt x="2142" y="1897"/>
                    <a:pt x="2150" y="1913"/>
                  </a:cubicBezTo>
                  <a:cubicBezTo>
                    <a:pt x="2158" y="1929"/>
                    <a:pt x="2135" y="1992"/>
                    <a:pt x="2135" y="2008"/>
                  </a:cubicBezTo>
                  <a:cubicBezTo>
                    <a:pt x="2127" y="2016"/>
                    <a:pt x="2119" y="2040"/>
                    <a:pt x="2119" y="2056"/>
                  </a:cubicBezTo>
                  <a:cubicBezTo>
                    <a:pt x="2135" y="2063"/>
                    <a:pt x="2119" y="2087"/>
                    <a:pt x="2166" y="2079"/>
                  </a:cubicBezTo>
                  <a:cubicBezTo>
                    <a:pt x="2214" y="2071"/>
                    <a:pt x="2324" y="2008"/>
                    <a:pt x="2403" y="1976"/>
                  </a:cubicBezTo>
                  <a:cubicBezTo>
                    <a:pt x="2482" y="1937"/>
                    <a:pt x="2538" y="1882"/>
                    <a:pt x="2609" y="1850"/>
                  </a:cubicBezTo>
                  <a:cubicBezTo>
                    <a:pt x="2680" y="1818"/>
                    <a:pt x="2688" y="1803"/>
                    <a:pt x="2719" y="1779"/>
                  </a:cubicBezTo>
                  <a:cubicBezTo>
                    <a:pt x="2751" y="1747"/>
                    <a:pt x="2822" y="1700"/>
                    <a:pt x="2807" y="1692"/>
                  </a:cubicBezTo>
                </a:path>
              </a:pathLst>
            </a:custGeom>
            <a:solidFill>
              <a:schemeClr val="accent6"/>
            </a:solidFill>
            <a:ln>
              <a:solidFill>
                <a:schemeClr val="bg2"/>
              </a:solidFill>
            </a:ln>
            <a:effectLst/>
          </p:spPr>
          <p:txBody>
            <a:bodyPr wrap="none" anchor="ctr"/>
            <a:lstStyle/>
            <a:p>
              <a:endParaRPr lang="en-US"/>
            </a:p>
          </p:txBody>
        </p:sp>
        <p:sp>
          <p:nvSpPr>
            <p:cNvPr id="98" name="Freeform 768"/>
            <p:cNvSpPr>
              <a:spLocks noChangeArrowheads="1"/>
            </p:cNvSpPr>
            <p:nvPr/>
          </p:nvSpPr>
          <p:spPr bwMode="auto">
            <a:xfrm>
              <a:off x="6257701" y="2361029"/>
              <a:ext cx="1014574" cy="654130"/>
            </a:xfrm>
            <a:custGeom>
              <a:avLst/>
              <a:gdLst>
                <a:gd name="T0" fmla="*/ 2119 w 2815"/>
                <a:gd name="T1" fmla="*/ 2064 h 2096"/>
                <a:gd name="T2" fmla="*/ 2142 w 2815"/>
                <a:gd name="T3" fmla="*/ 1921 h 2096"/>
                <a:gd name="T4" fmla="*/ 1747 w 2815"/>
                <a:gd name="T5" fmla="*/ 1771 h 2096"/>
                <a:gd name="T6" fmla="*/ 1644 w 2815"/>
                <a:gd name="T7" fmla="*/ 1613 h 2096"/>
                <a:gd name="T8" fmla="*/ 32 w 2815"/>
                <a:gd name="T9" fmla="*/ 1858 h 2096"/>
                <a:gd name="T10" fmla="*/ 150 w 2815"/>
                <a:gd name="T11" fmla="*/ 1581 h 2096"/>
                <a:gd name="T12" fmla="*/ 245 w 2815"/>
                <a:gd name="T13" fmla="*/ 1400 h 2096"/>
                <a:gd name="T14" fmla="*/ 182 w 2815"/>
                <a:gd name="T15" fmla="*/ 1313 h 2096"/>
                <a:gd name="T16" fmla="*/ 546 w 2815"/>
                <a:gd name="T17" fmla="*/ 1099 h 2096"/>
                <a:gd name="T18" fmla="*/ 680 w 2815"/>
                <a:gd name="T19" fmla="*/ 1123 h 2096"/>
                <a:gd name="T20" fmla="*/ 870 w 2815"/>
                <a:gd name="T21" fmla="*/ 1083 h 2096"/>
                <a:gd name="T22" fmla="*/ 957 w 2815"/>
                <a:gd name="T23" fmla="*/ 988 h 2096"/>
                <a:gd name="T24" fmla="*/ 1036 w 2815"/>
                <a:gd name="T25" fmla="*/ 917 h 2096"/>
                <a:gd name="T26" fmla="*/ 1075 w 2815"/>
                <a:gd name="T27" fmla="*/ 838 h 2096"/>
                <a:gd name="T28" fmla="*/ 1052 w 2815"/>
                <a:gd name="T29" fmla="*/ 735 h 2096"/>
                <a:gd name="T30" fmla="*/ 1067 w 2815"/>
                <a:gd name="T31" fmla="*/ 688 h 2096"/>
                <a:gd name="T32" fmla="*/ 1044 w 2815"/>
                <a:gd name="T33" fmla="*/ 664 h 2096"/>
                <a:gd name="T34" fmla="*/ 1028 w 2815"/>
                <a:gd name="T35" fmla="*/ 569 h 2096"/>
                <a:gd name="T36" fmla="*/ 1384 w 2815"/>
                <a:gd name="T37" fmla="*/ 119 h 2096"/>
                <a:gd name="T38" fmla="*/ 1897 w 2815"/>
                <a:gd name="T39" fmla="*/ 150 h 2096"/>
                <a:gd name="T40" fmla="*/ 1969 w 2815"/>
                <a:gd name="T41" fmla="*/ 396 h 2096"/>
                <a:gd name="T42" fmla="*/ 2055 w 2815"/>
                <a:gd name="T43" fmla="*/ 656 h 2096"/>
                <a:gd name="T44" fmla="*/ 2166 w 2815"/>
                <a:gd name="T45" fmla="*/ 1044 h 2096"/>
                <a:gd name="T46" fmla="*/ 2166 w 2815"/>
                <a:gd name="T47" fmla="*/ 1376 h 2096"/>
                <a:gd name="T48" fmla="*/ 2229 w 2815"/>
                <a:gd name="T49" fmla="*/ 1692 h 2096"/>
                <a:gd name="T50" fmla="*/ 2237 w 2815"/>
                <a:gd name="T51" fmla="*/ 1890 h 2096"/>
                <a:gd name="T52" fmla="*/ 2206 w 2815"/>
                <a:gd name="T53" fmla="*/ 1937 h 2096"/>
                <a:gd name="T54" fmla="*/ 2388 w 2815"/>
                <a:gd name="T55" fmla="*/ 1850 h 2096"/>
                <a:gd name="T56" fmla="*/ 2664 w 2815"/>
                <a:gd name="T57" fmla="*/ 1676 h 2096"/>
                <a:gd name="T58" fmla="*/ 2633 w 2815"/>
                <a:gd name="T59" fmla="*/ 1795 h 2096"/>
                <a:gd name="T60" fmla="*/ 2751 w 2815"/>
                <a:gd name="T61" fmla="*/ 1708 h 2096"/>
                <a:gd name="T62" fmla="*/ 2751 w 2815"/>
                <a:gd name="T63" fmla="*/ 1763 h 2096"/>
                <a:gd name="T64" fmla="*/ 2411 w 2815"/>
                <a:gd name="T65" fmla="*/ 1984 h 2096"/>
                <a:gd name="T66" fmla="*/ 2119 w 2815"/>
                <a:gd name="T67" fmla="*/ 2064 h 2096"/>
                <a:gd name="T68" fmla="*/ 2308 w 2815"/>
                <a:gd name="T69" fmla="*/ 2024 h 2096"/>
                <a:gd name="T70" fmla="*/ 2719 w 2815"/>
                <a:gd name="T71" fmla="*/ 1779 h 2096"/>
                <a:gd name="T72" fmla="*/ 2751 w 2815"/>
                <a:gd name="T73" fmla="*/ 1716 h 2096"/>
                <a:gd name="T74" fmla="*/ 2633 w 2815"/>
                <a:gd name="T75" fmla="*/ 1803 h 2096"/>
                <a:gd name="T76" fmla="*/ 2656 w 2815"/>
                <a:gd name="T77" fmla="*/ 1684 h 2096"/>
                <a:gd name="T78" fmla="*/ 2332 w 2815"/>
                <a:gd name="T79" fmla="*/ 1882 h 2096"/>
                <a:gd name="T80" fmla="*/ 2190 w 2815"/>
                <a:gd name="T81" fmla="*/ 1937 h 2096"/>
                <a:gd name="T82" fmla="*/ 2237 w 2815"/>
                <a:gd name="T83" fmla="*/ 1739 h 2096"/>
                <a:gd name="T84" fmla="*/ 2166 w 2815"/>
                <a:gd name="T85" fmla="*/ 1455 h 2096"/>
                <a:gd name="T86" fmla="*/ 2150 w 2815"/>
                <a:gd name="T87" fmla="*/ 1368 h 2096"/>
                <a:gd name="T88" fmla="*/ 2055 w 2815"/>
                <a:gd name="T89" fmla="*/ 664 h 2096"/>
                <a:gd name="T90" fmla="*/ 1969 w 2815"/>
                <a:gd name="T91" fmla="*/ 451 h 2096"/>
                <a:gd name="T92" fmla="*/ 1897 w 2815"/>
                <a:gd name="T93" fmla="*/ 198 h 2096"/>
                <a:gd name="T94" fmla="*/ 1123 w 2815"/>
                <a:gd name="T95" fmla="*/ 459 h 2096"/>
                <a:gd name="T96" fmla="*/ 980 w 2815"/>
                <a:gd name="T97" fmla="*/ 648 h 2096"/>
                <a:gd name="T98" fmla="*/ 1059 w 2815"/>
                <a:gd name="T99" fmla="*/ 672 h 2096"/>
                <a:gd name="T100" fmla="*/ 1091 w 2815"/>
                <a:gd name="T101" fmla="*/ 696 h 2096"/>
                <a:gd name="T102" fmla="*/ 1067 w 2815"/>
                <a:gd name="T103" fmla="*/ 814 h 2096"/>
                <a:gd name="T104" fmla="*/ 1044 w 2815"/>
                <a:gd name="T105" fmla="*/ 925 h 2096"/>
                <a:gd name="T106" fmla="*/ 965 w 2815"/>
                <a:gd name="T107" fmla="*/ 988 h 2096"/>
                <a:gd name="T108" fmla="*/ 862 w 2815"/>
                <a:gd name="T109" fmla="*/ 1091 h 2096"/>
                <a:gd name="T110" fmla="*/ 632 w 2815"/>
                <a:gd name="T111" fmla="*/ 1138 h 2096"/>
                <a:gd name="T112" fmla="*/ 206 w 2815"/>
                <a:gd name="T113" fmla="*/ 1202 h 2096"/>
                <a:gd name="T114" fmla="*/ 237 w 2815"/>
                <a:gd name="T115" fmla="*/ 1391 h 2096"/>
                <a:gd name="T116" fmla="*/ 261 w 2815"/>
                <a:gd name="T117" fmla="*/ 1431 h 2096"/>
                <a:gd name="T118" fmla="*/ 32 w 2815"/>
                <a:gd name="T119" fmla="*/ 1850 h 2096"/>
                <a:gd name="T120" fmla="*/ 1644 w 2815"/>
                <a:gd name="T121" fmla="*/ 1605 h 2096"/>
                <a:gd name="T122" fmla="*/ 1747 w 2815"/>
                <a:gd name="T123" fmla="*/ 1763 h 2096"/>
                <a:gd name="T124" fmla="*/ 2150 w 2815"/>
                <a:gd name="T125" fmla="*/ 1921 h 2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15" h="2096">
                  <a:moveTo>
                    <a:pt x="2150" y="2095"/>
                  </a:moveTo>
                  <a:lnTo>
                    <a:pt x="2150" y="2095"/>
                  </a:lnTo>
                  <a:lnTo>
                    <a:pt x="2150" y="2095"/>
                  </a:lnTo>
                  <a:cubicBezTo>
                    <a:pt x="2135" y="2095"/>
                    <a:pt x="2127" y="2087"/>
                    <a:pt x="2127" y="2079"/>
                  </a:cubicBezTo>
                  <a:cubicBezTo>
                    <a:pt x="2127" y="2071"/>
                    <a:pt x="2119" y="2071"/>
                    <a:pt x="2119" y="2064"/>
                  </a:cubicBezTo>
                  <a:cubicBezTo>
                    <a:pt x="2111" y="2064"/>
                    <a:pt x="2111" y="2064"/>
                    <a:pt x="2111" y="2064"/>
                  </a:cubicBezTo>
                  <a:lnTo>
                    <a:pt x="2111" y="2064"/>
                  </a:lnTo>
                  <a:cubicBezTo>
                    <a:pt x="2119" y="2048"/>
                    <a:pt x="2127" y="2024"/>
                    <a:pt x="2127" y="2016"/>
                  </a:cubicBezTo>
                  <a:cubicBezTo>
                    <a:pt x="2127" y="2008"/>
                    <a:pt x="2135" y="2008"/>
                    <a:pt x="2135" y="2000"/>
                  </a:cubicBezTo>
                  <a:cubicBezTo>
                    <a:pt x="2135" y="1977"/>
                    <a:pt x="2150" y="1937"/>
                    <a:pt x="2142" y="1921"/>
                  </a:cubicBezTo>
                  <a:cubicBezTo>
                    <a:pt x="2142" y="1905"/>
                    <a:pt x="2127" y="1897"/>
                    <a:pt x="2103" y="1897"/>
                  </a:cubicBezTo>
                  <a:cubicBezTo>
                    <a:pt x="2087" y="1890"/>
                    <a:pt x="1889" y="1850"/>
                    <a:pt x="1866" y="1818"/>
                  </a:cubicBezTo>
                  <a:cubicBezTo>
                    <a:pt x="1842" y="1795"/>
                    <a:pt x="1826" y="1787"/>
                    <a:pt x="1787" y="1771"/>
                  </a:cubicBezTo>
                  <a:cubicBezTo>
                    <a:pt x="1779" y="1771"/>
                    <a:pt x="1771" y="1771"/>
                    <a:pt x="1763" y="1771"/>
                  </a:cubicBezTo>
                  <a:cubicBezTo>
                    <a:pt x="1755" y="1771"/>
                    <a:pt x="1755" y="1771"/>
                    <a:pt x="1747" y="1771"/>
                  </a:cubicBezTo>
                  <a:lnTo>
                    <a:pt x="1739" y="1771"/>
                  </a:lnTo>
                  <a:cubicBezTo>
                    <a:pt x="1731" y="1771"/>
                    <a:pt x="1724" y="1771"/>
                    <a:pt x="1716" y="1755"/>
                  </a:cubicBezTo>
                  <a:cubicBezTo>
                    <a:pt x="1708" y="1747"/>
                    <a:pt x="1700" y="1724"/>
                    <a:pt x="1692" y="1708"/>
                  </a:cubicBezTo>
                  <a:cubicBezTo>
                    <a:pt x="1676" y="1668"/>
                    <a:pt x="1660" y="1613"/>
                    <a:pt x="1644" y="1613"/>
                  </a:cubicBezTo>
                  <a:lnTo>
                    <a:pt x="1644" y="1613"/>
                  </a:lnTo>
                  <a:cubicBezTo>
                    <a:pt x="1613" y="1613"/>
                    <a:pt x="1589" y="1613"/>
                    <a:pt x="1542" y="1573"/>
                  </a:cubicBezTo>
                  <a:cubicBezTo>
                    <a:pt x="1526" y="1558"/>
                    <a:pt x="1510" y="1558"/>
                    <a:pt x="1502" y="1558"/>
                  </a:cubicBezTo>
                  <a:cubicBezTo>
                    <a:pt x="1486" y="1558"/>
                    <a:pt x="1471" y="1565"/>
                    <a:pt x="1463" y="1565"/>
                  </a:cubicBezTo>
                  <a:cubicBezTo>
                    <a:pt x="1455" y="1573"/>
                    <a:pt x="1447" y="1573"/>
                    <a:pt x="1439" y="1581"/>
                  </a:cubicBezTo>
                  <a:cubicBezTo>
                    <a:pt x="1415" y="1589"/>
                    <a:pt x="87" y="1842"/>
                    <a:pt x="32" y="1858"/>
                  </a:cubicBezTo>
                  <a:cubicBezTo>
                    <a:pt x="24" y="1858"/>
                    <a:pt x="24" y="1858"/>
                    <a:pt x="24" y="1858"/>
                  </a:cubicBezTo>
                  <a:cubicBezTo>
                    <a:pt x="0" y="1739"/>
                    <a:pt x="0" y="1739"/>
                    <a:pt x="0" y="1739"/>
                  </a:cubicBezTo>
                  <a:lnTo>
                    <a:pt x="0" y="1739"/>
                  </a:lnTo>
                  <a:cubicBezTo>
                    <a:pt x="40" y="1700"/>
                    <a:pt x="79" y="1668"/>
                    <a:pt x="87" y="1653"/>
                  </a:cubicBezTo>
                  <a:cubicBezTo>
                    <a:pt x="103" y="1637"/>
                    <a:pt x="126" y="1613"/>
                    <a:pt x="150" y="1581"/>
                  </a:cubicBezTo>
                  <a:cubicBezTo>
                    <a:pt x="182" y="1542"/>
                    <a:pt x="214" y="1494"/>
                    <a:pt x="229" y="1486"/>
                  </a:cubicBezTo>
                  <a:cubicBezTo>
                    <a:pt x="245" y="1471"/>
                    <a:pt x="253" y="1447"/>
                    <a:pt x="261" y="1431"/>
                  </a:cubicBezTo>
                  <a:cubicBezTo>
                    <a:pt x="261" y="1423"/>
                    <a:pt x="261" y="1415"/>
                    <a:pt x="261" y="1415"/>
                  </a:cubicBezTo>
                  <a:cubicBezTo>
                    <a:pt x="261" y="1407"/>
                    <a:pt x="261" y="1407"/>
                    <a:pt x="261" y="1407"/>
                  </a:cubicBezTo>
                  <a:cubicBezTo>
                    <a:pt x="261" y="1400"/>
                    <a:pt x="253" y="1400"/>
                    <a:pt x="245" y="1400"/>
                  </a:cubicBezTo>
                  <a:cubicBezTo>
                    <a:pt x="237" y="1400"/>
                    <a:pt x="237" y="1407"/>
                    <a:pt x="229" y="1407"/>
                  </a:cubicBezTo>
                  <a:lnTo>
                    <a:pt x="229" y="1407"/>
                  </a:lnTo>
                  <a:lnTo>
                    <a:pt x="229" y="1407"/>
                  </a:lnTo>
                  <a:cubicBezTo>
                    <a:pt x="214" y="1384"/>
                    <a:pt x="182" y="1336"/>
                    <a:pt x="182" y="1313"/>
                  </a:cubicBezTo>
                  <a:lnTo>
                    <a:pt x="182" y="1313"/>
                  </a:lnTo>
                  <a:cubicBezTo>
                    <a:pt x="174" y="1289"/>
                    <a:pt x="166" y="1257"/>
                    <a:pt x="158" y="1225"/>
                  </a:cubicBezTo>
                  <a:lnTo>
                    <a:pt x="158" y="1225"/>
                  </a:lnTo>
                  <a:lnTo>
                    <a:pt x="158" y="1225"/>
                  </a:lnTo>
                  <a:cubicBezTo>
                    <a:pt x="174" y="1218"/>
                    <a:pt x="190" y="1202"/>
                    <a:pt x="206" y="1194"/>
                  </a:cubicBezTo>
                  <a:cubicBezTo>
                    <a:pt x="316" y="1107"/>
                    <a:pt x="474" y="1107"/>
                    <a:pt x="546" y="1099"/>
                  </a:cubicBezTo>
                  <a:cubicBezTo>
                    <a:pt x="561" y="1099"/>
                    <a:pt x="569" y="1099"/>
                    <a:pt x="577" y="1099"/>
                  </a:cubicBezTo>
                  <a:lnTo>
                    <a:pt x="585" y="1099"/>
                  </a:lnTo>
                  <a:cubicBezTo>
                    <a:pt x="601" y="1099"/>
                    <a:pt x="625" y="1115"/>
                    <a:pt x="641" y="1131"/>
                  </a:cubicBezTo>
                  <a:lnTo>
                    <a:pt x="641" y="1131"/>
                  </a:lnTo>
                  <a:cubicBezTo>
                    <a:pt x="656" y="1138"/>
                    <a:pt x="664" y="1138"/>
                    <a:pt x="680" y="1123"/>
                  </a:cubicBezTo>
                  <a:cubicBezTo>
                    <a:pt x="688" y="1115"/>
                    <a:pt x="704" y="1107"/>
                    <a:pt x="719" y="1099"/>
                  </a:cubicBezTo>
                  <a:cubicBezTo>
                    <a:pt x="727" y="1099"/>
                    <a:pt x="735" y="1091"/>
                    <a:pt x="743" y="1091"/>
                  </a:cubicBezTo>
                  <a:cubicBezTo>
                    <a:pt x="759" y="1083"/>
                    <a:pt x="791" y="1075"/>
                    <a:pt x="822" y="1075"/>
                  </a:cubicBezTo>
                  <a:cubicBezTo>
                    <a:pt x="838" y="1075"/>
                    <a:pt x="854" y="1075"/>
                    <a:pt x="862" y="1083"/>
                  </a:cubicBezTo>
                  <a:lnTo>
                    <a:pt x="870" y="1083"/>
                  </a:lnTo>
                  <a:cubicBezTo>
                    <a:pt x="870" y="1083"/>
                    <a:pt x="870" y="1083"/>
                    <a:pt x="878" y="1083"/>
                  </a:cubicBezTo>
                  <a:lnTo>
                    <a:pt x="878" y="1083"/>
                  </a:lnTo>
                  <a:cubicBezTo>
                    <a:pt x="878" y="1075"/>
                    <a:pt x="878" y="1075"/>
                    <a:pt x="885" y="1067"/>
                  </a:cubicBezTo>
                  <a:cubicBezTo>
                    <a:pt x="894" y="1060"/>
                    <a:pt x="909" y="1044"/>
                    <a:pt x="925" y="1028"/>
                  </a:cubicBezTo>
                  <a:cubicBezTo>
                    <a:pt x="949" y="1020"/>
                    <a:pt x="957" y="1004"/>
                    <a:pt x="957" y="988"/>
                  </a:cubicBezTo>
                  <a:cubicBezTo>
                    <a:pt x="965" y="973"/>
                    <a:pt x="980" y="965"/>
                    <a:pt x="988" y="965"/>
                  </a:cubicBezTo>
                  <a:lnTo>
                    <a:pt x="988" y="965"/>
                  </a:lnTo>
                  <a:cubicBezTo>
                    <a:pt x="996" y="965"/>
                    <a:pt x="1004" y="949"/>
                    <a:pt x="1012" y="933"/>
                  </a:cubicBezTo>
                  <a:cubicBezTo>
                    <a:pt x="1012" y="933"/>
                    <a:pt x="1012" y="933"/>
                    <a:pt x="1012" y="925"/>
                  </a:cubicBezTo>
                  <a:cubicBezTo>
                    <a:pt x="1020" y="917"/>
                    <a:pt x="1028" y="917"/>
                    <a:pt x="1036" y="917"/>
                  </a:cubicBezTo>
                  <a:lnTo>
                    <a:pt x="1044" y="917"/>
                  </a:lnTo>
                  <a:cubicBezTo>
                    <a:pt x="1052" y="917"/>
                    <a:pt x="1059" y="917"/>
                    <a:pt x="1059" y="917"/>
                  </a:cubicBezTo>
                  <a:cubicBezTo>
                    <a:pt x="1075" y="917"/>
                    <a:pt x="1075" y="909"/>
                    <a:pt x="1083" y="886"/>
                  </a:cubicBezTo>
                  <a:cubicBezTo>
                    <a:pt x="1083" y="886"/>
                    <a:pt x="1083" y="878"/>
                    <a:pt x="1083" y="870"/>
                  </a:cubicBezTo>
                  <a:cubicBezTo>
                    <a:pt x="1083" y="862"/>
                    <a:pt x="1083" y="846"/>
                    <a:pt x="1075" y="838"/>
                  </a:cubicBezTo>
                  <a:cubicBezTo>
                    <a:pt x="1067" y="830"/>
                    <a:pt x="1067" y="822"/>
                    <a:pt x="1067" y="814"/>
                  </a:cubicBezTo>
                  <a:cubicBezTo>
                    <a:pt x="1059" y="814"/>
                    <a:pt x="1059" y="807"/>
                    <a:pt x="1059" y="807"/>
                  </a:cubicBezTo>
                  <a:cubicBezTo>
                    <a:pt x="1052" y="791"/>
                    <a:pt x="1044" y="775"/>
                    <a:pt x="1044" y="759"/>
                  </a:cubicBezTo>
                  <a:cubicBezTo>
                    <a:pt x="1052" y="751"/>
                    <a:pt x="1052" y="743"/>
                    <a:pt x="1052" y="743"/>
                  </a:cubicBezTo>
                  <a:cubicBezTo>
                    <a:pt x="1052" y="735"/>
                    <a:pt x="1052" y="735"/>
                    <a:pt x="1052" y="735"/>
                  </a:cubicBezTo>
                  <a:lnTo>
                    <a:pt x="1052" y="727"/>
                  </a:lnTo>
                  <a:cubicBezTo>
                    <a:pt x="1059" y="712"/>
                    <a:pt x="1067" y="696"/>
                    <a:pt x="1083" y="696"/>
                  </a:cubicBezTo>
                  <a:cubicBezTo>
                    <a:pt x="1083" y="688"/>
                    <a:pt x="1091" y="688"/>
                    <a:pt x="1091" y="688"/>
                  </a:cubicBezTo>
                  <a:cubicBezTo>
                    <a:pt x="1091" y="680"/>
                    <a:pt x="1083" y="680"/>
                    <a:pt x="1075" y="680"/>
                  </a:cubicBezTo>
                  <a:cubicBezTo>
                    <a:pt x="1075" y="680"/>
                    <a:pt x="1067" y="680"/>
                    <a:pt x="1067" y="688"/>
                  </a:cubicBezTo>
                  <a:cubicBezTo>
                    <a:pt x="1059" y="688"/>
                    <a:pt x="1059" y="688"/>
                    <a:pt x="1052" y="688"/>
                  </a:cubicBezTo>
                  <a:lnTo>
                    <a:pt x="1052" y="688"/>
                  </a:lnTo>
                  <a:cubicBezTo>
                    <a:pt x="1044" y="688"/>
                    <a:pt x="1044" y="680"/>
                    <a:pt x="1052" y="672"/>
                  </a:cubicBezTo>
                  <a:cubicBezTo>
                    <a:pt x="1052" y="664"/>
                    <a:pt x="1052" y="664"/>
                    <a:pt x="1052" y="664"/>
                  </a:cubicBezTo>
                  <a:cubicBezTo>
                    <a:pt x="1044" y="664"/>
                    <a:pt x="1044" y="664"/>
                    <a:pt x="1044" y="664"/>
                  </a:cubicBezTo>
                  <a:cubicBezTo>
                    <a:pt x="1036" y="664"/>
                    <a:pt x="1028" y="664"/>
                    <a:pt x="1028" y="664"/>
                  </a:cubicBezTo>
                  <a:cubicBezTo>
                    <a:pt x="1020" y="672"/>
                    <a:pt x="1020" y="672"/>
                    <a:pt x="1012" y="672"/>
                  </a:cubicBezTo>
                  <a:cubicBezTo>
                    <a:pt x="996" y="672"/>
                    <a:pt x="972" y="664"/>
                    <a:pt x="972" y="648"/>
                  </a:cubicBezTo>
                  <a:cubicBezTo>
                    <a:pt x="972" y="633"/>
                    <a:pt x="1020" y="585"/>
                    <a:pt x="1036" y="569"/>
                  </a:cubicBezTo>
                  <a:cubicBezTo>
                    <a:pt x="1036" y="569"/>
                    <a:pt x="1036" y="569"/>
                    <a:pt x="1028" y="569"/>
                  </a:cubicBezTo>
                  <a:cubicBezTo>
                    <a:pt x="1020" y="569"/>
                    <a:pt x="1020" y="569"/>
                    <a:pt x="1020" y="569"/>
                  </a:cubicBezTo>
                  <a:cubicBezTo>
                    <a:pt x="1028" y="561"/>
                    <a:pt x="1028" y="561"/>
                    <a:pt x="1028" y="561"/>
                  </a:cubicBezTo>
                  <a:cubicBezTo>
                    <a:pt x="1036" y="561"/>
                    <a:pt x="1036" y="554"/>
                    <a:pt x="1044" y="554"/>
                  </a:cubicBezTo>
                  <a:cubicBezTo>
                    <a:pt x="1075" y="522"/>
                    <a:pt x="1115" y="483"/>
                    <a:pt x="1115" y="459"/>
                  </a:cubicBezTo>
                  <a:cubicBezTo>
                    <a:pt x="1115" y="411"/>
                    <a:pt x="1344" y="127"/>
                    <a:pt x="1384" y="119"/>
                  </a:cubicBezTo>
                  <a:cubicBezTo>
                    <a:pt x="1399" y="119"/>
                    <a:pt x="1629" y="63"/>
                    <a:pt x="1874" y="0"/>
                  </a:cubicBezTo>
                  <a:cubicBezTo>
                    <a:pt x="1882" y="0"/>
                    <a:pt x="1882" y="0"/>
                    <a:pt x="1882" y="0"/>
                  </a:cubicBezTo>
                  <a:cubicBezTo>
                    <a:pt x="1882" y="8"/>
                    <a:pt x="1882" y="8"/>
                    <a:pt x="1882" y="8"/>
                  </a:cubicBezTo>
                  <a:cubicBezTo>
                    <a:pt x="1882" y="56"/>
                    <a:pt x="1882" y="87"/>
                    <a:pt x="1889" y="103"/>
                  </a:cubicBezTo>
                  <a:cubicBezTo>
                    <a:pt x="1897" y="111"/>
                    <a:pt x="1897" y="127"/>
                    <a:pt x="1897" y="150"/>
                  </a:cubicBezTo>
                  <a:cubicBezTo>
                    <a:pt x="1897" y="166"/>
                    <a:pt x="1897" y="182"/>
                    <a:pt x="1905" y="190"/>
                  </a:cubicBezTo>
                  <a:cubicBezTo>
                    <a:pt x="1905" y="214"/>
                    <a:pt x="1921" y="221"/>
                    <a:pt x="1929" y="230"/>
                  </a:cubicBezTo>
                  <a:cubicBezTo>
                    <a:pt x="1929" y="237"/>
                    <a:pt x="1937" y="245"/>
                    <a:pt x="1945" y="253"/>
                  </a:cubicBezTo>
                  <a:cubicBezTo>
                    <a:pt x="1961" y="269"/>
                    <a:pt x="1976" y="332"/>
                    <a:pt x="1976" y="356"/>
                  </a:cubicBezTo>
                  <a:cubicBezTo>
                    <a:pt x="1976" y="372"/>
                    <a:pt x="1976" y="380"/>
                    <a:pt x="1969" y="396"/>
                  </a:cubicBezTo>
                  <a:cubicBezTo>
                    <a:pt x="1969" y="411"/>
                    <a:pt x="1961" y="427"/>
                    <a:pt x="1969" y="451"/>
                  </a:cubicBezTo>
                  <a:cubicBezTo>
                    <a:pt x="1984" y="483"/>
                    <a:pt x="2000" y="546"/>
                    <a:pt x="2000" y="577"/>
                  </a:cubicBezTo>
                  <a:cubicBezTo>
                    <a:pt x="2000" y="617"/>
                    <a:pt x="2008" y="664"/>
                    <a:pt x="2024" y="664"/>
                  </a:cubicBezTo>
                  <a:cubicBezTo>
                    <a:pt x="2032" y="664"/>
                    <a:pt x="2040" y="664"/>
                    <a:pt x="2048" y="656"/>
                  </a:cubicBezTo>
                  <a:cubicBezTo>
                    <a:pt x="2048" y="656"/>
                    <a:pt x="2048" y="656"/>
                    <a:pt x="2055" y="656"/>
                  </a:cubicBezTo>
                  <a:cubicBezTo>
                    <a:pt x="2064" y="656"/>
                    <a:pt x="2064" y="656"/>
                    <a:pt x="2071" y="664"/>
                  </a:cubicBezTo>
                  <a:cubicBezTo>
                    <a:pt x="2087" y="696"/>
                    <a:pt x="2103" y="767"/>
                    <a:pt x="2111" y="822"/>
                  </a:cubicBezTo>
                  <a:cubicBezTo>
                    <a:pt x="2119" y="838"/>
                    <a:pt x="2127" y="870"/>
                    <a:pt x="2135" y="901"/>
                  </a:cubicBezTo>
                  <a:cubicBezTo>
                    <a:pt x="2142" y="957"/>
                    <a:pt x="2166" y="1036"/>
                    <a:pt x="2166" y="1044"/>
                  </a:cubicBezTo>
                  <a:lnTo>
                    <a:pt x="2166" y="1044"/>
                  </a:lnTo>
                  <a:lnTo>
                    <a:pt x="2166" y="1044"/>
                  </a:lnTo>
                  <a:cubicBezTo>
                    <a:pt x="2158" y="1368"/>
                    <a:pt x="2158" y="1368"/>
                    <a:pt x="2158" y="1368"/>
                  </a:cubicBezTo>
                  <a:cubicBezTo>
                    <a:pt x="2158" y="1368"/>
                    <a:pt x="2158" y="1376"/>
                    <a:pt x="2166" y="1376"/>
                  </a:cubicBezTo>
                  <a:lnTo>
                    <a:pt x="2166" y="1376"/>
                  </a:lnTo>
                  <a:lnTo>
                    <a:pt x="2166" y="1376"/>
                  </a:lnTo>
                  <a:cubicBezTo>
                    <a:pt x="2166" y="1384"/>
                    <a:pt x="2166" y="1384"/>
                    <a:pt x="2174" y="1407"/>
                  </a:cubicBezTo>
                  <a:cubicBezTo>
                    <a:pt x="2174" y="1423"/>
                    <a:pt x="2174" y="1447"/>
                    <a:pt x="2174" y="1447"/>
                  </a:cubicBezTo>
                  <a:cubicBezTo>
                    <a:pt x="2174" y="1455"/>
                    <a:pt x="2174" y="1463"/>
                    <a:pt x="2182" y="1478"/>
                  </a:cubicBezTo>
                  <a:cubicBezTo>
                    <a:pt x="2182" y="1502"/>
                    <a:pt x="2190" y="1534"/>
                    <a:pt x="2198" y="1558"/>
                  </a:cubicBezTo>
                  <a:cubicBezTo>
                    <a:pt x="2222" y="1597"/>
                    <a:pt x="2229" y="1668"/>
                    <a:pt x="2229" y="1692"/>
                  </a:cubicBezTo>
                  <a:cubicBezTo>
                    <a:pt x="2229" y="1708"/>
                    <a:pt x="2237" y="1716"/>
                    <a:pt x="2237" y="1724"/>
                  </a:cubicBezTo>
                  <a:cubicBezTo>
                    <a:pt x="2245" y="1724"/>
                    <a:pt x="2245" y="1731"/>
                    <a:pt x="2245" y="1739"/>
                  </a:cubicBezTo>
                  <a:cubicBezTo>
                    <a:pt x="2253" y="1747"/>
                    <a:pt x="2261" y="1779"/>
                    <a:pt x="2237" y="1795"/>
                  </a:cubicBezTo>
                  <a:cubicBezTo>
                    <a:pt x="2222" y="1803"/>
                    <a:pt x="2206" y="1834"/>
                    <a:pt x="2206" y="1850"/>
                  </a:cubicBezTo>
                  <a:cubicBezTo>
                    <a:pt x="2206" y="1850"/>
                    <a:pt x="2206" y="1858"/>
                    <a:pt x="2237" y="1890"/>
                  </a:cubicBezTo>
                  <a:lnTo>
                    <a:pt x="2237" y="1890"/>
                  </a:lnTo>
                  <a:lnTo>
                    <a:pt x="2237" y="1890"/>
                  </a:lnTo>
                  <a:cubicBezTo>
                    <a:pt x="2229" y="1897"/>
                    <a:pt x="2214" y="1905"/>
                    <a:pt x="2206" y="1913"/>
                  </a:cubicBezTo>
                  <a:cubicBezTo>
                    <a:pt x="2198" y="1929"/>
                    <a:pt x="2198" y="1937"/>
                    <a:pt x="2198" y="1937"/>
                  </a:cubicBezTo>
                  <a:cubicBezTo>
                    <a:pt x="2198" y="1937"/>
                    <a:pt x="2198" y="1937"/>
                    <a:pt x="2206" y="1937"/>
                  </a:cubicBezTo>
                  <a:cubicBezTo>
                    <a:pt x="2206" y="1937"/>
                    <a:pt x="2214" y="1929"/>
                    <a:pt x="2229" y="1929"/>
                  </a:cubicBezTo>
                  <a:cubicBezTo>
                    <a:pt x="2237" y="1921"/>
                    <a:pt x="2245" y="1913"/>
                    <a:pt x="2261" y="1905"/>
                  </a:cubicBezTo>
                  <a:cubicBezTo>
                    <a:pt x="2277" y="1897"/>
                    <a:pt x="2285" y="1890"/>
                    <a:pt x="2308" y="1882"/>
                  </a:cubicBezTo>
                  <a:cubicBezTo>
                    <a:pt x="2316" y="1882"/>
                    <a:pt x="2324" y="1874"/>
                    <a:pt x="2332" y="1874"/>
                  </a:cubicBezTo>
                  <a:cubicBezTo>
                    <a:pt x="2356" y="1874"/>
                    <a:pt x="2380" y="1866"/>
                    <a:pt x="2388" y="1850"/>
                  </a:cubicBezTo>
                  <a:cubicBezTo>
                    <a:pt x="2403" y="1818"/>
                    <a:pt x="2435" y="1811"/>
                    <a:pt x="2467" y="1811"/>
                  </a:cubicBezTo>
                  <a:cubicBezTo>
                    <a:pt x="2490" y="1811"/>
                    <a:pt x="2538" y="1803"/>
                    <a:pt x="2569" y="1779"/>
                  </a:cubicBezTo>
                  <a:cubicBezTo>
                    <a:pt x="2609" y="1763"/>
                    <a:pt x="2641" y="1716"/>
                    <a:pt x="2648" y="1684"/>
                  </a:cubicBezTo>
                  <a:lnTo>
                    <a:pt x="2656" y="1676"/>
                  </a:lnTo>
                  <a:cubicBezTo>
                    <a:pt x="2664" y="1676"/>
                    <a:pt x="2664" y="1676"/>
                    <a:pt x="2664" y="1676"/>
                  </a:cubicBezTo>
                  <a:cubicBezTo>
                    <a:pt x="2672" y="1684"/>
                    <a:pt x="2672" y="1716"/>
                    <a:pt x="2664" y="1731"/>
                  </a:cubicBezTo>
                  <a:cubicBezTo>
                    <a:pt x="2656" y="1747"/>
                    <a:pt x="2648" y="1755"/>
                    <a:pt x="2648" y="1763"/>
                  </a:cubicBezTo>
                  <a:cubicBezTo>
                    <a:pt x="2641" y="1779"/>
                    <a:pt x="2625" y="1795"/>
                    <a:pt x="2633" y="1795"/>
                  </a:cubicBezTo>
                  <a:lnTo>
                    <a:pt x="2633" y="1795"/>
                  </a:lnTo>
                  <a:lnTo>
                    <a:pt x="2633" y="1795"/>
                  </a:lnTo>
                  <a:cubicBezTo>
                    <a:pt x="2641" y="1795"/>
                    <a:pt x="2680" y="1747"/>
                    <a:pt x="2688" y="1731"/>
                  </a:cubicBezTo>
                  <a:lnTo>
                    <a:pt x="2688" y="1731"/>
                  </a:lnTo>
                  <a:cubicBezTo>
                    <a:pt x="2688" y="1716"/>
                    <a:pt x="2696" y="1700"/>
                    <a:pt x="2712" y="1700"/>
                  </a:cubicBezTo>
                  <a:cubicBezTo>
                    <a:pt x="2719" y="1700"/>
                    <a:pt x="2728" y="1700"/>
                    <a:pt x="2735" y="1700"/>
                  </a:cubicBezTo>
                  <a:cubicBezTo>
                    <a:pt x="2735" y="1708"/>
                    <a:pt x="2743" y="1708"/>
                    <a:pt x="2751" y="1708"/>
                  </a:cubicBezTo>
                  <a:cubicBezTo>
                    <a:pt x="2759" y="1708"/>
                    <a:pt x="2767" y="1700"/>
                    <a:pt x="2775" y="1700"/>
                  </a:cubicBezTo>
                  <a:cubicBezTo>
                    <a:pt x="2783" y="1700"/>
                    <a:pt x="2791" y="1692"/>
                    <a:pt x="2799" y="1692"/>
                  </a:cubicBezTo>
                  <a:cubicBezTo>
                    <a:pt x="2799" y="1692"/>
                    <a:pt x="2807" y="1692"/>
                    <a:pt x="2807" y="1700"/>
                  </a:cubicBezTo>
                  <a:cubicBezTo>
                    <a:pt x="2807" y="1700"/>
                    <a:pt x="2807" y="1700"/>
                    <a:pt x="2814" y="1708"/>
                  </a:cubicBezTo>
                  <a:cubicBezTo>
                    <a:pt x="2814" y="1716"/>
                    <a:pt x="2791" y="1731"/>
                    <a:pt x="2751" y="1763"/>
                  </a:cubicBezTo>
                  <a:cubicBezTo>
                    <a:pt x="2743" y="1771"/>
                    <a:pt x="2735" y="1779"/>
                    <a:pt x="2728" y="1787"/>
                  </a:cubicBezTo>
                  <a:cubicBezTo>
                    <a:pt x="2719" y="1795"/>
                    <a:pt x="2712" y="1795"/>
                    <a:pt x="2704" y="1803"/>
                  </a:cubicBezTo>
                  <a:cubicBezTo>
                    <a:pt x="2688" y="1818"/>
                    <a:pt x="2672" y="1834"/>
                    <a:pt x="2609" y="1866"/>
                  </a:cubicBezTo>
                  <a:cubicBezTo>
                    <a:pt x="2577" y="1882"/>
                    <a:pt x="2546" y="1897"/>
                    <a:pt x="2514" y="1921"/>
                  </a:cubicBezTo>
                  <a:cubicBezTo>
                    <a:pt x="2482" y="1945"/>
                    <a:pt x="2451" y="1969"/>
                    <a:pt x="2411" y="1984"/>
                  </a:cubicBezTo>
                  <a:cubicBezTo>
                    <a:pt x="2380" y="2000"/>
                    <a:pt x="2340" y="2016"/>
                    <a:pt x="2308" y="2032"/>
                  </a:cubicBezTo>
                  <a:cubicBezTo>
                    <a:pt x="2253" y="2064"/>
                    <a:pt x="2198" y="2087"/>
                    <a:pt x="2166" y="2095"/>
                  </a:cubicBezTo>
                  <a:cubicBezTo>
                    <a:pt x="2166" y="2095"/>
                    <a:pt x="2158" y="2095"/>
                    <a:pt x="2150" y="2095"/>
                  </a:cubicBezTo>
                  <a:close/>
                  <a:moveTo>
                    <a:pt x="2119" y="2064"/>
                  </a:moveTo>
                  <a:lnTo>
                    <a:pt x="2119" y="2064"/>
                  </a:lnTo>
                  <a:cubicBezTo>
                    <a:pt x="2127" y="2064"/>
                    <a:pt x="2127" y="2071"/>
                    <a:pt x="2135" y="2079"/>
                  </a:cubicBezTo>
                  <a:cubicBezTo>
                    <a:pt x="2135" y="2079"/>
                    <a:pt x="2135" y="2087"/>
                    <a:pt x="2150" y="2087"/>
                  </a:cubicBezTo>
                  <a:lnTo>
                    <a:pt x="2150" y="2087"/>
                  </a:lnTo>
                  <a:cubicBezTo>
                    <a:pt x="2158" y="2087"/>
                    <a:pt x="2158" y="2087"/>
                    <a:pt x="2166" y="2087"/>
                  </a:cubicBezTo>
                  <a:cubicBezTo>
                    <a:pt x="2198" y="2079"/>
                    <a:pt x="2253" y="2055"/>
                    <a:pt x="2308" y="2024"/>
                  </a:cubicBezTo>
                  <a:cubicBezTo>
                    <a:pt x="2340" y="2008"/>
                    <a:pt x="2372" y="1992"/>
                    <a:pt x="2403" y="1977"/>
                  </a:cubicBezTo>
                  <a:cubicBezTo>
                    <a:pt x="2443" y="1961"/>
                    <a:pt x="2482" y="1937"/>
                    <a:pt x="2514" y="1913"/>
                  </a:cubicBezTo>
                  <a:cubicBezTo>
                    <a:pt x="2546" y="1890"/>
                    <a:pt x="2577" y="1874"/>
                    <a:pt x="2609" y="1858"/>
                  </a:cubicBezTo>
                  <a:cubicBezTo>
                    <a:pt x="2664" y="1834"/>
                    <a:pt x="2680" y="1818"/>
                    <a:pt x="2704" y="1795"/>
                  </a:cubicBezTo>
                  <a:cubicBezTo>
                    <a:pt x="2704" y="1795"/>
                    <a:pt x="2712" y="1787"/>
                    <a:pt x="2719" y="1779"/>
                  </a:cubicBezTo>
                  <a:cubicBezTo>
                    <a:pt x="2728" y="1771"/>
                    <a:pt x="2735" y="1763"/>
                    <a:pt x="2751" y="1755"/>
                  </a:cubicBezTo>
                  <a:cubicBezTo>
                    <a:pt x="2775" y="1739"/>
                    <a:pt x="2807" y="1716"/>
                    <a:pt x="2807" y="1708"/>
                  </a:cubicBezTo>
                  <a:cubicBezTo>
                    <a:pt x="2807" y="1700"/>
                    <a:pt x="2807" y="1700"/>
                    <a:pt x="2807" y="1700"/>
                  </a:cubicBezTo>
                  <a:cubicBezTo>
                    <a:pt x="2799" y="1700"/>
                    <a:pt x="2791" y="1700"/>
                    <a:pt x="2783" y="1708"/>
                  </a:cubicBezTo>
                  <a:cubicBezTo>
                    <a:pt x="2775" y="1708"/>
                    <a:pt x="2759" y="1716"/>
                    <a:pt x="2751" y="1716"/>
                  </a:cubicBezTo>
                  <a:cubicBezTo>
                    <a:pt x="2743" y="1716"/>
                    <a:pt x="2735" y="1708"/>
                    <a:pt x="2728" y="1708"/>
                  </a:cubicBezTo>
                  <a:cubicBezTo>
                    <a:pt x="2719" y="1708"/>
                    <a:pt x="2719" y="1700"/>
                    <a:pt x="2712" y="1700"/>
                  </a:cubicBezTo>
                  <a:cubicBezTo>
                    <a:pt x="2704" y="1700"/>
                    <a:pt x="2696" y="1716"/>
                    <a:pt x="2696" y="1731"/>
                  </a:cubicBezTo>
                  <a:lnTo>
                    <a:pt x="2696" y="1739"/>
                  </a:lnTo>
                  <a:cubicBezTo>
                    <a:pt x="2688" y="1747"/>
                    <a:pt x="2648" y="1803"/>
                    <a:pt x="2633" y="1803"/>
                  </a:cubicBezTo>
                  <a:lnTo>
                    <a:pt x="2625" y="1803"/>
                  </a:lnTo>
                  <a:cubicBezTo>
                    <a:pt x="2625" y="1803"/>
                    <a:pt x="2625" y="1803"/>
                    <a:pt x="2625" y="1795"/>
                  </a:cubicBezTo>
                  <a:cubicBezTo>
                    <a:pt x="2617" y="1787"/>
                    <a:pt x="2625" y="1779"/>
                    <a:pt x="2641" y="1763"/>
                  </a:cubicBezTo>
                  <a:cubicBezTo>
                    <a:pt x="2648" y="1747"/>
                    <a:pt x="2656" y="1739"/>
                    <a:pt x="2656" y="1731"/>
                  </a:cubicBezTo>
                  <a:cubicBezTo>
                    <a:pt x="2664" y="1716"/>
                    <a:pt x="2664" y="1692"/>
                    <a:pt x="2656" y="1684"/>
                  </a:cubicBezTo>
                  <a:cubicBezTo>
                    <a:pt x="2656" y="1684"/>
                    <a:pt x="2656" y="1684"/>
                    <a:pt x="2656" y="1692"/>
                  </a:cubicBezTo>
                  <a:cubicBezTo>
                    <a:pt x="2648" y="1716"/>
                    <a:pt x="2609" y="1771"/>
                    <a:pt x="2577" y="1787"/>
                  </a:cubicBezTo>
                  <a:cubicBezTo>
                    <a:pt x="2546" y="1811"/>
                    <a:pt x="2490" y="1811"/>
                    <a:pt x="2467" y="1818"/>
                  </a:cubicBezTo>
                  <a:cubicBezTo>
                    <a:pt x="2435" y="1818"/>
                    <a:pt x="2403" y="1826"/>
                    <a:pt x="2395" y="1850"/>
                  </a:cubicBezTo>
                  <a:cubicBezTo>
                    <a:pt x="2380" y="1874"/>
                    <a:pt x="2356" y="1882"/>
                    <a:pt x="2332" y="1882"/>
                  </a:cubicBezTo>
                  <a:cubicBezTo>
                    <a:pt x="2324" y="1882"/>
                    <a:pt x="2316" y="1890"/>
                    <a:pt x="2308" y="1890"/>
                  </a:cubicBezTo>
                  <a:cubicBezTo>
                    <a:pt x="2293" y="1890"/>
                    <a:pt x="2277" y="1905"/>
                    <a:pt x="2261" y="1913"/>
                  </a:cubicBezTo>
                  <a:cubicBezTo>
                    <a:pt x="2253" y="1921"/>
                    <a:pt x="2237" y="1929"/>
                    <a:pt x="2229" y="1937"/>
                  </a:cubicBezTo>
                  <a:cubicBezTo>
                    <a:pt x="2222" y="1937"/>
                    <a:pt x="2214" y="1945"/>
                    <a:pt x="2206" y="1945"/>
                  </a:cubicBezTo>
                  <a:cubicBezTo>
                    <a:pt x="2198" y="1945"/>
                    <a:pt x="2198" y="1937"/>
                    <a:pt x="2190" y="1937"/>
                  </a:cubicBezTo>
                  <a:cubicBezTo>
                    <a:pt x="2190" y="1929"/>
                    <a:pt x="2198" y="1921"/>
                    <a:pt x="2206" y="1913"/>
                  </a:cubicBezTo>
                  <a:cubicBezTo>
                    <a:pt x="2214" y="1905"/>
                    <a:pt x="2222" y="1897"/>
                    <a:pt x="2229" y="1890"/>
                  </a:cubicBezTo>
                  <a:cubicBezTo>
                    <a:pt x="2206" y="1874"/>
                    <a:pt x="2198" y="1858"/>
                    <a:pt x="2198" y="1850"/>
                  </a:cubicBezTo>
                  <a:cubicBezTo>
                    <a:pt x="2198" y="1834"/>
                    <a:pt x="2222" y="1803"/>
                    <a:pt x="2237" y="1787"/>
                  </a:cubicBezTo>
                  <a:cubicBezTo>
                    <a:pt x="2253" y="1779"/>
                    <a:pt x="2245" y="1747"/>
                    <a:pt x="2237" y="1739"/>
                  </a:cubicBezTo>
                  <a:cubicBezTo>
                    <a:pt x="2237" y="1731"/>
                    <a:pt x="2237" y="1731"/>
                    <a:pt x="2229" y="1724"/>
                  </a:cubicBezTo>
                  <a:cubicBezTo>
                    <a:pt x="2229" y="1716"/>
                    <a:pt x="2222" y="1708"/>
                    <a:pt x="2222" y="1692"/>
                  </a:cubicBezTo>
                  <a:cubicBezTo>
                    <a:pt x="2222" y="1676"/>
                    <a:pt x="2214" y="1605"/>
                    <a:pt x="2198" y="1565"/>
                  </a:cubicBezTo>
                  <a:cubicBezTo>
                    <a:pt x="2182" y="1534"/>
                    <a:pt x="2174" y="1502"/>
                    <a:pt x="2174" y="1478"/>
                  </a:cubicBezTo>
                  <a:cubicBezTo>
                    <a:pt x="2174" y="1463"/>
                    <a:pt x="2166" y="1455"/>
                    <a:pt x="2166" y="1455"/>
                  </a:cubicBezTo>
                  <a:cubicBezTo>
                    <a:pt x="2166" y="1455"/>
                    <a:pt x="2166" y="1439"/>
                    <a:pt x="2166" y="1407"/>
                  </a:cubicBezTo>
                  <a:cubicBezTo>
                    <a:pt x="2166" y="1391"/>
                    <a:pt x="2158" y="1384"/>
                    <a:pt x="2158" y="1384"/>
                  </a:cubicBezTo>
                  <a:cubicBezTo>
                    <a:pt x="2150" y="1376"/>
                    <a:pt x="2150" y="1368"/>
                    <a:pt x="2150" y="1368"/>
                  </a:cubicBezTo>
                  <a:lnTo>
                    <a:pt x="2150" y="1368"/>
                  </a:lnTo>
                  <a:lnTo>
                    <a:pt x="2150" y="1368"/>
                  </a:lnTo>
                  <a:cubicBezTo>
                    <a:pt x="2158" y="1044"/>
                    <a:pt x="2158" y="1044"/>
                    <a:pt x="2158" y="1044"/>
                  </a:cubicBezTo>
                  <a:cubicBezTo>
                    <a:pt x="2158" y="1036"/>
                    <a:pt x="2142" y="996"/>
                    <a:pt x="2127" y="901"/>
                  </a:cubicBezTo>
                  <a:cubicBezTo>
                    <a:pt x="2119" y="870"/>
                    <a:pt x="2111" y="838"/>
                    <a:pt x="2111" y="822"/>
                  </a:cubicBezTo>
                  <a:cubicBezTo>
                    <a:pt x="2087" y="743"/>
                    <a:pt x="2071" y="696"/>
                    <a:pt x="2064" y="672"/>
                  </a:cubicBezTo>
                  <a:cubicBezTo>
                    <a:pt x="2055" y="664"/>
                    <a:pt x="2055" y="664"/>
                    <a:pt x="2055" y="664"/>
                  </a:cubicBezTo>
                  <a:cubicBezTo>
                    <a:pt x="2055" y="664"/>
                    <a:pt x="2055" y="664"/>
                    <a:pt x="2048" y="664"/>
                  </a:cubicBezTo>
                  <a:cubicBezTo>
                    <a:pt x="2048" y="672"/>
                    <a:pt x="2040" y="672"/>
                    <a:pt x="2032" y="672"/>
                  </a:cubicBezTo>
                  <a:cubicBezTo>
                    <a:pt x="2024" y="672"/>
                    <a:pt x="2024" y="672"/>
                    <a:pt x="2024" y="672"/>
                  </a:cubicBezTo>
                  <a:cubicBezTo>
                    <a:pt x="2000" y="664"/>
                    <a:pt x="1992" y="609"/>
                    <a:pt x="1992" y="577"/>
                  </a:cubicBezTo>
                  <a:cubicBezTo>
                    <a:pt x="1992" y="554"/>
                    <a:pt x="1976" y="483"/>
                    <a:pt x="1969" y="451"/>
                  </a:cubicBezTo>
                  <a:cubicBezTo>
                    <a:pt x="1961" y="427"/>
                    <a:pt x="1961" y="411"/>
                    <a:pt x="1969" y="387"/>
                  </a:cubicBezTo>
                  <a:cubicBezTo>
                    <a:pt x="1969" y="380"/>
                    <a:pt x="1969" y="372"/>
                    <a:pt x="1969" y="364"/>
                  </a:cubicBezTo>
                  <a:cubicBezTo>
                    <a:pt x="1969" y="332"/>
                    <a:pt x="1953" y="277"/>
                    <a:pt x="1937" y="253"/>
                  </a:cubicBezTo>
                  <a:cubicBezTo>
                    <a:pt x="1937" y="245"/>
                    <a:pt x="1929" y="237"/>
                    <a:pt x="1921" y="237"/>
                  </a:cubicBezTo>
                  <a:cubicBezTo>
                    <a:pt x="1913" y="230"/>
                    <a:pt x="1905" y="221"/>
                    <a:pt x="1897" y="198"/>
                  </a:cubicBezTo>
                  <a:cubicBezTo>
                    <a:pt x="1889" y="182"/>
                    <a:pt x="1889" y="166"/>
                    <a:pt x="1889" y="150"/>
                  </a:cubicBezTo>
                  <a:cubicBezTo>
                    <a:pt x="1889" y="127"/>
                    <a:pt x="1889" y="111"/>
                    <a:pt x="1882" y="103"/>
                  </a:cubicBezTo>
                  <a:cubicBezTo>
                    <a:pt x="1874" y="95"/>
                    <a:pt x="1874" y="48"/>
                    <a:pt x="1874" y="8"/>
                  </a:cubicBezTo>
                  <a:cubicBezTo>
                    <a:pt x="1629" y="71"/>
                    <a:pt x="1399" y="119"/>
                    <a:pt x="1384" y="127"/>
                  </a:cubicBezTo>
                  <a:cubicBezTo>
                    <a:pt x="1344" y="135"/>
                    <a:pt x="1123" y="419"/>
                    <a:pt x="1123" y="459"/>
                  </a:cubicBezTo>
                  <a:cubicBezTo>
                    <a:pt x="1123" y="490"/>
                    <a:pt x="1083" y="522"/>
                    <a:pt x="1044" y="554"/>
                  </a:cubicBezTo>
                  <a:cubicBezTo>
                    <a:pt x="1044" y="561"/>
                    <a:pt x="1044" y="561"/>
                    <a:pt x="1036" y="561"/>
                  </a:cubicBezTo>
                  <a:cubicBezTo>
                    <a:pt x="1044" y="561"/>
                    <a:pt x="1044" y="569"/>
                    <a:pt x="1044" y="569"/>
                  </a:cubicBezTo>
                  <a:cubicBezTo>
                    <a:pt x="1052" y="569"/>
                    <a:pt x="1044" y="569"/>
                    <a:pt x="1044" y="577"/>
                  </a:cubicBezTo>
                  <a:cubicBezTo>
                    <a:pt x="1028" y="585"/>
                    <a:pt x="980" y="641"/>
                    <a:pt x="980" y="648"/>
                  </a:cubicBezTo>
                  <a:cubicBezTo>
                    <a:pt x="980" y="656"/>
                    <a:pt x="996" y="664"/>
                    <a:pt x="1012" y="664"/>
                  </a:cubicBezTo>
                  <a:cubicBezTo>
                    <a:pt x="1020" y="664"/>
                    <a:pt x="1020" y="664"/>
                    <a:pt x="1020" y="664"/>
                  </a:cubicBezTo>
                  <a:cubicBezTo>
                    <a:pt x="1028" y="656"/>
                    <a:pt x="1036" y="656"/>
                    <a:pt x="1044" y="656"/>
                  </a:cubicBezTo>
                  <a:lnTo>
                    <a:pt x="1052" y="656"/>
                  </a:lnTo>
                  <a:cubicBezTo>
                    <a:pt x="1059" y="664"/>
                    <a:pt x="1059" y="664"/>
                    <a:pt x="1059" y="672"/>
                  </a:cubicBezTo>
                  <a:cubicBezTo>
                    <a:pt x="1052" y="680"/>
                    <a:pt x="1052" y="680"/>
                    <a:pt x="1052" y="680"/>
                  </a:cubicBezTo>
                  <a:cubicBezTo>
                    <a:pt x="1052" y="680"/>
                    <a:pt x="1059" y="680"/>
                    <a:pt x="1067" y="680"/>
                  </a:cubicBezTo>
                  <a:cubicBezTo>
                    <a:pt x="1067" y="672"/>
                    <a:pt x="1075" y="672"/>
                    <a:pt x="1075" y="672"/>
                  </a:cubicBezTo>
                  <a:cubicBezTo>
                    <a:pt x="1091" y="672"/>
                    <a:pt x="1099" y="680"/>
                    <a:pt x="1099" y="688"/>
                  </a:cubicBezTo>
                  <a:cubicBezTo>
                    <a:pt x="1099" y="688"/>
                    <a:pt x="1099" y="696"/>
                    <a:pt x="1091" y="696"/>
                  </a:cubicBezTo>
                  <a:cubicBezTo>
                    <a:pt x="1067" y="704"/>
                    <a:pt x="1059" y="727"/>
                    <a:pt x="1059" y="735"/>
                  </a:cubicBezTo>
                  <a:lnTo>
                    <a:pt x="1059" y="743"/>
                  </a:lnTo>
                  <a:cubicBezTo>
                    <a:pt x="1059" y="751"/>
                    <a:pt x="1052" y="751"/>
                    <a:pt x="1052" y="767"/>
                  </a:cubicBezTo>
                  <a:cubicBezTo>
                    <a:pt x="1052" y="775"/>
                    <a:pt x="1059" y="791"/>
                    <a:pt x="1067" y="798"/>
                  </a:cubicBezTo>
                  <a:cubicBezTo>
                    <a:pt x="1067" y="807"/>
                    <a:pt x="1067" y="807"/>
                    <a:pt x="1067" y="814"/>
                  </a:cubicBezTo>
                  <a:cubicBezTo>
                    <a:pt x="1075" y="822"/>
                    <a:pt x="1075" y="830"/>
                    <a:pt x="1083" y="830"/>
                  </a:cubicBezTo>
                  <a:cubicBezTo>
                    <a:pt x="1083" y="846"/>
                    <a:pt x="1091" y="862"/>
                    <a:pt x="1091" y="878"/>
                  </a:cubicBezTo>
                  <a:cubicBezTo>
                    <a:pt x="1091" y="878"/>
                    <a:pt x="1091" y="886"/>
                    <a:pt x="1083" y="886"/>
                  </a:cubicBezTo>
                  <a:cubicBezTo>
                    <a:pt x="1083" y="909"/>
                    <a:pt x="1083" y="925"/>
                    <a:pt x="1059" y="925"/>
                  </a:cubicBezTo>
                  <a:cubicBezTo>
                    <a:pt x="1059" y="925"/>
                    <a:pt x="1052" y="925"/>
                    <a:pt x="1044" y="925"/>
                  </a:cubicBezTo>
                  <a:cubicBezTo>
                    <a:pt x="1036" y="925"/>
                    <a:pt x="1028" y="917"/>
                    <a:pt x="1020" y="933"/>
                  </a:cubicBezTo>
                  <a:cubicBezTo>
                    <a:pt x="1020" y="933"/>
                    <a:pt x="1020" y="933"/>
                    <a:pt x="1020" y="941"/>
                  </a:cubicBezTo>
                  <a:cubicBezTo>
                    <a:pt x="1012" y="957"/>
                    <a:pt x="1004" y="965"/>
                    <a:pt x="988" y="973"/>
                  </a:cubicBezTo>
                  <a:lnTo>
                    <a:pt x="988" y="973"/>
                  </a:lnTo>
                  <a:cubicBezTo>
                    <a:pt x="980" y="973"/>
                    <a:pt x="965" y="980"/>
                    <a:pt x="965" y="988"/>
                  </a:cubicBezTo>
                  <a:cubicBezTo>
                    <a:pt x="957" y="1004"/>
                    <a:pt x="949" y="1028"/>
                    <a:pt x="933" y="1036"/>
                  </a:cubicBezTo>
                  <a:cubicBezTo>
                    <a:pt x="909" y="1044"/>
                    <a:pt x="894" y="1060"/>
                    <a:pt x="885" y="1075"/>
                  </a:cubicBezTo>
                  <a:cubicBezTo>
                    <a:pt x="885" y="1075"/>
                    <a:pt x="885" y="1075"/>
                    <a:pt x="885" y="1083"/>
                  </a:cubicBezTo>
                  <a:cubicBezTo>
                    <a:pt x="885" y="1091"/>
                    <a:pt x="885" y="1099"/>
                    <a:pt x="870" y="1091"/>
                  </a:cubicBezTo>
                  <a:lnTo>
                    <a:pt x="862" y="1091"/>
                  </a:lnTo>
                  <a:cubicBezTo>
                    <a:pt x="846" y="1083"/>
                    <a:pt x="838" y="1083"/>
                    <a:pt x="822" y="1083"/>
                  </a:cubicBezTo>
                  <a:cubicBezTo>
                    <a:pt x="791" y="1083"/>
                    <a:pt x="759" y="1091"/>
                    <a:pt x="743" y="1099"/>
                  </a:cubicBezTo>
                  <a:cubicBezTo>
                    <a:pt x="743" y="1099"/>
                    <a:pt x="735" y="1107"/>
                    <a:pt x="727" y="1107"/>
                  </a:cubicBezTo>
                  <a:cubicBezTo>
                    <a:pt x="712" y="1115"/>
                    <a:pt x="696" y="1123"/>
                    <a:pt x="688" y="1131"/>
                  </a:cubicBezTo>
                  <a:cubicBezTo>
                    <a:pt x="672" y="1147"/>
                    <a:pt x="656" y="1147"/>
                    <a:pt x="632" y="1138"/>
                  </a:cubicBezTo>
                  <a:lnTo>
                    <a:pt x="632" y="1138"/>
                  </a:lnTo>
                  <a:cubicBezTo>
                    <a:pt x="617" y="1123"/>
                    <a:pt x="601" y="1107"/>
                    <a:pt x="585" y="1107"/>
                  </a:cubicBezTo>
                  <a:lnTo>
                    <a:pt x="577" y="1107"/>
                  </a:lnTo>
                  <a:cubicBezTo>
                    <a:pt x="577" y="1107"/>
                    <a:pt x="561" y="1107"/>
                    <a:pt x="546" y="1107"/>
                  </a:cubicBezTo>
                  <a:cubicBezTo>
                    <a:pt x="474" y="1115"/>
                    <a:pt x="316" y="1115"/>
                    <a:pt x="206" y="1202"/>
                  </a:cubicBezTo>
                  <a:cubicBezTo>
                    <a:pt x="190" y="1210"/>
                    <a:pt x="182" y="1218"/>
                    <a:pt x="166" y="1225"/>
                  </a:cubicBezTo>
                  <a:cubicBezTo>
                    <a:pt x="174" y="1257"/>
                    <a:pt x="182" y="1289"/>
                    <a:pt x="190" y="1305"/>
                  </a:cubicBezTo>
                  <a:cubicBezTo>
                    <a:pt x="190" y="1313"/>
                    <a:pt x="190" y="1313"/>
                    <a:pt x="190" y="1313"/>
                  </a:cubicBezTo>
                  <a:cubicBezTo>
                    <a:pt x="190" y="1336"/>
                    <a:pt x="221" y="1376"/>
                    <a:pt x="229" y="1400"/>
                  </a:cubicBezTo>
                  <a:cubicBezTo>
                    <a:pt x="237" y="1400"/>
                    <a:pt x="237" y="1400"/>
                    <a:pt x="237" y="1391"/>
                  </a:cubicBezTo>
                  <a:lnTo>
                    <a:pt x="237" y="1391"/>
                  </a:lnTo>
                  <a:lnTo>
                    <a:pt x="237" y="1391"/>
                  </a:lnTo>
                  <a:cubicBezTo>
                    <a:pt x="245" y="1391"/>
                    <a:pt x="261" y="1391"/>
                    <a:pt x="269" y="1400"/>
                  </a:cubicBezTo>
                  <a:cubicBezTo>
                    <a:pt x="269" y="1407"/>
                    <a:pt x="269" y="1407"/>
                    <a:pt x="269" y="1415"/>
                  </a:cubicBezTo>
                  <a:cubicBezTo>
                    <a:pt x="269" y="1415"/>
                    <a:pt x="269" y="1423"/>
                    <a:pt x="261" y="1431"/>
                  </a:cubicBezTo>
                  <a:cubicBezTo>
                    <a:pt x="261" y="1447"/>
                    <a:pt x="253" y="1478"/>
                    <a:pt x="237" y="1486"/>
                  </a:cubicBezTo>
                  <a:cubicBezTo>
                    <a:pt x="221" y="1502"/>
                    <a:pt x="182" y="1542"/>
                    <a:pt x="150" y="1589"/>
                  </a:cubicBezTo>
                  <a:cubicBezTo>
                    <a:pt x="126" y="1613"/>
                    <a:pt x="111" y="1644"/>
                    <a:pt x="95" y="1660"/>
                  </a:cubicBezTo>
                  <a:cubicBezTo>
                    <a:pt x="79" y="1676"/>
                    <a:pt x="48" y="1708"/>
                    <a:pt x="8" y="1739"/>
                  </a:cubicBezTo>
                  <a:cubicBezTo>
                    <a:pt x="32" y="1850"/>
                    <a:pt x="32" y="1850"/>
                    <a:pt x="32" y="1850"/>
                  </a:cubicBezTo>
                  <a:cubicBezTo>
                    <a:pt x="111" y="1834"/>
                    <a:pt x="1415" y="1581"/>
                    <a:pt x="1439" y="1573"/>
                  </a:cubicBezTo>
                  <a:cubicBezTo>
                    <a:pt x="1447" y="1573"/>
                    <a:pt x="1455" y="1565"/>
                    <a:pt x="1455" y="1565"/>
                  </a:cubicBezTo>
                  <a:cubicBezTo>
                    <a:pt x="1471" y="1558"/>
                    <a:pt x="1486" y="1550"/>
                    <a:pt x="1502" y="1550"/>
                  </a:cubicBezTo>
                  <a:cubicBezTo>
                    <a:pt x="1510" y="1550"/>
                    <a:pt x="1526" y="1558"/>
                    <a:pt x="1542" y="1565"/>
                  </a:cubicBezTo>
                  <a:cubicBezTo>
                    <a:pt x="1589" y="1605"/>
                    <a:pt x="1613" y="1605"/>
                    <a:pt x="1644" y="1605"/>
                  </a:cubicBezTo>
                  <a:lnTo>
                    <a:pt x="1644" y="1605"/>
                  </a:lnTo>
                  <a:cubicBezTo>
                    <a:pt x="1668" y="1605"/>
                    <a:pt x="1684" y="1653"/>
                    <a:pt x="1700" y="1700"/>
                  </a:cubicBezTo>
                  <a:cubicBezTo>
                    <a:pt x="1708" y="1724"/>
                    <a:pt x="1716" y="1739"/>
                    <a:pt x="1724" y="1755"/>
                  </a:cubicBezTo>
                  <a:cubicBezTo>
                    <a:pt x="1731" y="1763"/>
                    <a:pt x="1731" y="1763"/>
                    <a:pt x="1739" y="1763"/>
                  </a:cubicBezTo>
                  <a:cubicBezTo>
                    <a:pt x="1739" y="1763"/>
                    <a:pt x="1739" y="1763"/>
                    <a:pt x="1747" y="1763"/>
                  </a:cubicBezTo>
                  <a:cubicBezTo>
                    <a:pt x="1747" y="1763"/>
                    <a:pt x="1755" y="1763"/>
                    <a:pt x="1763" y="1763"/>
                  </a:cubicBezTo>
                  <a:cubicBezTo>
                    <a:pt x="1771" y="1763"/>
                    <a:pt x="1779" y="1763"/>
                    <a:pt x="1787" y="1763"/>
                  </a:cubicBezTo>
                  <a:cubicBezTo>
                    <a:pt x="1826" y="1779"/>
                    <a:pt x="1842" y="1787"/>
                    <a:pt x="1874" y="1811"/>
                  </a:cubicBezTo>
                  <a:cubicBezTo>
                    <a:pt x="1897" y="1842"/>
                    <a:pt x="2079" y="1882"/>
                    <a:pt x="2103" y="1890"/>
                  </a:cubicBezTo>
                  <a:cubicBezTo>
                    <a:pt x="2127" y="1890"/>
                    <a:pt x="2142" y="1905"/>
                    <a:pt x="2150" y="1921"/>
                  </a:cubicBezTo>
                  <a:cubicBezTo>
                    <a:pt x="2158" y="1929"/>
                    <a:pt x="2150" y="1969"/>
                    <a:pt x="2142" y="2000"/>
                  </a:cubicBezTo>
                  <a:cubicBezTo>
                    <a:pt x="2135" y="2008"/>
                    <a:pt x="2135" y="2008"/>
                    <a:pt x="2135" y="2016"/>
                  </a:cubicBezTo>
                  <a:cubicBezTo>
                    <a:pt x="2135" y="2024"/>
                    <a:pt x="2127" y="2048"/>
                    <a:pt x="2119" y="2064"/>
                  </a:cubicBezTo>
                  <a:close/>
                </a:path>
              </a:pathLst>
            </a:custGeom>
            <a:solidFill>
              <a:schemeClr val="accent6"/>
            </a:solidFill>
            <a:ln>
              <a:solidFill>
                <a:schemeClr val="bg2"/>
              </a:solidFill>
            </a:ln>
            <a:effectLst/>
          </p:spPr>
          <p:txBody>
            <a:bodyPr wrap="none" anchor="ctr"/>
            <a:lstStyle/>
            <a:p>
              <a:endParaRPr lang="en-US"/>
            </a:p>
          </p:txBody>
        </p:sp>
        <p:sp>
          <p:nvSpPr>
            <p:cNvPr id="99" name="Freeform 769"/>
            <p:cNvSpPr>
              <a:spLocks noChangeArrowheads="1"/>
            </p:cNvSpPr>
            <p:nvPr/>
          </p:nvSpPr>
          <p:spPr bwMode="auto">
            <a:xfrm>
              <a:off x="6868354" y="2921515"/>
              <a:ext cx="201960" cy="355296"/>
            </a:xfrm>
            <a:custGeom>
              <a:avLst/>
              <a:gdLst>
                <a:gd name="T0" fmla="*/ 450 w 562"/>
                <a:gd name="T1" fmla="*/ 371 h 1139"/>
                <a:gd name="T2" fmla="*/ 450 w 562"/>
                <a:gd name="T3" fmla="*/ 371 h 1139"/>
                <a:gd name="T4" fmla="*/ 387 w 562"/>
                <a:gd name="T5" fmla="*/ 332 h 1139"/>
                <a:gd name="T6" fmla="*/ 427 w 562"/>
                <a:gd name="T7" fmla="*/ 269 h 1139"/>
                <a:gd name="T8" fmla="*/ 427 w 562"/>
                <a:gd name="T9" fmla="*/ 269 h 1139"/>
                <a:gd name="T10" fmla="*/ 443 w 562"/>
                <a:gd name="T11" fmla="*/ 221 h 1139"/>
                <a:gd name="T12" fmla="*/ 458 w 562"/>
                <a:gd name="T13" fmla="*/ 126 h 1139"/>
                <a:gd name="T14" fmla="*/ 411 w 562"/>
                <a:gd name="T15" fmla="*/ 95 h 1139"/>
                <a:gd name="T16" fmla="*/ 174 w 562"/>
                <a:gd name="T17" fmla="*/ 23 h 1139"/>
                <a:gd name="T18" fmla="*/ 150 w 562"/>
                <a:gd name="T19" fmla="*/ 0 h 1139"/>
                <a:gd name="T20" fmla="*/ 95 w 562"/>
                <a:gd name="T21" fmla="*/ 63 h 1139"/>
                <a:gd name="T22" fmla="*/ 87 w 562"/>
                <a:gd name="T23" fmla="*/ 134 h 1139"/>
                <a:gd name="T24" fmla="*/ 39 w 562"/>
                <a:gd name="T25" fmla="*/ 245 h 1139"/>
                <a:gd name="T26" fmla="*/ 79 w 562"/>
                <a:gd name="T27" fmla="*/ 269 h 1139"/>
                <a:gd name="T28" fmla="*/ 55 w 562"/>
                <a:gd name="T29" fmla="*/ 316 h 1139"/>
                <a:gd name="T30" fmla="*/ 39 w 562"/>
                <a:gd name="T31" fmla="*/ 371 h 1139"/>
                <a:gd name="T32" fmla="*/ 245 w 562"/>
                <a:gd name="T33" fmla="*/ 545 h 1139"/>
                <a:gd name="T34" fmla="*/ 190 w 562"/>
                <a:gd name="T35" fmla="*/ 616 h 1139"/>
                <a:gd name="T36" fmla="*/ 158 w 562"/>
                <a:gd name="T37" fmla="*/ 703 h 1139"/>
                <a:gd name="T38" fmla="*/ 110 w 562"/>
                <a:gd name="T39" fmla="*/ 751 h 1139"/>
                <a:gd name="T40" fmla="*/ 47 w 562"/>
                <a:gd name="T41" fmla="*/ 846 h 1139"/>
                <a:gd name="T42" fmla="*/ 87 w 562"/>
                <a:gd name="T43" fmla="*/ 964 h 1139"/>
                <a:gd name="T44" fmla="*/ 110 w 562"/>
                <a:gd name="T45" fmla="*/ 972 h 1139"/>
                <a:gd name="T46" fmla="*/ 158 w 562"/>
                <a:gd name="T47" fmla="*/ 1019 h 1139"/>
                <a:gd name="T48" fmla="*/ 253 w 562"/>
                <a:gd name="T49" fmla="*/ 1035 h 1139"/>
                <a:gd name="T50" fmla="*/ 284 w 562"/>
                <a:gd name="T51" fmla="*/ 1043 h 1139"/>
                <a:gd name="T52" fmla="*/ 316 w 562"/>
                <a:gd name="T53" fmla="*/ 1083 h 1139"/>
                <a:gd name="T54" fmla="*/ 316 w 562"/>
                <a:gd name="T55" fmla="*/ 1138 h 1139"/>
                <a:gd name="T56" fmla="*/ 363 w 562"/>
                <a:gd name="T57" fmla="*/ 1106 h 1139"/>
                <a:gd name="T58" fmla="*/ 411 w 562"/>
                <a:gd name="T59" fmla="*/ 1035 h 1139"/>
                <a:gd name="T60" fmla="*/ 419 w 562"/>
                <a:gd name="T61" fmla="*/ 940 h 1139"/>
                <a:gd name="T62" fmla="*/ 458 w 562"/>
                <a:gd name="T63" fmla="*/ 853 h 1139"/>
                <a:gd name="T64" fmla="*/ 482 w 562"/>
                <a:gd name="T65" fmla="*/ 782 h 1139"/>
                <a:gd name="T66" fmla="*/ 514 w 562"/>
                <a:gd name="T67" fmla="*/ 513 h 1139"/>
                <a:gd name="T68" fmla="*/ 450 w 562"/>
                <a:gd name="T69" fmla="*/ 371 h 1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2" h="1139">
                  <a:moveTo>
                    <a:pt x="450" y="371"/>
                  </a:moveTo>
                  <a:lnTo>
                    <a:pt x="450" y="371"/>
                  </a:lnTo>
                  <a:cubicBezTo>
                    <a:pt x="340" y="387"/>
                    <a:pt x="387" y="371"/>
                    <a:pt x="387" y="332"/>
                  </a:cubicBezTo>
                  <a:cubicBezTo>
                    <a:pt x="387" y="300"/>
                    <a:pt x="403" y="260"/>
                    <a:pt x="427" y="269"/>
                  </a:cubicBezTo>
                  <a:lnTo>
                    <a:pt x="427" y="269"/>
                  </a:lnTo>
                  <a:cubicBezTo>
                    <a:pt x="427" y="253"/>
                    <a:pt x="435" y="229"/>
                    <a:pt x="443" y="221"/>
                  </a:cubicBezTo>
                  <a:cubicBezTo>
                    <a:pt x="443" y="205"/>
                    <a:pt x="466" y="142"/>
                    <a:pt x="458" y="126"/>
                  </a:cubicBezTo>
                  <a:cubicBezTo>
                    <a:pt x="450" y="110"/>
                    <a:pt x="435" y="102"/>
                    <a:pt x="411" y="95"/>
                  </a:cubicBezTo>
                  <a:cubicBezTo>
                    <a:pt x="387" y="95"/>
                    <a:pt x="197" y="47"/>
                    <a:pt x="174" y="23"/>
                  </a:cubicBezTo>
                  <a:cubicBezTo>
                    <a:pt x="166" y="8"/>
                    <a:pt x="158" y="0"/>
                    <a:pt x="150" y="0"/>
                  </a:cubicBezTo>
                  <a:cubicBezTo>
                    <a:pt x="134" y="8"/>
                    <a:pt x="95" y="55"/>
                    <a:pt x="95" y="63"/>
                  </a:cubicBezTo>
                  <a:cubicBezTo>
                    <a:pt x="95" y="79"/>
                    <a:pt x="103" y="126"/>
                    <a:pt x="87" y="134"/>
                  </a:cubicBezTo>
                  <a:cubicBezTo>
                    <a:pt x="63" y="150"/>
                    <a:pt x="0" y="229"/>
                    <a:pt x="39" y="245"/>
                  </a:cubicBezTo>
                  <a:cubicBezTo>
                    <a:pt x="71" y="260"/>
                    <a:pt x="79" y="245"/>
                    <a:pt x="79" y="269"/>
                  </a:cubicBezTo>
                  <a:cubicBezTo>
                    <a:pt x="79" y="284"/>
                    <a:pt x="71" y="300"/>
                    <a:pt x="55" y="316"/>
                  </a:cubicBezTo>
                  <a:cubicBezTo>
                    <a:pt x="39" y="324"/>
                    <a:pt x="32" y="363"/>
                    <a:pt x="39" y="371"/>
                  </a:cubicBezTo>
                  <a:cubicBezTo>
                    <a:pt x="55" y="387"/>
                    <a:pt x="237" y="537"/>
                    <a:pt x="245" y="545"/>
                  </a:cubicBezTo>
                  <a:cubicBezTo>
                    <a:pt x="245" y="545"/>
                    <a:pt x="205" y="600"/>
                    <a:pt x="190" y="616"/>
                  </a:cubicBezTo>
                  <a:cubicBezTo>
                    <a:pt x="174" y="640"/>
                    <a:pt x="174" y="680"/>
                    <a:pt x="158" y="703"/>
                  </a:cubicBezTo>
                  <a:cubicBezTo>
                    <a:pt x="150" y="735"/>
                    <a:pt x="134" y="743"/>
                    <a:pt x="110" y="751"/>
                  </a:cubicBezTo>
                  <a:cubicBezTo>
                    <a:pt x="87" y="759"/>
                    <a:pt x="39" y="798"/>
                    <a:pt x="47" y="846"/>
                  </a:cubicBezTo>
                  <a:cubicBezTo>
                    <a:pt x="47" y="877"/>
                    <a:pt x="63" y="925"/>
                    <a:pt x="87" y="964"/>
                  </a:cubicBezTo>
                  <a:cubicBezTo>
                    <a:pt x="95" y="956"/>
                    <a:pt x="87" y="940"/>
                    <a:pt x="110" y="972"/>
                  </a:cubicBezTo>
                  <a:cubicBezTo>
                    <a:pt x="142" y="1004"/>
                    <a:pt x="87" y="996"/>
                    <a:pt x="158" y="1019"/>
                  </a:cubicBezTo>
                  <a:cubicBezTo>
                    <a:pt x="237" y="1051"/>
                    <a:pt x="229" y="1043"/>
                    <a:pt x="253" y="1035"/>
                  </a:cubicBezTo>
                  <a:cubicBezTo>
                    <a:pt x="277" y="1027"/>
                    <a:pt x="284" y="1012"/>
                    <a:pt x="284" y="1043"/>
                  </a:cubicBezTo>
                  <a:cubicBezTo>
                    <a:pt x="292" y="1075"/>
                    <a:pt x="340" y="1035"/>
                    <a:pt x="316" y="1083"/>
                  </a:cubicBezTo>
                  <a:cubicBezTo>
                    <a:pt x="292" y="1122"/>
                    <a:pt x="277" y="1138"/>
                    <a:pt x="316" y="1138"/>
                  </a:cubicBezTo>
                  <a:cubicBezTo>
                    <a:pt x="348" y="1130"/>
                    <a:pt x="356" y="1130"/>
                    <a:pt x="363" y="1106"/>
                  </a:cubicBezTo>
                  <a:cubicBezTo>
                    <a:pt x="379" y="1083"/>
                    <a:pt x="403" y="1075"/>
                    <a:pt x="411" y="1035"/>
                  </a:cubicBezTo>
                  <a:cubicBezTo>
                    <a:pt x="419" y="1004"/>
                    <a:pt x="395" y="972"/>
                    <a:pt x="419" y="940"/>
                  </a:cubicBezTo>
                  <a:cubicBezTo>
                    <a:pt x="443" y="909"/>
                    <a:pt x="450" y="893"/>
                    <a:pt x="458" y="853"/>
                  </a:cubicBezTo>
                  <a:cubicBezTo>
                    <a:pt x="474" y="814"/>
                    <a:pt x="450" y="798"/>
                    <a:pt x="482" y="782"/>
                  </a:cubicBezTo>
                  <a:cubicBezTo>
                    <a:pt x="514" y="766"/>
                    <a:pt x="522" y="561"/>
                    <a:pt x="514" y="513"/>
                  </a:cubicBezTo>
                  <a:cubicBezTo>
                    <a:pt x="506" y="458"/>
                    <a:pt x="561" y="348"/>
                    <a:pt x="450" y="371"/>
                  </a:cubicBezTo>
                </a:path>
              </a:pathLst>
            </a:custGeom>
            <a:solidFill>
              <a:schemeClr val="accent6"/>
            </a:solidFill>
            <a:ln>
              <a:solidFill>
                <a:schemeClr val="bg2"/>
              </a:solidFill>
            </a:ln>
            <a:effectLst/>
          </p:spPr>
          <p:txBody>
            <a:bodyPr wrap="none" anchor="ctr"/>
            <a:lstStyle/>
            <a:p>
              <a:endParaRPr lang="en-US"/>
            </a:p>
          </p:txBody>
        </p:sp>
        <p:sp>
          <p:nvSpPr>
            <p:cNvPr id="100" name="Freeform 770"/>
            <p:cNvSpPr>
              <a:spLocks noChangeArrowheads="1"/>
            </p:cNvSpPr>
            <p:nvPr/>
          </p:nvSpPr>
          <p:spPr bwMode="auto">
            <a:xfrm>
              <a:off x="6873124" y="2918761"/>
              <a:ext cx="186058" cy="358050"/>
            </a:xfrm>
            <a:custGeom>
              <a:avLst/>
              <a:gdLst>
                <a:gd name="T0" fmla="*/ 276 w 515"/>
                <a:gd name="T1" fmla="*/ 1138 h 1147"/>
                <a:gd name="T2" fmla="*/ 300 w 515"/>
                <a:gd name="T3" fmla="*/ 1067 h 1147"/>
                <a:gd name="T4" fmla="*/ 261 w 515"/>
                <a:gd name="T5" fmla="*/ 1035 h 1147"/>
                <a:gd name="T6" fmla="*/ 229 w 515"/>
                <a:gd name="T7" fmla="*/ 1051 h 1147"/>
                <a:gd name="T8" fmla="*/ 103 w 515"/>
                <a:gd name="T9" fmla="*/ 1004 h 1147"/>
                <a:gd name="T10" fmla="*/ 71 w 515"/>
                <a:gd name="T11" fmla="*/ 972 h 1147"/>
                <a:gd name="T12" fmla="*/ 23 w 515"/>
                <a:gd name="T13" fmla="*/ 854 h 1147"/>
                <a:gd name="T14" fmla="*/ 150 w 515"/>
                <a:gd name="T15" fmla="*/ 680 h 1147"/>
                <a:gd name="T16" fmla="*/ 79 w 515"/>
                <a:gd name="T17" fmla="*/ 427 h 1147"/>
                <a:gd name="T18" fmla="*/ 39 w 515"/>
                <a:gd name="T19" fmla="*/ 316 h 1147"/>
                <a:gd name="T20" fmla="*/ 47 w 515"/>
                <a:gd name="T21" fmla="*/ 261 h 1147"/>
                <a:gd name="T22" fmla="*/ 63 w 515"/>
                <a:gd name="T23" fmla="*/ 142 h 1147"/>
                <a:gd name="T24" fmla="*/ 126 w 515"/>
                <a:gd name="T25" fmla="*/ 0 h 1147"/>
                <a:gd name="T26" fmla="*/ 166 w 515"/>
                <a:gd name="T27" fmla="*/ 24 h 1147"/>
                <a:gd name="T28" fmla="*/ 434 w 515"/>
                <a:gd name="T29" fmla="*/ 213 h 1147"/>
                <a:gd name="T30" fmla="*/ 411 w 515"/>
                <a:gd name="T31" fmla="*/ 284 h 1147"/>
                <a:gd name="T32" fmla="*/ 379 w 515"/>
                <a:gd name="T33" fmla="*/ 340 h 1147"/>
                <a:gd name="T34" fmla="*/ 379 w 515"/>
                <a:gd name="T35" fmla="*/ 379 h 1147"/>
                <a:gd name="T36" fmla="*/ 506 w 515"/>
                <a:gd name="T37" fmla="*/ 466 h 1147"/>
                <a:gd name="T38" fmla="*/ 450 w 515"/>
                <a:gd name="T39" fmla="*/ 830 h 1147"/>
                <a:gd name="T40" fmla="*/ 395 w 515"/>
                <a:gd name="T41" fmla="*/ 1004 h 1147"/>
                <a:gd name="T42" fmla="*/ 356 w 515"/>
                <a:gd name="T43" fmla="*/ 1114 h 1147"/>
                <a:gd name="T44" fmla="*/ 261 w 515"/>
                <a:gd name="T45" fmla="*/ 1027 h 1147"/>
                <a:gd name="T46" fmla="*/ 292 w 515"/>
                <a:gd name="T47" fmla="*/ 1059 h 1147"/>
                <a:gd name="T48" fmla="*/ 292 w 515"/>
                <a:gd name="T49" fmla="*/ 1114 h 1147"/>
                <a:gd name="T50" fmla="*/ 300 w 515"/>
                <a:gd name="T51" fmla="*/ 1138 h 1147"/>
                <a:gd name="T52" fmla="*/ 387 w 515"/>
                <a:gd name="T53" fmla="*/ 1043 h 1147"/>
                <a:gd name="T54" fmla="*/ 442 w 515"/>
                <a:gd name="T55" fmla="*/ 861 h 1147"/>
                <a:gd name="T56" fmla="*/ 498 w 515"/>
                <a:gd name="T57" fmla="*/ 521 h 1147"/>
                <a:gd name="T58" fmla="*/ 434 w 515"/>
                <a:gd name="T59" fmla="*/ 379 h 1147"/>
                <a:gd name="T60" fmla="*/ 363 w 515"/>
                <a:gd name="T61" fmla="*/ 363 h 1147"/>
                <a:gd name="T62" fmla="*/ 411 w 515"/>
                <a:gd name="T63" fmla="*/ 268 h 1147"/>
                <a:gd name="T64" fmla="*/ 434 w 515"/>
                <a:gd name="T65" fmla="*/ 134 h 1147"/>
                <a:gd name="T66" fmla="*/ 134 w 515"/>
                <a:gd name="T67" fmla="*/ 8 h 1147"/>
                <a:gd name="T68" fmla="*/ 71 w 515"/>
                <a:gd name="T69" fmla="*/ 142 h 1147"/>
                <a:gd name="T70" fmla="*/ 47 w 515"/>
                <a:gd name="T71" fmla="*/ 253 h 1147"/>
                <a:gd name="T72" fmla="*/ 23 w 515"/>
                <a:gd name="T73" fmla="*/ 363 h 1147"/>
                <a:gd name="T74" fmla="*/ 229 w 515"/>
                <a:gd name="T75" fmla="*/ 553 h 1147"/>
                <a:gd name="T76" fmla="*/ 150 w 515"/>
                <a:gd name="T77" fmla="*/ 711 h 1147"/>
                <a:gd name="T78" fmla="*/ 71 w 515"/>
                <a:gd name="T79" fmla="*/ 964 h 1147"/>
                <a:gd name="T80" fmla="*/ 94 w 515"/>
                <a:gd name="T81" fmla="*/ 980 h 1147"/>
                <a:gd name="T82" fmla="*/ 213 w 515"/>
                <a:gd name="T83" fmla="*/ 1043 h 1147"/>
                <a:gd name="T84" fmla="*/ 253 w 515"/>
                <a:gd name="T85" fmla="*/ 1035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5" h="1147">
                  <a:moveTo>
                    <a:pt x="292" y="1146"/>
                  </a:moveTo>
                  <a:lnTo>
                    <a:pt x="292" y="1146"/>
                  </a:lnTo>
                  <a:cubicBezTo>
                    <a:pt x="284" y="1146"/>
                    <a:pt x="276" y="1146"/>
                    <a:pt x="276" y="1138"/>
                  </a:cubicBezTo>
                  <a:cubicBezTo>
                    <a:pt x="268" y="1130"/>
                    <a:pt x="276" y="1122"/>
                    <a:pt x="284" y="1107"/>
                  </a:cubicBezTo>
                  <a:cubicBezTo>
                    <a:pt x="292" y="1099"/>
                    <a:pt x="292" y="1099"/>
                    <a:pt x="300" y="1083"/>
                  </a:cubicBezTo>
                  <a:cubicBezTo>
                    <a:pt x="300" y="1075"/>
                    <a:pt x="300" y="1075"/>
                    <a:pt x="300" y="1067"/>
                  </a:cubicBezTo>
                  <a:lnTo>
                    <a:pt x="292" y="1067"/>
                  </a:lnTo>
                  <a:cubicBezTo>
                    <a:pt x="284" y="1067"/>
                    <a:pt x="268" y="1067"/>
                    <a:pt x="268" y="1051"/>
                  </a:cubicBezTo>
                  <a:cubicBezTo>
                    <a:pt x="268" y="1043"/>
                    <a:pt x="268" y="1035"/>
                    <a:pt x="261" y="1035"/>
                  </a:cubicBezTo>
                  <a:cubicBezTo>
                    <a:pt x="261" y="1035"/>
                    <a:pt x="261" y="1035"/>
                    <a:pt x="253" y="1035"/>
                  </a:cubicBezTo>
                  <a:cubicBezTo>
                    <a:pt x="253" y="1043"/>
                    <a:pt x="245" y="1043"/>
                    <a:pt x="237" y="1043"/>
                  </a:cubicBezTo>
                  <a:cubicBezTo>
                    <a:pt x="237" y="1043"/>
                    <a:pt x="237" y="1043"/>
                    <a:pt x="229" y="1051"/>
                  </a:cubicBezTo>
                  <a:cubicBezTo>
                    <a:pt x="229" y="1051"/>
                    <a:pt x="221" y="1051"/>
                    <a:pt x="213" y="1051"/>
                  </a:cubicBezTo>
                  <a:cubicBezTo>
                    <a:pt x="197" y="1051"/>
                    <a:pt x="181" y="1043"/>
                    <a:pt x="142" y="1035"/>
                  </a:cubicBezTo>
                  <a:cubicBezTo>
                    <a:pt x="103" y="1020"/>
                    <a:pt x="103" y="1012"/>
                    <a:pt x="103" y="1004"/>
                  </a:cubicBezTo>
                  <a:cubicBezTo>
                    <a:pt x="103" y="996"/>
                    <a:pt x="103" y="996"/>
                    <a:pt x="94" y="980"/>
                  </a:cubicBezTo>
                  <a:cubicBezTo>
                    <a:pt x="87" y="972"/>
                    <a:pt x="79" y="972"/>
                    <a:pt x="79" y="964"/>
                  </a:cubicBezTo>
                  <a:cubicBezTo>
                    <a:pt x="79" y="972"/>
                    <a:pt x="79" y="972"/>
                    <a:pt x="71" y="972"/>
                  </a:cubicBezTo>
                  <a:cubicBezTo>
                    <a:pt x="71" y="980"/>
                    <a:pt x="71" y="980"/>
                    <a:pt x="71" y="980"/>
                  </a:cubicBezTo>
                  <a:cubicBezTo>
                    <a:pt x="63" y="972"/>
                    <a:pt x="63" y="972"/>
                    <a:pt x="63" y="972"/>
                  </a:cubicBezTo>
                  <a:cubicBezTo>
                    <a:pt x="39" y="933"/>
                    <a:pt x="31" y="893"/>
                    <a:pt x="23" y="854"/>
                  </a:cubicBezTo>
                  <a:cubicBezTo>
                    <a:pt x="16" y="806"/>
                    <a:pt x="63" y="767"/>
                    <a:pt x="94" y="751"/>
                  </a:cubicBezTo>
                  <a:cubicBezTo>
                    <a:pt x="118" y="743"/>
                    <a:pt x="134" y="735"/>
                    <a:pt x="142" y="711"/>
                  </a:cubicBezTo>
                  <a:cubicBezTo>
                    <a:pt x="142" y="703"/>
                    <a:pt x="150" y="695"/>
                    <a:pt x="150" y="680"/>
                  </a:cubicBezTo>
                  <a:cubicBezTo>
                    <a:pt x="158" y="664"/>
                    <a:pt x="166" y="640"/>
                    <a:pt x="174" y="624"/>
                  </a:cubicBezTo>
                  <a:cubicBezTo>
                    <a:pt x="189" y="608"/>
                    <a:pt x="221" y="561"/>
                    <a:pt x="221" y="553"/>
                  </a:cubicBezTo>
                  <a:cubicBezTo>
                    <a:pt x="221" y="545"/>
                    <a:pt x="126" y="474"/>
                    <a:pt x="79" y="427"/>
                  </a:cubicBezTo>
                  <a:cubicBezTo>
                    <a:pt x="47" y="403"/>
                    <a:pt x="31" y="387"/>
                    <a:pt x="23" y="387"/>
                  </a:cubicBezTo>
                  <a:cubicBezTo>
                    <a:pt x="16" y="379"/>
                    <a:pt x="16" y="371"/>
                    <a:pt x="16" y="363"/>
                  </a:cubicBezTo>
                  <a:cubicBezTo>
                    <a:pt x="16" y="348"/>
                    <a:pt x="23" y="324"/>
                    <a:pt x="39" y="316"/>
                  </a:cubicBezTo>
                  <a:cubicBezTo>
                    <a:pt x="55" y="308"/>
                    <a:pt x="55" y="292"/>
                    <a:pt x="55" y="277"/>
                  </a:cubicBezTo>
                  <a:cubicBezTo>
                    <a:pt x="55" y="268"/>
                    <a:pt x="55" y="261"/>
                    <a:pt x="55" y="261"/>
                  </a:cubicBezTo>
                  <a:cubicBezTo>
                    <a:pt x="55" y="261"/>
                    <a:pt x="55" y="261"/>
                    <a:pt x="47" y="261"/>
                  </a:cubicBezTo>
                  <a:cubicBezTo>
                    <a:pt x="47" y="261"/>
                    <a:pt x="31" y="261"/>
                    <a:pt x="16" y="253"/>
                  </a:cubicBezTo>
                  <a:cubicBezTo>
                    <a:pt x="16" y="253"/>
                    <a:pt x="8" y="245"/>
                    <a:pt x="8" y="237"/>
                  </a:cubicBezTo>
                  <a:cubicBezTo>
                    <a:pt x="0" y="205"/>
                    <a:pt x="55" y="150"/>
                    <a:pt x="63" y="142"/>
                  </a:cubicBezTo>
                  <a:cubicBezTo>
                    <a:pt x="79" y="126"/>
                    <a:pt x="79" y="95"/>
                    <a:pt x="71" y="79"/>
                  </a:cubicBezTo>
                  <a:cubicBezTo>
                    <a:pt x="71" y="79"/>
                    <a:pt x="71" y="79"/>
                    <a:pt x="71" y="71"/>
                  </a:cubicBezTo>
                  <a:cubicBezTo>
                    <a:pt x="71" y="63"/>
                    <a:pt x="103" y="24"/>
                    <a:pt x="126" y="0"/>
                  </a:cubicBezTo>
                  <a:cubicBezTo>
                    <a:pt x="134" y="0"/>
                    <a:pt x="134" y="0"/>
                    <a:pt x="134" y="0"/>
                  </a:cubicBezTo>
                  <a:lnTo>
                    <a:pt x="134" y="0"/>
                  </a:lnTo>
                  <a:cubicBezTo>
                    <a:pt x="142" y="8"/>
                    <a:pt x="150" y="16"/>
                    <a:pt x="166" y="24"/>
                  </a:cubicBezTo>
                  <a:cubicBezTo>
                    <a:pt x="189" y="55"/>
                    <a:pt x="371" y="95"/>
                    <a:pt x="395" y="103"/>
                  </a:cubicBezTo>
                  <a:cubicBezTo>
                    <a:pt x="419" y="103"/>
                    <a:pt x="434" y="118"/>
                    <a:pt x="442" y="134"/>
                  </a:cubicBezTo>
                  <a:cubicBezTo>
                    <a:pt x="450" y="142"/>
                    <a:pt x="442" y="182"/>
                    <a:pt x="434" y="213"/>
                  </a:cubicBezTo>
                  <a:cubicBezTo>
                    <a:pt x="427" y="221"/>
                    <a:pt x="427" y="221"/>
                    <a:pt x="427" y="229"/>
                  </a:cubicBezTo>
                  <a:cubicBezTo>
                    <a:pt x="427" y="237"/>
                    <a:pt x="419" y="261"/>
                    <a:pt x="411" y="277"/>
                  </a:cubicBezTo>
                  <a:cubicBezTo>
                    <a:pt x="411" y="284"/>
                    <a:pt x="411" y="284"/>
                    <a:pt x="411" y="284"/>
                  </a:cubicBezTo>
                  <a:cubicBezTo>
                    <a:pt x="411" y="277"/>
                    <a:pt x="411" y="277"/>
                    <a:pt x="411" y="277"/>
                  </a:cubicBezTo>
                  <a:cubicBezTo>
                    <a:pt x="403" y="277"/>
                    <a:pt x="403" y="277"/>
                    <a:pt x="403" y="277"/>
                  </a:cubicBezTo>
                  <a:cubicBezTo>
                    <a:pt x="387" y="277"/>
                    <a:pt x="379" y="308"/>
                    <a:pt x="379" y="340"/>
                  </a:cubicBezTo>
                  <a:cubicBezTo>
                    <a:pt x="379" y="356"/>
                    <a:pt x="371" y="363"/>
                    <a:pt x="371" y="371"/>
                  </a:cubicBezTo>
                  <a:lnTo>
                    <a:pt x="363" y="379"/>
                  </a:lnTo>
                  <a:cubicBezTo>
                    <a:pt x="363" y="379"/>
                    <a:pt x="371" y="379"/>
                    <a:pt x="379" y="379"/>
                  </a:cubicBezTo>
                  <a:cubicBezTo>
                    <a:pt x="387" y="379"/>
                    <a:pt x="403" y="379"/>
                    <a:pt x="434" y="371"/>
                  </a:cubicBezTo>
                  <a:cubicBezTo>
                    <a:pt x="466" y="371"/>
                    <a:pt x="482" y="371"/>
                    <a:pt x="498" y="387"/>
                  </a:cubicBezTo>
                  <a:cubicBezTo>
                    <a:pt x="514" y="403"/>
                    <a:pt x="514" y="435"/>
                    <a:pt x="506" y="466"/>
                  </a:cubicBezTo>
                  <a:cubicBezTo>
                    <a:pt x="506" y="490"/>
                    <a:pt x="506" y="506"/>
                    <a:pt x="506" y="521"/>
                  </a:cubicBezTo>
                  <a:cubicBezTo>
                    <a:pt x="514" y="569"/>
                    <a:pt x="506" y="774"/>
                    <a:pt x="474" y="790"/>
                  </a:cubicBezTo>
                  <a:cubicBezTo>
                    <a:pt x="450" y="798"/>
                    <a:pt x="450" y="814"/>
                    <a:pt x="450" y="830"/>
                  </a:cubicBezTo>
                  <a:cubicBezTo>
                    <a:pt x="450" y="838"/>
                    <a:pt x="450" y="854"/>
                    <a:pt x="450" y="861"/>
                  </a:cubicBezTo>
                  <a:cubicBezTo>
                    <a:pt x="434" y="909"/>
                    <a:pt x="434" y="917"/>
                    <a:pt x="411" y="948"/>
                  </a:cubicBezTo>
                  <a:cubicBezTo>
                    <a:pt x="395" y="972"/>
                    <a:pt x="395" y="988"/>
                    <a:pt x="395" y="1004"/>
                  </a:cubicBezTo>
                  <a:cubicBezTo>
                    <a:pt x="395" y="1020"/>
                    <a:pt x="403" y="1035"/>
                    <a:pt x="395" y="1043"/>
                  </a:cubicBezTo>
                  <a:cubicBezTo>
                    <a:pt x="387" y="1067"/>
                    <a:pt x="379" y="1083"/>
                    <a:pt x="371" y="1091"/>
                  </a:cubicBezTo>
                  <a:cubicBezTo>
                    <a:pt x="363" y="1099"/>
                    <a:pt x="356" y="1107"/>
                    <a:pt x="356" y="1114"/>
                  </a:cubicBezTo>
                  <a:cubicBezTo>
                    <a:pt x="347" y="1138"/>
                    <a:pt x="332" y="1146"/>
                    <a:pt x="300" y="1146"/>
                  </a:cubicBezTo>
                  <a:cubicBezTo>
                    <a:pt x="292" y="1146"/>
                    <a:pt x="292" y="1146"/>
                    <a:pt x="292" y="1146"/>
                  </a:cubicBezTo>
                  <a:close/>
                  <a:moveTo>
                    <a:pt x="261" y="1027"/>
                  </a:moveTo>
                  <a:lnTo>
                    <a:pt x="261" y="1027"/>
                  </a:lnTo>
                  <a:cubicBezTo>
                    <a:pt x="276" y="1027"/>
                    <a:pt x="276" y="1043"/>
                    <a:pt x="276" y="1051"/>
                  </a:cubicBezTo>
                  <a:cubicBezTo>
                    <a:pt x="276" y="1059"/>
                    <a:pt x="284" y="1059"/>
                    <a:pt x="292" y="1059"/>
                  </a:cubicBezTo>
                  <a:cubicBezTo>
                    <a:pt x="300" y="1059"/>
                    <a:pt x="308" y="1059"/>
                    <a:pt x="308" y="1067"/>
                  </a:cubicBezTo>
                  <a:cubicBezTo>
                    <a:pt x="308" y="1075"/>
                    <a:pt x="308" y="1075"/>
                    <a:pt x="300" y="1091"/>
                  </a:cubicBezTo>
                  <a:cubicBezTo>
                    <a:pt x="300" y="1099"/>
                    <a:pt x="292" y="1107"/>
                    <a:pt x="292" y="1114"/>
                  </a:cubicBezTo>
                  <a:cubicBezTo>
                    <a:pt x="284" y="1122"/>
                    <a:pt x="276" y="1130"/>
                    <a:pt x="284" y="1138"/>
                  </a:cubicBezTo>
                  <a:cubicBezTo>
                    <a:pt x="284" y="1138"/>
                    <a:pt x="284" y="1138"/>
                    <a:pt x="292" y="1138"/>
                  </a:cubicBezTo>
                  <a:cubicBezTo>
                    <a:pt x="292" y="1138"/>
                    <a:pt x="292" y="1138"/>
                    <a:pt x="300" y="1138"/>
                  </a:cubicBezTo>
                  <a:cubicBezTo>
                    <a:pt x="332" y="1138"/>
                    <a:pt x="340" y="1130"/>
                    <a:pt x="347" y="1114"/>
                  </a:cubicBezTo>
                  <a:cubicBezTo>
                    <a:pt x="356" y="1099"/>
                    <a:pt x="356" y="1099"/>
                    <a:pt x="363" y="1091"/>
                  </a:cubicBezTo>
                  <a:cubicBezTo>
                    <a:pt x="371" y="1075"/>
                    <a:pt x="387" y="1067"/>
                    <a:pt x="387" y="1043"/>
                  </a:cubicBezTo>
                  <a:cubicBezTo>
                    <a:pt x="395" y="1027"/>
                    <a:pt x="395" y="1020"/>
                    <a:pt x="387" y="1004"/>
                  </a:cubicBezTo>
                  <a:cubicBezTo>
                    <a:pt x="387" y="988"/>
                    <a:pt x="387" y="964"/>
                    <a:pt x="403" y="948"/>
                  </a:cubicBezTo>
                  <a:cubicBezTo>
                    <a:pt x="427" y="917"/>
                    <a:pt x="434" y="901"/>
                    <a:pt x="442" y="861"/>
                  </a:cubicBezTo>
                  <a:cubicBezTo>
                    <a:pt x="442" y="846"/>
                    <a:pt x="442" y="838"/>
                    <a:pt x="442" y="830"/>
                  </a:cubicBezTo>
                  <a:cubicBezTo>
                    <a:pt x="442" y="814"/>
                    <a:pt x="442" y="798"/>
                    <a:pt x="466" y="790"/>
                  </a:cubicBezTo>
                  <a:cubicBezTo>
                    <a:pt x="498" y="774"/>
                    <a:pt x="506" y="577"/>
                    <a:pt x="498" y="521"/>
                  </a:cubicBezTo>
                  <a:cubicBezTo>
                    <a:pt x="498" y="506"/>
                    <a:pt x="498" y="490"/>
                    <a:pt x="498" y="466"/>
                  </a:cubicBezTo>
                  <a:cubicBezTo>
                    <a:pt x="506" y="435"/>
                    <a:pt x="506" y="411"/>
                    <a:pt x="490" y="387"/>
                  </a:cubicBezTo>
                  <a:cubicBezTo>
                    <a:pt x="482" y="379"/>
                    <a:pt x="466" y="379"/>
                    <a:pt x="434" y="379"/>
                  </a:cubicBezTo>
                  <a:cubicBezTo>
                    <a:pt x="403" y="387"/>
                    <a:pt x="387" y="387"/>
                    <a:pt x="379" y="387"/>
                  </a:cubicBezTo>
                  <a:cubicBezTo>
                    <a:pt x="363" y="387"/>
                    <a:pt x="363" y="387"/>
                    <a:pt x="363" y="387"/>
                  </a:cubicBezTo>
                  <a:cubicBezTo>
                    <a:pt x="356" y="379"/>
                    <a:pt x="363" y="371"/>
                    <a:pt x="363" y="363"/>
                  </a:cubicBezTo>
                  <a:cubicBezTo>
                    <a:pt x="363" y="356"/>
                    <a:pt x="371" y="348"/>
                    <a:pt x="371" y="340"/>
                  </a:cubicBezTo>
                  <a:cubicBezTo>
                    <a:pt x="371" y="308"/>
                    <a:pt x="387" y="268"/>
                    <a:pt x="403" y="268"/>
                  </a:cubicBezTo>
                  <a:cubicBezTo>
                    <a:pt x="403" y="268"/>
                    <a:pt x="403" y="268"/>
                    <a:pt x="411" y="268"/>
                  </a:cubicBezTo>
                  <a:cubicBezTo>
                    <a:pt x="411" y="261"/>
                    <a:pt x="419" y="237"/>
                    <a:pt x="419" y="229"/>
                  </a:cubicBezTo>
                  <a:cubicBezTo>
                    <a:pt x="419" y="221"/>
                    <a:pt x="427" y="221"/>
                    <a:pt x="427" y="213"/>
                  </a:cubicBezTo>
                  <a:cubicBezTo>
                    <a:pt x="427" y="190"/>
                    <a:pt x="442" y="150"/>
                    <a:pt x="434" y="134"/>
                  </a:cubicBezTo>
                  <a:cubicBezTo>
                    <a:pt x="434" y="118"/>
                    <a:pt x="419" y="110"/>
                    <a:pt x="395" y="110"/>
                  </a:cubicBezTo>
                  <a:cubicBezTo>
                    <a:pt x="379" y="103"/>
                    <a:pt x="181" y="63"/>
                    <a:pt x="158" y="31"/>
                  </a:cubicBezTo>
                  <a:cubicBezTo>
                    <a:pt x="150" y="24"/>
                    <a:pt x="142" y="16"/>
                    <a:pt x="134" y="8"/>
                  </a:cubicBezTo>
                  <a:cubicBezTo>
                    <a:pt x="103" y="39"/>
                    <a:pt x="79" y="63"/>
                    <a:pt x="79" y="71"/>
                  </a:cubicBezTo>
                  <a:cubicBezTo>
                    <a:pt x="79" y="79"/>
                    <a:pt x="79" y="79"/>
                    <a:pt x="79" y="79"/>
                  </a:cubicBezTo>
                  <a:cubicBezTo>
                    <a:pt x="79" y="103"/>
                    <a:pt x="87" y="134"/>
                    <a:pt x="71" y="142"/>
                  </a:cubicBezTo>
                  <a:cubicBezTo>
                    <a:pt x="55" y="158"/>
                    <a:pt x="8" y="213"/>
                    <a:pt x="16" y="237"/>
                  </a:cubicBezTo>
                  <a:cubicBezTo>
                    <a:pt x="16" y="245"/>
                    <a:pt x="16" y="245"/>
                    <a:pt x="23" y="245"/>
                  </a:cubicBezTo>
                  <a:cubicBezTo>
                    <a:pt x="39" y="253"/>
                    <a:pt x="47" y="253"/>
                    <a:pt x="47" y="253"/>
                  </a:cubicBezTo>
                  <a:cubicBezTo>
                    <a:pt x="63" y="253"/>
                    <a:pt x="63" y="261"/>
                    <a:pt x="63" y="277"/>
                  </a:cubicBezTo>
                  <a:cubicBezTo>
                    <a:pt x="63" y="300"/>
                    <a:pt x="55" y="308"/>
                    <a:pt x="39" y="324"/>
                  </a:cubicBezTo>
                  <a:cubicBezTo>
                    <a:pt x="31" y="332"/>
                    <a:pt x="23" y="348"/>
                    <a:pt x="23" y="363"/>
                  </a:cubicBezTo>
                  <a:cubicBezTo>
                    <a:pt x="23" y="371"/>
                    <a:pt x="23" y="379"/>
                    <a:pt x="31" y="379"/>
                  </a:cubicBezTo>
                  <a:cubicBezTo>
                    <a:pt x="31" y="379"/>
                    <a:pt x="55" y="403"/>
                    <a:pt x="79" y="427"/>
                  </a:cubicBezTo>
                  <a:cubicBezTo>
                    <a:pt x="197" y="521"/>
                    <a:pt x="229" y="545"/>
                    <a:pt x="229" y="553"/>
                  </a:cubicBezTo>
                  <a:cubicBezTo>
                    <a:pt x="237" y="561"/>
                    <a:pt x="181" y="632"/>
                    <a:pt x="181" y="632"/>
                  </a:cubicBezTo>
                  <a:cubicBezTo>
                    <a:pt x="166" y="640"/>
                    <a:pt x="166" y="664"/>
                    <a:pt x="158" y="688"/>
                  </a:cubicBezTo>
                  <a:cubicBezTo>
                    <a:pt x="158" y="695"/>
                    <a:pt x="150" y="703"/>
                    <a:pt x="150" y="711"/>
                  </a:cubicBezTo>
                  <a:cubicBezTo>
                    <a:pt x="134" y="743"/>
                    <a:pt x="126" y="751"/>
                    <a:pt x="94" y="759"/>
                  </a:cubicBezTo>
                  <a:cubicBezTo>
                    <a:pt x="71" y="767"/>
                    <a:pt x="23" y="806"/>
                    <a:pt x="31" y="854"/>
                  </a:cubicBezTo>
                  <a:cubicBezTo>
                    <a:pt x="39" y="885"/>
                    <a:pt x="47" y="925"/>
                    <a:pt x="71" y="964"/>
                  </a:cubicBezTo>
                  <a:lnTo>
                    <a:pt x="71" y="964"/>
                  </a:lnTo>
                  <a:cubicBezTo>
                    <a:pt x="71" y="964"/>
                    <a:pt x="71" y="956"/>
                    <a:pt x="79" y="956"/>
                  </a:cubicBezTo>
                  <a:cubicBezTo>
                    <a:pt x="79" y="956"/>
                    <a:pt x="87" y="956"/>
                    <a:pt x="94" y="980"/>
                  </a:cubicBezTo>
                  <a:cubicBezTo>
                    <a:pt x="110" y="988"/>
                    <a:pt x="110" y="996"/>
                    <a:pt x="110" y="1004"/>
                  </a:cubicBezTo>
                  <a:cubicBezTo>
                    <a:pt x="110" y="1012"/>
                    <a:pt x="110" y="1012"/>
                    <a:pt x="150" y="1027"/>
                  </a:cubicBezTo>
                  <a:cubicBezTo>
                    <a:pt x="181" y="1035"/>
                    <a:pt x="205" y="1043"/>
                    <a:pt x="213" y="1043"/>
                  </a:cubicBezTo>
                  <a:cubicBezTo>
                    <a:pt x="221" y="1043"/>
                    <a:pt x="221" y="1043"/>
                    <a:pt x="229" y="1043"/>
                  </a:cubicBezTo>
                  <a:lnTo>
                    <a:pt x="237" y="1035"/>
                  </a:lnTo>
                  <a:cubicBezTo>
                    <a:pt x="245" y="1035"/>
                    <a:pt x="245" y="1035"/>
                    <a:pt x="253" y="1035"/>
                  </a:cubicBezTo>
                  <a:cubicBezTo>
                    <a:pt x="253" y="1027"/>
                    <a:pt x="261" y="1027"/>
                    <a:pt x="261" y="1027"/>
                  </a:cubicBezTo>
                  <a:close/>
                </a:path>
              </a:pathLst>
            </a:custGeom>
            <a:solidFill>
              <a:schemeClr val="accent6"/>
            </a:solidFill>
            <a:ln>
              <a:solidFill>
                <a:schemeClr val="bg2"/>
              </a:solidFill>
            </a:ln>
            <a:effectLst/>
          </p:spPr>
          <p:txBody>
            <a:bodyPr wrap="none" anchor="ctr"/>
            <a:lstStyle/>
            <a:p>
              <a:endParaRPr lang="en-US"/>
            </a:p>
          </p:txBody>
        </p:sp>
        <p:sp>
          <p:nvSpPr>
            <p:cNvPr id="101" name="Freeform 771"/>
            <p:cNvSpPr>
              <a:spLocks noChangeArrowheads="1"/>
            </p:cNvSpPr>
            <p:nvPr/>
          </p:nvSpPr>
          <p:spPr bwMode="auto">
            <a:xfrm>
              <a:off x="6844500" y="3158379"/>
              <a:ext cx="151074" cy="214830"/>
            </a:xfrm>
            <a:custGeom>
              <a:avLst/>
              <a:gdLst>
                <a:gd name="T0" fmla="*/ 102 w 420"/>
                <a:gd name="T1" fmla="*/ 0 h 688"/>
                <a:gd name="T2" fmla="*/ 102 w 420"/>
                <a:gd name="T3" fmla="*/ 0 h 688"/>
                <a:gd name="T4" fmla="*/ 31 w 420"/>
                <a:gd name="T5" fmla="*/ 31 h 688"/>
                <a:gd name="T6" fmla="*/ 7 w 420"/>
                <a:gd name="T7" fmla="*/ 79 h 688"/>
                <a:gd name="T8" fmla="*/ 31 w 420"/>
                <a:gd name="T9" fmla="*/ 181 h 688"/>
                <a:gd name="T10" fmla="*/ 102 w 420"/>
                <a:gd name="T11" fmla="*/ 411 h 688"/>
                <a:gd name="T12" fmla="*/ 142 w 420"/>
                <a:gd name="T13" fmla="*/ 640 h 688"/>
                <a:gd name="T14" fmla="*/ 268 w 420"/>
                <a:gd name="T15" fmla="*/ 664 h 688"/>
                <a:gd name="T16" fmla="*/ 419 w 420"/>
                <a:gd name="T17" fmla="*/ 687 h 688"/>
                <a:gd name="T18" fmla="*/ 419 w 420"/>
                <a:gd name="T19" fmla="*/ 671 h 688"/>
                <a:gd name="T20" fmla="*/ 371 w 420"/>
                <a:gd name="T21" fmla="*/ 632 h 688"/>
                <a:gd name="T22" fmla="*/ 355 w 420"/>
                <a:gd name="T23" fmla="*/ 561 h 688"/>
                <a:gd name="T24" fmla="*/ 355 w 420"/>
                <a:gd name="T25" fmla="*/ 506 h 688"/>
                <a:gd name="T26" fmla="*/ 332 w 420"/>
                <a:gd name="T27" fmla="*/ 450 h 688"/>
                <a:gd name="T28" fmla="*/ 253 w 420"/>
                <a:gd name="T29" fmla="*/ 387 h 688"/>
                <a:gd name="T30" fmla="*/ 182 w 420"/>
                <a:gd name="T31" fmla="*/ 260 h 688"/>
                <a:gd name="T32" fmla="*/ 150 w 420"/>
                <a:gd name="T33" fmla="*/ 205 h 688"/>
                <a:gd name="T34" fmla="*/ 150 w 420"/>
                <a:gd name="T35" fmla="*/ 205 h 688"/>
                <a:gd name="T36" fmla="*/ 110 w 420"/>
                <a:gd name="T37" fmla="*/ 87 h 688"/>
                <a:gd name="T38" fmla="*/ 134 w 420"/>
                <a:gd name="T39" fmla="*/ 23 h 688"/>
                <a:gd name="T40" fmla="*/ 102 w 420"/>
                <a:gd name="T41" fmla="*/ 0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0" h="688">
                  <a:moveTo>
                    <a:pt x="102" y="0"/>
                  </a:moveTo>
                  <a:lnTo>
                    <a:pt x="102" y="0"/>
                  </a:lnTo>
                  <a:cubicBezTo>
                    <a:pt x="71" y="0"/>
                    <a:pt x="39" y="23"/>
                    <a:pt x="31" y="31"/>
                  </a:cubicBezTo>
                  <a:cubicBezTo>
                    <a:pt x="23" y="47"/>
                    <a:pt x="7" y="71"/>
                    <a:pt x="7" y="79"/>
                  </a:cubicBezTo>
                  <a:cubicBezTo>
                    <a:pt x="0" y="87"/>
                    <a:pt x="7" y="126"/>
                    <a:pt x="31" y="181"/>
                  </a:cubicBezTo>
                  <a:cubicBezTo>
                    <a:pt x="55" y="245"/>
                    <a:pt x="95" y="371"/>
                    <a:pt x="102" y="411"/>
                  </a:cubicBezTo>
                  <a:cubicBezTo>
                    <a:pt x="102" y="458"/>
                    <a:pt x="134" y="624"/>
                    <a:pt x="142" y="640"/>
                  </a:cubicBezTo>
                  <a:cubicBezTo>
                    <a:pt x="150" y="648"/>
                    <a:pt x="197" y="648"/>
                    <a:pt x="268" y="664"/>
                  </a:cubicBezTo>
                  <a:cubicBezTo>
                    <a:pt x="316" y="671"/>
                    <a:pt x="379" y="671"/>
                    <a:pt x="419" y="687"/>
                  </a:cubicBezTo>
                  <a:cubicBezTo>
                    <a:pt x="419" y="680"/>
                    <a:pt x="419" y="671"/>
                    <a:pt x="419" y="671"/>
                  </a:cubicBezTo>
                  <a:cubicBezTo>
                    <a:pt x="419" y="640"/>
                    <a:pt x="403" y="656"/>
                    <a:pt x="371" y="632"/>
                  </a:cubicBezTo>
                  <a:cubicBezTo>
                    <a:pt x="347" y="608"/>
                    <a:pt x="403" y="608"/>
                    <a:pt x="355" y="561"/>
                  </a:cubicBezTo>
                  <a:cubicBezTo>
                    <a:pt x="316" y="513"/>
                    <a:pt x="355" y="513"/>
                    <a:pt x="355" y="506"/>
                  </a:cubicBezTo>
                  <a:cubicBezTo>
                    <a:pt x="355" y="490"/>
                    <a:pt x="355" y="466"/>
                    <a:pt x="332" y="450"/>
                  </a:cubicBezTo>
                  <a:cubicBezTo>
                    <a:pt x="300" y="427"/>
                    <a:pt x="268" y="403"/>
                    <a:pt x="253" y="387"/>
                  </a:cubicBezTo>
                  <a:cubicBezTo>
                    <a:pt x="237" y="371"/>
                    <a:pt x="221" y="292"/>
                    <a:pt x="182" y="260"/>
                  </a:cubicBezTo>
                  <a:cubicBezTo>
                    <a:pt x="150" y="229"/>
                    <a:pt x="134" y="213"/>
                    <a:pt x="150" y="205"/>
                  </a:cubicBezTo>
                  <a:lnTo>
                    <a:pt x="150" y="205"/>
                  </a:lnTo>
                  <a:cubicBezTo>
                    <a:pt x="126" y="166"/>
                    <a:pt x="110" y="118"/>
                    <a:pt x="110" y="87"/>
                  </a:cubicBezTo>
                  <a:cubicBezTo>
                    <a:pt x="102" y="63"/>
                    <a:pt x="118" y="39"/>
                    <a:pt x="134" y="23"/>
                  </a:cubicBezTo>
                  <a:cubicBezTo>
                    <a:pt x="126" y="16"/>
                    <a:pt x="118" y="0"/>
                    <a:pt x="102" y="0"/>
                  </a:cubicBezTo>
                </a:path>
              </a:pathLst>
            </a:custGeom>
            <a:solidFill>
              <a:schemeClr val="accent6"/>
            </a:solidFill>
            <a:ln>
              <a:solidFill>
                <a:schemeClr val="bg2"/>
              </a:solidFill>
            </a:ln>
            <a:effectLst/>
          </p:spPr>
          <p:txBody>
            <a:bodyPr wrap="none" anchor="ctr"/>
            <a:lstStyle/>
            <a:p>
              <a:endParaRPr lang="en-US"/>
            </a:p>
          </p:txBody>
        </p:sp>
        <p:sp>
          <p:nvSpPr>
            <p:cNvPr id="102" name="Freeform 772"/>
            <p:cNvSpPr>
              <a:spLocks noChangeArrowheads="1"/>
            </p:cNvSpPr>
            <p:nvPr/>
          </p:nvSpPr>
          <p:spPr bwMode="auto">
            <a:xfrm>
              <a:off x="6844500" y="3158379"/>
              <a:ext cx="151074" cy="217584"/>
            </a:xfrm>
            <a:custGeom>
              <a:avLst/>
              <a:gdLst>
                <a:gd name="T0" fmla="*/ 419 w 420"/>
                <a:gd name="T1" fmla="*/ 695 h 696"/>
                <a:gd name="T2" fmla="*/ 316 w 420"/>
                <a:gd name="T3" fmla="*/ 671 h 696"/>
                <a:gd name="T4" fmla="*/ 205 w 420"/>
                <a:gd name="T5" fmla="*/ 656 h 696"/>
                <a:gd name="T6" fmla="*/ 95 w 420"/>
                <a:gd name="T7" fmla="*/ 411 h 696"/>
                <a:gd name="T8" fmla="*/ 0 w 420"/>
                <a:gd name="T9" fmla="*/ 79 h 696"/>
                <a:gd name="T10" fmla="*/ 31 w 420"/>
                <a:gd name="T11" fmla="*/ 31 h 696"/>
                <a:gd name="T12" fmla="*/ 134 w 420"/>
                <a:gd name="T13" fmla="*/ 16 h 696"/>
                <a:gd name="T14" fmla="*/ 134 w 420"/>
                <a:gd name="T15" fmla="*/ 23 h 696"/>
                <a:gd name="T16" fmla="*/ 150 w 420"/>
                <a:gd name="T17" fmla="*/ 205 h 696"/>
                <a:gd name="T18" fmla="*/ 150 w 420"/>
                <a:gd name="T19" fmla="*/ 205 h 696"/>
                <a:gd name="T20" fmla="*/ 142 w 420"/>
                <a:gd name="T21" fmla="*/ 213 h 696"/>
                <a:gd name="T22" fmla="*/ 237 w 420"/>
                <a:gd name="T23" fmla="*/ 347 h 696"/>
                <a:gd name="T24" fmla="*/ 300 w 420"/>
                <a:gd name="T25" fmla="*/ 418 h 696"/>
                <a:gd name="T26" fmla="*/ 355 w 420"/>
                <a:gd name="T27" fmla="*/ 506 h 696"/>
                <a:gd name="T28" fmla="*/ 347 w 420"/>
                <a:gd name="T29" fmla="*/ 513 h 696"/>
                <a:gd name="T30" fmla="*/ 363 w 420"/>
                <a:gd name="T31" fmla="*/ 561 h 696"/>
                <a:gd name="T32" fmla="*/ 379 w 420"/>
                <a:gd name="T33" fmla="*/ 632 h 696"/>
                <a:gd name="T34" fmla="*/ 419 w 420"/>
                <a:gd name="T35" fmla="*/ 671 h 696"/>
                <a:gd name="T36" fmla="*/ 419 w 420"/>
                <a:gd name="T37" fmla="*/ 695 h 696"/>
                <a:gd name="T38" fmla="*/ 102 w 420"/>
                <a:gd name="T39" fmla="*/ 7 h 696"/>
                <a:gd name="T40" fmla="*/ 15 w 420"/>
                <a:gd name="T41" fmla="*/ 71 h 696"/>
                <a:gd name="T42" fmla="*/ 31 w 420"/>
                <a:gd name="T43" fmla="*/ 181 h 696"/>
                <a:gd name="T44" fmla="*/ 142 w 420"/>
                <a:gd name="T45" fmla="*/ 640 h 696"/>
                <a:gd name="T46" fmla="*/ 268 w 420"/>
                <a:gd name="T47" fmla="*/ 656 h 696"/>
                <a:gd name="T48" fmla="*/ 411 w 420"/>
                <a:gd name="T49" fmla="*/ 680 h 696"/>
                <a:gd name="T50" fmla="*/ 395 w 420"/>
                <a:gd name="T51" fmla="*/ 648 h 696"/>
                <a:gd name="T52" fmla="*/ 371 w 420"/>
                <a:gd name="T53" fmla="*/ 608 h 696"/>
                <a:gd name="T54" fmla="*/ 332 w 420"/>
                <a:gd name="T55" fmla="*/ 529 h 696"/>
                <a:gd name="T56" fmla="*/ 347 w 420"/>
                <a:gd name="T57" fmla="*/ 506 h 696"/>
                <a:gd name="T58" fmla="*/ 324 w 420"/>
                <a:gd name="T59" fmla="*/ 450 h 696"/>
                <a:gd name="T60" fmla="*/ 253 w 420"/>
                <a:gd name="T61" fmla="*/ 387 h 696"/>
                <a:gd name="T62" fmla="*/ 182 w 420"/>
                <a:gd name="T63" fmla="*/ 260 h 696"/>
                <a:gd name="T64" fmla="*/ 142 w 420"/>
                <a:gd name="T65" fmla="*/ 205 h 696"/>
                <a:gd name="T66" fmla="*/ 126 w 420"/>
                <a:gd name="T67" fmla="*/ 23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0" h="696">
                  <a:moveTo>
                    <a:pt x="419" y="695"/>
                  </a:moveTo>
                  <a:lnTo>
                    <a:pt x="419" y="695"/>
                  </a:lnTo>
                  <a:cubicBezTo>
                    <a:pt x="411" y="687"/>
                    <a:pt x="411" y="687"/>
                    <a:pt x="411" y="687"/>
                  </a:cubicBezTo>
                  <a:cubicBezTo>
                    <a:pt x="387" y="680"/>
                    <a:pt x="347" y="680"/>
                    <a:pt x="316" y="671"/>
                  </a:cubicBezTo>
                  <a:cubicBezTo>
                    <a:pt x="300" y="671"/>
                    <a:pt x="284" y="671"/>
                    <a:pt x="268" y="664"/>
                  </a:cubicBezTo>
                  <a:cubicBezTo>
                    <a:pt x="245" y="664"/>
                    <a:pt x="221" y="664"/>
                    <a:pt x="205" y="656"/>
                  </a:cubicBezTo>
                  <a:cubicBezTo>
                    <a:pt x="166" y="656"/>
                    <a:pt x="142" y="648"/>
                    <a:pt x="142" y="640"/>
                  </a:cubicBezTo>
                  <a:cubicBezTo>
                    <a:pt x="134" y="624"/>
                    <a:pt x="102" y="458"/>
                    <a:pt x="95" y="411"/>
                  </a:cubicBezTo>
                  <a:cubicBezTo>
                    <a:pt x="95" y="371"/>
                    <a:pt x="55" y="245"/>
                    <a:pt x="23" y="189"/>
                  </a:cubicBezTo>
                  <a:cubicBezTo>
                    <a:pt x="0" y="134"/>
                    <a:pt x="0" y="87"/>
                    <a:pt x="0" y="79"/>
                  </a:cubicBezTo>
                  <a:cubicBezTo>
                    <a:pt x="7" y="79"/>
                    <a:pt x="7" y="71"/>
                    <a:pt x="7" y="63"/>
                  </a:cubicBezTo>
                  <a:cubicBezTo>
                    <a:pt x="15" y="55"/>
                    <a:pt x="23" y="39"/>
                    <a:pt x="31" y="31"/>
                  </a:cubicBezTo>
                  <a:cubicBezTo>
                    <a:pt x="39" y="16"/>
                    <a:pt x="71" y="0"/>
                    <a:pt x="102" y="0"/>
                  </a:cubicBezTo>
                  <a:cubicBezTo>
                    <a:pt x="118" y="0"/>
                    <a:pt x="134" y="7"/>
                    <a:pt x="134" y="16"/>
                  </a:cubicBezTo>
                  <a:cubicBezTo>
                    <a:pt x="134" y="23"/>
                    <a:pt x="134" y="23"/>
                    <a:pt x="134" y="23"/>
                  </a:cubicBezTo>
                  <a:lnTo>
                    <a:pt x="134" y="23"/>
                  </a:lnTo>
                  <a:cubicBezTo>
                    <a:pt x="126" y="31"/>
                    <a:pt x="102" y="55"/>
                    <a:pt x="110" y="87"/>
                  </a:cubicBezTo>
                  <a:cubicBezTo>
                    <a:pt x="118" y="118"/>
                    <a:pt x="126" y="166"/>
                    <a:pt x="150" y="205"/>
                  </a:cubicBezTo>
                  <a:lnTo>
                    <a:pt x="150" y="205"/>
                  </a:lnTo>
                  <a:lnTo>
                    <a:pt x="150" y="205"/>
                  </a:lnTo>
                  <a:lnTo>
                    <a:pt x="150" y="205"/>
                  </a:lnTo>
                  <a:cubicBezTo>
                    <a:pt x="142" y="213"/>
                    <a:pt x="142" y="213"/>
                    <a:pt x="142" y="213"/>
                  </a:cubicBezTo>
                  <a:cubicBezTo>
                    <a:pt x="142" y="221"/>
                    <a:pt x="173" y="245"/>
                    <a:pt x="189" y="260"/>
                  </a:cubicBezTo>
                  <a:cubicBezTo>
                    <a:pt x="213" y="276"/>
                    <a:pt x="229" y="324"/>
                    <a:pt x="237" y="347"/>
                  </a:cubicBezTo>
                  <a:cubicBezTo>
                    <a:pt x="245" y="363"/>
                    <a:pt x="253" y="379"/>
                    <a:pt x="253" y="387"/>
                  </a:cubicBezTo>
                  <a:cubicBezTo>
                    <a:pt x="260" y="395"/>
                    <a:pt x="276" y="403"/>
                    <a:pt x="300" y="418"/>
                  </a:cubicBezTo>
                  <a:cubicBezTo>
                    <a:pt x="308" y="427"/>
                    <a:pt x="324" y="434"/>
                    <a:pt x="332" y="442"/>
                  </a:cubicBezTo>
                  <a:cubicBezTo>
                    <a:pt x="355" y="466"/>
                    <a:pt x="355" y="490"/>
                    <a:pt x="355" y="506"/>
                  </a:cubicBezTo>
                  <a:lnTo>
                    <a:pt x="355" y="506"/>
                  </a:lnTo>
                  <a:cubicBezTo>
                    <a:pt x="355" y="506"/>
                    <a:pt x="355" y="513"/>
                    <a:pt x="347" y="513"/>
                  </a:cubicBezTo>
                  <a:cubicBezTo>
                    <a:pt x="347" y="513"/>
                    <a:pt x="340" y="521"/>
                    <a:pt x="340" y="529"/>
                  </a:cubicBezTo>
                  <a:cubicBezTo>
                    <a:pt x="340" y="537"/>
                    <a:pt x="347" y="545"/>
                    <a:pt x="363" y="561"/>
                  </a:cubicBezTo>
                  <a:cubicBezTo>
                    <a:pt x="387" y="593"/>
                    <a:pt x="379" y="600"/>
                    <a:pt x="371" y="616"/>
                  </a:cubicBezTo>
                  <a:cubicBezTo>
                    <a:pt x="371" y="616"/>
                    <a:pt x="371" y="624"/>
                    <a:pt x="379" y="632"/>
                  </a:cubicBezTo>
                  <a:cubicBezTo>
                    <a:pt x="387" y="640"/>
                    <a:pt x="395" y="640"/>
                    <a:pt x="403" y="640"/>
                  </a:cubicBezTo>
                  <a:cubicBezTo>
                    <a:pt x="411" y="648"/>
                    <a:pt x="419" y="648"/>
                    <a:pt x="419" y="671"/>
                  </a:cubicBezTo>
                  <a:cubicBezTo>
                    <a:pt x="419" y="671"/>
                    <a:pt x="419" y="680"/>
                    <a:pt x="419" y="687"/>
                  </a:cubicBezTo>
                  <a:lnTo>
                    <a:pt x="419" y="695"/>
                  </a:lnTo>
                  <a:close/>
                  <a:moveTo>
                    <a:pt x="102" y="7"/>
                  </a:moveTo>
                  <a:lnTo>
                    <a:pt x="102" y="7"/>
                  </a:lnTo>
                  <a:cubicBezTo>
                    <a:pt x="71" y="7"/>
                    <a:pt x="39" y="23"/>
                    <a:pt x="39" y="39"/>
                  </a:cubicBezTo>
                  <a:cubicBezTo>
                    <a:pt x="31" y="39"/>
                    <a:pt x="23" y="55"/>
                    <a:pt x="15" y="71"/>
                  </a:cubicBezTo>
                  <a:cubicBezTo>
                    <a:pt x="15" y="71"/>
                    <a:pt x="7" y="79"/>
                    <a:pt x="7" y="87"/>
                  </a:cubicBezTo>
                  <a:cubicBezTo>
                    <a:pt x="7" y="87"/>
                    <a:pt x="7" y="126"/>
                    <a:pt x="31" y="181"/>
                  </a:cubicBezTo>
                  <a:cubicBezTo>
                    <a:pt x="63" y="245"/>
                    <a:pt x="102" y="371"/>
                    <a:pt x="102" y="411"/>
                  </a:cubicBezTo>
                  <a:cubicBezTo>
                    <a:pt x="102" y="458"/>
                    <a:pt x="142" y="624"/>
                    <a:pt x="142" y="640"/>
                  </a:cubicBezTo>
                  <a:cubicBezTo>
                    <a:pt x="150" y="648"/>
                    <a:pt x="173" y="648"/>
                    <a:pt x="205" y="648"/>
                  </a:cubicBezTo>
                  <a:cubicBezTo>
                    <a:pt x="229" y="656"/>
                    <a:pt x="245" y="656"/>
                    <a:pt x="268" y="656"/>
                  </a:cubicBezTo>
                  <a:cubicBezTo>
                    <a:pt x="284" y="664"/>
                    <a:pt x="300" y="664"/>
                    <a:pt x="316" y="664"/>
                  </a:cubicBezTo>
                  <a:cubicBezTo>
                    <a:pt x="347" y="671"/>
                    <a:pt x="387" y="671"/>
                    <a:pt x="411" y="680"/>
                  </a:cubicBezTo>
                  <a:lnTo>
                    <a:pt x="411" y="671"/>
                  </a:lnTo>
                  <a:cubicBezTo>
                    <a:pt x="411" y="656"/>
                    <a:pt x="411" y="656"/>
                    <a:pt x="395" y="648"/>
                  </a:cubicBezTo>
                  <a:cubicBezTo>
                    <a:pt x="395" y="648"/>
                    <a:pt x="379" y="640"/>
                    <a:pt x="371" y="632"/>
                  </a:cubicBezTo>
                  <a:cubicBezTo>
                    <a:pt x="363" y="624"/>
                    <a:pt x="363" y="616"/>
                    <a:pt x="371" y="608"/>
                  </a:cubicBezTo>
                  <a:cubicBezTo>
                    <a:pt x="371" y="600"/>
                    <a:pt x="379" y="593"/>
                    <a:pt x="355" y="569"/>
                  </a:cubicBezTo>
                  <a:cubicBezTo>
                    <a:pt x="340" y="545"/>
                    <a:pt x="332" y="537"/>
                    <a:pt x="332" y="529"/>
                  </a:cubicBezTo>
                  <a:cubicBezTo>
                    <a:pt x="332" y="513"/>
                    <a:pt x="340" y="513"/>
                    <a:pt x="347" y="506"/>
                  </a:cubicBezTo>
                  <a:lnTo>
                    <a:pt x="347" y="506"/>
                  </a:lnTo>
                  <a:lnTo>
                    <a:pt x="347" y="506"/>
                  </a:lnTo>
                  <a:cubicBezTo>
                    <a:pt x="347" y="490"/>
                    <a:pt x="347" y="466"/>
                    <a:pt x="324" y="450"/>
                  </a:cubicBezTo>
                  <a:cubicBezTo>
                    <a:pt x="316" y="442"/>
                    <a:pt x="308" y="434"/>
                    <a:pt x="292" y="427"/>
                  </a:cubicBezTo>
                  <a:cubicBezTo>
                    <a:pt x="276" y="411"/>
                    <a:pt x="260" y="395"/>
                    <a:pt x="253" y="387"/>
                  </a:cubicBezTo>
                  <a:cubicBezTo>
                    <a:pt x="245" y="387"/>
                    <a:pt x="237" y="371"/>
                    <a:pt x="237" y="355"/>
                  </a:cubicBezTo>
                  <a:cubicBezTo>
                    <a:pt x="221" y="324"/>
                    <a:pt x="205" y="284"/>
                    <a:pt x="182" y="260"/>
                  </a:cubicBezTo>
                  <a:cubicBezTo>
                    <a:pt x="150" y="237"/>
                    <a:pt x="134" y="221"/>
                    <a:pt x="134" y="213"/>
                  </a:cubicBezTo>
                  <a:cubicBezTo>
                    <a:pt x="134" y="205"/>
                    <a:pt x="142" y="205"/>
                    <a:pt x="142" y="205"/>
                  </a:cubicBezTo>
                  <a:cubicBezTo>
                    <a:pt x="118" y="166"/>
                    <a:pt x="110" y="126"/>
                    <a:pt x="102" y="87"/>
                  </a:cubicBezTo>
                  <a:cubicBezTo>
                    <a:pt x="102" y="63"/>
                    <a:pt x="110" y="39"/>
                    <a:pt x="126" y="23"/>
                  </a:cubicBezTo>
                  <a:cubicBezTo>
                    <a:pt x="118" y="7"/>
                    <a:pt x="110" y="7"/>
                    <a:pt x="102" y="7"/>
                  </a:cubicBezTo>
                  <a:close/>
                </a:path>
              </a:pathLst>
            </a:custGeom>
            <a:solidFill>
              <a:schemeClr val="accent6"/>
            </a:solidFill>
            <a:ln>
              <a:solidFill>
                <a:schemeClr val="bg2"/>
              </a:solidFill>
            </a:ln>
            <a:effectLst/>
          </p:spPr>
          <p:txBody>
            <a:bodyPr wrap="none" anchor="ctr"/>
            <a:lstStyle/>
            <a:p>
              <a:endParaRPr lang="en-US"/>
            </a:p>
          </p:txBody>
        </p:sp>
        <p:sp>
          <p:nvSpPr>
            <p:cNvPr id="103" name="Freeform 773"/>
            <p:cNvSpPr>
              <a:spLocks noChangeArrowheads="1"/>
            </p:cNvSpPr>
            <p:nvPr/>
          </p:nvSpPr>
          <p:spPr bwMode="auto">
            <a:xfrm>
              <a:off x="6168647" y="2840265"/>
              <a:ext cx="787170" cy="447563"/>
            </a:xfrm>
            <a:custGeom>
              <a:avLst/>
              <a:gdLst>
                <a:gd name="T0" fmla="*/ 1881 w 2183"/>
                <a:gd name="T1" fmla="*/ 1114 h 1432"/>
                <a:gd name="T2" fmla="*/ 1881 w 2183"/>
                <a:gd name="T3" fmla="*/ 1114 h 1432"/>
                <a:gd name="T4" fmla="*/ 1881 w 2183"/>
                <a:gd name="T5" fmla="*/ 1099 h 1432"/>
                <a:gd name="T6" fmla="*/ 1905 w 2183"/>
                <a:gd name="T7" fmla="*/ 1051 h 1432"/>
                <a:gd name="T8" fmla="*/ 1976 w 2183"/>
                <a:gd name="T9" fmla="*/ 1020 h 1432"/>
                <a:gd name="T10" fmla="*/ 2008 w 2183"/>
                <a:gd name="T11" fmla="*/ 1043 h 1432"/>
                <a:gd name="T12" fmla="*/ 2047 w 2183"/>
                <a:gd name="T13" fmla="*/ 1012 h 1432"/>
                <a:gd name="T14" fmla="*/ 2095 w 2183"/>
                <a:gd name="T15" fmla="*/ 964 h 1432"/>
                <a:gd name="T16" fmla="*/ 2127 w 2183"/>
                <a:gd name="T17" fmla="*/ 877 h 1432"/>
                <a:gd name="T18" fmla="*/ 2182 w 2183"/>
                <a:gd name="T19" fmla="*/ 806 h 1432"/>
                <a:gd name="T20" fmla="*/ 1976 w 2183"/>
                <a:gd name="T21" fmla="*/ 632 h 1432"/>
                <a:gd name="T22" fmla="*/ 1992 w 2183"/>
                <a:gd name="T23" fmla="*/ 577 h 1432"/>
                <a:gd name="T24" fmla="*/ 2016 w 2183"/>
                <a:gd name="T25" fmla="*/ 530 h 1432"/>
                <a:gd name="T26" fmla="*/ 1976 w 2183"/>
                <a:gd name="T27" fmla="*/ 506 h 1432"/>
                <a:gd name="T28" fmla="*/ 2024 w 2183"/>
                <a:gd name="T29" fmla="*/ 395 h 1432"/>
                <a:gd name="T30" fmla="*/ 2032 w 2183"/>
                <a:gd name="T31" fmla="*/ 324 h 1432"/>
                <a:gd name="T32" fmla="*/ 2087 w 2183"/>
                <a:gd name="T33" fmla="*/ 261 h 1432"/>
                <a:gd name="T34" fmla="*/ 2032 w 2183"/>
                <a:gd name="T35" fmla="*/ 237 h 1432"/>
                <a:gd name="T36" fmla="*/ 1961 w 2183"/>
                <a:gd name="T37" fmla="*/ 221 h 1432"/>
                <a:gd name="T38" fmla="*/ 1889 w 2183"/>
                <a:gd name="T39" fmla="*/ 79 h 1432"/>
                <a:gd name="T40" fmla="*/ 1787 w 2183"/>
                <a:gd name="T41" fmla="*/ 39 h 1432"/>
                <a:gd name="T42" fmla="*/ 1684 w 2183"/>
                <a:gd name="T43" fmla="*/ 39 h 1432"/>
                <a:gd name="T44" fmla="*/ 269 w 2183"/>
                <a:gd name="T45" fmla="*/ 316 h 1432"/>
                <a:gd name="T46" fmla="*/ 245 w 2183"/>
                <a:gd name="T47" fmla="*/ 205 h 1432"/>
                <a:gd name="T48" fmla="*/ 55 w 2183"/>
                <a:gd name="T49" fmla="*/ 356 h 1432"/>
                <a:gd name="T50" fmla="*/ 0 w 2183"/>
                <a:gd name="T51" fmla="*/ 379 h 1432"/>
                <a:gd name="T52" fmla="*/ 198 w 2183"/>
                <a:gd name="T53" fmla="*/ 1431 h 1432"/>
                <a:gd name="T54" fmla="*/ 1881 w 2183"/>
                <a:gd name="T55" fmla="*/ 1114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83" h="1432">
                  <a:moveTo>
                    <a:pt x="1881" y="1114"/>
                  </a:moveTo>
                  <a:lnTo>
                    <a:pt x="1881" y="1114"/>
                  </a:lnTo>
                  <a:cubicBezTo>
                    <a:pt x="1881" y="1107"/>
                    <a:pt x="1881" y="1099"/>
                    <a:pt x="1881" y="1099"/>
                  </a:cubicBezTo>
                  <a:cubicBezTo>
                    <a:pt x="1881" y="1091"/>
                    <a:pt x="1897" y="1067"/>
                    <a:pt x="1905" y="1051"/>
                  </a:cubicBezTo>
                  <a:cubicBezTo>
                    <a:pt x="1913" y="1043"/>
                    <a:pt x="1945" y="1020"/>
                    <a:pt x="1976" y="1020"/>
                  </a:cubicBezTo>
                  <a:cubicBezTo>
                    <a:pt x="1992" y="1020"/>
                    <a:pt x="2000" y="1036"/>
                    <a:pt x="2008" y="1043"/>
                  </a:cubicBezTo>
                  <a:cubicBezTo>
                    <a:pt x="2016" y="1027"/>
                    <a:pt x="2032" y="1012"/>
                    <a:pt x="2047" y="1012"/>
                  </a:cubicBezTo>
                  <a:cubicBezTo>
                    <a:pt x="2071" y="1004"/>
                    <a:pt x="2087" y="996"/>
                    <a:pt x="2095" y="964"/>
                  </a:cubicBezTo>
                  <a:cubicBezTo>
                    <a:pt x="2111" y="941"/>
                    <a:pt x="2111" y="901"/>
                    <a:pt x="2127" y="877"/>
                  </a:cubicBezTo>
                  <a:cubicBezTo>
                    <a:pt x="2142" y="861"/>
                    <a:pt x="2182" y="806"/>
                    <a:pt x="2182" y="806"/>
                  </a:cubicBezTo>
                  <a:cubicBezTo>
                    <a:pt x="2174" y="798"/>
                    <a:pt x="1992" y="648"/>
                    <a:pt x="1976" y="632"/>
                  </a:cubicBezTo>
                  <a:cubicBezTo>
                    <a:pt x="1969" y="624"/>
                    <a:pt x="1976" y="585"/>
                    <a:pt x="1992" y="577"/>
                  </a:cubicBezTo>
                  <a:cubicBezTo>
                    <a:pt x="2008" y="561"/>
                    <a:pt x="2016" y="545"/>
                    <a:pt x="2016" y="530"/>
                  </a:cubicBezTo>
                  <a:cubicBezTo>
                    <a:pt x="2016" y="506"/>
                    <a:pt x="2008" y="521"/>
                    <a:pt x="1976" y="506"/>
                  </a:cubicBezTo>
                  <a:cubicBezTo>
                    <a:pt x="1937" y="490"/>
                    <a:pt x="2000" y="411"/>
                    <a:pt x="2024" y="395"/>
                  </a:cubicBezTo>
                  <a:cubicBezTo>
                    <a:pt x="2040" y="387"/>
                    <a:pt x="2032" y="340"/>
                    <a:pt x="2032" y="324"/>
                  </a:cubicBezTo>
                  <a:cubicBezTo>
                    <a:pt x="2032" y="316"/>
                    <a:pt x="2071" y="269"/>
                    <a:pt x="2087" y="261"/>
                  </a:cubicBezTo>
                  <a:cubicBezTo>
                    <a:pt x="2071" y="245"/>
                    <a:pt x="2056" y="245"/>
                    <a:pt x="2032" y="237"/>
                  </a:cubicBezTo>
                  <a:cubicBezTo>
                    <a:pt x="1984" y="229"/>
                    <a:pt x="1984" y="253"/>
                    <a:pt x="1961" y="221"/>
                  </a:cubicBezTo>
                  <a:cubicBezTo>
                    <a:pt x="1945" y="190"/>
                    <a:pt x="1921" y="79"/>
                    <a:pt x="1889" y="79"/>
                  </a:cubicBezTo>
                  <a:cubicBezTo>
                    <a:pt x="1858" y="71"/>
                    <a:pt x="1834" y="71"/>
                    <a:pt x="1787" y="39"/>
                  </a:cubicBezTo>
                  <a:cubicBezTo>
                    <a:pt x="1739" y="0"/>
                    <a:pt x="1716" y="31"/>
                    <a:pt x="1684" y="39"/>
                  </a:cubicBezTo>
                  <a:cubicBezTo>
                    <a:pt x="1660" y="55"/>
                    <a:pt x="269" y="316"/>
                    <a:pt x="269" y="316"/>
                  </a:cubicBezTo>
                  <a:cubicBezTo>
                    <a:pt x="245" y="205"/>
                    <a:pt x="245" y="205"/>
                    <a:pt x="245" y="205"/>
                  </a:cubicBezTo>
                  <a:cubicBezTo>
                    <a:pt x="182" y="261"/>
                    <a:pt x="103" y="332"/>
                    <a:pt x="55" y="356"/>
                  </a:cubicBezTo>
                  <a:cubicBezTo>
                    <a:pt x="40" y="363"/>
                    <a:pt x="24" y="371"/>
                    <a:pt x="0" y="379"/>
                  </a:cubicBezTo>
                  <a:cubicBezTo>
                    <a:pt x="198" y="1431"/>
                    <a:pt x="198" y="1431"/>
                    <a:pt x="198" y="1431"/>
                  </a:cubicBezTo>
                  <a:lnTo>
                    <a:pt x="1881" y="1114"/>
                  </a:lnTo>
                </a:path>
              </a:pathLst>
            </a:custGeom>
            <a:solidFill>
              <a:schemeClr val="tx1"/>
            </a:solidFill>
            <a:ln>
              <a:solidFill>
                <a:schemeClr val="bg2"/>
              </a:solidFill>
            </a:ln>
            <a:effectLst/>
          </p:spPr>
          <p:txBody>
            <a:bodyPr wrap="none" anchor="ctr"/>
            <a:lstStyle/>
            <a:p>
              <a:endParaRPr lang="en-US"/>
            </a:p>
          </p:txBody>
        </p:sp>
        <p:sp>
          <p:nvSpPr>
            <p:cNvPr id="104" name="Freeform 774"/>
            <p:cNvSpPr>
              <a:spLocks noChangeArrowheads="1"/>
            </p:cNvSpPr>
            <p:nvPr/>
          </p:nvSpPr>
          <p:spPr bwMode="auto">
            <a:xfrm>
              <a:off x="6168647" y="2844396"/>
              <a:ext cx="790350" cy="444808"/>
            </a:xfrm>
            <a:custGeom>
              <a:avLst/>
              <a:gdLst>
                <a:gd name="T0" fmla="*/ 198 w 2191"/>
                <a:gd name="T1" fmla="*/ 1422 h 1423"/>
                <a:gd name="T2" fmla="*/ 0 w 2191"/>
                <a:gd name="T3" fmla="*/ 363 h 1423"/>
                <a:gd name="T4" fmla="*/ 47 w 2191"/>
                <a:gd name="T5" fmla="*/ 332 h 1423"/>
                <a:gd name="T6" fmla="*/ 253 w 2191"/>
                <a:gd name="T7" fmla="*/ 181 h 1423"/>
                <a:gd name="T8" fmla="*/ 1684 w 2191"/>
                <a:gd name="T9" fmla="*/ 23 h 1423"/>
                <a:gd name="T10" fmla="*/ 1747 w 2191"/>
                <a:gd name="T11" fmla="*/ 0 h 1423"/>
                <a:gd name="T12" fmla="*/ 1889 w 2191"/>
                <a:gd name="T13" fmla="*/ 55 h 1423"/>
                <a:gd name="T14" fmla="*/ 1945 w 2191"/>
                <a:gd name="T15" fmla="*/ 150 h 1423"/>
                <a:gd name="T16" fmla="*/ 1984 w 2191"/>
                <a:gd name="T17" fmla="*/ 213 h 1423"/>
                <a:gd name="T18" fmla="*/ 2008 w 2191"/>
                <a:gd name="T19" fmla="*/ 213 h 1423"/>
                <a:gd name="T20" fmla="*/ 2087 w 2191"/>
                <a:gd name="T21" fmla="*/ 237 h 1423"/>
                <a:gd name="T22" fmla="*/ 2087 w 2191"/>
                <a:gd name="T23" fmla="*/ 245 h 1423"/>
                <a:gd name="T24" fmla="*/ 2032 w 2191"/>
                <a:gd name="T25" fmla="*/ 316 h 1423"/>
                <a:gd name="T26" fmla="*/ 1969 w 2191"/>
                <a:gd name="T27" fmla="*/ 474 h 1423"/>
                <a:gd name="T28" fmla="*/ 2000 w 2191"/>
                <a:gd name="T29" fmla="*/ 490 h 1423"/>
                <a:gd name="T30" fmla="*/ 1992 w 2191"/>
                <a:gd name="T31" fmla="*/ 561 h 1423"/>
                <a:gd name="T32" fmla="*/ 1984 w 2191"/>
                <a:gd name="T33" fmla="*/ 616 h 1423"/>
                <a:gd name="T34" fmla="*/ 2182 w 2191"/>
                <a:gd name="T35" fmla="*/ 790 h 1423"/>
                <a:gd name="T36" fmla="*/ 2111 w 2191"/>
                <a:gd name="T37" fmla="*/ 925 h 1423"/>
                <a:gd name="T38" fmla="*/ 2047 w 2191"/>
                <a:gd name="T39" fmla="*/ 996 h 1423"/>
                <a:gd name="T40" fmla="*/ 2000 w 2191"/>
                <a:gd name="T41" fmla="*/ 1027 h 1423"/>
                <a:gd name="T42" fmla="*/ 1976 w 2191"/>
                <a:gd name="T43" fmla="*/ 1011 h 1423"/>
                <a:gd name="T44" fmla="*/ 1889 w 2191"/>
                <a:gd name="T45" fmla="*/ 1075 h 1423"/>
                <a:gd name="T46" fmla="*/ 1881 w 2191"/>
                <a:gd name="T47" fmla="*/ 1098 h 1423"/>
                <a:gd name="T48" fmla="*/ 198 w 2191"/>
                <a:gd name="T49" fmla="*/ 1422 h 1423"/>
                <a:gd name="T50" fmla="*/ 8 w 2191"/>
                <a:gd name="T51" fmla="*/ 363 h 1423"/>
                <a:gd name="T52" fmla="*/ 1874 w 2191"/>
                <a:gd name="T53" fmla="*/ 1091 h 1423"/>
                <a:gd name="T54" fmla="*/ 1881 w 2191"/>
                <a:gd name="T55" fmla="*/ 1067 h 1423"/>
                <a:gd name="T56" fmla="*/ 1976 w 2191"/>
                <a:gd name="T57" fmla="*/ 1004 h 1423"/>
                <a:gd name="T58" fmla="*/ 2047 w 2191"/>
                <a:gd name="T59" fmla="*/ 988 h 1423"/>
                <a:gd name="T60" fmla="*/ 2103 w 2191"/>
                <a:gd name="T61" fmla="*/ 917 h 1423"/>
                <a:gd name="T62" fmla="*/ 2174 w 2191"/>
                <a:gd name="T63" fmla="*/ 790 h 1423"/>
                <a:gd name="T64" fmla="*/ 1976 w 2191"/>
                <a:gd name="T65" fmla="*/ 624 h 1423"/>
                <a:gd name="T66" fmla="*/ 1992 w 2191"/>
                <a:gd name="T67" fmla="*/ 553 h 1423"/>
                <a:gd name="T68" fmla="*/ 2008 w 2191"/>
                <a:gd name="T69" fmla="*/ 498 h 1423"/>
                <a:gd name="T70" fmla="*/ 1969 w 2191"/>
                <a:gd name="T71" fmla="*/ 490 h 1423"/>
                <a:gd name="T72" fmla="*/ 2016 w 2191"/>
                <a:gd name="T73" fmla="*/ 379 h 1423"/>
                <a:gd name="T74" fmla="*/ 2024 w 2191"/>
                <a:gd name="T75" fmla="*/ 308 h 1423"/>
                <a:gd name="T76" fmla="*/ 2032 w 2191"/>
                <a:gd name="T77" fmla="*/ 221 h 1423"/>
                <a:gd name="T78" fmla="*/ 1992 w 2191"/>
                <a:gd name="T79" fmla="*/ 221 h 1423"/>
                <a:gd name="T80" fmla="*/ 1961 w 2191"/>
                <a:gd name="T81" fmla="*/ 205 h 1423"/>
                <a:gd name="T82" fmla="*/ 1889 w 2191"/>
                <a:gd name="T83" fmla="*/ 63 h 1423"/>
                <a:gd name="T84" fmla="*/ 1787 w 2191"/>
                <a:gd name="T85" fmla="*/ 23 h 1423"/>
                <a:gd name="T86" fmla="*/ 1708 w 2191"/>
                <a:gd name="T87" fmla="*/ 15 h 1423"/>
                <a:gd name="T88" fmla="*/ 277 w 2191"/>
                <a:gd name="T89" fmla="*/ 308 h 1423"/>
                <a:gd name="T90" fmla="*/ 245 w 2191"/>
                <a:gd name="T91" fmla="*/ 197 h 1423"/>
                <a:gd name="T92" fmla="*/ 8 w 2191"/>
                <a:gd name="T93" fmla="*/ 363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91" h="1423">
                  <a:moveTo>
                    <a:pt x="198" y="1422"/>
                  </a:moveTo>
                  <a:lnTo>
                    <a:pt x="198" y="1422"/>
                  </a:lnTo>
                  <a:cubicBezTo>
                    <a:pt x="198" y="1415"/>
                    <a:pt x="198" y="1415"/>
                    <a:pt x="198" y="1415"/>
                  </a:cubicBezTo>
                  <a:cubicBezTo>
                    <a:pt x="0" y="363"/>
                    <a:pt x="0" y="363"/>
                    <a:pt x="0" y="363"/>
                  </a:cubicBezTo>
                  <a:lnTo>
                    <a:pt x="0" y="363"/>
                  </a:lnTo>
                  <a:cubicBezTo>
                    <a:pt x="24" y="347"/>
                    <a:pt x="40" y="340"/>
                    <a:pt x="47" y="332"/>
                  </a:cubicBezTo>
                  <a:cubicBezTo>
                    <a:pt x="111" y="308"/>
                    <a:pt x="198" y="229"/>
                    <a:pt x="245" y="189"/>
                  </a:cubicBezTo>
                  <a:cubicBezTo>
                    <a:pt x="253" y="181"/>
                    <a:pt x="253" y="181"/>
                    <a:pt x="253" y="181"/>
                  </a:cubicBezTo>
                  <a:cubicBezTo>
                    <a:pt x="277" y="300"/>
                    <a:pt x="277" y="300"/>
                    <a:pt x="277" y="300"/>
                  </a:cubicBezTo>
                  <a:cubicBezTo>
                    <a:pt x="356" y="284"/>
                    <a:pt x="1660" y="31"/>
                    <a:pt x="1684" y="23"/>
                  </a:cubicBezTo>
                  <a:cubicBezTo>
                    <a:pt x="1692" y="23"/>
                    <a:pt x="1700" y="15"/>
                    <a:pt x="1700" y="15"/>
                  </a:cubicBezTo>
                  <a:cubicBezTo>
                    <a:pt x="1716" y="8"/>
                    <a:pt x="1731" y="0"/>
                    <a:pt x="1747" y="0"/>
                  </a:cubicBezTo>
                  <a:cubicBezTo>
                    <a:pt x="1755" y="0"/>
                    <a:pt x="1771" y="8"/>
                    <a:pt x="1787" y="15"/>
                  </a:cubicBezTo>
                  <a:cubicBezTo>
                    <a:pt x="1834" y="55"/>
                    <a:pt x="1858" y="55"/>
                    <a:pt x="1889" y="55"/>
                  </a:cubicBezTo>
                  <a:lnTo>
                    <a:pt x="1889" y="55"/>
                  </a:lnTo>
                  <a:cubicBezTo>
                    <a:pt x="1913" y="55"/>
                    <a:pt x="1929" y="103"/>
                    <a:pt x="1945" y="150"/>
                  </a:cubicBezTo>
                  <a:cubicBezTo>
                    <a:pt x="1953" y="174"/>
                    <a:pt x="1961" y="189"/>
                    <a:pt x="1969" y="205"/>
                  </a:cubicBezTo>
                  <a:cubicBezTo>
                    <a:pt x="1976" y="213"/>
                    <a:pt x="1976" y="213"/>
                    <a:pt x="1984" y="213"/>
                  </a:cubicBezTo>
                  <a:cubicBezTo>
                    <a:pt x="1984" y="213"/>
                    <a:pt x="1984" y="213"/>
                    <a:pt x="1992" y="213"/>
                  </a:cubicBezTo>
                  <a:cubicBezTo>
                    <a:pt x="1992" y="213"/>
                    <a:pt x="2000" y="213"/>
                    <a:pt x="2008" y="213"/>
                  </a:cubicBezTo>
                  <a:cubicBezTo>
                    <a:pt x="2016" y="213"/>
                    <a:pt x="2024" y="213"/>
                    <a:pt x="2032" y="213"/>
                  </a:cubicBezTo>
                  <a:cubicBezTo>
                    <a:pt x="2056" y="221"/>
                    <a:pt x="2071" y="229"/>
                    <a:pt x="2087" y="237"/>
                  </a:cubicBezTo>
                  <a:lnTo>
                    <a:pt x="2087" y="237"/>
                  </a:lnTo>
                  <a:cubicBezTo>
                    <a:pt x="2087" y="245"/>
                    <a:pt x="2087" y="245"/>
                    <a:pt x="2087" y="245"/>
                  </a:cubicBezTo>
                  <a:cubicBezTo>
                    <a:pt x="2056" y="276"/>
                    <a:pt x="2032" y="300"/>
                    <a:pt x="2032" y="308"/>
                  </a:cubicBezTo>
                  <a:cubicBezTo>
                    <a:pt x="2032" y="316"/>
                    <a:pt x="2032" y="316"/>
                    <a:pt x="2032" y="316"/>
                  </a:cubicBezTo>
                  <a:cubicBezTo>
                    <a:pt x="2032" y="340"/>
                    <a:pt x="2040" y="371"/>
                    <a:pt x="2024" y="379"/>
                  </a:cubicBezTo>
                  <a:cubicBezTo>
                    <a:pt x="2008" y="395"/>
                    <a:pt x="1961" y="450"/>
                    <a:pt x="1969" y="474"/>
                  </a:cubicBezTo>
                  <a:cubicBezTo>
                    <a:pt x="1969" y="482"/>
                    <a:pt x="1969" y="482"/>
                    <a:pt x="1976" y="482"/>
                  </a:cubicBezTo>
                  <a:cubicBezTo>
                    <a:pt x="1992" y="490"/>
                    <a:pt x="2000" y="490"/>
                    <a:pt x="2000" y="490"/>
                  </a:cubicBezTo>
                  <a:cubicBezTo>
                    <a:pt x="2016" y="490"/>
                    <a:pt x="2016" y="498"/>
                    <a:pt x="2016" y="514"/>
                  </a:cubicBezTo>
                  <a:cubicBezTo>
                    <a:pt x="2016" y="537"/>
                    <a:pt x="2008" y="545"/>
                    <a:pt x="1992" y="561"/>
                  </a:cubicBezTo>
                  <a:cubicBezTo>
                    <a:pt x="1984" y="569"/>
                    <a:pt x="1976" y="585"/>
                    <a:pt x="1976" y="600"/>
                  </a:cubicBezTo>
                  <a:cubicBezTo>
                    <a:pt x="1976" y="608"/>
                    <a:pt x="1976" y="616"/>
                    <a:pt x="1984" y="616"/>
                  </a:cubicBezTo>
                  <a:cubicBezTo>
                    <a:pt x="1984" y="616"/>
                    <a:pt x="2008" y="640"/>
                    <a:pt x="2032" y="664"/>
                  </a:cubicBezTo>
                  <a:cubicBezTo>
                    <a:pt x="2150" y="758"/>
                    <a:pt x="2182" y="782"/>
                    <a:pt x="2182" y="790"/>
                  </a:cubicBezTo>
                  <a:cubicBezTo>
                    <a:pt x="2190" y="798"/>
                    <a:pt x="2134" y="869"/>
                    <a:pt x="2134" y="869"/>
                  </a:cubicBezTo>
                  <a:cubicBezTo>
                    <a:pt x="2119" y="877"/>
                    <a:pt x="2119" y="901"/>
                    <a:pt x="2111" y="925"/>
                  </a:cubicBezTo>
                  <a:cubicBezTo>
                    <a:pt x="2111" y="932"/>
                    <a:pt x="2103" y="940"/>
                    <a:pt x="2103" y="948"/>
                  </a:cubicBezTo>
                  <a:cubicBezTo>
                    <a:pt x="2087" y="980"/>
                    <a:pt x="2079" y="988"/>
                    <a:pt x="2047" y="996"/>
                  </a:cubicBezTo>
                  <a:cubicBezTo>
                    <a:pt x="2032" y="1004"/>
                    <a:pt x="2016" y="1011"/>
                    <a:pt x="2008" y="1027"/>
                  </a:cubicBezTo>
                  <a:cubicBezTo>
                    <a:pt x="2000" y="1027"/>
                    <a:pt x="2000" y="1027"/>
                    <a:pt x="2000" y="1027"/>
                  </a:cubicBezTo>
                  <a:lnTo>
                    <a:pt x="2000" y="1027"/>
                  </a:lnTo>
                  <a:cubicBezTo>
                    <a:pt x="2000" y="1020"/>
                    <a:pt x="1992" y="1011"/>
                    <a:pt x="1976" y="1011"/>
                  </a:cubicBezTo>
                  <a:cubicBezTo>
                    <a:pt x="1945" y="1011"/>
                    <a:pt x="1913" y="1027"/>
                    <a:pt x="1913" y="1043"/>
                  </a:cubicBezTo>
                  <a:cubicBezTo>
                    <a:pt x="1905" y="1043"/>
                    <a:pt x="1897" y="1059"/>
                    <a:pt x="1889" y="1075"/>
                  </a:cubicBezTo>
                  <a:cubicBezTo>
                    <a:pt x="1889" y="1075"/>
                    <a:pt x="1881" y="1083"/>
                    <a:pt x="1881" y="1091"/>
                  </a:cubicBezTo>
                  <a:cubicBezTo>
                    <a:pt x="1881" y="1091"/>
                    <a:pt x="1881" y="1091"/>
                    <a:pt x="1881" y="1098"/>
                  </a:cubicBezTo>
                  <a:lnTo>
                    <a:pt x="1881" y="1098"/>
                  </a:lnTo>
                  <a:lnTo>
                    <a:pt x="198" y="1422"/>
                  </a:lnTo>
                  <a:close/>
                  <a:moveTo>
                    <a:pt x="8" y="363"/>
                  </a:moveTo>
                  <a:lnTo>
                    <a:pt x="8" y="363"/>
                  </a:lnTo>
                  <a:cubicBezTo>
                    <a:pt x="206" y="1415"/>
                    <a:pt x="206" y="1415"/>
                    <a:pt x="206" y="1415"/>
                  </a:cubicBezTo>
                  <a:cubicBezTo>
                    <a:pt x="1874" y="1091"/>
                    <a:pt x="1874" y="1091"/>
                    <a:pt x="1874" y="1091"/>
                  </a:cubicBezTo>
                  <a:cubicBezTo>
                    <a:pt x="1874" y="1083"/>
                    <a:pt x="1874" y="1083"/>
                    <a:pt x="1874" y="1083"/>
                  </a:cubicBezTo>
                  <a:cubicBezTo>
                    <a:pt x="1881" y="1083"/>
                    <a:pt x="1881" y="1075"/>
                    <a:pt x="1881" y="1067"/>
                  </a:cubicBezTo>
                  <a:cubicBezTo>
                    <a:pt x="1889" y="1059"/>
                    <a:pt x="1897" y="1043"/>
                    <a:pt x="1905" y="1035"/>
                  </a:cubicBezTo>
                  <a:cubicBezTo>
                    <a:pt x="1913" y="1020"/>
                    <a:pt x="1945" y="1004"/>
                    <a:pt x="1976" y="1004"/>
                  </a:cubicBezTo>
                  <a:cubicBezTo>
                    <a:pt x="1992" y="1004"/>
                    <a:pt x="2000" y="1011"/>
                    <a:pt x="2008" y="1020"/>
                  </a:cubicBezTo>
                  <a:cubicBezTo>
                    <a:pt x="2016" y="1004"/>
                    <a:pt x="2032" y="996"/>
                    <a:pt x="2047" y="988"/>
                  </a:cubicBezTo>
                  <a:cubicBezTo>
                    <a:pt x="2071" y="980"/>
                    <a:pt x="2087" y="972"/>
                    <a:pt x="2095" y="948"/>
                  </a:cubicBezTo>
                  <a:cubicBezTo>
                    <a:pt x="2095" y="940"/>
                    <a:pt x="2103" y="932"/>
                    <a:pt x="2103" y="917"/>
                  </a:cubicBezTo>
                  <a:cubicBezTo>
                    <a:pt x="2111" y="901"/>
                    <a:pt x="2119" y="877"/>
                    <a:pt x="2127" y="861"/>
                  </a:cubicBezTo>
                  <a:cubicBezTo>
                    <a:pt x="2142" y="845"/>
                    <a:pt x="2174" y="798"/>
                    <a:pt x="2174" y="790"/>
                  </a:cubicBezTo>
                  <a:cubicBezTo>
                    <a:pt x="2174" y="782"/>
                    <a:pt x="2079" y="711"/>
                    <a:pt x="2032" y="664"/>
                  </a:cubicBezTo>
                  <a:cubicBezTo>
                    <a:pt x="2000" y="640"/>
                    <a:pt x="1984" y="624"/>
                    <a:pt x="1976" y="624"/>
                  </a:cubicBezTo>
                  <a:cubicBezTo>
                    <a:pt x="1969" y="616"/>
                    <a:pt x="1969" y="608"/>
                    <a:pt x="1969" y="600"/>
                  </a:cubicBezTo>
                  <a:cubicBezTo>
                    <a:pt x="1969" y="585"/>
                    <a:pt x="1976" y="561"/>
                    <a:pt x="1992" y="553"/>
                  </a:cubicBezTo>
                  <a:cubicBezTo>
                    <a:pt x="2008" y="545"/>
                    <a:pt x="2008" y="529"/>
                    <a:pt x="2008" y="514"/>
                  </a:cubicBezTo>
                  <a:cubicBezTo>
                    <a:pt x="2008" y="505"/>
                    <a:pt x="2008" y="498"/>
                    <a:pt x="2008" y="498"/>
                  </a:cubicBezTo>
                  <a:cubicBezTo>
                    <a:pt x="2008" y="498"/>
                    <a:pt x="2008" y="498"/>
                    <a:pt x="2000" y="498"/>
                  </a:cubicBezTo>
                  <a:cubicBezTo>
                    <a:pt x="2000" y="498"/>
                    <a:pt x="1984" y="498"/>
                    <a:pt x="1969" y="490"/>
                  </a:cubicBezTo>
                  <a:cubicBezTo>
                    <a:pt x="1969" y="490"/>
                    <a:pt x="1961" y="482"/>
                    <a:pt x="1961" y="474"/>
                  </a:cubicBezTo>
                  <a:cubicBezTo>
                    <a:pt x="1953" y="442"/>
                    <a:pt x="2008" y="387"/>
                    <a:pt x="2016" y="379"/>
                  </a:cubicBezTo>
                  <a:cubicBezTo>
                    <a:pt x="2032" y="363"/>
                    <a:pt x="2032" y="332"/>
                    <a:pt x="2024" y="316"/>
                  </a:cubicBezTo>
                  <a:cubicBezTo>
                    <a:pt x="2024" y="316"/>
                    <a:pt x="2024" y="316"/>
                    <a:pt x="2024" y="308"/>
                  </a:cubicBezTo>
                  <a:cubicBezTo>
                    <a:pt x="2024" y="300"/>
                    <a:pt x="2056" y="268"/>
                    <a:pt x="2079" y="245"/>
                  </a:cubicBezTo>
                  <a:cubicBezTo>
                    <a:pt x="2063" y="237"/>
                    <a:pt x="2056" y="229"/>
                    <a:pt x="2032" y="221"/>
                  </a:cubicBezTo>
                  <a:cubicBezTo>
                    <a:pt x="2024" y="221"/>
                    <a:pt x="2016" y="221"/>
                    <a:pt x="2008" y="221"/>
                  </a:cubicBezTo>
                  <a:cubicBezTo>
                    <a:pt x="2000" y="221"/>
                    <a:pt x="2000" y="221"/>
                    <a:pt x="1992" y="221"/>
                  </a:cubicBezTo>
                  <a:lnTo>
                    <a:pt x="1984" y="221"/>
                  </a:lnTo>
                  <a:cubicBezTo>
                    <a:pt x="1976" y="221"/>
                    <a:pt x="1969" y="221"/>
                    <a:pt x="1961" y="205"/>
                  </a:cubicBezTo>
                  <a:cubicBezTo>
                    <a:pt x="1953" y="197"/>
                    <a:pt x="1945" y="174"/>
                    <a:pt x="1937" y="158"/>
                  </a:cubicBezTo>
                  <a:cubicBezTo>
                    <a:pt x="1921" y="118"/>
                    <a:pt x="1905" y="63"/>
                    <a:pt x="1889" y="63"/>
                  </a:cubicBezTo>
                  <a:lnTo>
                    <a:pt x="1889" y="63"/>
                  </a:lnTo>
                  <a:cubicBezTo>
                    <a:pt x="1858" y="63"/>
                    <a:pt x="1834" y="63"/>
                    <a:pt x="1787" y="23"/>
                  </a:cubicBezTo>
                  <a:cubicBezTo>
                    <a:pt x="1771" y="8"/>
                    <a:pt x="1755" y="8"/>
                    <a:pt x="1747" y="8"/>
                  </a:cubicBezTo>
                  <a:cubicBezTo>
                    <a:pt x="1731" y="8"/>
                    <a:pt x="1716" y="15"/>
                    <a:pt x="1708" y="15"/>
                  </a:cubicBezTo>
                  <a:cubicBezTo>
                    <a:pt x="1700" y="23"/>
                    <a:pt x="1692" y="23"/>
                    <a:pt x="1684" y="31"/>
                  </a:cubicBezTo>
                  <a:cubicBezTo>
                    <a:pt x="1660" y="39"/>
                    <a:pt x="332" y="292"/>
                    <a:pt x="277" y="308"/>
                  </a:cubicBezTo>
                  <a:cubicBezTo>
                    <a:pt x="269" y="308"/>
                    <a:pt x="269" y="308"/>
                    <a:pt x="269" y="308"/>
                  </a:cubicBezTo>
                  <a:cubicBezTo>
                    <a:pt x="245" y="197"/>
                    <a:pt x="245" y="197"/>
                    <a:pt x="245" y="197"/>
                  </a:cubicBezTo>
                  <a:cubicBezTo>
                    <a:pt x="198" y="245"/>
                    <a:pt x="111" y="316"/>
                    <a:pt x="55" y="340"/>
                  </a:cubicBezTo>
                  <a:cubicBezTo>
                    <a:pt x="40" y="347"/>
                    <a:pt x="24" y="355"/>
                    <a:pt x="8" y="363"/>
                  </a:cubicBezTo>
                  <a:close/>
                </a:path>
              </a:pathLst>
            </a:custGeom>
            <a:solidFill>
              <a:schemeClr val="accent6"/>
            </a:solidFill>
            <a:ln>
              <a:solidFill>
                <a:schemeClr val="bg2"/>
              </a:solidFill>
            </a:ln>
            <a:effectLst/>
          </p:spPr>
          <p:txBody>
            <a:bodyPr wrap="none" anchor="ctr"/>
            <a:lstStyle/>
            <a:p>
              <a:endParaRPr lang="en-US"/>
            </a:p>
          </p:txBody>
        </p:sp>
        <p:sp>
          <p:nvSpPr>
            <p:cNvPr id="105" name="Freeform 775"/>
            <p:cNvSpPr>
              <a:spLocks noChangeArrowheads="1"/>
            </p:cNvSpPr>
            <p:nvPr/>
          </p:nvSpPr>
          <p:spPr bwMode="auto">
            <a:xfrm>
              <a:off x="6373788" y="3187298"/>
              <a:ext cx="621785" cy="378707"/>
            </a:xfrm>
            <a:custGeom>
              <a:avLst/>
              <a:gdLst>
                <a:gd name="T0" fmla="*/ 1660 w 1725"/>
                <a:gd name="T1" fmla="*/ 752 h 1211"/>
                <a:gd name="T2" fmla="*/ 1692 w 1725"/>
                <a:gd name="T3" fmla="*/ 649 h 1211"/>
                <a:gd name="T4" fmla="*/ 1573 w 1725"/>
                <a:gd name="T5" fmla="*/ 570 h 1211"/>
                <a:gd name="T6" fmla="*/ 1407 w 1725"/>
                <a:gd name="T7" fmla="*/ 317 h 1211"/>
                <a:gd name="T8" fmla="*/ 1312 w 1725"/>
                <a:gd name="T9" fmla="*/ 0 h 1211"/>
                <a:gd name="T10" fmla="*/ 40 w 1725"/>
                <a:gd name="T11" fmla="*/ 483 h 1211"/>
                <a:gd name="T12" fmla="*/ 206 w 1725"/>
                <a:gd name="T13" fmla="*/ 340 h 1211"/>
                <a:gd name="T14" fmla="*/ 269 w 1725"/>
                <a:gd name="T15" fmla="*/ 246 h 1211"/>
                <a:gd name="T16" fmla="*/ 380 w 1725"/>
                <a:gd name="T17" fmla="*/ 238 h 1211"/>
                <a:gd name="T18" fmla="*/ 498 w 1725"/>
                <a:gd name="T19" fmla="*/ 190 h 1211"/>
                <a:gd name="T20" fmla="*/ 617 w 1725"/>
                <a:gd name="T21" fmla="*/ 246 h 1211"/>
                <a:gd name="T22" fmla="*/ 743 w 1725"/>
                <a:gd name="T23" fmla="*/ 324 h 1211"/>
                <a:gd name="T24" fmla="*/ 846 w 1725"/>
                <a:gd name="T25" fmla="*/ 419 h 1211"/>
                <a:gd name="T26" fmla="*/ 933 w 1725"/>
                <a:gd name="T27" fmla="*/ 601 h 1211"/>
                <a:gd name="T28" fmla="*/ 981 w 1725"/>
                <a:gd name="T29" fmla="*/ 720 h 1211"/>
                <a:gd name="T30" fmla="*/ 1044 w 1725"/>
                <a:gd name="T31" fmla="*/ 752 h 1211"/>
                <a:gd name="T32" fmla="*/ 1241 w 1725"/>
                <a:gd name="T33" fmla="*/ 775 h 1211"/>
                <a:gd name="T34" fmla="*/ 1225 w 1725"/>
                <a:gd name="T35" fmla="*/ 649 h 1211"/>
                <a:gd name="T36" fmla="*/ 1154 w 1725"/>
                <a:gd name="T37" fmla="*/ 491 h 1211"/>
                <a:gd name="T38" fmla="*/ 1131 w 1725"/>
                <a:gd name="T39" fmla="*/ 301 h 1211"/>
                <a:gd name="T40" fmla="*/ 1131 w 1725"/>
                <a:gd name="T41" fmla="*/ 238 h 1211"/>
                <a:gd name="T42" fmla="*/ 1210 w 1725"/>
                <a:gd name="T43" fmla="*/ 166 h 1211"/>
                <a:gd name="T44" fmla="*/ 1257 w 1725"/>
                <a:gd name="T45" fmla="*/ 119 h 1211"/>
                <a:gd name="T46" fmla="*/ 1273 w 1725"/>
                <a:gd name="T47" fmla="*/ 174 h 1211"/>
                <a:gd name="T48" fmla="*/ 1210 w 1725"/>
                <a:gd name="T49" fmla="*/ 317 h 1211"/>
                <a:gd name="T50" fmla="*/ 1202 w 1725"/>
                <a:gd name="T51" fmla="*/ 372 h 1211"/>
                <a:gd name="T52" fmla="*/ 1234 w 1725"/>
                <a:gd name="T53" fmla="*/ 396 h 1211"/>
                <a:gd name="T54" fmla="*/ 1218 w 1725"/>
                <a:gd name="T55" fmla="*/ 451 h 1211"/>
                <a:gd name="T56" fmla="*/ 1273 w 1725"/>
                <a:gd name="T57" fmla="*/ 483 h 1211"/>
                <a:gd name="T58" fmla="*/ 1249 w 1725"/>
                <a:gd name="T59" fmla="*/ 538 h 1211"/>
                <a:gd name="T60" fmla="*/ 1297 w 1725"/>
                <a:gd name="T61" fmla="*/ 601 h 1211"/>
                <a:gd name="T62" fmla="*/ 1312 w 1725"/>
                <a:gd name="T63" fmla="*/ 696 h 1211"/>
                <a:gd name="T64" fmla="*/ 1415 w 1725"/>
                <a:gd name="T65" fmla="*/ 672 h 1211"/>
                <a:gd name="T66" fmla="*/ 1455 w 1725"/>
                <a:gd name="T67" fmla="*/ 799 h 1211"/>
                <a:gd name="T68" fmla="*/ 1518 w 1725"/>
                <a:gd name="T69" fmla="*/ 846 h 1211"/>
                <a:gd name="T70" fmla="*/ 1478 w 1725"/>
                <a:gd name="T71" fmla="*/ 1083 h 1211"/>
                <a:gd name="T72" fmla="*/ 1534 w 1725"/>
                <a:gd name="T73" fmla="*/ 1155 h 1211"/>
                <a:gd name="T74" fmla="*/ 1558 w 1725"/>
                <a:gd name="T75" fmla="*/ 1004 h 1211"/>
                <a:gd name="T76" fmla="*/ 1605 w 1725"/>
                <a:gd name="T77" fmla="*/ 870 h 1211"/>
                <a:gd name="T78" fmla="*/ 1692 w 1725"/>
                <a:gd name="T79" fmla="*/ 767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5" h="1211">
                  <a:moveTo>
                    <a:pt x="1660" y="752"/>
                  </a:moveTo>
                  <a:lnTo>
                    <a:pt x="1660" y="752"/>
                  </a:lnTo>
                  <a:cubicBezTo>
                    <a:pt x="1645" y="728"/>
                    <a:pt x="1629" y="712"/>
                    <a:pt x="1652" y="696"/>
                  </a:cubicBezTo>
                  <a:cubicBezTo>
                    <a:pt x="1676" y="680"/>
                    <a:pt x="1660" y="680"/>
                    <a:pt x="1692" y="649"/>
                  </a:cubicBezTo>
                  <a:cubicBezTo>
                    <a:pt x="1716" y="625"/>
                    <a:pt x="1716" y="609"/>
                    <a:pt x="1724" y="593"/>
                  </a:cubicBezTo>
                  <a:cubicBezTo>
                    <a:pt x="1684" y="577"/>
                    <a:pt x="1621" y="577"/>
                    <a:pt x="1573" y="570"/>
                  </a:cubicBezTo>
                  <a:cubicBezTo>
                    <a:pt x="1502" y="554"/>
                    <a:pt x="1455" y="554"/>
                    <a:pt x="1447" y="546"/>
                  </a:cubicBezTo>
                  <a:cubicBezTo>
                    <a:pt x="1439" y="530"/>
                    <a:pt x="1407" y="364"/>
                    <a:pt x="1407" y="317"/>
                  </a:cubicBezTo>
                  <a:cubicBezTo>
                    <a:pt x="1400" y="277"/>
                    <a:pt x="1360" y="151"/>
                    <a:pt x="1336" y="87"/>
                  </a:cubicBezTo>
                  <a:cubicBezTo>
                    <a:pt x="1312" y="48"/>
                    <a:pt x="1312" y="16"/>
                    <a:pt x="1312" y="0"/>
                  </a:cubicBezTo>
                  <a:cubicBezTo>
                    <a:pt x="0" y="246"/>
                    <a:pt x="0" y="246"/>
                    <a:pt x="0" y="246"/>
                  </a:cubicBezTo>
                  <a:cubicBezTo>
                    <a:pt x="40" y="483"/>
                    <a:pt x="40" y="483"/>
                    <a:pt x="40" y="483"/>
                  </a:cubicBezTo>
                  <a:cubicBezTo>
                    <a:pt x="158" y="348"/>
                    <a:pt x="158" y="348"/>
                    <a:pt x="158" y="348"/>
                  </a:cubicBezTo>
                  <a:cubicBezTo>
                    <a:pt x="158" y="348"/>
                    <a:pt x="206" y="324"/>
                    <a:pt x="206" y="340"/>
                  </a:cubicBezTo>
                  <a:cubicBezTo>
                    <a:pt x="214" y="364"/>
                    <a:pt x="222" y="340"/>
                    <a:pt x="230" y="333"/>
                  </a:cubicBezTo>
                  <a:cubicBezTo>
                    <a:pt x="230" y="317"/>
                    <a:pt x="253" y="230"/>
                    <a:pt x="269" y="246"/>
                  </a:cubicBezTo>
                  <a:cubicBezTo>
                    <a:pt x="277" y="261"/>
                    <a:pt x="277" y="277"/>
                    <a:pt x="317" y="285"/>
                  </a:cubicBezTo>
                  <a:cubicBezTo>
                    <a:pt x="356" y="285"/>
                    <a:pt x="364" y="246"/>
                    <a:pt x="380" y="238"/>
                  </a:cubicBezTo>
                  <a:cubicBezTo>
                    <a:pt x="403" y="230"/>
                    <a:pt x="427" y="222"/>
                    <a:pt x="443" y="214"/>
                  </a:cubicBezTo>
                  <a:cubicBezTo>
                    <a:pt x="451" y="198"/>
                    <a:pt x="475" y="182"/>
                    <a:pt x="498" y="190"/>
                  </a:cubicBezTo>
                  <a:cubicBezTo>
                    <a:pt x="514" y="206"/>
                    <a:pt x="538" y="206"/>
                    <a:pt x="561" y="206"/>
                  </a:cubicBezTo>
                  <a:cubicBezTo>
                    <a:pt x="593" y="206"/>
                    <a:pt x="617" y="222"/>
                    <a:pt x="617" y="246"/>
                  </a:cubicBezTo>
                  <a:cubicBezTo>
                    <a:pt x="625" y="261"/>
                    <a:pt x="656" y="317"/>
                    <a:pt x="656" y="317"/>
                  </a:cubicBezTo>
                  <a:cubicBezTo>
                    <a:pt x="656" y="317"/>
                    <a:pt x="743" y="301"/>
                    <a:pt x="743" y="324"/>
                  </a:cubicBezTo>
                  <a:cubicBezTo>
                    <a:pt x="751" y="348"/>
                    <a:pt x="751" y="396"/>
                    <a:pt x="767" y="412"/>
                  </a:cubicBezTo>
                  <a:cubicBezTo>
                    <a:pt x="775" y="419"/>
                    <a:pt x="822" y="404"/>
                    <a:pt x="846" y="419"/>
                  </a:cubicBezTo>
                  <a:cubicBezTo>
                    <a:pt x="870" y="435"/>
                    <a:pt x="949" y="467"/>
                    <a:pt x="949" y="499"/>
                  </a:cubicBezTo>
                  <a:cubicBezTo>
                    <a:pt x="949" y="530"/>
                    <a:pt x="957" y="562"/>
                    <a:pt x="933" y="601"/>
                  </a:cubicBezTo>
                  <a:cubicBezTo>
                    <a:pt x="909" y="641"/>
                    <a:pt x="886" y="696"/>
                    <a:pt x="901" y="720"/>
                  </a:cubicBezTo>
                  <a:cubicBezTo>
                    <a:pt x="917" y="744"/>
                    <a:pt x="957" y="736"/>
                    <a:pt x="981" y="720"/>
                  </a:cubicBezTo>
                  <a:cubicBezTo>
                    <a:pt x="996" y="696"/>
                    <a:pt x="1036" y="704"/>
                    <a:pt x="1044" y="720"/>
                  </a:cubicBezTo>
                  <a:cubicBezTo>
                    <a:pt x="1052" y="728"/>
                    <a:pt x="1020" y="736"/>
                    <a:pt x="1044" y="752"/>
                  </a:cubicBezTo>
                  <a:cubicBezTo>
                    <a:pt x="1075" y="759"/>
                    <a:pt x="1115" y="775"/>
                    <a:pt x="1154" y="783"/>
                  </a:cubicBezTo>
                  <a:cubicBezTo>
                    <a:pt x="1186" y="791"/>
                    <a:pt x="1225" y="775"/>
                    <a:pt x="1241" y="775"/>
                  </a:cubicBezTo>
                  <a:cubicBezTo>
                    <a:pt x="1241" y="759"/>
                    <a:pt x="1249" y="752"/>
                    <a:pt x="1241" y="728"/>
                  </a:cubicBezTo>
                  <a:cubicBezTo>
                    <a:pt x="1234" y="688"/>
                    <a:pt x="1241" y="680"/>
                    <a:pt x="1225" y="649"/>
                  </a:cubicBezTo>
                  <a:cubicBezTo>
                    <a:pt x="1210" y="609"/>
                    <a:pt x="1194" y="617"/>
                    <a:pt x="1186" y="593"/>
                  </a:cubicBezTo>
                  <a:cubicBezTo>
                    <a:pt x="1178" y="562"/>
                    <a:pt x="1154" y="530"/>
                    <a:pt x="1154" y="491"/>
                  </a:cubicBezTo>
                  <a:cubicBezTo>
                    <a:pt x="1147" y="443"/>
                    <a:pt x="1147" y="404"/>
                    <a:pt x="1147" y="364"/>
                  </a:cubicBezTo>
                  <a:cubicBezTo>
                    <a:pt x="1139" y="333"/>
                    <a:pt x="1154" y="309"/>
                    <a:pt x="1131" y="301"/>
                  </a:cubicBezTo>
                  <a:cubicBezTo>
                    <a:pt x="1107" y="293"/>
                    <a:pt x="1083" y="230"/>
                    <a:pt x="1099" y="238"/>
                  </a:cubicBezTo>
                  <a:cubicBezTo>
                    <a:pt x="1107" y="246"/>
                    <a:pt x="1123" y="261"/>
                    <a:pt x="1131" y="238"/>
                  </a:cubicBezTo>
                  <a:cubicBezTo>
                    <a:pt x="1139" y="214"/>
                    <a:pt x="1170" y="182"/>
                    <a:pt x="1170" y="182"/>
                  </a:cubicBezTo>
                  <a:cubicBezTo>
                    <a:pt x="1178" y="182"/>
                    <a:pt x="1194" y="174"/>
                    <a:pt x="1210" y="166"/>
                  </a:cubicBezTo>
                  <a:cubicBezTo>
                    <a:pt x="1234" y="151"/>
                    <a:pt x="1249" y="135"/>
                    <a:pt x="1249" y="127"/>
                  </a:cubicBezTo>
                  <a:cubicBezTo>
                    <a:pt x="1241" y="111"/>
                    <a:pt x="1257" y="95"/>
                    <a:pt x="1257" y="119"/>
                  </a:cubicBezTo>
                  <a:cubicBezTo>
                    <a:pt x="1257" y="135"/>
                    <a:pt x="1257" y="166"/>
                    <a:pt x="1265" y="166"/>
                  </a:cubicBezTo>
                  <a:cubicBezTo>
                    <a:pt x="1281" y="166"/>
                    <a:pt x="1297" y="174"/>
                    <a:pt x="1273" y="174"/>
                  </a:cubicBezTo>
                  <a:cubicBezTo>
                    <a:pt x="1257" y="182"/>
                    <a:pt x="1170" y="198"/>
                    <a:pt x="1186" y="222"/>
                  </a:cubicBezTo>
                  <a:cubicBezTo>
                    <a:pt x="1194" y="253"/>
                    <a:pt x="1186" y="317"/>
                    <a:pt x="1210" y="317"/>
                  </a:cubicBezTo>
                  <a:cubicBezTo>
                    <a:pt x="1234" y="309"/>
                    <a:pt x="1241" y="309"/>
                    <a:pt x="1234" y="333"/>
                  </a:cubicBezTo>
                  <a:cubicBezTo>
                    <a:pt x="1234" y="356"/>
                    <a:pt x="1210" y="348"/>
                    <a:pt x="1202" y="372"/>
                  </a:cubicBezTo>
                  <a:cubicBezTo>
                    <a:pt x="1186" y="388"/>
                    <a:pt x="1147" y="412"/>
                    <a:pt x="1178" y="412"/>
                  </a:cubicBezTo>
                  <a:cubicBezTo>
                    <a:pt x="1210" y="419"/>
                    <a:pt x="1234" y="380"/>
                    <a:pt x="1234" y="396"/>
                  </a:cubicBezTo>
                  <a:cubicBezTo>
                    <a:pt x="1241" y="404"/>
                    <a:pt x="1265" y="412"/>
                    <a:pt x="1249" y="427"/>
                  </a:cubicBezTo>
                  <a:cubicBezTo>
                    <a:pt x="1234" y="443"/>
                    <a:pt x="1218" y="435"/>
                    <a:pt x="1218" y="451"/>
                  </a:cubicBezTo>
                  <a:cubicBezTo>
                    <a:pt x="1218" y="467"/>
                    <a:pt x="1202" y="475"/>
                    <a:pt x="1225" y="483"/>
                  </a:cubicBezTo>
                  <a:cubicBezTo>
                    <a:pt x="1249" y="491"/>
                    <a:pt x="1265" y="467"/>
                    <a:pt x="1273" y="483"/>
                  </a:cubicBezTo>
                  <a:cubicBezTo>
                    <a:pt x="1289" y="499"/>
                    <a:pt x="1312" y="506"/>
                    <a:pt x="1289" y="514"/>
                  </a:cubicBezTo>
                  <a:cubicBezTo>
                    <a:pt x="1273" y="530"/>
                    <a:pt x="1257" y="514"/>
                    <a:pt x="1249" y="538"/>
                  </a:cubicBezTo>
                  <a:cubicBezTo>
                    <a:pt x="1241" y="570"/>
                    <a:pt x="1234" y="577"/>
                    <a:pt x="1257" y="577"/>
                  </a:cubicBezTo>
                  <a:cubicBezTo>
                    <a:pt x="1289" y="586"/>
                    <a:pt x="1289" y="577"/>
                    <a:pt x="1297" y="601"/>
                  </a:cubicBezTo>
                  <a:cubicBezTo>
                    <a:pt x="1297" y="625"/>
                    <a:pt x="1297" y="609"/>
                    <a:pt x="1289" y="649"/>
                  </a:cubicBezTo>
                  <a:cubicBezTo>
                    <a:pt x="1289" y="680"/>
                    <a:pt x="1281" y="688"/>
                    <a:pt x="1312" y="696"/>
                  </a:cubicBezTo>
                  <a:cubicBezTo>
                    <a:pt x="1344" y="696"/>
                    <a:pt x="1360" y="672"/>
                    <a:pt x="1368" y="657"/>
                  </a:cubicBezTo>
                  <a:cubicBezTo>
                    <a:pt x="1368" y="649"/>
                    <a:pt x="1384" y="625"/>
                    <a:pt x="1415" y="672"/>
                  </a:cubicBezTo>
                  <a:cubicBezTo>
                    <a:pt x="1439" y="720"/>
                    <a:pt x="1463" y="728"/>
                    <a:pt x="1455" y="759"/>
                  </a:cubicBezTo>
                  <a:cubicBezTo>
                    <a:pt x="1439" y="791"/>
                    <a:pt x="1431" y="783"/>
                    <a:pt x="1455" y="799"/>
                  </a:cubicBezTo>
                  <a:cubicBezTo>
                    <a:pt x="1478" y="815"/>
                    <a:pt x="1494" y="815"/>
                    <a:pt x="1502" y="807"/>
                  </a:cubicBezTo>
                  <a:cubicBezTo>
                    <a:pt x="1510" y="807"/>
                    <a:pt x="1518" y="815"/>
                    <a:pt x="1518" y="846"/>
                  </a:cubicBezTo>
                  <a:cubicBezTo>
                    <a:pt x="1526" y="870"/>
                    <a:pt x="1487" y="941"/>
                    <a:pt x="1487" y="973"/>
                  </a:cubicBezTo>
                  <a:cubicBezTo>
                    <a:pt x="1487" y="1004"/>
                    <a:pt x="1478" y="1036"/>
                    <a:pt x="1478" y="1083"/>
                  </a:cubicBezTo>
                  <a:cubicBezTo>
                    <a:pt x="1487" y="1131"/>
                    <a:pt x="1471" y="1155"/>
                    <a:pt x="1494" y="1178"/>
                  </a:cubicBezTo>
                  <a:cubicBezTo>
                    <a:pt x="1518" y="1202"/>
                    <a:pt x="1534" y="1210"/>
                    <a:pt x="1534" y="1155"/>
                  </a:cubicBezTo>
                  <a:cubicBezTo>
                    <a:pt x="1534" y="1107"/>
                    <a:pt x="1526" y="1068"/>
                    <a:pt x="1542" y="1044"/>
                  </a:cubicBezTo>
                  <a:cubicBezTo>
                    <a:pt x="1550" y="1028"/>
                    <a:pt x="1558" y="1036"/>
                    <a:pt x="1558" y="1004"/>
                  </a:cubicBezTo>
                  <a:cubicBezTo>
                    <a:pt x="1558" y="981"/>
                    <a:pt x="1605" y="1028"/>
                    <a:pt x="1605" y="981"/>
                  </a:cubicBezTo>
                  <a:cubicBezTo>
                    <a:pt x="1597" y="941"/>
                    <a:pt x="1589" y="894"/>
                    <a:pt x="1605" y="870"/>
                  </a:cubicBezTo>
                  <a:cubicBezTo>
                    <a:pt x="1621" y="839"/>
                    <a:pt x="1605" y="815"/>
                    <a:pt x="1645" y="807"/>
                  </a:cubicBezTo>
                  <a:cubicBezTo>
                    <a:pt x="1684" y="791"/>
                    <a:pt x="1692" y="783"/>
                    <a:pt x="1692" y="767"/>
                  </a:cubicBezTo>
                  <a:cubicBezTo>
                    <a:pt x="1692" y="752"/>
                    <a:pt x="1668" y="767"/>
                    <a:pt x="1660" y="752"/>
                  </a:cubicBezTo>
                </a:path>
              </a:pathLst>
            </a:custGeom>
            <a:solidFill>
              <a:schemeClr val="accent6"/>
            </a:solidFill>
            <a:ln>
              <a:solidFill>
                <a:schemeClr val="bg2"/>
              </a:solidFill>
            </a:ln>
            <a:effectLst/>
          </p:spPr>
          <p:txBody>
            <a:bodyPr wrap="none" anchor="ctr"/>
            <a:lstStyle/>
            <a:p>
              <a:endParaRPr lang="en-US"/>
            </a:p>
          </p:txBody>
        </p:sp>
        <p:sp>
          <p:nvSpPr>
            <p:cNvPr id="106" name="Freeform 776"/>
            <p:cNvSpPr>
              <a:spLocks noChangeArrowheads="1"/>
            </p:cNvSpPr>
            <p:nvPr/>
          </p:nvSpPr>
          <p:spPr bwMode="auto">
            <a:xfrm>
              <a:off x="6372198" y="3185921"/>
              <a:ext cx="624964" cy="377330"/>
            </a:xfrm>
            <a:custGeom>
              <a:avLst/>
              <a:gdLst>
                <a:gd name="T0" fmla="*/ 1486 w 1733"/>
                <a:gd name="T1" fmla="*/ 1011 h 1210"/>
                <a:gd name="T2" fmla="*/ 1463 w 1733"/>
                <a:gd name="T3" fmla="*/ 806 h 1210"/>
                <a:gd name="T4" fmla="*/ 1392 w 1733"/>
                <a:gd name="T5" fmla="*/ 656 h 1210"/>
                <a:gd name="T6" fmla="*/ 1297 w 1733"/>
                <a:gd name="T7" fmla="*/ 624 h 1210"/>
                <a:gd name="T8" fmla="*/ 1257 w 1733"/>
                <a:gd name="T9" fmla="*/ 545 h 1210"/>
                <a:gd name="T10" fmla="*/ 1273 w 1733"/>
                <a:gd name="T11" fmla="*/ 490 h 1210"/>
                <a:gd name="T12" fmla="*/ 1226 w 1733"/>
                <a:gd name="T13" fmla="*/ 458 h 1210"/>
                <a:gd name="T14" fmla="*/ 1233 w 1733"/>
                <a:gd name="T15" fmla="*/ 411 h 1210"/>
                <a:gd name="T16" fmla="*/ 1242 w 1733"/>
                <a:gd name="T17" fmla="*/ 340 h 1210"/>
                <a:gd name="T18" fmla="*/ 1186 w 1733"/>
                <a:gd name="T19" fmla="*/ 221 h 1210"/>
                <a:gd name="T20" fmla="*/ 1265 w 1733"/>
                <a:gd name="T21" fmla="*/ 142 h 1210"/>
                <a:gd name="T22" fmla="*/ 1186 w 1733"/>
                <a:gd name="T23" fmla="*/ 189 h 1210"/>
                <a:gd name="T24" fmla="*/ 1139 w 1733"/>
                <a:gd name="T25" fmla="*/ 300 h 1210"/>
                <a:gd name="T26" fmla="*/ 1202 w 1733"/>
                <a:gd name="T27" fmla="*/ 593 h 1210"/>
                <a:gd name="T28" fmla="*/ 1249 w 1733"/>
                <a:gd name="T29" fmla="*/ 790 h 1210"/>
                <a:gd name="T30" fmla="*/ 1052 w 1733"/>
                <a:gd name="T31" fmla="*/ 759 h 1210"/>
                <a:gd name="T32" fmla="*/ 941 w 1733"/>
                <a:gd name="T33" fmla="*/ 743 h 1210"/>
                <a:gd name="T34" fmla="*/ 854 w 1733"/>
                <a:gd name="T35" fmla="*/ 426 h 1210"/>
                <a:gd name="T36" fmla="*/ 751 w 1733"/>
                <a:gd name="T37" fmla="*/ 331 h 1210"/>
                <a:gd name="T38" fmla="*/ 569 w 1733"/>
                <a:gd name="T39" fmla="*/ 213 h 1210"/>
                <a:gd name="T40" fmla="*/ 372 w 1733"/>
                <a:gd name="T41" fmla="*/ 268 h 1210"/>
                <a:gd name="T42" fmla="*/ 238 w 1733"/>
                <a:gd name="T43" fmla="*/ 340 h 1210"/>
                <a:gd name="T44" fmla="*/ 0 w 1733"/>
                <a:gd name="T45" fmla="*/ 253 h 1210"/>
                <a:gd name="T46" fmla="*/ 1518 w 1733"/>
                <a:gd name="T47" fmla="*/ 561 h 1210"/>
                <a:gd name="T48" fmla="*/ 1700 w 1733"/>
                <a:gd name="T49" fmla="*/ 656 h 1210"/>
                <a:gd name="T50" fmla="*/ 1692 w 1733"/>
                <a:gd name="T51" fmla="*/ 766 h 1210"/>
                <a:gd name="T52" fmla="*/ 1613 w 1733"/>
                <a:gd name="T53" fmla="*/ 988 h 1210"/>
                <a:gd name="T54" fmla="*/ 1558 w 1733"/>
                <a:gd name="T55" fmla="*/ 1051 h 1210"/>
                <a:gd name="T56" fmla="*/ 1510 w 1733"/>
                <a:gd name="T57" fmla="*/ 814 h 1210"/>
                <a:gd name="T58" fmla="*/ 1495 w 1733"/>
                <a:gd name="T59" fmla="*/ 1130 h 1210"/>
                <a:gd name="T60" fmla="*/ 1550 w 1733"/>
                <a:gd name="T61" fmla="*/ 1043 h 1210"/>
                <a:gd name="T62" fmla="*/ 1605 w 1733"/>
                <a:gd name="T63" fmla="*/ 988 h 1210"/>
                <a:gd name="T64" fmla="*/ 1692 w 1733"/>
                <a:gd name="T65" fmla="*/ 774 h 1210"/>
                <a:gd name="T66" fmla="*/ 1724 w 1733"/>
                <a:gd name="T67" fmla="*/ 600 h 1210"/>
                <a:gd name="T68" fmla="*/ 1336 w 1733"/>
                <a:gd name="T69" fmla="*/ 102 h 1210"/>
                <a:gd name="T70" fmla="*/ 206 w 1733"/>
                <a:gd name="T71" fmla="*/ 340 h 1210"/>
                <a:gd name="T72" fmla="*/ 277 w 1733"/>
                <a:gd name="T73" fmla="*/ 253 h 1210"/>
                <a:gd name="T74" fmla="*/ 411 w 1733"/>
                <a:gd name="T75" fmla="*/ 237 h 1210"/>
                <a:gd name="T76" fmla="*/ 672 w 1733"/>
                <a:gd name="T77" fmla="*/ 324 h 1210"/>
                <a:gd name="T78" fmla="*/ 807 w 1733"/>
                <a:gd name="T79" fmla="*/ 411 h 1210"/>
                <a:gd name="T80" fmla="*/ 949 w 1733"/>
                <a:gd name="T81" fmla="*/ 608 h 1210"/>
                <a:gd name="T82" fmla="*/ 1052 w 1733"/>
                <a:gd name="T83" fmla="*/ 743 h 1210"/>
                <a:gd name="T84" fmla="*/ 1242 w 1733"/>
                <a:gd name="T85" fmla="*/ 782 h 1210"/>
                <a:gd name="T86" fmla="*/ 1194 w 1733"/>
                <a:gd name="T87" fmla="*/ 600 h 1210"/>
                <a:gd name="T88" fmla="*/ 1139 w 1733"/>
                <a:gd name="T89" fmla="*/ 308 h 1210"/>
                <a:gd name="T90" fmla="*/ 1139 w 1733"/>
                <a:gd name="T91" fmla="*/ 245 h 1210"/>
                <a:gd name="T92" fmla="*/ 1265 w 1733"/>
                <a:gd name="T93" fmla="*/ 110 h 1210"/>
                <a:gd name="T94" fmla="*/ 1281 w 1733"/>
                <a:gd name="T95" fmla="*/ 189 h 1210"/>
                <a:gd name="T96" fmla="*/ 1218 w 1733"/>
                <a:gd name="T97" fmla="*/ 316 h 1210"/>
                <a:gd name="T98" fmla="*/ 1194 w 1733"/>
                <a:gd name="T99" fmla="*/ 395 h 1210"/>
                <a:gd name="T100" fmla="*/ 1257 w 1733"/>
                <a:gd name="T101" fmla="*/ 403 h 1210"/>
                <a:gd name="T102" fmla="*/ 1226 w 1733"/>
                <a:gd name="T103" fmla="*/ 482 h 1210"/>
                <a:gd name="T104" fmla="*/ 1297 w 1733"/>
                <a:gd name="T105" fmla="*/ 498 h 1210"/>
                <a:gd name="T106" fmla="*/ 1257 w 1733"/>
                <a:gd name="T107" fmla="*/ 577 h 1210"/>
                <a:gd name="T108" fmla="*/ 1305 w 1733"/>
                <a:gd name="T109" fmla="*/ 664 h 1210"/>
                <a:gd name="T110" fmla="*/ 1447 w 1733"/>
                <a:gd name="T111" fmla="*/ 711 h 1210"/>
                <a:gd name="T112" fmla="*/ 1502 w 1733"/>
                <a:gd name="T113" fmla="*/ 814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3" h="1210">
                  <a:moveTo>
                    <a:pt x="1526" y="1209"/>
                  </a:moveTo>
                  <a:lnTo>
                    <a:pt x="1526" y="1209"/>
                  </a:lnTo>
                  <a:cubicBezTo>
                    <a:pt x="1518" y="1209"/>
                    <a:pt x="1510" y="1201"/>
                    <a:pt x="1502" y="1185"/>
                  </a:cubicBezTo>
                  <a:cubicBezTo>
                    <a:pt x="1479" y="1170"/>
                    <a:pt x="1486" y="1154"/>
                    <a:pt x="1486" y="1130"/>
                  </a:cubicBezTo>
                  <a:cubicBezTo>
                    <a:pt x="1486" y="1122"/>
                    <a:pt x="1486" y="1106"/>
                    <a:pt x="1486" y="1090"/>
                  </a:cubicBezTo>
                  <a:cubicBezTo>
                    <a:pt x="1479" y="1059"/>
                    <a:pt x="1486" y="1035"/>
                    <a:pt x="1486" y="1011"/>
                  </a:cubicBezTo>
                  <a:cubicBezTo>
                    <a:pt x="1495" y="1004"/>
                    <a:pt x="1495" y="996"/>
                    <a:pt x="1495" y="980"/>
                  </a:cubicBezTo>
                  <a:cubicBezTo>
                    <a:pt x="1495" y="964"/>
                    <a:pt x="1502" y="940"/>
                    <a:pt x="1510" y="917"/>
                  </a:cubicBezTo>
                  <a:cubicBezTo>
                    <a:pt x="1518" y="893"/>
                    <a:pt x="1526" y="861"/>
                    <a:pt x="1526" y="853"/>
                  </a:cubicBezTo>
                  <a:cubicBezTo>
                    <a:pt x="1526" y="830"/>
                    <a:pt x="1518" y="814"/>
                    <a:pt x="1510" y="814"/>
                  </a:cubicBezTo>
                  <a:cubicBezTo>
                    <a:pt x="1510" y="822"/>
                    <a:pt x="1510" y="822"/>
                    <a:pt x="1510" y="822"/>
                  </a:cubicBezTo>
                  <a:cubicBezTo>
                    <a:pt x="1502" y="822"/>
                    <a:pt x="1486" y="822"/>
                    <a:pt x="1463" y="806"/>
                  </a:cubicBezTo>
                  <a:lnTo>
                    <a:pt x="1455" y="806"/>
                  </a:lnTo>
                  <a:cubicBezTo>
                    <a:pt x="1447" y="798"/>
                    <a:pt x="1447" y="798"/>
                    <a:pt x="1447" y="782"/>
                  </a:cubicBezTo>
                  <a:cubicBezTo>
                    <a:pt x="1447" y="782"/>
                    <a:pt x="1455" y="774"/>
                    <a:pt x="1455" y="766"/>
                  </a:cubicBezTo>
                  <a:cubicBezTo>
                    <a:pt x="1463" y="743"/>
                    <a:pt x="1455" y="735"/>
                    <a:pt x="1439" y="719"/>
                  </a:cubicBezTo>
                  <a:cubicBezTo>
                    <a:pt x="1439" y="703"/>
                    <a:pt x="1423" y="695"/>
                    <a:pt x="1415" y="679"/>
                  </a:cubicBezTo>
                  <a:cubicBezTo>
                    <a:pt x="1408" y="656"/>
                    <a:pt x="1400" y="656"/>
                    <a:pt x="1392" y="656"/>
                  </a:cubicBezTo>
                  <a:cubicBezTo>
                    <a:pt x="1384" y="656"/>
                    <a:pt x="1376" y="664"/>
                    <a:pt x="1376" y="671"/>
                  </a:cubicBezTo>
                  <a:cubicBezTo>
                    <a:pt x="1368" y="679"/>
                    <a:pt x="1352" y="703"/>
                    <a:pt x="1320" y="703"/>
                  </a:cubicBezTo>
                  <a:cubicBezTo>
                    <a:pt x="1313" y="703"/>
                    <a:pt x="1305" y="703"/>
                    <a:pt x="1297" y="695"/>
                  </a:cubicBezTo>
                  <a:cubicBezTo>
                    <a:pt x="1297" y="687"/>
                    <a:pt x="1297" y="679"/>
                    <a:pt x="1297" y="664"/>
                  </a:cubicBezTo>
                  <a:lnTo>
                    <a:pt x="1297" y="656"/>
                  </a:lnTo>
                  <a:cubicBezTo>
                    <a:pt x="1297" y="640"/>
                    <a:pt x="1297" y="632"/>
                    <a:pt x="1297" y="624"/>
                  </a:cubicBezTo>
                  <a:cubicBezTo>
                    <a:pt x="1305" y="624"/>
                    <a:pt x="1305" y="616"/>
                    <a:pt x="1297" y="608"/>
                  </a:cubicBezTo>
                  <a:cubicBezTo>
                    <a:pt x="1297" y="593"/>
                    <a:pt x="1297" y="593"/>
                    <a:pt x="1281" y="593"/>
                  </a:cubicBezTo>
                  <a:cubicBezTo>
                    <a:pt x="1273" y="593"/>
                    <a:pt x="1273" y="593"/>
                    <a:pt x="1265" y="593"/>
                  </a:cubicBezTo>
                  <a:cubicBezTo>
                    <a:pt x="1257" y="593"/>
                    <a:pt x="1249" y="584"/>
                    <a:pt x="1249" y="584"/>
                  </a:cubicBezTo>
                  <a:cubicBezTo>
                    <a:pt x="1242" y="577"/>
                    <a:pt x="1249" y="569"/>
                    <a:pt x="1249" y="561"/>
                  </a:cubicBezTo>
                  <a:cubicBezTo>
                    <a:pt x="1249" y="561"/>
                    <a:pt x="1249" y="553"/>
                    <a:pt x="1257" y="545"/>
                  </a:cubicBezTo>
                  <a:cubicBezTo>
                    <a:pt x="1257" y="529"/>
                    <a:pt x="1273" y="529"/>
                    <a:pt x="1281" y="529"/>
                  </a:cubicBezTo>
                  <a:cubicBezTo>
                    <a:pt x="1289" y="529"/>
                    <a:pt x="1289" y="521"/>
                    <a:pt x="1297" y="521"/>
                  </a:cubicBezTo>
                  <a:cubicBezTo>
                    <a:pt x="1305" y="521"/>
                    <a:pt x="1305" y="513"/>
                    <a:pt x="1305" y="513"/>
                  </a:cubicBezTo>
                  <a:lnTo>
                    <a:pt x="1297" y="506"/>
                  </a:lnTo>
                  <a:cubicBezTo>
                    <a:pt x="1289" y="506"/>
                    <a:pt x="1289" y="498"/>
                    <a:pt x="1281" y="490"/>
                  </a:cubicBezTo>
                  <a:lnTo>
                    <a:pt x="1273" y="490"/>
                  </a:lnTo>
                  <a:lnTo>
                    <a:pt x="1265" y="490"/>
                  </a:lnTo>
                  <a:cubicBezTo>
                    <a:pt x="1257" y="490"/>
                    <a:pt x="1249" y="498"/>
                    <a:pt x="1242" y="498"/>
                  </a:cubicBezTo>
                  <a:cubicBezTo>
                    <a:pt x="1242" y="498"/>
                    <a:pt x="1242" y="498"/>
                    <a:pt x="1233" y="498"/>
                  </a:cubicBezTo>
                  <a:cubicBezTo>
                    <a:pt x="1226" y="490"/>
                    <a:pt x="1218" y="490"/>
                    <a:pt x="1218" y="482"/>
                  </a:cubicBezTo>
                  <a:cubicBezTo>
                    <a:pt x="1218" y="482"/>
                    <a:pt x="1218" y="474"/>
                    <a:pt x="1218" y="466"/>
                  </a:cubicBezTo>
                  <a:cubicBezTo>
                    <a:pt x="1218" y="466"/>
                    <a:pt x="1218" y="458"/>
                    <a:pt x="1226" y="458"/>
                  </a:cubicBezTo>
                  <a:cubicBezTo>
                    <a:pt x="1226" y="442"/>
                    <a:pt x="1233" y="442"/>
                    <a:pt x="1242" y="442"/>
                  </a:cubicBezTo>
                  <a:cubicBezTo>
                    <a:pt x="1242" y="442"/>
                    <a:pt x="1249" y="434"/>
                    <a:pt x="1257" y="434"/>
                  </a:cubicBezTo>
                  <a:cubicBezTo>
                    <a:pt x="1257" y="426"/>
                    <a:pt x="1257" y="426"/>
                    <a:pt x="1257" y="426"/>
                  </a:cubicBezTo>
                  <a:cubicBezTo>
                    <a:pt x="1257" y="419"/>
                    <a:pt x="1257" y="419"/>
                    <a:pt x="1249" y="411"/>
                  </a:cubicBezTo>
                  <a:lnTo>
                    <a:pt x="1242" y="403"/>
                  </a:lnTo>
                  <a:cubicBezTo>
                    <a:pt x="1242" y="403"/>
                    <a:pt x="1233" y="403"/>
                    <a:pt x="1233" y="411"/>
                  </a:cubicBezTo>
                  <a:cubicBezTo>
                    <a:pt x="1218" y="419"/>
                    <a:pt x="1210" y="426"/>
                    <a:pt x="1186" y="426"/>
                  </a:cubicBezTo>
                  <a:cubicBezTo>
                    <a:pt x="1186" y="426"/>
                    <a:pt x="1178" y="426"/>
                    <a:pt x="1170" y="419"/>
                  </a:cubicBezTo>
                  <a:cubicBezTo>
                    <a:pt x="1170" y="411"/>
                    <a:pt x="1178" y="403"/>
                    <a:pt x="1186" y="395"/>
                  </a:cubicBezTo>
                  <a:cubicBezTo>
                    <a:pt x="1194" y="387"/>
                    <a:pt x="1202" y="379"/>
                    <a:pt x="1202" y="371"/>
                  </a:cubicBezTo>
                  <a:cubicBezTo>
                    <a:pt x="1210" y="363"/>
                    <a:pt x="1218" y="355"/>
                    <a:pt x="1226" y="355"/>
                  </a:cubicBezTo>
                  <a:cubicBezTo>
                    <a:pt x="1233" y="347"/>
                    <a:pt x="1242" y="347"/>
                    <a:pt x="1242" y="340"/>
                  </a:cubicBezTo>
                  <a:cubicBezTo>
                    <a:pt x="1242" y="331"/>
                    <a:pt x="1242" y="324"/>
                    <a:pt x="1242" y="324"/>
                  </a:cubicBezTo>
                  <a:cubicBezTo>
                    <a:pt x="1242" y="324"/>
                    <a:pt x="1233" y="324"/>
                    <a:pt x="1226" y="324"/>
                  </a:cubicBezTo>
                  <a:cubicBezTo>
                    <a:pt x="1218" y="324"/>
                    <a:pt x="1218" y="324"/>
                    <a:pt x="1218" y="324"/>
                  </a:cubicBezTo>
                  <a:cubicBezTo>
                    <a:pt x="1202" y="324"/>
                    <a:pt x="1202" y="300"/>
                    <a:pt x="1194" y="276"/>
                  </a:cubicBezTo>
                  <a:cubicBezTo>
                    <a:pt x="1194" y="260"/>
                    <a:pt x="1194" y="245"/>
                    <a:pt x="1186" y="229"/>
                  </a:cubicBezTo>
                  <a:lnTo>
                    <a:pt x="1186" y="221"/>
                  </a:lnTo>
                  <a:cubicBezTo>
                    <a:pt x="1194" y="205"/>
                    <a:pt x="1233" y="189"/>
                    <a:pt x="1265" y="181"/>
                  </a:cubicBezTo>
                  <a:cubicBezTo>
                    <a:pt x="1273" y="181"/>
                    <a:pt x="1281" y="181"/>
                    <a:pt x="1281" y="181"/>
                  </a:cubicBezTo>
                  <a:cubicBezTo>
                    <a:pt x="1289" y="181"/>
                    <a:pt x="1289" y="181"/>
                    <a:pt x="1289" y="181"/>
                  </a:cubicBezTo>
                  <a:cubicBezTo>
                    <a:pt x="1289" y="173"/>
                    <a:pt x="1281" y="173"/>
                    <a:pt x="1273" y="173"/>
                  </a:cubicBezTo>
                  <a:cubicBezTo>
                    <a:pt x="1273" y="173"/>
                    <a:pt x="1273" y="173"/>
                    <a:pt x="1265" y="173"/>
                  </a:cubicBezTo>
                  <a:cubicBezTo>
                    <a:pt x="1265" y="166"/>
                    <a:pt x="1265" y="150"/>
                    <a:pt x="1265" y="142"/>
                  </a:cubicBezTo>
                  <a:cubicBezTo>
                    <a:pt x="1265" y="134"/>
                    <a:pt x="1265" y="126"/>
                    <a:pt x="1265" y="126"/>
                  </a:cubicBezTo>
                  <a:cubicBezTo>
                    <a:pt x="1265" y="118"/>
                    <a:pt x="1265" y="118"/>
                    <a:pt x="1265" y="118"/>
                  </a:cubicBezTo>
                  <a:cubicBezTo>
                    <a:pt x="1265" y="118"/>
                    <a:pt x="1265" y="118"/>
                    <a:pt x="1257" y="118"/>
                  </a:cubicBezTo>
                  <a:cubicBezTo>
                    <a:pt x="1257" y="126"/>
                    <a:pt x="1257" y="126"/>
                    <a:pt x="1257" y="134"/>
                  </a:cubicBezTo>
                  <a:cubicBezTo>
                    <a:pt x="1257" y="150"/>
                    <a:pt x="1242" y="158"/>
                    <a:pt x="1218" y="173"/>
                  </a:cubicBezTo>
                  <a:cubicBezTo>
                    <a:pt x="1202" y="181"/>
                    <a:pt x="1194" y="189"/>
                    <a:pt x="1186" y="189"/>
                  </a:cubicBezTo>
                  <a:lnTo>
                    <a:pt x="1186" y="189"/>
                  </a:lnTo>
                  <a:cubicBezTo>
                    <a:pt x="1178" y="197"/>
                    <a:pt x="1155" y="221"/>
                    <a:pt x="1139" y="245"/>
                  </a:cubicBezTo>
                  <a:cubicBezTo>
                    <a:pt x="1139" y="253"/>
                    <a:pt x="1131" y="260"/>
                    <a:pt x="1123" y="260"/>
                  </a:cubicBezTo>
                  <a:cubicBezTo>
                    <a:pt x="1123" y="260"/>
                    <a:pt x="1115" y="260"/>
                    <a:pt x="1107" y="253"/>
                  </a:cubicBezTo>
                  <a:lnTo>
                    <a:pt x="1107" y="253"/>
                  </a:lnTo>
                  <a:cubicBezTo>
                    <a:pt x="1107" y="260"/>
                    <a:pt x="1123" y="292"/>
                    <a:pt x="1139" y="300"/>
                  </a:cubicBezTo>
                  <a:cubicBezTo>
                    <a:pt x="1155" y="308"/>
                    <a:pt x="1155" y="324"/>
                    <a:pt x="1155" y="347"/>
                  </a:cubicBezTo>
                  <a:cubicBezTo>
                    <a:pt x="1155" y="355"/>
                    <a:pt x="1155" y="363"/>
                    <a:pt x="1155" y="371"/>
                  </a:cubicBezTo>
                  <a:cubicBezTo>
                    <a:pt x="1162" y="395"/>
                    <a:pt x="1162" y="419"/>
                    <a:pt x="1162" y="442"/>
                  </a:cubicBezTo>
                  <a:cubicBezTo>
                    <a:pt x="1162" y="458"/>
                    <a:pt x="1162" y="474"/>
                    <a:pt x="1162" y="490"/>
                  </a:cubicBezTo>
                  <a:cubicBezTo>
                    <a:pt x="1162" y="521"/>
                    <a:pt x="1178" y="545"/>
                    <a:pt x="1186" y="561"/>
                  </a:cubicBezTo>
                  <a:cubicBezTo>
                    <a:pt x="1194" y="577"/>
                    <a:pt x="1194" y="584"/>
                    <a:pt x="1202" y="593"/>
                  </a:cubicBezTo>
                  <a:cubicBezTo>
                    <a:pt x="1202" y="608"/>
                    <a:pt x="1210" y="616"/>
                    <a:pt x="1218" y="624"/>
                  </a:cubicBezTo>
                  <a:cubicBezTo>
                    <a:pt x="1226" y="624"/>
                    <a:pt x="1233" y="632"/>
                    <a:pt x="1242" y="648"/>
                  </a:cubicBezTo>
                  <a:cubicBezTo>
                    <a:pt x="1249" y="671"/>
                    <a:pt x="1249" y="679"/>
                    <a:pt x="1249" y="695"/>
                  </a:cubicBezTo>
                  <a:cubicBezTo>
                    <a:pt x="1249" y="703"/>
                    <a:pt x="1249" y="719"/>
                    <a:pt x="1249" y="727"/>
                  </a:cubicBezTo>
                  <a:cubicBezTo>
                    <a:pt x="1257" y="751"/>
                    <a:pt x="1257" y="766"/>
                    <a:pt x="1257" y="774"/>
                  </a:cubicBezTo>
                  <a:cubicBezTo>
                    <a:pt x="1249" y="782"/>
                    <a:pt x="1249" y="782"/>
                    <a:pt x="1249" y="790"/>
                  </a:cubicBezTo>
                  <a:lnTo>
                    <a:pt x="1249" y="790"/>
                  </a:lnTo>
                  <a:lnTo>
                    <a:pt x="1249" y="790"/>
                  </a:lnTo>
                  <a:cubicBezTo>
                    <a:pt x="1242" y="790"/>
                    <a:pt x="1226" y="790"/>
                    <a:pt x="1218" y="790"/>
                  </a:cubicBezTo>
                  <a:cubicBezTo>
                    <a:pt x="1202" y="790"/>
                    <a:pt x="1186" y="798"/>
                    <a:pt x="1178" y="798"/>
                  </a:cubicBezTo>
                  <a:cubicBezTo>
                    <a:pt x="1170" y="798"/>
                    <a:pt x="1162" y="798"/>
                    <a:pt x="1162" y="798"/>
                  </a:cubicBezTo>
                  <a:cubicBezTo>
                    <a:pt x="1123" y="790"/>
                    <a:pt x="1083" y="774"/>
                    <a:pt x="1052" y="759"/>
                  </a:cubicBezTo>
                  <a:cubicBezTo>
                    <a:pt x="1044" y="759"/>
                    <a:pt x="1044" y="751"/>
                    <a:pt x="1044" y="751"/>
                  </a:cubicBezTo>
                  <a:cubicBezTo>
                    <a:pt x="1036" y="743"/>
                    <a:pt x="1044" y="743"/>
                    <a:pt x="1044" y="735"/>
                  </a:cubicBezTo>
                  <a:cubicBezTo>
                    <a:pt x="1044" y="735"/>
                    <a:pt x="1052" y="727"/>
                    <a:pt x="1044" y="727"/>
                  </a:cubicBezTo>
                  <a:cubicBezTo>
                    <a:pt x="1044" y="719"/>
                    <a:pt x="1028" y="719"/>
                    <a:pt x="1020" y="719"/>
                  </a:cubicBezTo>
                  <a:cubicBezTo>
                    <a:pt x="1012" y="719"/>
                    <a:pt x="996" y="719"/>
                    <a:pt x="989" y="727"/>
                  </a:cubicBezTo>
                  <a:cubicBezTo>
                    <a:pt x="980" y="735"/>
                    <a:pt x="957" y="743"/>
                    <a:pt x="941" y="743"/>
                  </a:cubicBezTo>
                  <a:cubicBezTo>
                    <a:pt x="925" y="743"/>
                    <a:pt x="917" y="735"/>
                    <a:pt x="909" y="727"/>
                  </a:cubicBezTo>
                  <a:cubicBezTo>
                    <a:pt x="894" y="703"/>
                    <a:pt x="925" y="632"/>
                    <a:pt x="941" y="608"/>
                  </a:cubicBezTo>
                  <a:cubicBezTo>
                    <a:pt x="965" y="577"/>
                    <a:pt x="957" y="553"/>
                    <a:pt x="957" y="521"/>
                  </a:cubicBezTo>
                  <a:cubicBezTo>
                    <a:pt x="957" y="521"/>
                    <a:pt x="957" y="513"/>
                    <a:pt x="957" y="506"/>
                  </a:cubicBezTo>
                  <a:cubicBezTo>
                    <a:pt x="949" y="482"/>
                    <a:pt x="909" y="458"/>
                    <a:pt x="878" y="442"/>
                  </a:cubicBezTo>
                  <a:cubicBezTo>
                    <a:pt x="870" y="442"/>
                    <a:pt x="862" y="434"/>
                    <a:pt x="854" y="426"/>
                  </a:cubicBezTo>
                  <a:cubicBezTo>
                    <a:pt x="846" y="419"/>
                    <a:pt x="830" y="419"/>
                    <a:pt x="822" y="419"/>
                  </a:cubicBezTo>
                  <a:cubicBezTo>
                    <a:pt x="815" y="419"/>
                    <a:pt x="807" y="419"/>
                    <a:pt x="807" y="419"/>
                  </a:cubicBezTo>
                  <a:cubicBezTo>
                    <a:pt x="799" y="419"/>
                    <a:pt x="791" y="419"/>
                    <a:pt x="791" y="419"/>
                  </a:cubicBezTo>
                  <a:cubicBezTo>
                    <a:pt x="783" y="419"/>
                    <a:pt x="775" y="419"/>
                    <a:pt x="767" y="419"/>
                  </a:cubicBezTo>
                  <a:cubicBezTo>
                    <a:pt x="759" y="411"/>
                    <a:pt x="759" y="387"/>
                    <a:pt x="751" y="355"/>
                  </a:cubicBezTo>
                  <a:cubicBezTo>
                    <a:pt x="751" y="347"/>
                    <a:pt x="751" y="340"/>
                    <a:pt x="751" y="331"/>
                  </a:cubicBezTo>
                  <a:cubicBezTo>
                    <a:pt x="751" y="331"/>
                    <a:pt x="743" y="324"/>
                    <a:pt x="712" y="324"/>
                  </a:cubicBezTo>
                  <a:cubicBezTo>
                    <a:pt x="696" y="324"/>
                    <a:pt x="672" y="331"/>
                    <a:pt x="672" y="331"/>
                  </a:cubicBezTo>
                  <a:cubicBezTo>
                    <a:pt x="664" y="331"/>
                    <a:pt x="664" y="331"/>
                    <a:pt x="664" y="331"/>
                  </a:cubicBezTo>
                  <a:cubicBezTo>
                    <a:pt x="664" y="324"/>
                    <a:pt x="664" y="324"/>
                    <a:pt x="664" y="324"/>
                  </a:cubicBezTo>
                  <a:cubicBezTo>
                    <a:pt x="664" y="324"/>
                    <a:pt x="633" y="268"/>
                    <a:pt x="625" y="253"/>
                  </a:cubicBezTo>
                  <a:cubicBezTo>
                    <a:pt x="617" y="229"/>
                    <a:pt x="601" y="213"/>
                    <a:pt x="569" y="213"/>
                  </a:cubicBezTo>
                  <a:cubicBezTo>
                    <a:pt x="546" y="213"/>
                    <a:pt x="522" y="213"/>
                    <a:pt x="498" y="205"/>
                  </a:cubicBezTo>
                  <a:cubicBezTo>
                    <a:pt x="498" y="205"/>
                    <a:pt x="498" y="197"/>
                    <a:pt x="490" y="197"/>
                  </a:cubicBezTo>
                  <a:cubicBezTo>
                    <a:pt x="475" y="197"/>
                    <a:pt x="459" y="213"/>
                    <a:pt x="451" y="221"/>
                  </a:cubicBezTo>
                  <a:cubicBezTo>
                    <a:pt x="443" y="229"/>
                    <a:pt x="427" y="237"/>
                    <a:pt x="411" y="237"/>
                  </a:cubicBezTo>
                  <a:cubicBezTo>
                    <a:pt x="403" y="245"/>
                    <a:pt x="403" y="245"/>
                    <a:pt x="396" y="245"/>
                  </a:cubicBezTo>
                  <a:cubicBezTo>
                    <a:pt x="388" y="253"/>
                    <a:pt x="380" y="260"/>
                    <a:pt x="372" y="268"/>
                  </a:cubicBezTo>
                  <a:cubicBezTo>
                    <a:pt x="364" y="284"/>
                    <a:pt x="356" y="300"/>
                    <a:pt x="325" y="292"/>
                  </a:cubicBezTo>
                  <a:cubicBezTo>
                    <a:pt x="293" y="292"/>
                    <a:pt x="285" y="276"/>
                    <a:pt x="277" y="268"/>
                  </a:cubicBezTo>
                  <a:cubicBezTo>
                    <a:pt x="277" y="260"/>
                    <a:pt x="277" y="260"/>
                    <a:pt x="277" y="260"/>
                  </a:cubicBezTo>
                  <a:cubicBezTo>
                    <a:pt x="269" y="260"/>
                    <a:pt x="253" y="300"/>
                    <a:pt x="245" y="324"/>
                  </a:cubicBezTo>
                  <a:cubicBezTo>
                    <a:pt x="238" y="331"/>
                    <a:pt x="238" y="340"/>
                    <a:pt x="238" y="340"/>
                  </a:cubicBezTo>
                  <a:lnTo>
                    <a:pt x="238" y="340"/>
                  </a:lnTo>
                  <a:cubicBezTo>
                    <a:pt x="230" y="355"/>
                    <a:pt x="230" y="363"/>
                    <a:pt x="222" y="363"/>
                  </a:cubicBezTo>
                  <a:cubicBezTo>
                    <a:pt x="214" y="363"/>
                    <a:pt x="214" y="355"/>
                    <a:pt x="214" y="355"/>
                  </a:cubicBezTo>
                  <a:cubicBezTo>
                    <a:pt x="214" y="347"/>
                    <a:pt x="214" y="347"/>
                    <a:pt x="206" y="347"/>
                  </a:cubicBezTo>
                  <a:cubicBezTo>
                    <a:pt x="190" y="347"/>
                    <a:pt x="174" y="355"/>
                    <a:pt x="174" y="355"/>
                  </a:cubicBezTo>
                  <a:cubicBezTo>
                    <a:pt x="48" y="498"/>
                    <a:pt x="48" y="498"/>
                    <a:pt x="48" y="498"/>
                  </a:cubicBezTo>
                  <a:cubicBezTo>
                    <a:pt x="0" y="253"/>
                    <a:pt x="0" y="253"/>
                    <a:pt x="0" y="253"/>
                  </a:cubicBezTo>
                  <a:cubicBezTo>
                    <a:pt x="1320" y="0"/>
                    <a:pt x="1320" y="0"/>
                    <a:pt x="1320" y="0"/>
                  </a:cubicBezTo>
                  <a:cubicBezTo>
                    <a:pt x="1320" y="7"/>
                    <a:pt x="1320" y="7"/>
                    <a:pt x="1320" y="7"/>
                  </a:cubicBezTo>
                  <a:cubicBezTo>
                    <a:pt x="1320" y="15"/>
                    <a:pt x="1320" y="47"/>
                    <a:pt x="1344" y="94"/>
                  </a:cubicBezTo>
                  <a:cubicBezTo>
                    <a:pt x="1376" y="158"/>
                    <a:pt x="1415" y="284"/>
                    <a:pt x="1415" y="324"/>
                  </a:cubicBezTo>
                  <a:cubicBezTo>
                    <a:pt x="1415" y="371"/>
                    <a:pt x="1455" y="537"/>
                    <a:pt x="1455" y="553"/>
                  </a:cubicBezTo>
                  <a:cubicBezTo>
                    <a:pt x="1463" y="561"/>
                    <a:pt x="1486" y="561"/>
                    <a:pt x="1518" y="561"/>
                  </a:cubicBezTo>
                  <a:cubicBezTo>
                    <a:pt x="1542" y="569"/>
                    <a:pt x="1558" y="569"/>
                    <a:pt x="1581" y="569"/>
                  </a:cubicBezTo>
                  <a:cubicBezTo>
                    <a:pt x="1597" y="577"/>
                    <a:pt x="1613" y="577"/>
                    <a:pt x="1629" y="577"/>
                  </a:cubicBezTo>
                  <a:cubicBezTo>
                    <a:pt x="1660" y="584"/>
                    <a:pt x="1700" y="584"/>
                    <a:pt x="1732" y="600"/>
                  </a:cubicBezTo>
                  <a:lnTo>
                    <a:pt x="1732" y="600"/>
                  </a:lnTo>
                  <a:lnTo>
                    <a:pt x="1732" y="600"/>
                  </a:lnTo>
                  <a:cubicBezTo>
                    <a:pt x="1732" y="616"/>
                    <a:pt x="1724" y="632"/>
                    <a:pt x="1700" y="656"/>
                  </a:cubicBezTo>
                  <a:cubicBezTo>
                    <a:pt x="1692" y="671"/>
                    <a:pt x="1684" y="679"/>
                    <a:pt x="1684" y="687"/>
                  </a:cubicBezTo>
                  <a:cubicBezTo>
                    <a:pt x="1676" y="695"/>
                    <a:pt x="1676" y="695"/>
                    <a:pt x="1660" y="703"/>
                  </a:cubicBezTo>
                  <a:cubicBezTo>
                    <a:pt x="1645" y="719"/>
                    <a:pt x="1653" y="727"/>
                    <a:pt x="1660" y="743"/>
                  </a:cubicBezTo>
                  <a:cubicBezTo>
                    <a:pt x="1660" y="751"/>
                    <a:pt x="1668" y="751"/>
                    <a:pt x="1668" y="759"/>
                  </a:cubicBezTo>
                  <a:cubicBezTo>
                    <a:pt x="1676" y="766"/>
                    <a:pt x="1676" y="766"/>
                    <a:pt x="1684" y="766"/>
                  </a:cubicBezTo>
                  <a:cubicBezTo>
                    <a:pt x="1684" y="766"/>
                    <a:pt x="1684" y="766"/>
                    <a:pt x="1692" y="766"/>
                  </a:cubicBezTo>
                  <a:lnTo>
                    <a:pt x="1692" y="766"/>
                  </a:lnTo>
                  <a:cubicBezTo>
                    <a:pt x="1692" y="766"/>
                    <a:pt x="1700" y="766"/>
                    <a:pt x="1708" y="774"/>
                  </a:cubicBezTo>
                  <a:cubicBezTo>
                    <a:pt x="1708" y="790"/>
                    <a:pt x="1692" y="798"/>
                    <a:pt x="1653" y="814"/>
                  </a:cubicBezTo>
                  <a:cubicBezTo>
                    <a:pt x="1637" y="822"/>
                    <a:pt x="1629" y="830"/>
                    <a:pt x="1629" y="846"/>
                  </a:cubicBezTo>
                  <a:cubicBezTo>
                    <a:pt x="1629" y="853"/>
                    <a:pt x="1629" y="869"/>
                    <a:pt x="1621" y="877"/>
                  </a:cubicBezTo>
                  <a:cubicBezTo>
                    <a:pt x="1605" y="909"/>
                    <a:pt x="1605" y="948"/>
                    <a:pt x="1613" y="988"/>
                  </a:cubicBezTo>
                  <a:cubicBezTo>
                    <a:pt x="1613" y="996"/>
                    <a:pt x="1613" y="1004"/>
                    <a:pt x="1613" y="1011"/>
                  </a:cubicBezTo>
                  <a:cubicBezTo>
                    <a:pt x="1605" y="1011"/>
                    <a:pt x="1605" y="1011"/>
                    <a:pt x="1597" y="1011"/>
                  </a:cubicBezTo>
                  <a:cubicBezTo>
                    <a:pt x="1597" y="1011"/>
                    <a:pt x="1589" y="1011"/>
                    <a:pt x="1581" y="1011"/>
                  </a:cubicBezTo>
                  <a:lnTo>
                    <a:pt x="1573" y="1011"/>
                  </a:lnTo>
                  <a:lnTo>
                    <a:pt x="1573" y="1011"/>
                  </a:lnTo>
                  <a:cubicBezTo>
                    <a:pt x="1573" y="1035"/>
                    <a:pt x="1566" y="1035"/>
                    <a:pt x="1558" y="1051"/>
                  </a:cubicBezTo>
                  <a:cubicBezTo>
                    <a:pt x="1558" y="1051"/>
                    <a:pt x="1550" y="1051"/>
                    <a:pt x="1550" y="1059"/>
                  </a:cubicBezTo>
                  <a:cubicBezTo>
                    <a:pt x="1542" y="1067"/>
                    <a:pt x="1542" y="1090"/>
                    <a:pt x="1542" y="1114"/>
                  </a:cubicBezTo>
                  <a:cubicBezTo>
                    <a:pt x="1542" y="1130"/>
                    <a:pt x="1542" y="1146"/>
                    <a:pt x="1542" y="1162"/>
                  </a:cubicBezTo>
                  <a:cubicBezTo>
                    <a:pt x="1542" y="1193"/>
                    <a:pt x="1542" y="1209"/>
                    <a:pt x="1526" y="1209"/>
                  </a:cubicBezTo>
                  <a:close/>
                  <a:moveTo>
                    <a:pt x="1510" y="814"/>
                  </a:moveTo>
                  <a:lnTo>
                    <a:pt x="1510" y="814"/>
                  </a:lnTo>
                  <a:cubicBezTo>
                    <a:pt x="1526" y="814"/>
                    <a:pt x="1534" y="822"/>
                    <a:pt x="1534" y="853"/>
                  </a:cubicBezTo>
                  <a:cubicBezTo>
                    <a:pt x="1534" y="869"/>
                    <a:pt x="1526" y="893"/>
                    <a:pt x="1518" y="917"/>
                  </a:cubicBezTo>
                  <a:cubicBezTo>
                    <a:pt x="1510" y="940"/>
                    <a:pt x="1502" y="964"/>
                    <a:pt x="1502" y="980"/>
                  </a:cubicBezTo>
                  <a:cubicBezTo>
                    <a:pt x="1502" y="996"/>
                    <a:pt x="1495" y="1004"/>
                    <a:pt x="1495" y="1011"/>
                  </a:cubicBezTo>
                  <a:cubicBezTo>
                    <a:pt x="1495" y="1035"/>
                    <a:pt x="1486" y="1059"/>
                    <a:pt x="1495" y="1090"/>
                  </a:cubicBezTo>
                  <a:cubicBezTo>
                    <a:pt x="1495" y="1106"/>
                    <a:pt x="1495" y="1122"/>
                    <a:pt x="1495" y="1130"/>
                  </a:cubicBezTo>
                  <a:cubicBezTo>
                    <a:pt x="1495" y="1154"/>
                    <a:pt x="1486" y="1170"/>
                    <a:pt x="1502" y="1177"/>
                  </a:cubicBezTo>
                  <a:cubicBezTo>
                    <a:pt x="1510" y="1185"/>
                    <a:pt x="1526" y="1201"/>
                    <a:pt x="1526" y="1201"/>
                  </a:cubicBezTo>
                  <a:cubicBezTo>
                    <a:pt x="1534" y="1201"/>
                    <a:pt x="1534" y="1193"/>
                    <a:pt x="1534" y="1162"/>
                  </a:cubicBezTo>
                  <a:cubicBezTo>
                    <a:pt x="1534" y="1146"/>
                    <a:pt x="1534" y="1130"/>
                    <a:pt x="1534" y="1114"/>
                  </a:cubicBezTo>
                  <a:cubicBezTo>
                    <a:pt x="1534" y="1083"/>
                    <a:pt x="1534" y="1067"/>
                    <a:pt x="1542" y="1051"/>
                  </a:cubicBezTo>
                  <a:cubicBezTo>
                    <a:pt x="1550" y="1051"/>
                    <a:pt x="1550" y="1043"/>
                    <a:pt x="1550" y="1043"/>
                  </a:cubicBezTo>
                  <a:cubicBezTo>
                    <a:pt x="1558" y="1035"/>
                    <a:pt x="1566" y="1035"/>
                    <a:pt x="1566" y="1011"/>
                  </a:cubicBezTo>
                  <a:cubicBezTo>
                    <a:pt x="1566" y="1004"/>
                    <a:pt x="1566" y="1004"/>
                    <a:pt x="1573" y="1004"/>
                  </a:cubicBezTo>
                  <a:cubicBezTo>
                    <a:pt x="1581" y="1004"/>
                    <a:pt x="1581" y="1004"/>
                    <a:pt x="1589" y="1004"/>
                  </a:cubicBezTo>
                  <a:lnTo>
                    <a:pt x="1597" y="1004"/>
                  </a:lnTo>
                  <a:cubicBezTo>
                    <a:pt x="1605" y="1004"/>
                    <a:pt x="1605" y="1004"/>
                    <a:pt x="1605" y="1004"/>
                  </a:cubicBezTo>
                  <a:cubicBezTo>
                    <a:pt x="1605" y="1004"/>
                    <a:pt x="1605" y="1004"/>
                    <a:pt x="1605" y="988"/>
                  </a:cubicBezTo>
                  <a:cubicBezTo>
                    <a:pt x="1597" y="948"/>
                    <a:pt x="1597" y="901"/>
                    <a:pt x="1613" y="877"/>
                  </a:cubicBezTo>
                  <a:cubicBezTo>
                    <a:pt x="1621" y="861"/>
                    <a:pt x="1621" y="853"/>
                    <a:pt x="1621" y="846"/>
                  </a:cubicBezTo>
                  <a:cubicBezTo>
                    <a:pt x="1621" y="830"/>
                    <a:pt x="1629" y="814"/>
                    <a:pt x="1653" y="806"/>
                  </a:cubicBezTo>
                  <a:cubicBezTo>
                    <a:pt x="1692" y="790"/>
                    <a:pt x="1700" y="782"/>
                    <a:pt x="1700" y="774"/>
                  </a:cubicBezTo>
                  <a:lnTo>
                    <a:pt x="1692" y="774"/>
                  </a:lnTo>
                  <a:lnTo>
                    <a:pt x="1692" y="774"/>
                  </a:lnTo>
                  <a:cubicBezTo>
                    <a:pt x="1684" y="774"/>
                    <a:pt x="1668" y="774"/>
                    <a:pt x="1660" y="759"/>
                  </a:cubicBezTo>
                  <a:cubicBezTo>
                    <a:pt x="1660" y="759"/>
                    <a:pt x="1660" y="751"/>
                    <a:pt x="1653" y="751"/>
                  </a:cubicBezTo>
                  <a:cubicBezTo>
                    <a:pt x="1645" y="735"/>
                    <a:pt x="1637" y="719"/>
                    <a:pt x="1653" y="703"/>
                  </a:cubicBezTo>
                  <a:cubicBezTo>
                    <a:pt x="1668" y="695"/>
                    <a:pt x="1668" y="687"/>
                    <a:pt x="1676" y="679"/>
                  </a:cubicBezTo>
                  <a:cubicBezTo>
                    <a:pt x="1676" y="679"/>
                    <a:pt x="1684" y="671"/>
                    <a:pt x="1700" y="656"/>
                  </a:cubicBezTo>
                  <a:cubicBezTo>
                    <a:pt x="1716" y="632"/>
                    <a:pt x="1724" y="616"/>
                    <a:pt x="1724" y="600"/>
                  </a:cubicBezTo>
                  <a:cubicBezTo>
                    <a:pt x="1700" y="593"/>
                    <a:pt x="1660" y="593"/>
                    <a:pt x="1629" y="584"/>
                  </a:cubicBezTo>
                  <a:cubicBezTo>
                    <a:pt x="1613" y="584"/>
                    <a:pt x="1597" y="584"/>
                    <a:pt x="1581" y="577"/>
                  </a:cubicBezTo>
                  <a:cubicBezTo>
                    <a:pt x="1558" y="577"/>
                    <a:pt x="1534" y="577"/>
                    <a:pt x="1518" y="569"/>
                  </a:cubicBezTo>
                  <a:cubicBezTo>
                    <a:pt x="1479" y="569"/>
                    <a:pt x="1455" y="561"/>
                    <a:pt x="1455" y="553"/>
                  </a:cubicBezTo>
                  <a:cubicBezTo>
                    <a:pt x="1447" y="537"/>
                    <a:pt x="1415" y="371"/>
                    <a:pt x="1408" y="324"/>
                  </a:cubicBezTo>
                  <a:cubicBezTo>
                    <a:pt x="1408" y="284"/>
                    <a:pt x="1368" y="158"/>
                    <a:pt x="1336" y="102"/>
                  </a:cubicBezTo>
                  <a:cubicBezTo>
                    <a:pt x="1320" y="55"/>
                    <a:pt x="1313" y="23"/>
                    <a:pt x="1313" y="7"/>
                  </a:cubicBezTo>
                  <a:cubicBezTo>
                    <a:pt x="8" y="260"/>
                    <a:pt x="8" y="260"/>
                    <a:pt x="8" y="260"/>
                  </a:cubicBezTo>
                  <a:cubicBezTo>
                    <a:pt x="48" y="482"/>
                    <a:pt x="48" y="482"/>
                    <a:pt x="48" y="482"/>
                  </a:cubicBezTo>
                  <a:cubicBezTo>
                    <a:pt x="166" y="347"/>
                    <a:pt x="166" y="347"/>
                    <a:pt x="166" y="347"/>
                  </a:cubicBezTo>
                  <a:lnTo>
                    <a:pt x="166" y="347"/>
                  </a:lnTo>
                  <a:cubicBezTo>
                    <a:pt x="166" y="347"/>
                    <a:pt x="190" y="340"/>
                    <a:pt x="206" y="340"/>
                  </a:cubicBezTo>
                  <a:cubicBezTo>
                    <a:pt x="214" y="340"/>
                    <a:pt x="214" y="347"/>
                    <a:pt x="222" y="347"/>
                  </a:cubicBezTo>
                  <a:cubicBezTo>
                    <a:pt x="222" y="355"/>
                    <a:pt x="222" y="355"/>
                    <a:pt x="222" y="355"/>
                  </a:cubicBezTo>
                  <a:lnTo>
                    <a:pt x="230" y="340"/>
                  </a:lnTo>
                  <a:lnTo>
                    <a:pt x="230" y="340"/>
                  </a:lnTo>
                  <a:cubicBezTo>
                    <a:pt x="230" y="331"/>
                    <a:pt x="238" y="324"/>
                    <a:pt x="238" y="316"/>
                  </a:cubicBezTo>
                  <a:cubicBezTo>
                    <a:pt x="253" y="268"/>
                    <a:pt x="261" y="253"/>
                    <a:pt x="277" y="253"/>
                  </a:cubicBezTo>
                  <a:lnTo>
                    <a:pt x="277" y="253"/>
                  </a:lnTo>
                  <a:cubicBezTo>
                    <a:pt x="285" y="253"/>
                    <a:pt x="285" y="260"/>
                    <a:pt x="285" y="260"/>
                  </a:cubicBezTo>
                  <a:cubicBezTo>
                    <a:pt x="293" y="276"/>
                    <a:pt x="301" y="284"/>
                    <a:pt x="325" y="284"/>
                  </a:cubicBezTo>
                  <a:cubicBezTo>
                    <a:pt x="348" y="292"/>
                    <a:pt x="356" y="276"/>
                    <a:pt x="372" y="260"/>
                  </a:cubicBezTo>
                  <a:cubicBezTo>
                    <a:pt x="372" y="253"/>
                    <a:pt x="380" y="245"/>
                    <a:pt x="388" y="245"/>
                  </a:cubicBezTo>
                  <a:cubicBezTo>
                    <a:pt x="396" y="237"/>
                    <a:pt x="403" y="237"/>
                    <a:pt x="411" y="237"/>
                  </a:cubicBezTo>
                  <a:cubicBezTo>
                    <a:pt x="427" y="229"/>
                    <a:pt x="435" y="221"/>
                    <a:pt x="443" y="213"/>
                  </a:cubicBezTo>
                  <a:cubicBezTo>
                    <a:pt x="451" y="205"/>
                    <a:pt x="475" y="197"/>
                    <a:pt x="490" y="197"/>
                  </a:cubicBezTo>
                  <a:cubicBezTo>
                    <a:pt x="498" y="197"/>
                    <a:pt x="498" y="197"/>
                    <a:pt x="506" y="197"/>
                  </a:cubicBezTo>
                  <a:cubicBezTo>
                    <a:pt x="522" y="205"/>
                    <a:pt x="546" y="205"/>
                    <a:pt x="569" y="205"/>
                  </a:cubicBezTo>
                  <a:cubicBezTo>
                    <a:pt x="601" y="205"/>
                    <a:pt x="625" y="229"/>
                    <a:pt x="633" y="245"/>
                  </a:cubicBezTo>
                  <a:cubicBezTo>
                    <a:pt x="633" y="268"/>
                    <a:pt x="664" y="308"/>
                    <a:pt x="672" y="324"/>
                  </a:cubicBezTo>
                  <a:cubicBezTo>
                    <a:pt x="680" y="316"/>
                    <a:pt x="696" y="316"/>
                    <a:pt x="712" y="316"/>
                  </a:cubicBezTo>
                  <a:cubicBezTo>
                    <a:pt x="743" y="316"/>
                    <a:pt x="759" y="324"/>
                    <a:pt x="759" y="331"/>
                  </a:cubicBezTo>
                  <a:cubicBezTo>
                    <a:pt x="759" y="340"/>
                    <a:pt x="759" y="347"/>
                    <a:pt x="759" y="355"/>
                  </a:cubicBezTo>
                  <a:cubicBezTo>
                    <a:pt x="767" y="379"/>
                    <a:pt x="767" y="403"/>
                    <a:pt x="775" y="411"/>
                  </a:cubicBezTo>
                  <a:cubicBezTo>
                    <a:pt x="775" y="411"/>
                    <a:pt x="783" y="419"/>
                    <a:pt x="791" y="419"/>
                  </a:cubicBezTo>
                  <a:cubicBezTo>
                    <a:pt x="791" y="419"/>
                    <a:pt x="799" y="411"/>
                    <a:pt x="807" y="411"/>
                  </a:cubicBezTo>
                  <a:cubicBezTo>
                    <a:pt x="807" y="411"/>
                    <a:pt x="815" y="411"/>
                    <a:pt x="822" y="411"/>
                  </a:cubicBezTo>
                  <a:cubicBezTo>
                    <a:pt x="830" y="411"/>
                    <a:pt x="846" y="419"/>
                    <a:pt x="862" y="426"/>
                  </a:cubicBezTo>
                  <a:cubicBezTo>
                    <a:pt x="862" y="426"/>
                    <a:pt x="870" y="434"/>
                    <a:pt x="886" y="434"/>
                  </a:cubicBezTo>
                  <a:cubicBezTo>
                    <a:pt x="917" y="458"/>
                    <a:pt x="957" y="482"/>
                    <a:pt x="965" y="506"/>
                  </a:cubicBezTo>
                  <a:cubicBezTo>
                    <a:pt x="965" y="513"/>
                    <a:pt x="965" y="513"/>
                    <a:pt x="965" y="521"/>
                  </a:cubicBezTo>
                  <a:cubicBezTo>
                    <a:pt x="965" y="553"/>
                    <a:pt x="965" y="577"/>
                    <a:pt x="949" y="608"/>
                  </a:cubicBezTo>
                  <a:cubicBezTo>
                    <a:pt x="917" y="664"/>
                    <a:pt x="902" y="711"/>
                    <a:pt x="917" y="727"/>
                  </a:cubicBezTo>
                  <a:cubicBezTo>
                    <a:pt x="917" y="735"/>
                    <a:pt x="933" y="735"/>
                    <a:pt x="941" y="735"/>
                  </a:cubicBezTo>
                  <a:cubicBezTo>
                    <a:pt x="957" y="735"/>
                    <a:pt x="973" y="735"/>
                    <a:pt x="980" y="719"/>
                  </a:cubicBezTo>
                  <a:cubicBezTo>
                    <a:pt x="989" y="711"/>
                    <a:pt x="1004" y="711"/>
                    <a:pt x="1020" y="711"/>
                  </a:cubicBezTo>
                  <a:cubicBezTo>
                    <a:pt x="1028" y="711"/>
                    <a:pt x="1044" y="711"/>
                    <a:pt x="1052" y="727"/>
                  </a:cubicBezTo>
                  <a:cubicBezTo>
                    <a:pt x="1060" y="735"/>
                    <a:pt x="1052" y="735"/>
                    <a:pt x="1052" y="743"/>
                  </a:cubicBezTo>
                  <a:cubicBezTo>
                    <a:pt x="1052" y="743"/>
                    <a:pt x="1044" y="743"/>
                    <a:pt x="1044" y="751"/>
                  </a:cubicBezTo>
                  <a:cubicBezTo>
                    <a:pt x="1044" y="751"/>
                    <a:pt x="1052" y="751"/>
                    <a:pt x="1060" y="751"/>
                  </a:cubicBezTo>
                  <a:cubicBezTo>
                    <a:pt x="1083" y="766"/>
                    <a:pt x="1131" y="782"/>
                    <a:pt x="1162" y="790"/>
                  </a:cubicBezTo>
                  <a:cubicBezTo>
                    <a:pt x="1162" y="790"/>
                    <a:pt x="1170" y="790"/>
                    <a:pt x="1178" y="790"/>
                  </a:cubicBezTo>
                  <a:cubicBezTo>
                    <a:pt x="1186" y="790"/>
                    <a:pt x="1202" y="790"/>
                    <a:pt x="1210" y="782"/>
                  </a:cubicBezTo>
                  <a:cubicBezTo>
                    <a:pt x="1226" y="782"/>
                    <a:pt x="1242" y="782"/>
                    <a:pt x="1242" y="782"/>
                  </a:cubicBezTo>
                  <a:cubicBezTo>
                    <a:pt x="1249" y="782"/>
                    <a:pt x="1249" y="774"/>
                    <a:pt x="1249" y="774"/>
                  </a:cubicBezTo>
                  <a:cubicBezTo>
                    <a:pt x="1249" y="759"/>
                    <a:pt x="1249" y="751"/>
                    <a:pt x="1249" y="735"/>
                  </a:cubicBezTo>
                  <a:cubicBezTo>
                    <a:pt x="1242" y="719"/>
                    <a:pt x="1242" y="703"/>
                    <a:pt x="1242" y="695"/>
                  </a:cubicBezTo>
                  <a:cubicBezTo>
                    <a:pt x="1242" y="679"/>
                    <a:pt x="1242" y="671"/>
                    <a:pt x="1233" y="656"/>
                  </a:cubicBezTo>
                  <a:cubicBezTo>
                    <a:pt x="1226" y="640"/>
                    <a:pt x="1218" y="632"/>
                    <a:pt x="1210" y="624"/>
                  </a:cubicBezTo>
                  <a:cubicBezTo>
                    <a:pt x="1202" y="616"/>
                    <a:pt x="1194" y="616"/>
                    <a:pt x="1194" y="600"/>
                  </a:cubicBezTo>
                  <a:cubicBezTo>
                    <a:pt x="1186" y="584"/>
                    <a:pt x="1186" y="577"/>
                    <a:pt x="1178" y="569"/>
                  </a:cubicBezTo>
                  <a:cubicBezTo>
                    <a:pt x="1170" y="545"/>
                    <a:pt x="1155" y="521"/>
                    <a:pt x="1155" y="498"/>
                  </a:cubicBezTo>
                  <a:cubicBezTo>
                    <a:pt x="1155" y="474"/>
                    <a:pt x="1155" y="458"/>
                    <a:pt x="1155" y="442"/>
                  </a:cubicBezTo>
                  <a:cubicBezTo>
                    <a:pt x="1155" y="419"/>
                    <a:pt x="1155" y="395"/>
                    <a:pt x="1147" y="371"/>
                  </a:cubicBezTo>
                  <a:cubicBezTo>
                    <a:pt x="1147" y="363"/>
                    <a:pt x="1147" y="355"/>
                    <a:pt x="1147" y="347"/>
                  </a:cubicBezTo>
                  <a:cubicBezTo>
                    <a:pt x="1147" y="324"/>
                    <a:pt x="1147" y="316"/>
                    <a:pt x="1139" y="308"/>
                  </a:cubicBezTo>
                  <a:cubicBezTo>
                    <a:pt x="1115" y="300"/>
                    <a:pt x="1091" y="260"/>
                    <a:pt x="1099" y="245"/>
                  </a:cubicBezTo>
                  <a:lnTo>
                    <a:pt x="1099" y="245"/>
                  </a:lnTo>
                  <a:lnTo>
                    <a:pt x="1107" y="245"/>
                  </a:lnTo>
                  <a:lnTo>
                    <a:pt x="1115" y="245"/>
                  </a:lnTo>
                  <a:cubicBezTo>
                    <a:pt x="1115" y="253"/>
                    <a:pt x="1123" y="253"/>
                    <a:pt x="1123" y="253"/>
                  </a:cubicBezTo>
                  <a:cubicBezTo>
                    <a:pt x="1123" y="253"/>
                    <a:pt x="1131" y="253"/>
                    <a:pt x="1139" y="245"/>
                  </a:cubicBezTo>
                  <a:cubicBezTo>
                    <a:pt x="1147" y="221"/>
                    <a:pt x="1170" y="189"/>
                    <a:pt x="1178" y="189"/>
                  </a:cubicBezTo>
                  <a:cubicBezTo>
                    <a:pt x="1186" y="181"/>
                    <a:pt x="1186" y="181"/>
                    <a:pt x="1186" y="181"/>
                  </a:cubicBezTo>
                  <a:cubicBezTo>
                    <a:pt x="1194" y="181"/>
                    <a:pt x="1202" y="181"/>
                    <a:pt x="1218" y="166"/>
                  </a:cubicBezTo>
                  <a:cubicBezTo>
                    <a:pt x="1233" y="158"/>
                    <a:pt x="1249" y="142"/>
                    <a:pt x="1249" y="134"/>
                  </a:cubicBezTo>
                  <a:cubicBezTo>
                    <a:pt x="1249" y="126"/>
                    <a:pt x="1249" y="118"/>
                    <a:pt x="1257" y="118"/>
                  </a:cubicBezTo>
                  <a:cubicBezTo>
                    <a:pt x="1257" y="110"/>
                    <a:pt x="1257" y="110"/>
                    <a:pt x="1265" y="110"/>
                  </a:cubicBezTo>
                  <a:cubicBezTo>
                    <a:pt x="1265" y="110"/>
                    <a:pt x="1273" y="110"/>
                    <a:pt x="1273" y="126"/>
                  </a:cubicBezTo>
                  <a:cubicBezTo>
                    <a:pt x="1273" y="134"/>
                    <a:pt x="1273" y="134"/>
                    <a:pt x="1273" y="142"/>
                  </a:cubicBezTo>
                  <a:cubicBezTo>
                    <a:pt x="1273" y="150"/>
                    <a:pt x="1273" y="166"/>
                    <a:pt x="1273" y="166"/>
                  </a:cubicBezTo>
                  <a:lnTo>
                    <a:pt x="1273" y="166"/>
                  </a:lnTo>
                  <a:cubicBezTo>
                    <a:pt x="1281" y="166"/>
                    <a:pt x="1297" y="173"/>
                    <a:pt x="1297" y="173"/>
                  </a:cubicBezTo>
                  <a:cubicBezTo>
                    <a:pt x="1297" y="181"/>
                    <a:pt x="1289" y="189"/>
                    <a:pt x="1281" y="189"/>
                  </a:cubicBezTo>
                  <a:lnTo>
                    <a:pt x="1273" y="189"/>
                  </a:lnTo>
                  <a:cubicBezTo>
                    <a:pt x="1249" y="197"/>
                    <a:pt x="1202" y="205"/>
                    <a:pt x="1194" y="221"/>
                  </a:cubicBezTo>
                  <a:lnTo>
                    <a:pt x="1194" y="229"/>
                  </a:lnTo>
                  <a:cubicBezTo>
                    <a:pt x="1202" y="245"/>
                    <a:pt x="1202" y="260"/>
                    <a:pt x="1202" y="276"/>
                  </a:cubicBezTo>
                  <a:cubicBezTo>
                    <a:pt x="1210" y="300"/>
                    <a:pt x="1210" y="316"/>
                    <a:pt x="1218" y="316"/>
                  </a:cubicBezTo>
                  <a:lnTo>
                    <a:pt x="1218" y="316"/>
                  </a:lnTo>
                  <a:cubicBezTo>
                    <a:pt x="1226" y="316"/>
                    <a:pt x="1233" y="316"/>
                    <a:pt x="1233" y="316"/>
                  </a:cubicBezTo>
                  <a:cubicBezTo>
                    <a:pt x="1242" y="316"/>
                    <a:pt x="1242" y="316"/>
                    <a:pt x="1249" y="324"/>
                  </a:cubicBezTo>
                  <a:cubicBezTo>
                    <a:pt x="1249" y="324"/>
                    <a:pt x="1249" y="331"/>
                    <a:pt x="1249" y="340"/>
                  </a:cubicBezTo>
                  <a:cubicBezTo>
                    <a:pt x="1249" y="355"/>
                    <a:pt x="1242" y="355"/>
                    <a:pt x="1226" y="363"/>
                  </a:cubicBezTo>
                  <a:cubicBezTo>
                    <a:pt x="1226" y="363"/>
                    <a:pt x="1218" y="371"/>
                    <a:pt x="1210" y="379"/>
                  </a:cubicBezTo>
                  <a:cubicBezTo>
                    <a:pt x="1210" y="387"/>
                    <a:pt x="1202" y="387"/>
                    <a:pt x="1194" y="395"/>
                  </a:cubicBezTo>
                  <a:cubicBezTo>
                    <a:pt x="1186" y="403"/>
                    <a:pt x="1178" y="411"/>
                    <a:pt x="1178" y="419"/>
                  </a:cubicBezTo>
                  <a:lnTo>
                    <a:pt x="1186" y="419"/>
                  </a:lnTo>
                  <a:cubicBezTo>
                    <a:pt x="1202" y="419"/>
                    <a:pt x="1218" y="411"/>
                    <a:pt x="1226" y="403"/>
                  </a:cubicBezTo>
                  <a:cubicBezTo>
                    <a:pt x="1233" y="395"/>
                    <a:pt x="1233" y="395"/>
                    <a:pt x="1242" y="395"/>
                  </a:cubicBezTo>
                  <a:lnTo>
                    <a:pt x="1249" y="395"/>
                  </a:lnTo>
                  <a:cubicBezTo>
                    <a:pt x="1249" y="403"/>
                    <a:pt x="1257" y="403"/>
                    <a:pt x="1257" y="403"/>
                  </a:cubicBezTo>
                  <a:cubicBezTo>
                    <a:pt x="1265" y="411"/>
                    <a:pt x="1265" y="419"/>
                    <a:pt x="1265" y="426"/>
                  </a:cubicBezTo>
                  <a:lnTo>
                    <a:pt x="1265" y="434"/>
                  </a:lnTo>
                  <a:cubicBezTo>
                    <a:pt x="1257" y="442"/>
                    <a:pt x="1249" y="442"/>
                    <a:pt x="1242" y="450"/>
                  </a:cubicBezTo>
                  <a:cubicBezTo>
                    <a:pt x="1233" y="450"/>
                    <a:pt x="1226" y="450"/>
                    <a:pt x="1226" y="458"/>
                  </a:cubicBezTo>
                  <a:lnTo>
                    <a:pt x="1226" y="466"/>
                  </a:lnTo>
                  <a:cubicBezTo>
                    <a:pt x="1226" y="474"/>
                    <a:pt x="1226" y="482"/>
                    <a:pt x="1226" y="482"/>
                  </a:cubicBezTo>
                  <a:lnTo>
                    <a:pt x="1233" y="490"/>
                  </a:lnTo>
                  <a:cubicBezTo>
                    <a:pt x="1242" y="490"/>
                    <a:pt x="1242" y="490"/>
                    <a:pt x="1242" y="490"/>
                  </a:cubicBezTo>
                  <a:cubicBezTo>
                    <a:pt x="1249" y="490"/>
                    <a:pt x="1257" y="490"/>
                    <a:pt x="1257" y="482"/>
                  </a:cubicBezTo>
                  <a:cubicBezTo>
                    <a:pt x="1265" y="482"/>
                    <a:pt x="1265" y="482"/>
                    <a:pt x="1273" y="482"/>
                  </a:cubicBezTo>
                  <a:cubicBezTo>
                    <a:pt x="1281" y="482"/>
                    <a:pt x="1281" y="482"/>
                    <a:pt x="1289" y="490"/>
                  </a:cubicBezTo>
                  <a:lnTo>
                    <a:pt x="1297" y="498"/>
                  </a:lnTo>
                  <a:cubicBezTo>
                    <a:pt x="1305" y="506"/>
                    <a:pt x="1313" y="506"/>
                    <a:pt x="1313" y="513"/>
                  </a:cubicBezTo>
                  <a:cubicBezTo>
                    <a:pt x="1313" y="521"/>
                    <a:pt x="1305" y="521"/>
                    <a:pt x="1305" y="529"/>
                  </a:cubicBezTo>
                  <a:cubicBezTo>
                    <a:pt x="1297" y="529"/>
                    <a:pt x="1289" y="529"/>
                    <a:pt x="1281" y="537"/>
                  </a:cubicBezTo>
                  <a:cubicBezTo>
                    <a:pt x="1273" y="537"/>
                    <a:pt x="1265" y="537"/>
                    <a:pt x="1265" y="545"/>
                  </a:cubicBezTo>
                  <a:cubicBezTo>
                    <a:pt x="1257" y="553"/>
                    <a:pt x="1257" y="561"/>
                    <a:pt x="1257" y="569"/>
                  </a:cubicBezTo>
                  <a:cubicBezTo>
                    <a:pt x="1257" y="569"/>
                    <a:pt x="1249" y="577"/>
                    <a:pt x="1257" y="577"/>
                  </a:cubicBezTo>
                  <a:cubicBezTo>
                    <a:pt x="1257" y="584"/>
                    <a:pt x="1257" y="584"/>
                    <a:pt x="1265" y="584"/>
                  </a:cubicBezTo>
                  <a:cubicBezTo>
                    <a:pt x="1273" y="584"/>
                    <a:pt x="1281" y="584"/>
                    <a:pt x="1281" y="584"/>
                  </a:cubicBezTo>
                  <a:cubicBezTo>
                    <a:pt x="1297" y="584"/>
                    <a:pt x="1305" y="584"/>
                    <a:pt x="1305" y="608"/>
                  </a:cubicBezTo>
                  <a:cubicBezTo>
                    <a:pt x="1313" y="616"/>
                    <a:pt x="1305" y="624"/>
                    <a:pt x="1305" y="632"/>
                  </a:cubicBezTo>
                  <a:cubicBezTo>
                    <a:pt x="1305" y="632"/>
                    <a:pt x="1305" y="640"/>
                    <a:pt x="1305" y="656"/>
                  </a:cubicBezTo>
                  <a:lnTo>
                    <a:pt x="1305" y="664"/>
                  </a:lnTo>
                  <a:cubicBezTo>
                    <a:pt x="1305" y="679"/>
                    <a:pt x="1305" y="687"/>
                    <a:pt x="1305" y="687"/>
                  </a:cubicBezTo>
                  <a:cubicBezTo>
                    <a:pt x="1305" y="695"/>
                    <a:pt x="1313" y="695"/>
                    <a:pt x="1320" y="695"/>
                  </a:cubicBezTo>
                  <a:cubicBezTo>
                    <a:pt x="1352" y="703"/>
                    <a:pt x="1368" y="671"/>
                    <a:pt x="1368" y="664"/>
                  </a:cubicBezTo>
                  <a:cubicBezTo>
                    <a:pt x="1376" y="656"/>
                    <a:pt x="1384" y="648"/>
                    <a:pt x="1392" y="648"/>
                  </a:cubicBezTo>
                  <a:cubicBezTo>
                    <a:pt x="1400" y="648"/>
                    <a:pt x="1415" y="656"/>
                    <a:pt x="1423" y="679"/>
                  </a:cubicBezTo>
                  <a:cubicBezTo>
                    <a:pt x="1431" y="695"/>
                    <a:pt x="1439" y="703"/>
                    <a:pt x="1447" y="711"/>
                  </a:cubicBezTo>
                  <a:cubicBezTo>
                    <a:pt x="1463" y="735"/>
                    <a:pt x="1471" y="743"/>
                    <a:pt x="1463" y="766"/>
                  </a:cubicBezTo>
                  <a:cubicBezTo>
                    <a:pt x="1463" y="774"/>
                    <a:pt x="1455" y="782"/>
                    <a:pt x="1455" y="790"/>
                  </a:cubicBezTo>
                  <a:lnTo>
                    <a:pt x="1455" y="790"/>
                  </a:lnTo>
                  <a:lnTo>
                    <a:pt x="1455" y="798"/>
                  </a:lnTo>
                  <a:cubicBezTo>
                    <a:pt x="1463" y="798"/>
                    <a:pt x="1463" y="798"/>
                    <a:pt x="1471" y="798"/>
                  </a:cubicBezTo>
                  <a:cubicBezTo>
                    <a:pt x="1479" y="806"/>
                    <a:pt x="1486" y="814"/>
                    <a:pt x="1502" y="814"/>
                  </a:cubicBezTo>
                  <a:cubicBezTo>
                    <a:pt x="1502" y="814"/>
                    <a:pt x="1502" y="814"/>
                    <a:pt x="1510" y="814"/>
                  </a:cubicBezTo>
                  <a:close/>
                </a:path>
              </a:pathLst>
            </a:custGeom>
            <a:solidFill>
              <a:schemeClr val="accent6"/>
            </a:solidFill>
            <a:ln>
              <a:solidFill>
                <a:schemeClr val="bg2"/>
              </a:solidFill>
            </a:ln>
            <a:effectLst/>
          </p:spPr>
          <p:txBody>
            <a:bodyPr wrap="none" anchor="ctr"/>
            <a:lstStyle/>
            <a:p>
              <a:endParaRPr lang="en-US"/>
            </a:p>
          </p:txBody>
        </p:sp>
        <p:sp>
          <p:nvSpPr>
            <p:cNvPr id="107" name="Freeform 777"/>
            <p:cNvSpPr>
              <a:spLocks noChangeArrowheads="1"/>
            </p:cNvSpPr>
            <p:nvPr/>
          </p:nvSpPr>
          <p:spPr bwMode="auto">
            <a:xfrm>
              <a:off x="6009623" y="3155624"/>
              <a:ext cx="604292" cy="532943"/>
            </a:xfrm>
            <a:custGeom>
              <a:avLst/>
              <a:gdLst>
                <a:gd name="T0" fmla="*/ 538 w 1677"/>
                <a:gd name="T1" fmla="*/ 15 h 1707"/>
                <a:gd name="T2" fmla="*/ 561 w 1677"/>
                <a:gd name="T3" fmla="*/ 166 h 1707"/>
                <a:gd name="T4" fmla="*/ 546 w 1677"/>
                <a:gd name="T5" fmla="*/ 324 h 1707"/>
                <a:gd name="T6" fmla="*/ 498 w 1677"/>
                <a:gd name="T7" fmla="*/ 521 h 1707"/>
                <a:gd name="T8" fmla="*/ 356 w 1677"/>
                <a:gd name="T9" fmla="*/ 632 h 1707"/>
                <a:gd name="T10" fmla="*/ 277 w 1677"/>
                <a:gd name="T11" fmla="*/ 695 h 1707"/>
                <a:gd name="T12" fmla="*/ 222 w 1677"/>
                <a:gd name="T13" fmla="*/ 877 h 1707"/>
                <a:gd name="T14" fmla="*/ 119 w 1677"/>
                <a:gd name="T15" fmla="*/ 917 h 1707"/>
                <a:gd name="T16" fmla="*/ 119 w 1677"/>
                <a:gd name="T17" fmla="*/ 1075 h 1707"/>
                <a:gd name="T18" fmla="*/ 56 w 1677"/>
                <a:gd name="T19" fmla="*/ 1154 h 1707"/>
                <a:gd name="T20" fmla="*/ 32 w 1677"/>
                <a:gd name="T21" fmla="*/ 1304 h 1707"/>
                <a:gd name="T22" fmla="*/ 182 w 1677"/>
                <a:gd name="T23" fmla="*/ 1501 h 1707"/>
                <a:gd name="T24" fmla="*/ 348 w 1677"/>
                <a:gd name="T25" fmla="*/ 1619 h 1707"/>
                <a:gd name="T26" fmla="*/ 530 w 1677"/>
                <a:gd name="T27" fmla="*/ 1611 h 1707"/>
                <a:gd name="T28" fmla="*/ 696 w 1677"/>
                <a:gd name="T29" fmla="*/ 1532 h 1707"/>
                <a:gd name="T30" fmla="*/ 854 w 1677"/>
                <a:gd name="T31" fmla="*/ 1478 h 1707"/>
                <a:gd name="T32" fmla="*/ 925 w 1677"/>
                <a:gd name="T33" fmla="*/ 1367 h 1707"/>
                <a:gd name="T34" fmla="*/ 941 w 1677"/>
                <a:gd name="T35" fmla="*/ 1217 h 1707"/>
                <a:gd name="T36" fmla="*/ 1012 w 1677"/>
                <a:gd name="T37" fmla="*/ 1051 h 1707"/>
                <a:gd name="T38" fmla="*/ 1115 w 1677"/>
                <a:gd name="T39" fmla="*/ 901 h 1707"/>
                <a:gd name="T40" fmla="*/ 1194 w 1677"/>
                <a:gd name="T41" fmla="*/ 893 h 1707"/>
                <a:gd name="T42" fmla="*/ 1257 w 1677"/>
                <a:gd name="T43" fmla="*/ 822 h 1707"/>
                <a:gd name="T44" fmla="*/ 1336 w 1677"/>
                <a:gd name="T45" fmla="*/ 751 h 1707"/>
                <a:gd name="T46" fmla="*/ 1423 w 1677"/>
                <a:gd name="T47" fmla="*/ 624 h 1707"/>
                <a:gd name="T48" fmla="*/ 1471 w 1677"/>
                <a:gd name="T49" fmla="*/ 411 h 1707"/>
                <a:gd name="T50" fmla="*/ 1676 w 1677"/>
                <a:gd name="T51" fmla="*/ 419 h 1707"/>
                <a:gd name="T52" fmla="*/ 1629 w 1677"/>
                <a:gd name="T53" fmla="*/ 348 h 1707"/>
                <a:gd name="T54" fmla="*/ 1510 w 1677"/>
                <a:gd name="T55" fmla="*/ 292 h 1707"/>
                <a:gd name="T56" fmla="*/ 1392 w 1677"/>
                <a:gd name="T57" fmla="*/ 340 h 1707"/>
                <a:gd name="T58" fmla="*/ 1281 w 1677"/>
                <a:gd name="T59" fmla="*/ 348 h 1707"/>
                <a:gd name="T60" fmla="*/ 1218 w 1677"/>
                <a:gd name="T61" fmla="*/ 442 h 1707"/>
                <a:gd name="T62" fmla="*/ 1052 w 1677"/>
                <a:gd name="T63" fmla="*/ 585 h 1707"/>
                <a:gd name="T64" fmla="*/ 641 w 1677"/>
                <a:gd name="T65" fmla="*/ 419 h 1707"/>
                <a:gd name="T66" fmla="*/ 538 w 1677"/>
                <a:gd name="T67" fmla="*/ 15 h 1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7" h="1707">
                  <a:moveTo>
                    <a:pt x="538" y="15"/>
                  </a:moveTo>
                  <a:lnTo>
                    <a:pt x="538" y="15"/>
                  </a:lnTo>
                  <a:cubicBezTo>
                    <a:pt x="538" y="31"/>
                    <a:pt x="546" y="63"/>
                    <a:pt x="546" y="87"/>
                  </a:cubicBezTo>
                  <a:cubicBezTo>
                    <a:pt x="554" y="118"/>
                    <a:pt x="577" y="158"/>
                    <a:pt x="561" y="166"/>
                  </a:cubicBezTo>
                  <a:cubicBezTo>
                    <a:pt x="546" y="174"/>
                    <a:pt x="538" y="158"/>
                    <a:pt x="546" y="197"/>
                  </a:cubicBezTo>
                  <a:cubicBezTo>
                    <a:pt x="546" y="237"/>
                    <a:pt x="561" y="316"/>
                    <a:pt x="546" y="324"/>
                  </a:cubicBezTo>
                  <a:cubicBezTo>
                    <a:pt x="538" y="340"/>
                    <a:pt x="506" y="316"/>
                    <a:pt x="506" y="379"/>
                  </a:cubicBezTo>
                  <a:cubicBezTo>
                    <a:pt x="514" y="435"/>
                    <a:pt x="522" y="498"/>
                    <a:pt x="498" y="521"/>
                  </a:cubicBezTo>
                  <a:cubicBezTo>
                    <a:pt x="483" y="553"/>
                    <a:pt x="443" y="624"/>
                    <a:pt x="419" y="624"/>
                  </a:cubicBezTo>
                  <a:cubicBezTo>
                    <a:pt x="388" y="632"/>
                    <a:pt x="388" y="648"/>
                    <a:pt x="356" y="632"/>
                  </a:cubicBezTo>
                  <a:cubicBezTo>
                    <a:pt x="332" y="616"/>
                    <a:pt x="309" y="593"/>
                    <a:pt x="301" y="624"/>
                  </a:cubicBezTo>
                  <a:cubicBezTo>
                    <a:pt x="293" y="656"/>
                    <a:pt x="301" y="688"/>
                    <a:pt x="277" y="695"/>
                  </a:cubicBezTo>
                  <a:cubicBezTo>
                    <a:pt x="253" y="703"/>
                    <a:pt x="206" y="711"/>
                    <a:pt x="214" y="743"/>
                  </a:cubicBezTo>
                  <a:cubicBezTo>
                    <a:pt x="222" y="782"/>
                    <a:pt x="237" y="893"/>
                    <a:pt x="222" y="877"/>
                  </a:cubicBezTo>
                  <a:cubicBezTo>
                    <a:pt x="198" y="861"/>
                    <a:pt x="166" y="830"/>
                    <a:pt x="159" y="846"/>
                  </a:cubicBezTo>
                  <a:cubicBezTo>
                    <a:pt x="143" y="854"/>
                    <a:pt x="119" y="893"/>
                    <a:pt x="119" y="917"/>
                  </a:cubicBezTo>
                  <a:cubicBezTo>
                    <a:pt x="127" y="948"/>
                    <a:pt x="103" y="980"/>
                    <a:pt x="119" y="1004"/>
                  </a:cubicBezTo>
                  <a:cubicBezTo>
                    <a:pt x="127" y="1027"/>
                    <a:pt x="135" y="1067"/>
                    <a:pt x="119" y="1075"/>
                  </a:cubicBezTo>
                  <a:cubicBezTo>
                    <a:pt x="95" y="1083"/>
                    <a:pt x="79" y="1075"/>
                    <a:pt x="79" y="1106"/>
                  </a:cubicBezTo>
                  <a:cubicBezTo>
                    <a:pt x="79" y="1146"/>
                    <a:pt x="87" y="1154"/>
                    <a:pt x="56" y="1154"/>
                  </a:cubicBezTo>
                  <a:cubicBezTo>
                    <a:pt x="32" y="1162"/>
                    <a:pt x="0" y="1170"/>
                    <a:pt x="0" y="1178"/>
                  </a:cubicBezTo>
                  <a:cubicBezTo>
                    <a:pt x="0" y="1185"/>
                    <a:pt x="8" y="1280"/>
                    <a:pt x="32" y="1304"/>
                  </a:cubicBezTo>
                  <a:cubicBezTo>
                    <a:pt x="64" y="1328"/>
                    <a:pt x="79" y="1359"/>
                    <a:pt x="95" y="1391"/>
                  </a:cubicBezTo>
                  <a:cubicBezTo>
                    <a:pt x="119" y="1431"/>
                    <a:pt x="119" y="1470"/>
                    <a:pt x="182" y="1501"/>
                  </a:cubicBezTo>
                  <a:cubicBezTo>
                    <a:pt x="237" y="1532"/>
                    <a:pt x="261" y="1509"/>
                    <a:pt x="285" y="1548"/>
                  </a:cubicBezTo>
                  <a:cubicBezTo>
                    <a:pt x="309" y="1580"/>
                    <a:pt x="253" y="1595"/>
                    <a:pt x="348" y="1619"/>
                  </a:cubicBezTo>
                  <a:cubicBezTo>
                    <a:pt x="443" y="1635"/>
                    <a:pt x="435" y="1706"/>
                    <a:pt x="475" y="1659"/>
                  </a:cubicBezTo>
                  <a:cubicBezTo>
                    <a:pt x="506" y="1611"/>
                    <a:pt x="467" y="1588"/>
                    <a:pt x="530" y="1611"/>
                  </a:cubicBezTo>
                  <a:cubicBezTo>
                    <a:pt x="593" y="1627"/>
                    <a:pt x="656" y="1588"/>
                    <a:pt x="672" y="1580"/>
                  </a:cubicBezTo>
                  <a:cubicBezTo>
                    <a:pt x="680" y="1564"/>
                    <a:pt x="625" y="1548"/>
                    <a:pt x="696" y="1532"/>
                  </a:cubicBezTo>
                  <a:cubicBezTo>
                    <a:pt x="767" y="1524"/>
                    <a:pt x="814" y="1509"/>
                    <a:pt x="814" y="1493"/>
                  </a:cubicBezTo>
                  <a:cubicBezTo>
                    <a:pt x="807" y="1470"/>
                    <a:pt x="823" y="1493"/>
                    <a:pt x="854" y="1478"/>
                  </a:cubicBezTo>
                  <a:cubicBezTo>
                    <a:pt x="886" y="1462"/>
                    <a:pt x="894" y="1399"/>
                    <a:pt x="917" y="1399"/>
                  </a:cubicBezTo>
                  <a:cubicBezTo>
                    <a:pt x="933" y="1399"/>
                    <a:pt x="965" y="1383"/>
                    <a:pt x="925" y="1367"/>
                  </a:cubicBezTo>
                  <a:cubicBezTo>
                    <a:pt x="886" y="1352"/>
                    <a:pt x="854" y="1375"/>
                    <a:pt x="886" y="1328"/>
                  </a:cubicBezTo>
                  <a:cubicBezTo>
                    <a:pt x="917" y="1272"/>
                    <a:pt x="917" y="1257"/>
                    <a:pt x="941" y="1217"/>
                  </a:cubicBezTo>
                  <a:cubicBezTo>
                    <a:pt x="973" y="1178"/>
                    <a:pt x="973" y="1178"/>
                    <a:pt x="981" y="1138"/>
                  </a:cubicBezTo>
                  <a:cubicBezTo>
                    <a:pt x="989" y="1091"/>
                    <a:pt x="996" y="1114"/>
                    <a:pt x="1012" y="1051"/>
                  </a:cubicBezTo>
                  <a:cubicBezTo>
                    <a:pt x="1028" y="988"/>
                    <a:pt x="996" y="948"/>
                    <a:pt x="1036" y="925"/>
                  </a:cubicBezTo>
                  <a:cubicBezTo>
                    <a:pt x="1083" y="901"/>
                    <a:pt x="1091" y="877"/>
                    <a:pt x="1115" y="901"/>
                  </a:cubicBezTo>
                  <a:cubicBezTo>
                    <a:pt x="1139" y="925"/>
                    <a:pt x="1170" y="956"/>
                    <a:pt x="1186" y="941"/>
                  </a:cubicBezTo>
                  <a:cubicBezTo>
                    <a:pt x="1194" y="932"/>
                    <a:pt x="1194" y="917"/>
                    <a:pt x="1194" y="893"/>
                  </a:cubicBezTo>
                  <a:cubicBezTo>
                    <a:pt x="1186" y="877"/>
                    <a:pt x="1210" y="830"/>
                    <a:pt x="1234" y="846"/>
                  </a:cubicBezTo>
                  <a:cubicBezTo>
                    <a:pt x="1249" y="854"/>
                    <a:pt x="1257" y="854"/>
                    <a:pt x="1257" y="822"/>
                  </a:cubicBezTo>
                  <a:cubicBezTo>
                    <a:pt x="1257" y="790"/>
                    <a:pt x="1226" y="759"/>
                    <a:pt x="1257" y="759"/>
                  </a:cubicBezTo>
                  <a:cubicBezTo>
                    <a:pt x="1289" y="759"/>
                    <a:pt x="1329" y="774"/>
                    <a:pt x="1336" y="751"/>
                  </a:cubicBezTo>
                  <a:cubicBezTo>
                    <a:pt x="1344" y="719"/>
                    <a:pt x="1336" y="679"/>
                    <a:pt x="1368" y="672"/>
                  </a:cubicBezTo>
                  <a:cubicBezTo>
                    <a:pt x="1400" y="664"/>
                    <a:pt x="1407" y="688"/>
                    <a:pt x="1423" y="624"/>
                  </a:cubicBezTo>
                  <a:cubicBezTo>
                    <a:pt x="1431" y="569"/>
                    <a:pt x="1439" y="521"/>
                    <a:pt x="1431" y="482"/>
                  </a:cubicBezTo>
                  <a:cubicBezTo>
                    <a:pt x="1431" y="442"/>
                    <a:pt x="1447" y="395"/>
                    <a:pt x="1471" y="411"/>
                  </a:cubicBezTo>
                  <a:cubicBezTo>
                    <a:pt x="1494" y="419"/>
                    <a:pt x="1566" y="490"/>
                    <a:pt x="1605" y="498"/>
                  </a:cubicBezTo>
                  <a:cubicBezTo>
                    <a:pt x="1637" y="498"/>
                    <a:pt x="1660" y="466"/>
                    <a:pt x="1676" y="419"/>
                  </a:cubicBezTo>
                  <a:lnTo>
                    <a:pt x="1668" y="419"/>
                  </a:lnTo>
                  <a:cubicBezTo>
                    <a:pt x="1668" y="419"/>
                    <a:pt x="1637" y="363"/>
                    <a:pt x="1629" y="348"/>
                  </a:cubicBezTo>
                  <a:cubicBezTo>
                    <a:pt x="1629" y="324"/>
                    <a:pt x="1605" y="308"/>
                    <a:pt x="1573" y="308"/>
                  </a:cubicBezTo>
                  <a:cubicBezTo>
                    <a:pt x="1550" y="308"/>
                    <a:pt x="1526" y="308"/>
                    <a:pt x="1510" y="292"/>
                  </a:cubicBezTo>
                  <a:cubicBezTo>
                    <a:pt x="1487" y="284"/>
                    <a:pt x="1463" y="300"/>
                    <a:pt x="1455" y="316"/>
                  </a:cubicBezTo>
                  <a:cubicBezTo>
                    <a:pt x="1439" y="324"/>
                    <a:pt x="1415" y="332"/>
                    <a:pt x="1392" y="340"/>
                  </a:cubicBezTo>
                  <a:cubicBezTo>
                    <a:pt x="1376" y="348"/>
                    <a:pt x="1368" y="387"/>
                    <a:pt x="1329" y="387"/>
                  </a:cubicBezTo>
                  <a:cubicBezTo>
                    <a:pt x="1289" y="379"/>
                    <a:pt x="1289" y="363"/>
                    <a:pt x="1281" y="348"/>
                  </a:cubicBezTo>
                  <a:cubicBezTo>
                    <a:pt x="1265" y="332"/>
                    <a:pt x="1242" y="419"/>
                    <a:pt x="1242" y="435"/>
                  </a:cubicBezTo>
                  <a:cubicBezTo>
                    <a:pt x="1234" y="442"/>
                    <a:pt x="1226" y="466"/>
                    <a:pt x="1218" y="442"/>
                  </a:cubicBezTo>
                  <a:cubicBezTo>
                    <a:pt x="1218" y="426"/>
                    <a:pt x="1170" y="450"/>
                    <a:pt x="1170" y="450"/>
                  </a:cubicBezTo>
                  <a:cubicBezTo>
                    <a:pt x="1052" y="585"/>
                    <a:pt x="1052" y="585"/>
                    <a:pt x="1052" y="585"/>
                  </a:cubicBezTo>
                  <a:cubicBezTo>
                    <a:pt x="1012" y="348"/>
                    <a:pt x="1012" y="348"/>
                    <a:pt x="1012" y="348"/>
                  </a:cubicBezTo>
                  <a:cubicBezTo>
                    <a:pt x="641" y="419"/>
                    <a:pt x="641" y="419"/>
                    <a:pt x="641" y="419"/>
                  </a:cubicBezTo>
                  <a:cubicBezTo>
                    <a:pt x="561" y="8"/>
                    <a:pt x="561" y="8"/>
                    <a:pt x="561" y="8"/>
                  </a:cubicBezTo>
                  <a:cubicBezTo>
                    <a:pt x="546" y="0"/>
                    <a:pt x="530" y="8"/>
                    <a:pt x="538" y="15"/>
                  </a:cubicBezTo>
                </a:path>
              </a:pathLst>
            </a:custGeom>
            <a:solidFill>
              <a:schemeClr val="accent6"/>
            </a:solidFill>
            <a:ln>
              <a:solidFill>
                <a:schemeClr val="bg2"/>
              </a:solidFill>
            </a:ln>
            <a:effectLst/>
          </p:spPr>
          <p:txBody>
            <a:bodyPr wrap="none" anchor="ctr"/>
            <a:lstStyle/>
            <a:p>
              <a:endParaRPr lang="en-US"/>
            </a:p>
          </p:txBody>
        </p:sp>
        <p:sp>
          <p:nvSpPr>
            <p:cNvPr id="108" name="Freeform 778"/>
            <p:cNvSpPr>
              <a:spLocks noChangeArrowheads="1"/>
            </p:cNvSpPr>
            <p:nvPr/>
          </p:nvSpPr>
          <p:spPr bwMode="auto">
            <a:xfrm>
              <a:off x="6006442" y="3155624"/>
              <a:ext cx="610653" cy="526058"/>
            </a:xfrm>
            <a:custGeom>
              <a:avLst/>
              <a:gdLst>
                <a:gd name="T0" fmla="*/ 301 w 1693"/>
                <a:gd name="T1" fmla="*/ 1595 h 1683"/>
                <a:gd name="T2" fmla="*/ 111 w 1693"/>
                <a:gd name="T3" fmla="*/ 1423 h 1683"/>
                <a:gd name="T4" fmla="*/ 64 w 1693"/>
                <a:gd name="T5" fmla="*/ 1154 h 1683"/>
                <a:gd name="T6" fmla="*/ 127 w 1693"/>
                <a:gd name="T7" fmla="*/ 1067 h 1683"/>
                <a:gd name="T8" fmla="*/ 174 w 1693"/>
                <a:gd name="T9" fmla="*/ 838 h 1683"/>
                <a:gd name="T10" fmla="*/ 269 w 1693"/>
                <a:gd name="T11" fmla="*/ 695 h 1683"/>
                <a:gd name="T12" fmla="*/ 356 w 1693"/>
                <a:gd name="T13" fmla="*/ 624 h 1683"/>
                <a:gd name="T14" fmla="*/ 483 w 1693"/>
                <a:gd name="T15" fmla="*/ 553 h 1683"/>
                <a:gd name="T16" fmla="*/ 554 w 1693"/>
                <a:gd name="T17" fmla="*/ 237 h 1683"/>
                <a:gd name="T18" fmla="*/ 554 w 1693"/>
                <a:gd name="T19" fmla="*/ 87 h 1683"/>
                <a:gd name="T20" fmla="*/ 569 w 1693"/>
                <a:gd name="T21" fmla="*/ 0 h 1683"/>
                <a:gd name="T22" fmla="*/ 1178 w 1693"/>
                <a:gd name="T23" fmla="*/ 442 h 1683"/>
                <a:gd name="T24" fmla="*/ 1242 w 1693"/>
                <a:gd name="T25" fmla="*/ 435 h 1683"/>
                <a:gd name="T26" fmla="*/ 1297 w 1693"/>
                <a:gd name="T27" fmla="*/ 355 h 1683"/>
                <a:gd name="T28" fmla="*/ 1455 w 1693"/>
                <a:gd name="T29" fmla="*/ 308 h 1683"/>
                <a:gd name="T30" fmla="*/ 1684 w 1693"/>
                <a:gd name="T31" fmla="*/ 419 h 1683"/>
                <a:gd name="T32" fmla="*/ 1510 w 1693"/>
                <a:gd name="T33" fmla="*/ 435 h 1683"/>
                <a:gd name="T34" fmla="*/ 1392 w 1693"/>
                <a:gd name="T35" fmla="*/ 672 h 1683"/>
                <a:gd name="T36" fmla="*/ 1297 w 1693"/>
                <a:gd name="T37" fmla="*/ 766 h 1683"/>
                <a:gd name="T38" fmla="*/ 1257 w 1693"/>
                <a:gd name="T39" fmla="*/ 854 h 1683"/>
                <a:gd name="T40" fmla="*/ 1194 w 1693"/>
                <a:gd name="T41" fmla="*/ 941 h 1683"/>
                <a:gd name="T42" fmla="*/ 1052 w 1693"/>
                <a:gd name="T43" fmla="*/ 925 h 1683"/>
                <a:gd name="T44" fmla="*/ 965 w 1693"/>
                <a:gd name="T45" fmla="*/ 1201 h 1683"/>
                <a:gd name="T46" fmla="*/ 902 w 1693"/>
                <a:gd name="T47" fmla="*/ 1359 h 1683"/>
                <a:gd name="T48" fmla="*/ 862 w 1693"/>
                <a:gd name="T49" fmla="*/ 1478 h 1683"/>
                <a:gd name="T50" fmla="*/ 712 w 1693"/>
                <a:gd name="T51" fmla="*/ 1540 h 1683"/>
                <a:gd name="T52" fmla="*/ 569 w 1693"/>
                <a:gd name="T53" fmla="*/ 1619 h 1683"/>
                <a:gd name="T54" fmla="*/ 459 w 1693"/>
                <a:gd name="T55" fmla="*/ 1682 h 1683"/>
                <a:gd name="T56" fmla="*/ 127 w 1693"/>
                <a:gd name="T57" fmla="*/ 956 h 1683"/>
                <a:gd name="T58" fmla="*/ 95 w 1693"/>
                <a:gd name="T59" fmla="*/ 1106 h 1683"/>
                <a:gd name="T60" fmla="*/ 103 w 1693"/>
                <a:gd name="T61" fmla="*/ 1383 h 1683"/>
                <a:gd name="T62" fmla="*/ 301 w 1693"/>
                <a:gd name="T63" fmla="*/ 1548 h 1683"/>
                <a:gd name="T64" fmla="*/ 459 w 1693"/>
                <a:gd name="T65" fmla="*/ 1675 h 1683"/>
                <a:gd name="T66" fmla="*/ 569 w 1693"/>
                <a:gd name="T67" fmla="*/ 1611 h 1683"/>
                <a:gd name="T68" fmla="*/ 712 w 1693"/>
                <a:gd name="T69" fmla="*/ 1532 h 1683"/>
                <a:gd name="T70" fmla="*/ 862 w 1693"/>
                <a:gd name="T71" fmla="*/ 1478 h 1683"/>
                <a:gd name="T72" fmla="*/ 902 w 1693"/>
                <a:gd name="T73" fmla="*/ 1367 h 1683"/>
                <a:gd name="T74" fmla="*/ 965 w 1693"/>
                <a:gd name="T75" fmla="*/ 1193 h 1683"/>
                <a:gd name="T76" fmla="*/ 1044 w 1693"/>
                <a:gd name="T77" fmla="*/ 917 h 1683"/>
                <a:gd name="T78" fmla="*/ 1186 w 1693"/>
                <a:gd name="T79" fmla="*/ 941 h 1683"/>
                <a:gd name="T80" fmla="*/ 1242 w 1693"/>
                <a:gd name="T81" fmla="*/ 838 h 1683"/>
                <a:gd name="T82" fmla="*/ 1265 w 1693"/>
                <a:gd name="T83" fmla="*/ 759 h 1683"/>
                <a:gd name="T84" fmla="*/ 1376 w 1693"/>
                <a:gd name="T85" fmla="*/ 672 h 1683"/>
                <a:gd name="T86" fmla="*/ 1479 w 1693"/>
                <a:gd name="T87" fmla="*/ 403 h 1683"/>
                <a:gd name="T88" fmla="*/ 1676 w 1693"/>
                <a:gd name="T89" fmla="*/ 426 h 1683"/>
                <a:gd name="T90" fmla="*/ 1502 w 1693"/>
                <a:gd name="T91" fmla="*/ 292 h 1683"/>
                <a:gd name="T92" fmla="*/ 1337 w 1693"/>
                <a:gd name="T93" fmla="*/ 387 h 1683"/>
                <a:gd name="T94" fmla="*/ 1250 w 1693"/>
                <a:gd name="T95" fmla="*/ 435 h 1683"/>
                <a:gd name="T96" fmla="*/ 1060 w 1693"/>
                <a:gd name="T97" fmla="*/ 593 h 1683"/>
                <a:gd name="T98" fmla="*/ 546 w 1693"/>
                <a:gd name="T99" fmla="*/ 15 h 1683"/>
                <a:gd name="T100" fmla="*/ 569 w 1693"/>
                <a:gd name="T101" fmla="*/ 166 h 1683"/>
                <a:gd name="T102" fmla="*/ 538 w 1693"/>
                <a:gd name="T103" fmla="*/ 340 h 1683"/>
                <a:gd name="T104" fmla="*/ 404 w 1693"/>
                <a:gd name="T105" fmla="*/ 640 h 1683"/>
                <a:gd name="T106" fmla="*/ 317 w 1693"/>
                <a:gd name="T107" fmla="*/ 624 h 1683"/>
                <a:gd name="T108" fmla="*/ 238 w 1693"/>
                <a:gd name="T109" fmla="*/ 877 h 1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3" h="1683">
                  <a:moveTo>
                    <a:pt x="459" y="1682"/>
                  </a:moveTo>
                  <a:lnTo>
                    <a:pt x="459" y="1682"/>
                  </a:lnTo>
                  <a:cubicBezTo>
                    <a:pt x="451" y="1682"/>
                    <a:pt x="443" y="1675"/>
                    <a:pt x="435" y="1667"/>
                  </a:cubicBezTo>
                  <a:cubicBezTo>
                    <a:pt x="427" y="1651"/>
                    <a:pt x="404" y="1627"/>
                    <a:pt x="356" y="1619"/>
                  </a:cubicBezTo>
                  <a:cubicBezTo>
                    <a:pt x="325" y="1611"/>
                    <a:pt x="309" y="1604"/>
                    <a:pt x="301" y="1595"/>
                  </a:cubicBezTo>
                  <a:cubicBezTo>
                    <a:pt x="293" y="1588"/>
                    <a:pt x="293" y="1580"/>
                    <a:pt x="293" y="1572"/>
                  </a:cubicBezTo>
                  <a:cubicBezTo>
                    <a:pt x="293" y="1564"/>
                    <a:pt x="301" y="1556"/>
                    <a:pt x="293" y="1548"/>
                  </a:cubicBezTo>
                  <a:cubicBezTo>
                    <a:pt x="277" y="1532"/>
                    <a:pt x="269" y="1532"/>
                    <a:pt x="253" y="1524"/>
                  </a:cubicBezTo>
                  <a:cubicBezTo>
                    <a:pt x="238" y="1524"/>
                    <a:pt x="214" y="1524"/>
                    <a:pt x="182" y="1509"/>
                  </a:cubicBezTo>
                  <a:cubicBezTo>
                    <a:pt x="135" y="1485"/>
                    <a:pt x="127" y="1446"/>
                    <a:pt x="111" y="1423"/>
                  </a:cubicBezTo>
                  <a:cubicBezTo>
                    <a:pt x="111" y="1415"/>
                    <a:pt x="103" y="1399"/>
                    <a:pt x="103" y="1391"/>
                  </a:cubicBezTo>
                  <a:cubicBezTo>
                    <a:pt x="95" y="1383"/>
                    <a:pt x="95" y="1383"/>
                    <a:pt x="95" y="1383"/>
                  </a:cubicBezTo>
                  <a:cubicBezTo>
                    <a:pt x="79" y="1352"/>
                    <a:pt x="64" y="1328"/>
                    <a:pt x="40" y="1304"/>
                  </a:cubicBezTo>
                  <a:cubicBezTo>
                    <a:pt x="8" y="1280"/>
                    <a:pt x="0" y="1185"/>
                    <a:pt x="0" y="1178"/>
                  </a:cubicBezTo>
                  <a:cubicBezTo>
                    <a:pt x="0" y="1162"/>
                    <a:pt x="48" y="1154"/>
                    <a:pt x="64" y="1154"/>
                  </a:cubicBezTo>
                  <a:cubicBezTo>
                    <a:pt x="87" y="1146"/>
                    <a:pt x="87" y="1146"/>
                    <a:pt x="87" y="1114"/>
                  </a:cubicBezTo>
                  <a:cubicBezTo>
                    <a:pt x="87" y="1106"/>
                    <a:pt x="87" y="1106"/>
                    <a:pt x="87" y="1106"/>
                  </a:cubicBezTo>
                  <a:cubicBezTo>
                    <a:pt x="87" y="1083"/>
                    <a:pt x="95" y="1075"/>
                    <a:pt x="111" y="1075"/>
                  </a:cubicBezTo>
                  <a:lnTo>
                    <a:pt x="119" y="1075"/>
                  </a:lnTo>
                  <a:cubicBezTo>
                    <a:pt x="127" y="1067"/>
                    <a:pt x="127" y="1067"/>
                    <a:pt x="127" y="1067"/>
                  </a:cubicBezTo>
                  <a:cubicBezTo>
                    <a:pt x="135" y="1051"/>
                    <a:pt x="127" y="1027"/>
                    <a:pt x="119" y="1004"/>
                  </a:cubicBezTo>
                  <a:cubicBezTo>
                    <a:pt x="111" y="988"/>
                    <a:pt x="119" y="972"/>
                    <a:pt x="119" y="956"/>
                  </a:cubicBezTo>
                  <a:cubicBezTo>
                    <a:pt x="127" y="941"/>
                    <a:pt x="127" y="932"/>
                    <a:pt x="127" y="917"/>
                  </a:cubicBezTo>
                  <a:cubicBezTo>
                    <a:pt x="127" y="893"/>
                    <a:pt x="151" y="854"/>
                    <a:pt x="158" y="838"/>
                  </a:cubicBezTo>
                  <a:cubicBezTo>
                    <a:pt x="167" y="838"/>
                    <a:pt x="167" y="838"/>
                    <a:pt x="174" y="838"/>
                  </a:cubicBezTo>
                  <a:cubicBezTo>
                    <a:pt x="182" y="838"/>
                    <a:pt x="198" y="846"/>
                    <a:pt x="206" y="861"/>
                  </a:cubicBezTo>
                  <a:cubicBezTo>
                    <a:pt x="214" y="861"/>
                    <a:pt x="222" y="869"/>
                    <a:pt x="230" y="877"/>
                  </a:cubicBezTo>
                  <a:lnTo>
                    <a:pt x="230" y="877"/>
                  </a:lnTo>
                  <a:cubicBezTo>
                    <a:pt x="238" y="869"/>
                    <a:pt x="230" y="790"/>
                    <a:pt x="222" y="751"/>
                  </a:cubicBezTo>
                  <a:cubicBezTo>
                    <a:pt x="214" y="719"/>
                    <a:pt x="245" y="703"/>
                    <a:pt x="269" y="695"/>
                  </a:cubicBezTo>
                  <a:cubicBezTo>
                    <a:pt x="269" y="695"/>
                    <a:pt x="277" y="695"/>
                    <a:pt x="285" y="695"/>
                  </a:cubicBezTo>
                  <a:cubicBezTo>
                    <a:pt x="301" y="688"/>
                    <a:pt x="301" y="664"/>
                    <a:pt x="301" y="648"/>
                  </a:cubicBezTo>
                  <a:cubicBezTo>
                    <a:pt x="301" y="640"/>
                    <a:pt x="309" y="632"/>
                    <a:pt x="309" y="624"/>
                  </a:cubicBezTo>
                  <a:cubicBezTo>
                    <a:pt x="309" y="608"/>
                    <a:pt x="317" y="601"/>
                    <a:pt x="325" y="601"/>
                  </a:cubicBezTo>
                  <a:cubicBezTo>
                    <a:pt x="332" y="601"/>
                    <a:pt x="340" y="608"/>
                    <a:pt x="356" y="624"/>
                  </a:cubicBezTo>
                  <a:cubicBezTo>
                    <a:pt x="364" y="624"/>
                    <a:pt x="364" y="624"/>
                    <a:pt x="372" y="632"/>
                  </a:cubicBezTo>
                  <a:cubicBezTo>
                    <a:pt x="372" y="632"/>
                    <a:pt x="380" y="640"/>
                    <a:pt x="388" y="640"/>
                  </a:cubicBezTo>
                  <a:cubicBezTo>
                    <a:pt x="396" y="640"/>
                    <a:pt x="396" y="632"/>
                    <a:pt x="404" y="632"/>
                  </a:cubicBezTo>
                  <a:cubicBezTo>
                    <a:pt x="411" y="632"/>
                    <a:pt x="419" y="624"/>
                    <a:pt x="427" y="624"/>
                  </a:cubicBezTo>
                  <a:cubicBezTo>
                    <a:pt x="443" y="616"/>
                    <a:pt x="467" y="585"/>
                    <a:pt x="483" y="553"/>
                  </a:cubicBezTo>
                  <a:cubicBezTo>
                    <a:pt x="491" y="545"/>
                    <a:pt x="498" y="529"/>
                    <a:pt x="506" y="521"/>
                  </a:cubicBezTo>
                  <a:cubicBezTo>
                    <a:pt x="530" y="498"/>
                    <a:pt x="522" y="435"/>
                    <a:pt x="514" y="379"/>
                  </a:cubicBezTo>
                  <a:cubicBezTo>
                    <a:pt x="506" y="340"/>
                    <a:pt x="522" y="332"/>
                    <a:pt x="538" y="332"/>
                  </a:cubicBezTo>
                  <a:cubicBezTo>
                    <a:pt x="546" y="332"/>
                    <a:pt x="554" y="324"/>
                    <a:pt x="554" y="324"/>
                  </a:cubicBezTo>
                  <a:cubicBezTo>
                    <a:pt x="562" y="316"/>
                    <a:pt x="554" y="268"/>
                    <a:pt x="554" y="237"/>
                  </a:cubicBezTo>
                  <a:cubicBezTo>
                    <a:pt x="554" y="221"/>
                    <a:pt x="546" y="205"/>
                    <a:pt x="546" y="197"/>
                  </a:cubicBezTo>
                  <a:cubicBezTo>
                    <a:pt x="546" y="166"/>
                    <a:pt x="546" y="166"/>
                    <a:pt x="562" y="166"/>
                  </a:cubicBezTo>
                  <a:lnTo>
                    <a:pt x="569" y="158"/>
                  </a:lnTo>
                  <a:cubicBezTo>
                    <a:pt x="578" y="158"/>
                    <a:pt x="569" y="134"/>
                    <a:pt x="562" y="118"/>
                  </a:cubicBezTo>
                  <a:cubicBezTo>
                    <a:pt x="562" y="110"/>
                    <a:pt x="554" y="102"/>
                    <a:pt x="554" y="87"/>
                  </a:cubicBezTo>
                  <a:cubicBezTo>
                    <a:pt x="554" y="79"/>
                    <a:pt x="546" y="63"/>
                    <a:pt x="546" y="47"/>
                  </a:cubicBezTo>
                  <a:cubicBezTo>
                    <a:pt x="546" y="39"/>
                    <a:pt x="538" y="24"/>
                    <a:pt x="538" y="15"/>
                  </a:cubicBezTo>
                  <a:lnTo>
                    <a:pt x="538" y="8"/>
                  </a:lnTo>
                  <a:cubicBezTo>
                    <a:pt x="546" y="0"/>
                    <a:pt x="554" y="0"/>
                    <a:pt x="562" y="0"/>
                  </a:cubicBezTo>
                  <a:cubicBezTo>
                    <a:pt x="569" y="0"/>
                    <a:pt x="569" y="0"/>
                    <a:pt x="569" y="0"/>
                  </a:cubicBezTo>
                  <a:cubicBezTo>
                    <a:pt x="578" y="0"/>
                    <a:pt x="578" y="0"/>
                    <a:pt x="578" y="0"/>
                  </a:cubicBezTo>
                  <a:cubicBezTo>
                    <a:pt x="657" y="419"/>
                    <a:pt x="657" y="419"/>
                    <a:pt x="657" y="419"/>
                  </a:cubicBezTo>
                  <a:cubicBezTo>
                    <a:pt x="1020" y="348"/>
                    <a:pt x="1020" y="348"/>
                    <a:pt x="1020" y="348"/>
                  </a:cubicBezTo>
                  <a:cubicBezTo>
                    <a:pt x="1060" y="577"/>
                    <a:pt x="1060" y="577"/>
                    <a:pt x="1060" y="577"/>
                  </a:cubicBezTo>
                  <a:cubicBezTo>
                    <a:pt x="1178" y="442"/>
                    <a:pt x="1178" y="442"/>
                    <a:pt x="1178" y="442"/>
                  </a:cubicBezTo>
                  <a:lnTo>
                    <a:pt x="1178" y="442"/>
                  </a:lnTo>
                  <a:cubicBezTo>
                    <a:pt x="1178" y="442"/>
                    <a:pt x="1202" y="435"/>
                    <a:pt x="1218" y="435"/>
                  </a:cubicBezTo>
                  <a:cubicBezTo>
                    <a:pt x="1226" y="435"/>
                    <a:pt x="1226" y="442"/>
                    <a:pt x="1234" y="442"/>
                  </a:cubicBezTo>
                  <a:cubicBezTo>
                    <a:pt x="1234" y="450"/>
                    <a:pt x="1234" y="450"/>
                    <a:pt x="1234" y="450"/>
                  </a:cubicBezTo>
                  <a:lnTo>
                    <a:pt x="1242" y="435"/>
                  </a:lnTo>
                  <a:lnTo>
                    <a:pt x="1242" y="435"/>
                  </a:lnTo>
                  <a:cubicBezTo>
                    <a:pt x="1242" y="426"/>
                    <a:pt x="1250" y="419"/>
                    <a:pt x="1250" y="411"/>
                  </a:cubicBezTo>
                  <a:cubicBezTo>
                    <a:pt x="1265" y="363"/>
                    <a:pt x="1273" y="348"/>
                    <a:pt x="1289" y="348"/>
                  </a:cubicBezTo>
                  <a:lnTo>
                    <a:pt x="1289" y="348"/>
                  </a:lnTo>
                  <a:cubicBezTo>
                    <a:pt x="1297" y="348"/>
                    <a:pt x="1297" y="355"/>
                    <a:pt x="1297" y="355"/>
                  </a:cubicBezTo>
                  <a:cubicBezTo>
                    <a:pt x="1305" y="371"/>
                    <a:pt x="1313" y="379"/>
                    <a:pt x="1337" y="379"/>
                  </a:cubicBezTo>
                  <a:cubicBezTo>
                    <a:pt x="1360" y="387"/>
                    <a:pt x="1368" y="371"/>
                    <a:pt x="1384" y="355"/>
                  </a:cubicBezTo>
                  <a:cubicBezTo>
                    <a:pt x="1384" y="348"/>
                    <a:pt x="1392" y="340"/>
                    <a:pt x="1400" y="340"/>
                  </a:cubicBezTo>
                  <a:cubicBezTo>
                    <a:pt x="1408" y="332"/>
                    <a:pt x="1415" y="332"/>
                    <a:pt x="1423" y="332"/>
                  </a:cubicBezTo>
                  <a:cubicBezTo>
                    <a:pt x="1439" y="324"/>
                    <a:pt x="1447" y="316"/>
                    <a:pt x="1455" y="308"/>
                  </a:cubicBezTo>
                  <a:cubicBezTo>
                    <a:pt x="1463" y="300"/>
                    <a:pt x="1487" y="292"/>
                    <a:pt x="1502" y="292"/>
                  </a:cubicBezTo>
                  <a:cubicBezTo>
                    <a:pt x="1510" y="292"/>
                    <a:pt x="1510" y="292"/>
                    <a:pt x="1518" y="292"/>
                  </a:cubicBezTo>
                  <a:cubicBezTo>
                    <a:pt x="1534" y="300"/>
                    <a:pt x="1558" y="300"/>
                    <a:pt x="1581" y="300"/>
                  </a:cubicBezTo>
                  <a:cubicBezTo>
                    <a:pt x="1613" y="300"/>
                    <a:pt x="1637" y="324"/>
                    <a:pt x="1645" y="340"/>
                  </a:cubicBezTo>
                  <a:cubicBezTo>
                    <a:pt x="1645" y="363"/>
                    <a:pt x="1676" y="403"/>
                    <a:pt x="1684" y="419"/>
                  </a:cubicBezTo>
                  <a:lnTo>
                    <a:pt x="1684" y="419"/>
                  </a:lnTo>
                  <a:cubicBezTo>
                    <a:pt x="1692" y="411"/>
                    <a:pt x="1692" y="411"/>
                    <a:pt x="1692" y="411"/>
                  </a:cubicBezTo>
                  <a:cubicBezTo>
                    <a:pt x="1692" y="419"/>
                    <a:pt x="1692" y="419"/>
                    <a:pt x="1692" y="419"/>
                  </a:cubicBezTo>
                  <a:cubicBezTo>
                    <a:pt x="1668" y="474"/>
                    <a:pt x="1637" y="506"/>
                    <a:pt x="1613" y="498"/>
                  </a:cubicBezTo>
                  <a:cubicBezTo>
                    <a:pt x="1590" y="490"/>
                    <a:pt x="1542" y="458"/>
                    <a:pt x="1510" y="435"/>
                  </a:cubicBezTo>
                  <a:cubicBezTo>
                    <a:pt x="1495" y="426"/>
                    <a:pt x="1479" y="411"/>
                    <a:pt x="1479" y="411"/>
                  </a:cubicBezTo>
                  <a:cubicBezTo>
                    <a:pt x="1471" y="411"/>
                    <a:pt x="1463" y="411"/>
                    <a:pt x="1463" y="411"/>
                  </a:cubicBezTo>
                  <a:cubicBezTo>
                    <a:pt x="1455" y="426"/>
                    <a:pt x="1447" y="450"/>
                    <a:pt x="1447" y="482"/>
                  </a:cubicBezTo>
                  <a:cubicBezTo>
                    <a:pt x="1447" y="529"/>
                    <a:pt x="1447" y="577"/>
                    <a:pt x="1431" y="624"/>
                  </a:cubicBezTo>
                  <a:cubicBezTo>
                    <a:pt x="1423" y="672"/>
                    <a:pt x="1415" y="672"/>
                    <a:pt x="1392" y="672"/>
                  </a:cubicBezTo>
                  <a:cubicBezTo>
                    <a:pt x="1392" y="672"/>
                    <a:pt x="1384" y="679"/>
                    <a:pt x="1376" y="679"/>
                  </a:cubicBezTo>
                  <a:cubicBezTo>
                    <a:pt x="1352" y="679"/>
                    <a:pt x="1352" y="703"/>
                    <a:pt x="1352" y="719"/>
                  </a:cubicBezTo>
                  <a:cubicBezTo>
                    <a:pt x="1352" y="735"/>
                    <a:pt x="1352" y="743"/>
                    <a:pt x="1344" y="751"/>
                  </a:cubicBezTo>
                  <a:cubicBezTo>
                    <a:pt x="1344" y="766"/>
                    <a:pt x="1328" y="766"/>
                    <a:pt x="1321" y="766"/>
                  </a:cubicBezTo>
                  <a:cubicBezTo>
                    <a:pt x="1313" y="766"/>
                    <a:pt x="1305" y="766"/>
                    <a:pt x="1297" y="766"/>
                  </a:cubicBezTo>
                  <a:cubicBezTo>
                    <a:pt x="1289" y="766"/>
                    <a:pt x="1273" y="759"/>
                    <a:pt x="1265" y="766"/>
                  </a:cubicBezTo>
                  <a:cubicBezTo>
                    <a:pt x="1257" y="766"/>
                    <a:pt x="1257" y="766"/>
                    <a:pt x="1257" y="766"/>
                  </a:cubicBezTo>
                  <a:cubicBezTo>
                    <a:pt x="1257" y="766"/>
                    <a:pt x="1257" y="774"/>
                    <a:pt x="1257" y="782"/>
                  </a:cubicBezTo>
                  <a:cubicBezTo>
                    <a:pt x="1265" y="790"/>
                    <a:pt x="1265" y="806"/>
                    <a:pt x="1265" y="822"/>
                  </a:cubicBezTo>
                  <a:cubicBezTo>
                    <a:pt x="1265" y="838"/>
                    <a:pt x="1265" y="854"/>
                    <a:pt x="1257" y="854"/>
                  </a:cubicBezTo>
                  <a:cubicBezTo>
                    <a:pt x="1250" y="854"/>
                    <a:pt x="1242" y="854"/>
                    <a:pt x="1234" y="846"/>
                  </a:cubicBezTo>
                  <a:cubicBezTo>
                    <a:pt x="1234" y="838"/>
                    <a:pt x="1226" y="846"/>
                    <a:pt x="1218" y="854"/>
                  </a:cubicBezTo>
                  <a:cubicBezTo>
                    <a:pt x="1210" y="861"/>
                    <a:pt x="1202" y="885"/>
                    <a:pt x="1202" y="893"/>
                  </a:cubicBezTo>
                  <a:lnTo>
                    <a:pt x="1202" y="893"/>
                  </a:lnTo>
                  <a:cubicBezTo>
                    <a:pt x="1202" y="917"/>
                    <a:pt x="1202" y="932"/>
                    <a:pt x="1194" y="941"/>
                  </a:cubicBezTo>
                  <a:cubicBezTo>
                    <a:pt x="1194" y="948"/>
                    <a:pt x="1186" y="948"/>
                    <a:pt x="1186" y="948"/>
                  </a:cubicBezTo>
                  <a:cubicBezTo>
                    <a:pt x="1170" y="948"/>
                    <a:pt x="1147" y="925"/>
                    <a:pt x="1123" y="909"/>
                  </a:cubicBezTo>
                  <a:cubicBezTo>
                    <a:pt x="1123" y="901"/>
                    <a:pt x="1123" y="901"/>
                    <a:pt x="1123" y="901"/>
                  </a:cubicBezTo>
                  <a:cubicBezTo>
                    <a:pt x="1107" y="893"/>
                    <a:pt x="1099" y="893"/>
                    <a:pt x="1075" y="909"/>
                  </a:cubicBezTo>
                  <a:cubicBezTo>
                    <a:pt x="1068" y="917"/>
                    <a:pt x="1060" y="917"/>
                    <a:pt x="1052" y="925"/>
                  </a:cubicBezTo>
                  <a:cubicBezTo>
                    <a:pt x="1028" y="941"/>
                    <a:pt x="1028" y="956"/>
                    <a:pt x="1028" y="988"/>
                  </a:cubicBezTo>
                  <a:cubicBezTo>
                    <a:pt x="1028" y="1004"/>
                    <a:pt x="1028" y="1027"/>
                    <a:pt x="1020" y="1051"/>
                  </a:cubicBezTo>
                  <a:cubicBezTo>
                    <a:pt x="1012" y="1083"/>
                    <a:pt x="1004" y="1099"/>
                    <a:pt x="1004" y="1106"/>
                  </a:cubicBezTo>
                  <a:cubicBezTo>
                    <a:pt x="997" y="1114"/>
                    <a:pt x="997" y="1114"/>
                    <a:pt x="997" y="1138"/>
                  </a:cubicBezTo>
                  <a:cubicBezTo>
                    <a:pt x="989" y="1170"/>
                    <a:pt x="989" y="1178"/>
                    <a:pt x="965" y="1201"/>
                  </a:cubicBezTo>
                  <a:cubicBezTo>
                    <a:pt x="965" y="1201"/>
                    <a:pt x="957" y="1209"/>
                    <a:pt x="957" y="1217"/>
                  </a:cubicBezTo>
                  <a:cubicBezTo>
                    <a:pt x="941" y="1241"/>
                    <a:pt x="933" y="1249"/>
                    <a:pt x="925" y="1272"/>
                  </a:cubicBezTo>
                  <a:cubicBezTo>
                    <a:pt x="917" y="1288"/>
                    <a:pt x="910" y="1304"/>
                    <a:pt x="894" y="1328"/>
                  </a:cubicBezTo>
                  <a:cubicBezTo>
                    <a:pt x="886" y="1344"/>
                    <a:pt x="886" y="1352"/>
                    <a:pt x="886" y="1359"/>
                  </a:cubicBezTo>
                  <a:cubicBezTo>
                    <a:pt x="886" y="1359"/>
                    <a:pt x="894" y="1359"/>
                    <a:pt x="902" y="1359"/>
                  </a:cubicBezTo>
                  <a:cubicBezTo>
                    <a:pt x="910" y="1359"/>
                    <a:pt x="925" y="1359"/>
                    <a:pt x="933" y="1367"/>
                  </a:cubicBezTo>
                  <a:cubicBezTo>
                    <a:pt x="949" y="1375"/>
                    <a:pt x="957" y="1383"/>
                    <a:pt x="957" y="1391"/>
                  </a:cubicBezTo>
                  <a:cubicBezTo>
                    <a:pt x="957" y="1399"/>
                    <a:pt x="933" y="1399"/>
                    <a:pt x="925" y="1399"/>
                  </a:cubicBezTo>
                  <a:cubicBezTo>
                    <a:pt x="917" y="1399"/>
                    <a:pt x="910" y="1415"/>
                    <a:pt x="902" y="1431"/>
                  </a:cubicBezTo>
                  <a:cubicBezTo>
                    <a:pt x="894" y="1454"/>
                    <a:pt x="886" y="1470"/>
                    <a:pt x="862" y="1478"/>
                  </a:cubicBezTo>
                  <a:cubicBezTo>
                    <a:pt x="854" y="1485"/>
                    <a:pt x="846" y="1485"/>
                    <a:pt x="838" y="1485"/>
                  </a:cubicBezTo>
                  <a:lnTo>
                    <a:pt x="831" y="1485"/>
                  </a:lnTo>
                  <a:cubicBezTo>
                    <a:pt x="822" y="1485"/>
                    <a:pt x="822" y="1485"/>
                    <a:pt x="822" y="1485"/>
                  </a:cubicBezTo>
                  <a:lnTo>
                    <a:pt x="822" y="1485"/>
                  </a:lnTo>
                  <a:cubicBezTo>
                    <a:pt x="831" y="1517"/>
                    <a:pt x="783" y="1524"/>
                    <a:pt x="712" y="1540"/>
                  </a:cubicBezTo>
                  <a:cubicBezTo>
                    <a:pt x="704" y="1540"/>
                    <a:pt x="704" y="1540"/>
                    <a:pt x="704" y="1540"/>
                  </a:cubicBezTo>
                  <a:cubicBezTo>
                    <a:pt x="680" y="1548"/>
                    <a:pt x="672" y="1548"/>
                    <a:pt x="672" y="1548"/>
                  </a:cubicBezTo>
                  <a:cubicBezTo>
                    <a:pt x="672" y="1556"/>
                    <a:pt x="672" y="1556"/>
                    <a:pt x="680" y="1556"/>
                  </a:cubicBezTo>
                  <a:cubicBezTo>
                    <a:pt x="680" y="1564"/>
                    <a:pt x="688" y="1572"/>
                    <a:pt x="680" y="1580"/>
                  </a:cubicBezTo>
                  <a:cubicBezTo>
                    <a:pt x="664" y="1588"/>
                    <a:pt x="625" y="1619"/>
                    <a:pt x="569" y="1619"/>
                  </a:cubicBezTo>
                  <a:cubicBezTo>
                    <a:pt x="562" y="1619"/>
                    <a:pt x="546" y="1611"/>
                    <a:pt x="538" y="1611"/>
                  </a:cubicBezTo>
                  <a:cubicBezTo>
                    <a:pt x="522" y="1611"/>
                    <a:pt x="514" y="1604"/>
                    <a:pt x="506" y="1604"/>
                  </a:cubicBezTo>
                  <a:cubicBezTo>
                    <a:pt x="498" y="1604"/>
                    <a:pt x="498" y="1611"/>
                    <a:pt x="498" y="1619"/>
                  </a:cubicBezTo>
                  <a:cubicBezTo>
                    <a:pt x="498" y="1627"/>
                    <a:pt x="498" y="1643"/>
                    <a:pt x="483" y="1667"/>
                  </a:cubicBezTo>
                  <a:cubicBezTo>
                    <a:pt x="475" y="1675"/>
                    <a:pt x="467" y="1682"/>
                    <a:pt x="459" y="1682"/>
                  </a:cubicBezTo>
                  <a:close/>
                  <a:moveTo>
                    <a:pt x="174" y="846"/>
                  </a:moveTo>
                  <a:lnTo>
                    <a:pt x="174" y="846"/>
                  </a:lnTo>
                  <a:cubicBezTo>
                    <a:pt x="167" y="846"/>
                    <a:pt x="167" y="846"/>
                    <a:pt x="167" y="846"/>
                  </a:cubicBezTo>
                  <a:cubicBezTo>
                    <a:pt x="151" y="854"/>
                    <a:pt x="135" y="893"/>
                    <a:pt x="135" y="917"/>
                  </a:cubicBezTo>
                  <a:cubicBezTo>
                    <a:pt x="135" y="932"/>
                    <a:pt x="135" y="948"/>
                    <a:pt x="127" y="956"/>
                  </a:cubicBezTo>
                  <a:cubicBezTo>
                    <a:pt x="127" y="972"/>
                    <a:pt x="119" y="988"/>
                    <a:pt x="127" y="1004"/>
                  </a:cubicBezTo>
                  <a:cubicBezTo>
                    <a:pt x="135" y="1012"/>
                    <a:pt x="143" y="1043"/>
                    <a:pt x="135" y="1067"/>
                  </a:cubicBezTo>
                  <a:cubicBezTo>
                    <a:pt x="135" y="1075"/>
                    <a:pt x="127" y="1075"/>
                    <a:pt x="127" y="1075"/>
                  </a:cubicBezTo>
                  <a:cubicBezTo>
                    <a:pt x="119" y="1083"/>
                    <a:pt x="111" y="1083"/>
                    <a:pt x="111" y="1083"/>
                  </a:cubicBezTo>
                  <a:cubicBezTo>
                    <a:pt x="95" y="1083"/>
                    <a:pt x="95" y="1083"/>
                    <a:pt x="95" y="1106"/>
                  </a:cubicBezTo>
                  <a:cubicBezTo>
                    <a:pt x="95" y="1114"/>
                    <a:pt x="95" y="1114"/>
                    <a:pt x="95" y="1114"/>
                  </a:cubicBezTo>
                  <a:cubicBezTo>
                    <a:pt x="95" y="1146"/>
                    <a:pt x="95" y="1154"/>
                    <a:pt x="64" y="1162"/>
                  </a:cubicBezTo>
                  <a:cubicBezTo>
                    <a:pt x="32" y="1162"/>
                    <a:pt x="8" y="1178"/>
                    <a:pt x="8" y="1178"/>
                  </a:cubicBezTo>
                  <a:cubicBezTo>
                    <a:pt x="8" y="1193"/>
                    <a:pt x="16" y="1280"/>
                    <a:pt x="48" y="1304"/>
                  </a:cubicBezTo>
                  <a:cubicBezTo>
                    <a:pt x="72" y="1320"/>
                    <a:pt x="87" y="1352"/>
                    <a:pt x="103" y="1383"/>
                  </a:cubicBezTo>
                  <a:cubicBezTo>
                    <a:pt x="111" y="1391"/>
                    <a:pt x="111" y="1391"/>
                    <a:pt x="111" y="1391"/>
                  </a:cubicBezTo>
                  <a:cubicBezTo>
                    <a:pt x="111" y="1399"/>
                    <a:pt x="119" y="1407"/>
                    <a:pt x="119" y="1415"/>
                  </a:cubicBezTo>
                  <a:cubicBezTo>
                    <a:pt x="135" y="1446"/>
                    <a:pt x="143" y="1478"/>
                    <a:pt x="190" y="1501"/>
                  </a:cubicBezTo>
                  <a:cubicBezTo>
                    <a:pt x="214" y="1517"/>
                    <a:pt x="238" y="1517"/>
                    <a:pt x="253" y="1517"/>
                  </a:cubicBezTo>
                  <a:cubicBezTo>
                    <a:pt x="269" y="1524"/>
                    <a:pt x="285" y="1524"/>
                    <a:pt x="301" y="1548"/>
                  </a:cubicBezTo>
                  <a:cubicBezTo>
                    <a:pt x="309" y="1556"/>
                    <a:pt x="301" y="1572"/>
                    <a:pt x="301" y="1580"/>
                  </a:cubicBezTo>
                  <a:cubicBezTo>
                    <a:pt x="301" y="1588"/>
                    <a:pt x="301" y="1588"/>
                    <a:pt x="301" y="1595"/>
                  </a:cubicBezTo>
                  <a:cubicBezTo>
                    <a:pt x="309" y="1604"/>
                    <a:pt x="325" y="1604"/>
                    <a:pt x="356" y="1611"/>
                  </a:cubicBezTo>
                  <a:cubicBezTo>
                    <a:pt x="404" y="1627"/>
                    <a:pt x="427" y="1643"/>
                    <a:pt x="443" y="1659"/>
                  </a:cubicBezTo>
                  <a:cubicBezTo>
                    <a:pt x="451" y="1667"/>
                    <a:pt x="459" y="1675"/>
                    <a:pt x="459" y="1675"/>
                  </a:cubicBezTo>
                  <a:cubicBezTo>
                    <a:pt x="467" y="1675"/>
                    <a:pt x="467" y="1667"/>
                    <a:pt x="475" y="1659"/>
                  </a:cubicBezTo>
                  <a:cubicBezTo>
                    <a:pt x="491" y="1643"/>
                    <a:pt x="491" y="1627"/>
                    <a:pt x="491" y="1619"/>
                  </a:cubicBezTo>
                  <a:cubicBezTo>
                    <a:pt x="491" y="1604"/>
                    <a:pt x="498" y="1595"/>
                    <a:pt x="506" y="1595"/>
                  </a:cubicBezTo>
                  <a:cubicBezTo>
                    <a:pt x="514" y="1595"/>
                    <a:pt x="522" y="1604"/>
                    <a:pt x="538" y="1604"/>
                  </a:cubicBezTo>
                  <a:cubicBezTo>
                    <a:pt x="546" y="1604"/>
                    <a:pt x="562" y="1611"/>
                    <a:pt x="569" y="1611"/>
                  </a:cubicBezTo>
                  <a:cubicBezTo>
                    <a:pt x="617" y="1611"/>
                    <a:pt x="664" y="1588"/>
                    <a:pt x="672" y="1572"/>
                  </a:cubicBezTo>
                  <a:cubicBezTo>
                    <a:pt x="680" y="1572"/>
                    <a:pt x="680" y="1572"/>
                    <a:pt x="672" y="1564"/>
                  </a:cubicBezTo>
                  <a:cubicBezTo>
                    <a:pt x="664" y="1556"/>
                    <a:pt x="664" y="1556"/>
                    <a:pt x="664" y="1548"/>
                  </a:cubicBezTo>
                  <a:cubicBezTo>
                    <a:pt x="672" y="1540"/>
                    <a:pt x="680" y="1540"/>
                    <a:pt x="704" y="1532"/>
                  </a:cubicBezTo>
                  <a:cubicBezTo>
                    <a:pt x="712" y="1532"/>
                    <a:pt x="712" y="1532"/>
                    <a:pt x="712" y="1532"/>
                  </a:cubicBezTo>
                  <a:cubicBezTo>
                    <a:pt x="767" y="1517"/>
                    <a:pt x="822" y="1509"/>
                    <a:pt x="815" y="1493"/>
                  </a:cubicBezTo>
                  <a:cubicBezTo>
                    <a:pt x="815" y="1485"/>
                    <a:pt x="815" y="1485"/>
                    <a:pt x="815" y="1478"/>
                  </a:cubicBezTo>
                  <a:cubicBezTo>
                    <a:pt x="822" y="1478"/>
                    <a:pt x="822" y="1478"/>
                    <a:pt x="831" y="1478"/>
                  </a:cubicBezTo>
                  <a:lnTo>
                    <a:pt x="838" y="1478"/>
                  </a:lnTo>
                  <a:cubicBezTo>
                    <a:pt x="846" y="1478"/>
                    <a:pt x="854" y="1478"/>
                    <a:pt x="862" y="1478"/>
                  </a:cubicBezTo>
                  <a:cubicBezTo>
                    <a:pt x="878" y="1470"/>
                    <a:pt x="886" y="1446"/>
                    <a:pt x="894" y="1431"/>
                  </a:cubicBezTo>
                  <a:cubicBezTo>
                    <a:pt x="902" y="1415"/>
                    <a:pt x="910" y="1399"/>
                    <a:pt x="925" y="1399"/>
                  </a:cubicBezTo>
                  <a:cubicBezTo>
                    <a:pt x="933" y="1399"/>
                    <a:pt x="949" y="1391"/>
                    <a:pt x="949" y="1383"/>
                  </a:cubicBezTo>
                  <a:cubicBezTo>
                    <a:pt x="949" y="1383"/>
                    <a:pt x="949" y="1375"/>
                    <a:pt x="933" y="1375"/>
                  </a:cubicBezTo>
                  <a:cubicBezTo>
                    <a:pt x="917" y="1367"/>
                    <a:pt x="910" y="1367"/>
                    <a:pt x="902" y="1367"/>
                  </a:cubicBezTo>
                  <a:cubicBezTo>
                    <a:pt x="886" y="1367"/>
                    <a:pt x="878" y="1367"/>
                    <a:pt x="878" y="1359"/>
                  </a:cubicBezTo>
                  <a:cubicBezTo>
                    <a:pt x="878" y="1352"/>
                    <a:pt x="878" y="1344"/>
                    <a:pt x="894" y="1328"/>
                  </a:cubicBezTo>
                  <a:cubicBezTo>
                    <a:pt x="910" y="1304"/>
                    <a:pt x="910" y="1280"/>
                    <a:pt x="917" y="1265"/>
                  </a:cubicBezTo>
                  <a:cubicBezTo>
                    <a:pt x="925" y="1249"/>
                    <a:pt x="933" y="1233"/>
                    <a:pt x="949" y="1209"/>
                  </a:cubicBezTo>
                  <a:cubicBezTo>
                    <a:pt x="957" y="1209"/>
                    <a:pt x="957" y="1201"/>
                    <a:pt x="965" y="1193"/>
                  </a:cubicBezTo>
                  <a:cubicBezTo>
                    <a:pt x="981" y="1170"/>
                    <a:pt x="981" y="1170"/>
                    <a:pt x="989" y="1138"/>
                  </a:cubicBezTo>
                  <a:cubicBezTo>
                    <a:pt x="989" y="1114"/>
                    <a:pt x="989" y="1106"/>
                    <a:pt x="997" y="1099"/>
                  </a:cubicBezTo>
                  <a:cubicBezTo>
                    <a:pt x="1004" y="1091"/>
                    <a:pt x="1004" y="1083"/>
                    <a:pt x="1012" y="1051"/>
                  </a:cubicBezTo>
                  <a:cubicBezTo>
                    <a:pt x="1020" y="1027"/>
                    <a:pt x="1020" y="1004"/>
                    <a:pt x="1020" y="988"/>
                  </a:cubicBezTo>
                  <a:cubicBezTo>
                    <a:pt x="1020" y="956"/>
                    <a:pt x="1020" y="932"/>
                    <a:pt x="1044" y="917"/>
                  </a:cubicBezTo>
                  <a:cubicBezTo>
                    <a:pt x="1060" y="917"/>
                    <a:pt x="1068" y="909"/>
                    <a:pt x="1075" y="901"/>
                  </a:cubicBezTo>
                  <a:cubicBezTo>
                    <a:pt x="1084" y="893"/>
                    <a:pt x="1091" y="885"/>
                    <a:pt x="1107" y="885"/>
                  </a:cubicBezTo>
                  <a:cubicBezTo>
                    <a:pt x="1115" y="885"/>
                    <a:pt x="1115" y="893"/>
                    <a:pt x="1123" y="901"/>
                  </a:cubicBezTo>
                  <a:cubicBezTo>
                    <a:pt x="1131" y="901"/>
                    <a:pt x="1131" y="901"/>
                    <a:pt x="1131" y="901"/>
                  </a:cubicBezTo>
                  <a:cubicBezTo>
                    <a:pt x="1147" y="917"/>
                    <a:pt x="1170" y="941"/>
                    <a:pt x="1186" y="941"/>
                  </a:cubicBezTo>
                  <a:lnTo>
                    <a:pt x="1186" y="941"/>
                  </a:lnTo>
                  <a:cubicBezTo>
                    <a:pt x="1202" y="925"/>
                    <a:pt x="1194" y="917"/>
                    <a:pt x="1194" y="901"/>
                  </a:cubicBezTo>
                  <a:cubicBezTo>
                    <a:pt x="1194" y="893"/>
                    <a:pt x="1194" y="893"/>
                    <a:pt x="1194" y="893"/>
                  </a:cubicBezTo>
                  <a:cubicBezTo>
                    <a:pt x="1194" y="885"/>
                    <a:pt x="1202" y="861"/>
                    <a:pt x="1210" y="846"/>
                  </a:cubicBezTo>
                  <a:cubicBezTo>
                    <a:pt x="1226" y="838"/>
                    <a:pt x="1234" y="830"/>
                    <a:pt x="1242" y="838"/>
                  </a:cubicBezTo>
                  <a:cubicBezTo>
                    <a:pt x="1250" y="846"/>
                    <a:pt x="1250" y="846"/>
                    <a:pt x="1257" y="846"/>
                  </a:cubicBezTo>
                  <a:cubicBezTo>
                    <a:pt x="1257" y="846"/>
                    <a:pt x="1257" y="846"/>
                    <a:pt x="1257" y="822"/>
                  </a:cubicBezTo>
                  <a:cubicBezTo>
                    <a:pt x="1257" y="806"/>
                    <a:pt x="1257" y="798"/>
                    <a:pt x="1250" y="790"/>
                  </a:cubicBezTo>
                  <a:cubicBezTo>
                    <a:pt x="1250" y="774"/>
                    <a:pt x="1250" y="766"/>
                    <a:pt x="1250" y="759"/>
                  </a:cubicBezTo>
                  <a:cubicBezTo>
                    <a:pt x="1250" y="759"/>
                    <a:pt x="1257" y="759"/>
                    <a:pt x="1265" y="759"/>
                  </a:cubicBezTo>
                  <a:cubicBezTo>
                    <a:pt x="1273" y="759"/>
                    <a:pt x="1289" y="759"/>
                    <a:pt x="1297" y="759"/>
                  </a:cubicBezTo>
                  <a:cubicBezTo>
                    <a:pt x="1305" y="759"/>
                    <a:pt x="1313" y="759"/>
                    <a:pt x="1321" y="759"/>
                  </a:cubicBezTo>
                  <a:cubicBezTo>
                    <a:pt x="1328" y="759"/>
                    <a:pt x="1337" y="759"/>
                    <a:pt x="1337" y="751"/>
                  </a:cubicBezTo>
                  <a:cubicBezTo>
                    <a:pt x="1344" y="743"/>
                    <a:pt x="1344" y="727"/>
                    <a:pt x="1344" y="719"/>
                  </a:cubicBezTo>
                  <a:cubicBezTo>
                    <a:pt x="1344" y="703"/>
                    <a:pt x="1344" y="679"/>
                    <a:pt x="1376" y="672"/>
                  </a:cubicBezTo>
                  <a:cubicBezTo>
                    <a:pt x="1384" y="672"/>
                    <a:pt x="1392" y="672"/>
                    <a:pt x="1392" y="672"/>
                  </a:cubicBezTo>
                  <a:cubicBezTo>
                    <a:pt x="1408" y="664"/>
                    <a:pt x="1415" y="664"/>
                    <a:pt x="1423" y="624"/>
                  </a:cubicBezTo>
                  <a:cubicBezTo>
                    <a:pt x="1439" y="561"/>
                    <a:pt x="1439" y="514"/>
                    <a:pt x="1439" y="482"/>
                  </a:cubicBezTo>
                  <a:cubicBezTo>
                    <a:pt x="1439" y="458"/>
                    <a:pt x="1439" y="419"/>
                    <a:pt x="1455" y="411"/>
                  </a:cubicBezTo>
                  <a:cubicBezTo>
                    <a:pt x="1463" y="403"/>
                    <a:pt x="1471" y="403"/>
                    <a:pt x="1479" y="403"/>
                  </a:cubicBezTo>
                  <a:cubicBezTo>
                    <a:pt x="1487" y="411"/>
                    <a:pt x="1502" y="419"/>
                    <a:pt x="1518" y="426"/>
                  </a:cubicBezTo>
                  <a:cubicBezTo>
                    <a:pt x="1550" y="450"/>
                    <a:pt x="1590" y="490"/>
                    <a:pt x="1613" y="490"/>
                  </a:cubicBezTo>
                  <a:lnTo>
                    <a:pt x="1621" y="490"/>
                  </a:lnTo>
                  <a:cubicBezTo>
                    <a:pt x="1637" y="490"/>
                    <a:pt x="1661" y="466"/>
                    <a:pt x="1676" y="426"/>
                  </a:cubicBezTo>
                  <a:lnTo>
                    <a:pt x="1676" y="426"/>
                  </a:lnTo>
                  <a:cubicBezTo>
                    <a:pt x="1676" y="419"/>
                    <a:pt x="1676" y="419"/>
                    <a:pt x="1676" y="419"/>
                  </a:cubicBezTo>
                  <a:cubicBezTo>
                    <a:pt x="1676" y="419"/>
                    <a:pt x="1645" y="363"/>
                    <a:pt x="1637" y="348"/>
                  </a:cubicBezTo>
                  <a:cubicBezTo>
                    <a:pt x="1629" y="324"/>
                    <a:pt x="1613" y="308"/>
                    <a:pt x="1581" y="308"/>
                  </a:cubicBezTo>
                  <a:cubicBezTo>
                    <a:pt x="1558" y="308"/>
                    <a:pt x="1534" y="308"/>
                    <a:pt x="1510" y="300"/>
                  </a:cubicBezTo>
                  <a:cubicBezTo>
                    <a:pt x="1510" y="300"/>
                    <a:pt x="1510" y="292"/>
                    <a:pt x="1502" y="292"/>
                  </a:cubicBezTo>
                  <a:cubicBezTo>
                    <a:pt x="1487" y="292"/>
                    <a:pt x="1471" y="308"/>
                    <a:pt x="1463" y="316"/>
                  </a:cubicBezTo>
                  <a:cubicBezTo>
                    <a:pt x="1455" y="324"/>
                    <a:pt x="1439" y="332"/>
                    <a:pt x="1423" y="332"/>
                  </a:cubicBezTo>
                  <a:cubicBezTo>
                    <a:pt x="1415" y="340"/>
                    <a:pt x="1415" y="340"/>
                    <a:pt x="1408" y="340"/>
                  </a:cubicBezTo>
                  <a:cubicBezTo>
                    <a:pt x="1400" y="348"/>
                    <a:pt x="1392" y="355"/>
                    <a:pt x="1384" y="363"/>
                  </a:cubicBezTo>
                  <a:cubicBezTo>
                    <a:pt x="1376" y="379"/>
                    <a:pt x="1368" y="395"/>
                    <a:pt x="1337" y="387"/>
                  </a:cubicBezTo>
                  <a:cubicBezTo>
                    <a:pt x="1305" y="387"/>
                    <a:pt x="1297" y="371"/>
                    <a:pt x="1289" y="363"/>
                  </a:cubicBezTo>
                  <a:cubicBezTo>
                    <a:pt x="1289" y="355"/>
                    <a:pt x="1289" y="355"/>
                    <a:pt x="1289" y="355"/>
                  </a:cubicBezTo>
                  <a:cubicBezTo>
                    <a:pt x="1281" y="355"/>
                    <a:pt x="1265" y="395"/>
                    <a:pt x="1257" y="419"/>
                  </a:cubicBezTo>
                  <a:cubicBezTo>
                    <a:pt x="1250" y="426"/>
                    <a:pt x="1250" y="435"/>
                    <a:pt x="1250" y="435"/>
                  </a:cubicBezTo>
                  <a:lnTo>
                    <a:pt x="1250" y="435"/>
                  </a:lnTo>
                  <a:cubicBezTo>
                    <a:pt x="1242" y="450"/>
                    <a:pt x="1242" y="458"/>
                    <a:pt x="1234" y="458"/>
                  </a:cubicBezTo>
                  <a:cubicBezTo>
                    <a:pt x="1226" y="458"/>
                    <a:pt x="1226" y="450"/>
                    <a:pt x="1226" y="450"/>
                  </a:cubicBezTo>
                  <a:cubicBezTo>
                    <a:pt x="1226" y="442"/>
                    <a:pt x="1226" y="442"/>
                    <a:pt x="1218" y="442"/>
                  </a:cubicBezTo>
                  <a:cubicBezTo>
                    <a:pt x="1202" y="442"/>
                    <a:pt x="1186" y="450"/>
                    <a:pt x="1186" y="450"/>
                  </a:cubicBezTo>
                  <a:cubicBezTo>
                    <a:pt x="1060" y="593"/>
                    <a:pt x="1060" y="593"/>
                    <a:pt x="1060" y="593"/>
                  </a:cubicBezTo>
                  <a:cubicBezTo>
                    <a:pt x="1020" y="355"/>
                    <a:pt x="1020" y="355"/>
                    <a:pt x="1020" y="355"/>
                  </a:cubicBezTo>
                  <a:cubicBezTo>
                    <a:pt x="649" y="426"/>
                    <a:pt x="649" y="426"/>
                    <a:pt x="649" y="426"/>
                  </a:cubicBezTo>
                  <a:cubicBezTo>
                    <a:pt x="569" y="8"/>
                    <a:pt x="569" y="8"/>
                    <a:pt x="569" y="8"/>
                  </a:cubicBezTo>
                  <a:cubicBezTo>
                    <a:pt x="569" y="8"/>
                    <a:pt x="569" y="8"/>
                    <a:pt x="562" y="8"/>
                  </a:cubicBezTo>
                  <a:cubicBezTo>
                    <a:pt x="554" y="8"/>
                    <a:pt x="546" y="8"/>
                    <a:pt x="546" y="15"/>
                  </a:cubicBezTo>
                  <a:lnTo>
                    <a:pt x="546" y="15"/>
                  </a:lnTo>
                  <a:cubicBezTo>
                    <a:pt x="546" y="24"/>
                    <a:pt x="554" y="31"/>
                    <a:pt x="554" y="47"/>
                  </a:cubicBezTo>
                  <a:cubicBezTo>
                    <a:pt x="554" y="63"/>
                    <a:pt x="562" y="71"/>
                    <a:pt x="562" y="87"/>
                  </a:cubicBezTo>
                  <a:cubicBezTo>
                    <a:pt x="562" y="95"/>
                    <a:pt x="569" y="110"/>
                    <a:pt x="569" y="118"/>
                  </a:cubicBezTo>
                  <a:cubicBezTo>
                    <a:pt x="578" y="142"/>
                    <a:pt x="585" y="158"/>
                    <a:pt x="569" y="166"/>
                  </a:cubicBezTo>
                  <a:lnTo>
                    <a:pt x="562" y="166"/>
                  </a:lnTo>
                  <a:cubicBezTo>
                    <a:pt x="554" y="174"/>
                    <a:pt x="554" y="174"/>
                    <a:pt x="554" y="197"/>
                  </a:cubicBezTo>
                  <a:cubicBezTo>
                    <a:pt x="554" y="205"/>
                    <a:pt x="554" y="221"/>
                    <a:pt x="562" y="237"/>
                  </a:cubicBezTo>
                  <a:cubicBezTo>
                    <a:pt x="562" y="284"/>
                    <a:pt x="569" y="316"/>
                    <a:pt x="562" y="332"/>
                  </a:cubicBezTo>
                  <a:cubicBezTo>
                    <a:pt x="554" y="332"/>
                    <a:pt x="546" y="332"/>
                    <a:pt x="538" y="340"/>
                  </a:cubicBezTo>
                  <a:cubicBezTo>
                    <a:pt x="530" y="340"/>
                    <a:pt x="514" y="340"/>
                    <a:pt x="522" y="379"/>
                  </a:cubicBezTo>
                  <a:cubicBezTo>
                    <a:pt x="530" y="442"/>
                    <a:pt x="530" y="498"/>
                    <a:pt x="514" y="529"/>
                  </a:cubicBezTo>
                  <a:cubicBezTo>
                    <a:pt x="506" y="537"/>
                    <a:pt x="498" y="545"/>
                    <a:pt x="491" y="561"/>
                  </a:cubicBezTo>
                  <a:cubicBezTo>
                    <a:pt x="467" y="593"/>
                    <a:pt x="451" y="624"/>
                    <a:pt x="427" y="632"/>
                  </a:cubicBezTo>
                  <a:cubicBezTo>
                    <a:pt x="419" y="632"/>
                    <a:pt x="411" y="632"/>
                    <a:pt x="404" y="640"/>
                  </a:cubicBezTo>
                  <a:cubicBezTo>
                    <a:pt x="404" y="640"/>
                    <a:pt x="396" y="640"/>
                    <a:pt x="388" y="640"/>
                  </a:cubicBezTo>
                  <a:cubicBezTo>
                    <a:pt x="380" y="640"/>
                    <a:pt x="372" y="640"/>
                    <a:pt x="364" y="632"/>
                  </a:cubicBezTo>
                  <a:cubicBezTo>
                    <a:pt x="364" y="632"/>
                    <a:pt x="356" y="632"/>
                    <a:pt x="356" y="624"/>
                  </a:cubicBezTo>
                  <a:cubicBezTo>
                    <a:pt x="340" y="616"/>
                    <a:pt x="332" y="608"/>
                    <a:pt x="325" y="608"/>
                  </a:cubicBezTo>
                  <a:cubicBezTo>
                    <a:pt x="325" y="608"/>
                    <a:pt x="317" y="608"/>
                    <a:pt x="317" y="624"/>
                  </a:cubicBezTo>
                  <a:cubicBezTo>
                    <a:pt x="317" y="632"/>
                    <a:pt x="309" y="640"/>
                    <a:pt x="309" y="648"/>
                  </a:cubicBezTo>
                  <a:cubicBezTo>
                    <a:pt x="309" y="672"/>
                    <a:pt x="309" y="688"/>
                    <a:pt x="285" y="695"/>
                  </a:cubicBezTo>
                  <a:cubicBezTo>
                    <a:pt x="285" y="703"/>
                    <a:pt x="277" y="703"/>
                    <a:pt x="269" y="703"/>
                  </a:cubicBezTo>
                  <a:cubicBezTo>
                    <a:pt x="245" y="719"/>
                    <a:pt x="222" y="727"/>
                    <a:pt x="230" y="743"/>
                  </a:cubicBezTo>
                  <a:cubicBezTo>
                    <a:pt x="238" y="774"/>
                    <a:pt x="245" y="861"/>
                    <a:pt x="238" y="877"/>
                  </a:cubicBezTo>
                  <a:cubicBezTo>
                    <a:pt x="238" y="885"/>
                    <a:pt x="230" y="885"/>
                    <a:pt x="230" y="885"/>
                  </a:cubicBezTo>
                  <a:cubicBezTo>
                    <a:pt x="230" y="885"/>
                    <a:pt x="230" y="885"/>
                    <a:pt x="230" y="877"/>
                  </a:cubicBezTo>
                  <a:cubicBezTo>
                    <a:pt x="222" y="877"/>
                    <a:pt x="214" y="869"/>
                    <a:pt x="206" y="861"/>
                  </a:cubicBezTo>
                  <a:cubicBezTo>
                    <a:pt x="190" y="854"/>
                    <a:pt x="182" y="846"/>
                    <a:pt x="174" y="846"/>
                  </a:cubicBezTo>
                  <a:close/>
                </a:path>
              </a:pathLst>
            </a:custGeom>
            <a:solidFill>
              <a:schemeClr val="accent6"/>
            </a:solidFill>
            <a:ln>
              <a:solidFill>
                <a:schemeClr val="bg2"/>
              </a:solidFill>
            </a:ln>
            <a:effectLst/>
          </p:spPr>
          <p:txBody>
            <a:bodyPr wrap="none" anchor="ctr"/>
            <a:lstStyle/>
            <a:p>
              <a:endParaRPr lang="en-US"/>
            </a:p>
          </p:txBody>
        </p:sp>
        <p:sp>
          <p:nvSpPr>
            <p:cNvPr id="109" name="Freeform 779"/>
            <p:cNvSpPr>
              <a:spLocks noChangeArrowheads="1"/>
            </p:cNvSpPr>
            <p:nvPr/>
          </p:nvSpPr>
          <p:spPr bwMode="auto">
            <a:xfrm>
              <a:off x="5920570" y="3279565"/>
              <a:ext cx="1038428" cy="520550"/>
            </a:xfrm>
            <a:custGeom>
              <a:avLst/>
              <a:gdLst>
                <a:gd name="T0" fmla="*/ 2846 w 2879"/>
                <a:gd name="T1" fmla="*/ 1122 h 1668"/>
                <a:gd name="T2" fmla="*/ 2744 w 2879"/>
                <a:gd name="T3" fmla="*/ 1012 h 1668"/>
                <a:gd name="T4" fmla="*/ 2664 w 2879"/>
                <a:gd name="T5" fmla="*/ 1043 h 1668"/>
                <a:gd name="T6" fmla="*/ 2562 w 2879"/>
                <a:gd name="T7" fmla="*/ 1012 h 1668"/>
                <a:gd name="T8" fmla="*/ 2522 w 2879"/>
                <a:gd name="T9" fmla="*/ 949 h 1668"/>
                <a:gd name="T10" fmla="*/ 2641 w 2879"/>
                <a:gd name="T11" fmla="*/ 1012 h 1668"/>
                <a:gd name="T12" fmla="*/ 2657 w 2879"/>
                <a:gd name="T13" fmla="*/ 933 h 1668"/>
                <a:gd name="T14" fmla="*/ 2593 w 2879"/>
                <a:gd name="T15" fmla="*/ 901 h 1668"/>
                <a:gd name="T16" fmla="*/ 2562 w 2879"/>
                <a:gd name="T17" fmla="*/ 877 h 1668"/>
                <a:gd name="T18" fmla="*/ 2585 w 2879"/>
                <a:gd name="T19" fmla="*/ 814 h 1668"/>
                <a:gd name="T20" fmla="*/ 2641 w 2879"/>
                <a:gd name="T21" fmla="*/ 790 h 1668"/>
                <a:gd name="T22" fmla="*/ 2538 w 2879"/>
                <a:gd name="T23" fmla="*/ 727 h 1668"/>
                <a:gd name="T24" fmla="*/ 2514 w 2879"/>
                <a:gd name="T25" fmla="*/ 680 h 1668"/>
                <a:gd name="T26" fmla="*/ 2585 w 2879"/>
                <a:gd name="T27" fmla="*/ 680 h 1668"/>
                <a:gd name="T28" fmla="*/ 2609 w 2879"/>
                <a:gd name="T29" fmla="*/ 593 h 1668"/>
                <a:gd name="T30" fmla="*/ 2498 w 2879"/>
                <a:gd name="T31" fmla="*/ 506 h 1668"/>
                <a:gd name="T32" fmla="*/ 2411 w 2879"/>
                <a:gd name="T33" fmla="*/ 490 h 1668"/>
                <a:gd name="T34" fmla="*/ 2301 w 2879"/>
                <a:gd name="T35" fmla="*/ 427 h 1668"/>
                <a:gd name="T36" fmla="*/ 2158 w 2879"/>
                <a:gd name="T37" fmla="*/ 427 h 1668"/>
                <a:gd name="T38" fmla="*/ 2206 w 2879"/>
                <a:gd name="T39" fmla="*/ 206 h 1668"/>
                <a:gd name="T40" fmla="*/ 2024 w 2879"/>
                <a:gd name="T41" fmla="*/ 119 h 1668"/>
                <a:gd name="T42" fmla="*/ 1921 w 2879"/>
                <a:gd name="T43" fmla="*/ 24 h 1668"/>
                <a:gd name="T44" fmla="*/ 1716 w 2879"/>
                <a:gd name="T45" fmla="*/ 16 h 1668"/>
                <a:gd name="T46" fmla="*/ 1668 w 2879"/>
                <a:gd name="T47" fmla="*/ 229 h 1668"/>
                <a:gd name="T48" fmla="*/ 1581 w 2879"/>
                <a:gd name="T49" fmla="*/ 356 h 1668"/>
                <a:gd name="T50" fmla="*/ 1502 w 2879"/>
                <a:gd name="T51" fmla="*/ 427 h 1668"/>
                <a:gd name="T52" fmla="*/ 1439 w 2879"/>
                <a:gd name="T53" fmla="*/ 498 h 1668"/>
                <a:gd name="T54" fmla="*/ 1360 w 2879"/>
                <a:gd name="T55" fmla="*/ 506 h 1668"/>
                <a:gd name="T56" fmla="*/ 1257 w 2879"/>
                <a:gd name="T57" fmla="*/ 656 h 1668"/>
                <a:gd name="T58" fmla="*/ 1186 w 2879"/>
                <a:gd name="T59" fmla="*/ 822 h 1668"/>
                <a:gd name="T60" fmla="*/ 1170 w 2879"/>
                <a:gd name="T61" fmla="*/ 972 h 1668"/>
                <a:gd name="T62" fmla="*/ 1099 w 2879"/>
                <a:gd name="T63" fmla="*/ 1083 h 1668"/>
                <a:gd name="T64" fmla="*/ 941 w 2879"/>
                <a:gd name="T65" fmla="*/ 1137 h 1668"/>
                <a:gd name="T66" fmla="*/ 775 w 2879"/>
                <a:gd name="T67" fmla="*/ 1216 h 1668"/>
                <a:gd name="T68" fmla="*/ 593 w 2879"/>
                <a:gd name="T69" fmla="*/ 1224 h 1668"/>
                <a:gd name="T70" fmla="*/ 530 w 2879"/>
                <a:gd name="T71" fmla="*/ 1145 h 1668"/>
                <a:gd name="T72" fmla="*/ 364 w 2879"/>
                <a:gd name="T73" fmla="*/ 1319 h 1668"/>
                <a:gd name="T74" fmla="*/ 269 w 2879"/>
                <a:gd name="T75" fmla="*/ 1430 h 1668"/>
                <a:gd name="T76" fmla="*/ 229 w 2879"/>
                <a:gd name="T77" fmla="*/ 1493 h 1668"/>
                <a:gd name="T78" fmla="*/ 142 w 2879"/>
                <a:gd name="T79" fmla="*/ 1588 h 1668"/>
                <a:gd name="T80" fmla="*/ 0 w 2879"/>
                <a:gd name="T81" fmla="*/ 1667 h 1668"/>
                <a:gd name="T82" fmla="*/ 728 w 2879"/>
                <a:gd name="T83" fmla="*/ 1564 h 1668"/>
                <a:gd name="T84" fmla="*/ 2878 w 2879"/>
                <a:gd name="T85" fmla="*/ 1169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79" h="1668">
                  <a:moveTo>
                    <a:pt x="2846" y="1122"/>
                  </a:moveTo>
                  <a:lnTo>
                    <a:pt x="2846" y="1122"/>
                  </a:lnTo>
                  <a:cubicBezTo>
                    <a:pt x="2822" y="1067"/>
                    <a:pt x="2838" y="1059"/>
                    <a:pt x="2807" y="1036"/>
                  </a:cubicBezTo>
                  <a:cubicBezTo>
                    <a:pt x="2775" y="1012"/>
                    <a:pt x="2767" y="1012"/>
                    <a:pt x="2744" y="1012"/>
                  </a:cubicBezTo>
                  <a:cubicBezTo>
                    <a:pt x="2720" y="1012"/>
                    <a:pt x="2680" y="1012"/>
                    <a:pt x="2672" y="1012"/>
                  </a:cubicBezTo>
                  <a:cubicBezTo>
                    <a:pt x="2672" y="1012"/>
                    <a:pt x="2680" y="1036"/>
                    <a:pt x="2664" y="1043"/>
                  </a:cubicBezTo>
                  <a:cubicBezTo>
                    <a:pt x="2649" y="1043"/>
                    <a:pt x="2633" y="1067"/>
                    <a:pt x="2617" y="1051"/>
                  </a:cubicBezTo>
                  <a:cubicBezTo>
                    <a:pt x="2593" y="1036"/>
                    <a:pt x="2601" y="1051"/>
                    <a:pt x="2562" y="1012"/>
                  </a:cubicBezTo>
                  <a:cubicBezTo>
                    <a:pt x="2530" y="972"/>
                    <a:pt x="2514" y="964"/>
                    <a:pt x="2506" y="957"/>
                  </a:cubicBezTo>
                  <a:cubicBezTo>
                    <a:pt x="2491" y="949"/>
                    <a:pt x="2498" y="933"/>
                    <a:pt x="2522" y="949"/>
                  </a:cubicBezTo>
                  <a:cubicBezTo>
                    <a:pt x="2546" y="964"/>
                    <a:pt x="2546" y="972"/>
                    <a:pt x="2585" y="988"/>
                  </a:cubicBezTo>
                  <a:cubicBezTo>
                    <a:pt x="2625" y="1012"/>
                    <a:pt x="2625" y="1028"/>
                    <a:pt x="2641" y="1012"/>
                  </a:cubicBezTo>
                  <a:cubicBezTo>
                    <a:pt x="2664" y="996"/>
                    <a:pt x="2657" y="988"/>
                    <a:pt x="2672" y="972"/>
                  </a:cubicBezTo>
                  <a:cubicBezTo>
                    <a:pt x="2680" y="964"/>
                    <a:pt x="2672" y="933"/>
                    <a:pt x="2657" y="933"/>
                  </a:cubicBezTo>
                  <a:cubicBezTo>
                    <a:pt x="2649" y="933"/>
                    <a:pt x="2649" y="949"/>
                    <a:pt x="2633" y="925"/>
                  </a:cubicBezTo>
                  <a:cubicBezTo>
                    <a:pt x="2617" y="909"/>
                    <a:pt x="2601" y="885"/>
                    <a:pt x="2593" y="901"/>
                  </a:cubicBezTo>
                  <a:cubicBezTo>
                    <a:pt x="2585" y="917"/>
                    <a:pt x="2577" y="917"/>
                    <a:pt x="2554" y="901"/>
                  </a:cubicBezTo>
                  <a:cubicBezTo>
                    <a:pt x="2538" y="885"/>
                    <a:pt x="2546" y="877"/>
                    <a:pt x="2562" y="877"/>
                  </a:cubicBezTo>
                  <a:cubicBezTo>
                    <a:pt x="2569" y="877"/>
                    <a:pt x="2601" y="870"/>
                    <a:pt x="2593" y="854"/>
                  </a:cubicBezTo>
                  <a:cubicBezTo>
                    <a:pt x="2593" y="830"/>
                    <a:pt x="2569" y="814"/>
                    <a:pt x="2585" y="814"/>
                  </a:cubicBezTo>
                  <a:cubicBezTo>
                    <a:pt x="2601" y="822"/>
                    <a:pt x="2601" y="846"/>
                    <a:pt x="2617" y="846"/>
                  </a:cubicBezTo>
                  <a:cubicBezTo>
                    <a:pt x="2641" y="846"/>
                    <a:pt x="2649" y="806"/>
                    <a:pt x="2641" y="790"/>
                  </a:cubicBezTo>
                  <a:cubicBezTo>
                    <a:pt x="2625" y="767"/>
                    <a:pt x="2625" y="759"/>
                    <a:pt x="2609" y="751"/>
                  </a:cubicBezTo>
                  <a:cubicBezTo>
                    <a:pt x="2593" y="743"/>
                    <a:pt x="2562" y="743"/>
                    <a:pt x="2538" y="727"/>
                  </a:cubicBezTo>
                  <a:cubicBezTo>
                    <a:pt x="2514" y="711"/>
                    <a:pt x="2522" y="719"/>
                    <a:pt x="2498" y="696"/>
                  </a:cubicBezTo>
                  <a:cubicBezTo>
                    <a:pt x="2482" y="672"/>
                    <a:pt x="2506" y="672"/>
                    <a:pt x="2514" y="680"/>
                  </a:cubicBezTo>
                  <a:cubicBezTo>
                    <a:pt x="2522" y="688"/>
                    <a:pt x="2530" y="704"/>
                    <a:pt x="2562" y="704"/>
                  </a:cubicBezTo>
                  <a:cubicBezTo>
                    <a:pt x="2585" y="704"/>
                    <a:pt x="2585" y="711"/>
                    <a:pt x="2585" y="680"/>
                  </a:cubicBezTo>
                  <a:cubicBezTo>
                    <a:pt x="2585" y="648"/>
                    <a:pt x="2562" y="624"/>
                    <a:pt x="2585" y="624"/>
                  </a:cubicBezTo>
                  <a:cubicBezTo>
                    <a:pt x="2601" y="624"/>
                    <a:pt x="2617" y="593"/>
                    <a:pt x="2609" y="593"/>
                  </a:cubicBezTo>
                  <a:cubicBezTo>
                    <a:pt x="2601" y="585"/>
                    <a:pt x="2585" y="569"/>
                    <a:pt x="2554" y="561"/>
                  </a:cubicBezTo>
                  <a:cubicBezTo>
                    <a:pt x="2530" y="546"/>
                    <a:pt x="2498" y="537"/>
                    <a:pt x="2498" y="506"/>
                  </a:cubicBezTo>
                  <a:cubicBezTo>
                    <a:pt x="2498" y="498"/>
                    <a:pt x="2498" y="490"/>
                    <a:pt x="2498" y="482"/>
                  </a:cubicBezTo>
                  <a:cubicBezTo>
                    <a:pt x="2482" y="482"/>
                    <a:pt x="2443" y="498"/>
                    <a:pt x="2411" y="490"/>
                  </a:cubicBezTo>
                  <a:cubicBezTo>
                    <a:pt x="2372" y="482"/>
                    <a:pt x="2332" y="466"/>
                    <a:pt x="2301" y="459"/>
                  </a:cubicBezTo>
                  <a:cubicBezTo>
                    <a:pt x="2277" y="443"/>
                    <a:pt x="2309" y="435"/>
                    <a:pt x="2301" y="427"/>
                  </a:cubicBezTo>
                  <a:cubicBezTo>
                    <a:pt x="2293" y="411"/>
                    <a:pt x="2253" y="403"/>
                    <a:pt x="2238" y="427"/>
                  </a:cubicBezTo>
                  <a:cubicBezTo>
                    <a:pt x="2214" y="443"/>
                    <a:pt x="2174" y="451"/>
                    <a:pt x="2158" y="427"/>
                  </a:cubicBezTo>
                  <a:cubicBezTo>
                    <a:pt x="2143" y="403"/>
                    <a:pt x="2166" y="348"/>
                    <a:pt x="2190" y="308"/>
                  </a:cubicBezTo>
                  <a:cubicBezTo>
                    <a:pt x="2214" y="269"/>
                    <a:pt x="2206" y="237"/>
                    <a:pt x="2206" y="206"/>
                  </a:cubicBezTo>
                  <a:cubicBezTo>
                    <a:pt x="2206" y="174"/>
                    <a:pt x="2127" y="142"/>
                    <a:pt x="2103" y="126"/>
                  </a:cubicBezTo>
                  <a:cubicBezTo>
                    <a:pt x="2079" y="111"/>
                    <a:pt x="2032" y="126"/>
                    <a:pt x="2024" y="119"/>
                  </a:cubicBezTo>
                  <a:cubicBezTo>
                    <a:pt x="2008" y="103"/>
                    <a:pt x="2008" y="55"/>
                    <a:pt x="2000" y="31"/>
                  </a:cubicBezTo>
                  <a:cubicBezTo>
                    <a:pt x="2000" y="16"/>
                    <a:pt x="1937" y="24"/>
                    <a:pt x="1921" y="24"/>
                  </a:cubicBezTo>
                  <a:cubicBezTo>
                    <a:pt x="1905" y="71"/>
                    <a:pt x="1882" y="103"/>
                    <a:pt x="1850" y="103"/>
                  </a:cubicBezTo>
                  <a:cubicBezTo>
                    <a:pt x="1811" y="95"/>
                    <a:pt x="1739" y="24"/>
                    <a:pt x="1716" y="16"/>
                  </a:cubicBezTo>
                  <a:cubicBezTo>
                    <a:pt x="1692" y="0"/>
                    <a:pt x="1676" y="47"/>
                    <a:pt x="1676" y="87"/>
                  </a:cubicBezTo>
                  <a:cubicBezTo>
                    <a:pt x="1684" y="126"/>
                    <a:pt x="1676" y="174"/>
                    <a:pt x="1668" y="229"/>
                  </a:cubicBezTo>
                  <a:cubicBezTo>
                    <a:pt x="1652" y="293"/>
                    <a:pt x="1645" y="269"/>
                    <a:pt x="1613" y="277"/>
                  </a:cubicBezTo>
                  <a:cubicBezTo>
                    <a:pt x="1581" y="284"/>
                    <a:pt x="1589" y="324"/>
                    <a:pt x="1581" y="356"/>
                  </a:cubicBezTo>
                  <a:cubicBezTo>
                    <a:pt x="1574" y="379"/>
                    <a:pt x="1534" y="364"/>
                    <a:pt x="1502" y="364"/>
                  </a:cubicBezTo>
                  <a:cubicBezTo>
                    <a:pt x="1471" y="364"/>
                    <a:pt x="1502" y="395"/>
                    <a:pt x="1502" y="427"/>
                  </a:cubicBezTo>
                  <a:cubicBezTo>
                    <a:pt x="1502" y="459"/>
                    <a:pt x="1494" y="459"/>
                    <a:pt x="1479" y="451"/>
                  </a:cubicBezTo>
                  <a:cubicBezTo>
                    <a:pt x="1455" y="435"/>
                    <a:pt x="1431" y="482"/>
                    <a:pt x="1439" y="498"/>
                  </a:cubicBezTo>
                  <a:cubicBezTo>
                    <a:pt x="1439" y="522"/>
                    <a:pt x="1439" y="537"/>
                    <a:pt x="1431" y="546"/>
                  </a:cubicBezTo>
                  <a:cubicBezTo>
                    <a:pt x="1415" y="561"/>
                    <a:pt x="1384" y="530"/>
                    <a:pt x="1360" y="506"/>
                  </a:cubicBezTo>
                  <a:cubicBezTo>
                    <a:pt x="1336" y="482"/>
                    <a:pt x="1328" y="506"/>
                    <a:pt x="1281" y="530"/>
                  </a:cubicBezTo>
                  <a:cubicBezTo>
                    <a:pt x="1241" y="553"/>
                    <a:pt x="1273" y="593"/>
                    <a:pt x="1257" y="656"/>
                  </a:cubicBezTo>
                  <a:cubicBezTo>
                    <a:pt x="1241" y="719"/>
                    <a:pt x="1234" y="696"/>
                    <a:pt x="1226" y="743"/>
                  </a:cubicBezTo>
                  <a:cubicBezTo>
                    <a:pt x="1218" y="783"/>
                    <a:pt x="1218" y="783"/>
                    <a:pt x="1186" y="822"/>
                  </a:cubicBezTo>
                  <a:cubicBezTo>
                    <a:pt x="1162" y="862"/>
                    <a:pt x="1162" y="877"/>
                    <a:pt x="1131" y="933"/>
                  </a:cubicBezTo>
                  <a:cubicBezTo>
                    <a:pt x="1099" y="980"/>
                    <a:pt x="1131" y="957"/>
                    <a:pt x="1170" y="972"/>
                  </a:cubicBezTo>
                  <a:cubicBezTo>
                    <a:pt x="1210" y="988"/>
                    <a:pt x="1178" y="1004"/>
                    <a:pt x="1162" y="1004"/>
                  </a:cubicBezTo>
                  <a:cubicBezTo>
                    <a:pt x="1139" y="1004"/>
                    <a:pt x="1131" y="1067"/>
                    <a:pt x="1099" y="1083"/>
                  </a:cubicBezTo>
                  <a:cubicBezTo>
                    <a:pt x="1068" y="1098"/>
                    <a:pt x="1052" y="1075"/>
                    <a:pt x="1059" y="1098"/>
                  </a:cubicBezTo>
                  <a:cubicBezTo>
                    <a:pt x="1059" y="1114"/>
                    <a:pt x="1012" y="1129"/>
                    <a:pt x="941" y="1137"/>
                  </a:cubicBezTo>
                  <a:cubicBezTo>
                    <a:pt x="870" y="1153"/>
                    <a:pt x="925" y="1169"/>
                    <a:pt x="917" y="1185"/>
                  </a:cubicBezTo>
                  <a:cubicBezTo>
                    <a:pt x="901" y="1193"/>
                    <a:pt x="838" y="1232"/>
                    <a:pt x="775" y="1216"/>
                  </a:cubicBezTo>
                  <a:cubicBezTo>
                    <a:pt x="712" y="1193"/>
                    <a:pt x="751" y="1216"/>
                    <a:pt x="720" y="1264"/>
                  </a:cubicBezTo>
                  <a:cubicBezTo>
                    <a:pt x="680" y="1311"/>
                    <a:pt x="688" y="1240"/>
                    <a:pt x="593" y="1224"/>
                  </a:cubicBezTo>
                  <a:cubicBezTo>
                    <a:pt x="498" y="1200"/>
                    <a:pt x="554" y="1185"/>
                    <a:pt x="530" y="1153"/>
                  </a:cubicBezTo>
                  <a:lnTo>
                    <a:pt x="530" y="1145"/>
                  </a:lnTo>
                  <a:cubicBezTo>
                    <a:pt x="506" y="1177"/>
                    <a:pt x="467" y="1216"/>
                    <a:pt x="459" y="1232"/>
                  </a:cubicBezTo>
                  <a:cubicBezTo>
                    <a:pt x="443" y="1248"/>
                    <a:pt x="380" y="1303"/>
                    <a:pt x="364" y="1319"/>
                  </a:cubicBezTo>
                  <a:cubicBezTo>
                    <a:pt x="340" y="1327"/>
                    <a:pt x="301" y="1351"/>
                    <a:pt x="301" y="1375"/>
                  </a:cubicBezTo>
                  <a:cubicBezTo>
                    <a:pt x="301" y="1398"/>
                    <a:pt x="277" y="1422"/>
                    <a:pt x="269" y="1430"/>
                  </a:cubicBezTo>
                  <a:cubicBezTo>
                    <a:pt x="261" y="1438"/>
                    <a:pt x="253" y="1422"/>
                    <a:pt x="253" y="1453"/>
                  </a:cubicBezTo>
                  <a:cubicBezTo>
                    <a:pt x="245" y="1485"/>
                    <a:pt x="253" y="1485"/>
                    <a:pt x="229" y="1493"/>
                  </a:cubicBezTo>
                  <a:cubicBezTo>
                    <a:pt x="214" y="1509"/>
                    <a:pt x="182" y="1493"/>
                    <a:pt x="174" y="1533"/>
                  </a:cubicBezTo>
                  <a:cubicBezTo>
                    <a:pt x="166" y="1572"/>
                    <a:pt x="158" y="1588"/>
                    <a:pt x="142" y="1588"/>
                  </a:cubicBezTo>
                  <a:cubicBezTo>
                    <a:pt x="119" y="1588"/>
                    <a:pt x="119" y="1564"/>
                    <a:pt x="95" y="1588"/>
                  </a:cubicBezTo>
                  <a:cubicBezTo>
                    <a:pt x="87" y="1604"/>
                    <a:pt x="40" y="1635"/>
                    <a:pt x="0" y="1667"/>
                  </a:cubicBezTo>
                  <a:cubicBezTo>
                    <a:pt x="293" y="1627"/>
                    <a:pt x="514" y="1588"/>
                    <a:pt x="546" y="1588"/>
                  </a:cubicBezTo>
                  <a:cubicBezTo>
                    <a:pt x="617" y="1572"/>
                    <a:pt x="704" y="1556"/>
                    <a:pt x="728" y="1564"/>
                  </a:cubicBezTo>
                  <a:cubicBezTo>
                    <a:pt x="751" y="1572"/>
                    <a:pt x="822" y="1556"/>
                    <a:pt x="822" y="1556"/>
                  </a:cubicBezTo>
                  <a:cubicBezTo>
                    <a:pt x="1700" y="1446"/>
                    <a:pt x="2704" y="1209"/>
                    <a:pt x="2878" y="1169"/>
                  </a:cubicBezTo>
                  <a:cubicBezTo>
                    <a:pt x="2862" y="1153"/>
                    <a:pt x="2862" y="1161"/>
                    <a:pt x="2846" y="1122"/>
                  </a:cubicBezTo>
                </a:path>
              </a:pathLst>
            </a:custGeom>
            <a:solidFill>
              <a:schemeClr val="accent6"/>
            </a:solidFill>
            <a:ln>
              <a:solidFill>
                <a:schemeClr val="bg2"/>
              </a:solidFill>
            </a:ln>
            <a:effectLst/>
          </p:spPr>
          <p:txBody>
            <a:bodyPr wrap="none" anchor="ctr"/>
            <a:lstStyle/>
            <a:p>
              <a:endParaRPr lang="en-US"/>
            </a:p>
          </p:txBody>
        </p:sp>
        <p:sp>
          <p:nvSpPr>
            <p:cNvPr id="110" name="Freeform 780"/>
            <p:cNvSpPr>
              <a:spLocks noChangeArrowheads="1"/>
            </p:cNvSpPr>
            <p:nvPr/>
          </p:nvSpPr>
          <p:spPr bwMode="auto">
            <a:xfrm>
              <a:off x="5915798" y="3282319"/>
              <a:ext cx="1044790" cy="517795"/>
            </a:xfrm>
            <a:custGeom>
              <a:avLst/>
              <a:gdLst>
                <a:gd name="T0" fmla="*/ 143 w 2895"/>
                <a:gd name="T1" fmla="*/ 1572 h 1660"/>
                <a:gd name="T2" fmla="*/ 261 w 2895"/>
                <a:gd name="T3" fmla="*/ 1469 h 1660"/>
                <a:gd name="T4" fmla="*/ 380 w 2895"/>
                <a:gd name="T5" fmla="*/ 1303 h 1660"/>
                <a:gd name="T6" fmla="*/ 554 w 2895"/>
                <a:gd name="T7" fmla="*/ 1177 h 1660"/>
                <a:gd name="T8" fmla="*/ 744 w 2895"/>
                <a:gd name="T9" fmla="*/ 1216 h 1660"/>
                <a:gd name="T10" fmla="*/ 917 w 2895"/>
                <a:gd name="T11" fmla="*/ 1145 h 1660"/>
                <a:gd name="T12" fmla="*/ 1091 w 2895"/>
                <a:gd name="T13" fmla="*/ 1075 h 1660"/>
                <a:gd name="T14" fmla="*/ 1155 w 2895"/>
                <a:gd name="T15" fmla="*/ 964 h 1660"/>
                <a:gd name="T16" fmla="*/ 1242 w 2895"/>
                <a:gd name="T17" fmla="*/ 735 h 1660"/>
                <a:gd name="T18" fmla="*/ 1360 w 2895"/>
                <a:gd name="T19" fmla="*/ 482 h 1660"/>
                <a:gd name="T20" fmla="*/ 1447 w 2895"/>
                <a:gd name="T21" fmla="*/ 490 h 1660"/>
                <a:gd name="T22" fmla="*/ 1503 w 2895"/>
                <a:gd name="T23" fmla="*/ 356 h 1660"/>
                <a:gd name="T24" fmla="*/ 1629 w 2895"/>
                <a:gd name="T25" fmla="*/ 269 h 1660"/>
                <a:gd name="T26" fmla="*/ 1771 w 2895"/>
                <a:gd name="T27" fmla="*/ 23 h 1660"/>
                <a:gd name="T28" fmla="*/ 2024 w 2895"/>
                <a:gd name="T29" fmla="*/ 23 h 1660"/>
                <a:gd name="T30" fmla="*/ 2127 w 2895"/>
                <a:gd name="T31" fmla="*/ 118 h 1660"/>
                <a:gd name="T32" fmla="*/ 2206 w 2895"/>
                <a:gd name="T33" fmla="*/ 427 h 1660"/>
                <a:gd name="T34" fmla="*/ 2325 w 2895"/>
                <a:gd name="T35" fmla="*/ 443 h 1660"/>
                <a:gd name="T36" fmla="*/ 2514 w 2895"/>
                <a:gd name="T37" fmla="*/ 482 h 1660"/>
                <a:gd name="T38" fmla="*/ 2601 w 2895"/>
                <a:gd name="T39" fmla="*/ 616 h 1660"/>
                <a:gd name="T40" fmla="*/ 2593 w 2895"/>
                <a:gd name="T41" fmla="*/ 703 h 1660"/>
                <a:gd name="T42" fmla="*/ 2514 w 2895"/>
                <a:gd name="T43" fmla="*/ 672 h 1660"/>
                <a:gd name="T44" fmla="*/ 2649 w 2895"/>
                <a:gd name="T45" fmla="*/ 759 h 1660"/>
                <a:gd name="T46" fmla="*/ 2601 w 2895"/>
                <a:gd name="T47" fmla="*/ 814 h 1660"/>
                <a:gd name="T48" fmla="*/ 2578 w 2895"/>
                <a:gd name="T49" fmla="*/ 893 h 1660"/>
                <a:gd name="T50" fmla="*/ 2665 w 2895"/>
                <a:gd name="T51" fmla="*/ 925 h 1660"/>
                <a:gd name="T52" fmla="*/ 2649 w 2895"/>
                <a:gd name="T53" fmla="*/ 1012 h 1660"/>
                <a:gd name="T54" fmla="*/ 2522 w 2895"/>
                <a:gd name="T55" fmla="*/ 941 h 1660"/>
                <a:gd name="T56" fmla="*/ 2649 w 2895"/>
                <a:gd name="T57" fmla="*/ 1043 h 1660"/>
                <a:gd name="T58" fmla="*/ 2736 w 2895"/>
                <a:gd name="T59" fmla="*/ 996 h 1660"/>
                <a:gd name="T60" fmla="*/ 2894 w 2895"/>
                <a:gd name="T61" fmla="*/ 1153 h 1660"/>
                <a:gd name="T62" fmla="*/ 720 w 2895"/>
                <a:gd name="T63" fmla="*/ 1556 h 1660"/>
                <a:gd name="T64" fmla="*/ 119 w 2895"/>
                <a:gd name="T65" fmla="*/ 1588 h 1660"/>
                <a:gd name="T66" fmla="*/ 838 w 2895"/>
                <a:gd name="T67" fmla="*/ 1548 h 1660"/>
                <a:gd name="T68" fmla="*/ 2760 w 2895"/>
                <a:gd name="T69" fmla="*/ 1004 h 1660"/>
                <a:gd name="T70" fmla="*/ 2665 w 2895"/>
                <a:gd name="T71" fmla="*/ 1043 h 1660"/>
                <a:gd name="T72" fmla="*/ 2514 w 2895"/>
                <a:gd name="T73" fmla="*/ 949 h 1660"/>
                <a:gd name="T74" fmla="*/ 2649 w 2895"/>
                <a:gd name="T75" fmla="*/ 1004 h 1660"/>
                <a:gd name="T76" fmla="*/ 2665 w 2895"/>
                <a:gd name="T77" fmla="*/ 933 h 1660"/>
                <a:gd name="T78" fmla="*/ 2570 w 2895"/>
                <a:gd name="T79" fmla="*/ 893 h 1660"/>
                <a:gd name="T80" fmla="*/ 2593 w 2895"/>
                <a:gd name="T81" fmla="*/ 806 h 1660"/>
                <a:gd name="T82" fmla="*/ 2641 w 2895"/>
                <a:gd name="T83" fmla="*/ 767 h 1660"/>
                <a:gd name="T84" fmla="*/ 2507 w 2895"/>
                <a:gd name="T85" fmla="*/ 664 h 1660"/>
                <a:gd name="T86" fmla="*/ 2593 w 2895"/>
                <a:gd name="T87" fmla="*/ 696 h 1660"/>
                <a:gd name="T88" fmla="*/ 2601 w 2895"/>
                <a:gd name="T89" fmla="*/ 616 h 1660"/>
                <a:gd name="T90" fmla="*/ 2507 w 2895"/>
                <a:gd name="T91" fmla="*/ 482 h 1660"/>
                <a:gd name="T92" fmla="*/ 2309 w 2895"/>
                <a:gd name="T93" fmla="*/ 427 h 1660"/>
                <a:gd name="T94" fmla="*/ 2206 w 2895"/>
                <a:gd name="T95" fmla="*/ 300 h 1660"/>
                <a:gd name="T96" fmla="*/ 2072 w 2895"/>
                <a:gd name="T97" fmla="*/ 111 h 1660"/>
                <a:gd name="T98" fmla="*/ 1937 w 2895"/>
                <a:gd name="T99" fmla="*/ 16 h 1660"/>
                <a:gd name="T100" fmla="*/ 1684 w 2895"/>
                <a:gd name="T101" fmla="*/ 221 h 1660"/>
                <a:gd name="T102" fmla="*/ 1550 w 2895"/>
                <a:gd name="T103" fmla="*/ 363 h 1660"/>
                <a:gd name="T104" fmla="*/ 1487 w 2895"/>
                <a:gd name="T105" fmla="*/ 443 h 1660"/>
                <a:gd name="T106" fmla="*/ 1376 w 2895"/>
                <a:gd name="T107" fmla="*/ 506 h 1660"/>
                <a:gd name="T108" fmla="*/ 1257 w 2895"/>
                <a:gd name="T109" fmla="*/ 703 h 1660"/>
                <a:gd name="T110" fmla="*/ 1139 w 2895"/>
                <a:gd name="T111" fmla="*/ 956 h 1660"/>
                <a:gd name="T112" fmla="*/ 1115 w 2895"/>
                <a:gd name="T113" fmla="*/ 1075 h 1660"/>
                <a:gd name="T114" fmla="*/ 957 w 2895"/>
                <a:gd name="T115" fmla="*/ 1137 h 1660"/>
                <a:gd name="T116" fmla="*/ 759 w 2895"/>
                <a:gd name="T117" fmla="*/ 1201 h 1660"/>
                <a:gd name="T118" fmla="*/ 554 w 2895"/>
                <a:gd name="T119" fmla="*/ 1192 h 1660"/>
                <a:gd name="T120" fmla="*/ 293 w 2895"/>
                <a:gd name="T121" fmla="*/ 1422 h 1660"/>
                <a:gd name="T122" fmla="*/ 230 w 2895"/>
                <a:gd name="T123" fmla="*/ 1493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95" h="1660">
                  <a:moveTo>
                    <a:pt x="0" y="1659"/>
                  </a:moveTo>
                  <a:lnTo>
                    <a:pt x="0" y="1659"/>
                  </a:lnTo>
                  <a:cubicBezTo>
                    <a:pt x="8" y="1651"/>
                    <a:pt x="8" y="1651"/>
                    <a:pt x="8" y="1651"/>
                  </a:cubicBezTo>
                  <a:cubicBezTo>
                    <a:pt x="64" y="1619"/>
                    <a:pt x="103" y="1588"/>
                    <a:pt x="111" y="1580"/>
                  </a:cubicBezTo>
                  <a:cubicBezTo>
                    <a:pt x="119" y="1572"/>
                    <a:pt x="127" y="1564"/>
                    <a:pt x="135" y="1564"/>
                  </a:cubicBezTo>
                  <a:lnTo>
                    <a:pt x="143" y="1572"/>
                  </a:lnTo>
                  <a:cubicBezTo>
                    <a:pt x="151" y="1572"/>
                    <a:pt x="151" y="1572"/>
                    <a:pt x="158" y="1572"/>
                  </a:cubicBezTo>
                  <a:cubicBezTo>
                    <a:pt x="174" y="1572"/>
                    <a:pt x="174" y="1564"/>
                    <a:pt x="182" y="1532"/>
                  </a:cubicBezTo>
                  <a:lnTo>
                    <a:pt x="182" y="1525"/>
                  </a:lnTo>
                  <a:cubicBezTo>
                    <a:pt x="190" y="1493"/>
                    <a:pt x="214" y="1493"/>
                    <a:pt x="230" y="1493"/>
                  </a:cubicBezTo>
                  <a:cubicBezTo>
                    <a:pt x="238" y="1485"/>
                    <a:pt x="245" y="1485"/>
                    <a:pt x="245" y="1485"/>
                  </a:cubicBezTo>
                  <a:cubicBezTo>
                    <a:pt x="261" y="1477"/>
                    <a:pt x="261" y="1477"/>
                    <a:pt x="261" y="1469"/>
                  </a:cubicBezTo>
                  <a:cubicBezTo>
                    <a:pt x="261" y="1461"/>
                    <a:pt x="261" y="1454"/>
                    <a:pt x="261" y="1445"/>
                  </a:cubicBezTo>
                  <a:cubicBezTo>
                    <a:pt x="261" y="1430"/>
                    <a:pt x="269" y="1422"/>
                    <a:pt x="277" y="1422"/>
                  </a:cubicBezTo>
                  <a:cubicBezTo>
                    <a:pt x="277" y="1422"/>
                    <a:pt x="277" y="1422"/>
                    <a:pt x="285" y="1422"/>
                  </a:cubicBezTo>
                  <a:lnTo>
                    <a:pt x="285" y="1414"/>
                  </a:lnTo>
                  <a:cubicBezTo>
                    <a:pt x="293" y="1406"/>
                    <a:pt x="317" y="1382"/>
                    <a:pt x="317" y="1367"/>
                  </a:cubicBezTo>
                  <a:cubicBezTo>
                    <a:pt x="317" y="1343"/>
                    <a:pt x="356" y="1319"/>
                    <a:pt x="380" y="1303"/>
                  </a:cubicBezTo>
                  <a:cubicBezTo>
                    <a:pt x="396" y="1295"/>
                    <a:pt x="459" y="1240"/>
                    <a:pt x="467" y="1224"/>
                  </a:cubicBezTo>
                  <a:cubicBezTo>
                    <a:pt x="475" y="1208"/>
                    <a:pt x="522" y="1161"/>
                    <a:pt x="538" y="1137"/>
                  </a:cubicBezTo>
                  <a:cubicBezTo>
                    <a:pt x="546" y="1137"/>
                    <a:pt x="546" y="1137"/>
                    <a:pt x="546" y="1137"/>
                  </a:cubicBezTo>
                  <a:lnTo>
                    <a:pt x="546" y="1137"/>
                  </a:lnTo>
                  <a:cubicBezTo>
                    <a:pt x="546" y="1137"/>
                    <a:pt x="546" y="1137"/>
                    <a:pt x="554" y="1145"/>
                  </a:cubicBezTo>
                  <a:cubicBezTo>
                    <a:pt x="562" y="1153"/>
                    <a:pt x="554" y="1169"/>
                    <a:pt x="554" y="1177"/>
                  </a:cubicBezTo>
                  <a:cubicBezTo>
                    <a:pt x="554" y="1185"/>
                    <a:pt x="554" y="1185"/>
                    <a:pt x="554" y="1192"/>
                  </a:cubicBezTo>
                  <a:cubicBezTo>
                    <a:pt x="562" y="1201"/>
                    <a:pt x="578" y="1201"/>
                    <a:pt x="609" y="1208"/>
                  </a:cubicBezTo>
                  <a:cubicBezTo>
                    <a:pt x="657" y="1224"/>
                    <a:pt x="680" y="1240"/>
                    <a:pt x="696" y="1256"/>
                  </a:cubicBezTo>
                  <a:cubicBezTo>
                    <a:pt x="704" y="1264"/>
                    <a:pt x="712" y="1272"/>
                    <a:pt x="712" y="1272"/>
                  </a:cubicBezTo>
                  <a:cubicBezTo>
                    <a:pt x="720" y="1272"/>
                    <a:pt x="720" y="1264"/>
                    <a:pt x="728" y="1256"/>
                  </a:cubicBezTo>
                  <a:cubicBezTo>
                    <a:pt x="744" y="1240"/>
                    <a:pt x="744" y="1224"/>
                    <a:pt x="744" y="1216"/>
                  </a:cubicBezTo>
                  <a:cubicBezTo>
                    <a:pt x="744" y="1201"/>
                    <a:pt x="751" y="1192"/>
                    <a:pt x="759" y="1192"/>
                  </a:cubicBezTo>
                  <a:cubicBezTo>
                    <a:pt x="767" y="1192"/>
                    <a:pt x="775" y="1201"/>
                    <a:pt x="791" y="1201"/>
                  </a:cubicBezTo>
                  <a:cubicBezTo>
                    <a:pt x="799" y="1201"/>
                    <a:pt x="815" y="1208"/>
                    <a:pt x="822" y="1208"/>
                  </a:cubicBezTo>
                  <a:cubicBezTo>
                    <a:pt x="870" y="1208"/>
                    <a:pt x="917" y="1185"/>
                    <a:pt x="925" y="1169"/>
                  </a:cubicBezTo>
                  <a:cubicBezTo>
                    <a:pt x="933" y="1169"/>
                    <a:pt x="933" y="1169"/>
                    <a:pt x="925" y="1161"/>
                  </a:cubicBezTo>
                  <a:cubicBezTo>
                    <a:pt x="917" y="1153"/>
                    <a:pt x="917" y="1153"/>
                    <a:pt x="917" y="1145"/>
                  </a:cubicBezTo>
                  <a:cubicBezTo>
                    <a:pt x="925" y="1137"/>
                    <a:pt x="933" y="1137"/>
                    <a:pt x="957" y="1129"/>
                  </a:cubicBezTo>
                  <a:cubicBezTo>
                    <a:pt x="965" y="1129"/>
                    <a:pt x="965" y="1129"/>
                    <a:pt x="965" y="1129"/>
                  </a:cubicBezTo>
                  <a:cubicBezTo>
                    <a:pt x="1020" y="1114"/>
                    <a:pt x="1075" y="1106"/>
                    <a:pt x="1068" y="1090"/>
                  </a:cubicBezTo>
                  <a:cubicBezTo>
                    <a:pt x="1068" y="1082"/>
                    <a:pt x="1068" y="1082"/>
                    <a:pt x="1068" y="1075"/>
                  </a:cubicBezTo>
                  <a:cubicBezTo>
                    <a:pt x="1075" y="1075"/>
                    <a:pt x="1075" y="1075"/>
                    <a:pt x="1084" y="1075"/>
                  </a:cubicBezTo>
                  <a:lnTo>
                    <a:pt x="1091" y="1075"/>
                  </a:lnTo>
                  <a:cubicBezTo>
                    <a:pt x="1099" y="1075"/>
                    <a:pt x="1107" y="1075"/>
                    <a:pt x="1115" y="1075"/>
                  </a:cubicBezTo>
                  <a:cubicBezTo>
                    <a:pt x="1131" y="1067"/>
                    <a:pt x="1139" y="1043"/>
                    <a:pt x="1147" y="1028"/>
                  </a:cubicBezTo>
                  <a:cubicBezTo>
                    <a:pt x="1155" y="1012"/>
                    <a:pt x="1163" y="996"/>
                    <a:pt x="1178" y="996"/>
                  </a:cubicBezTo>
                  <a:cubicBezTo>
                    <a:pt x="1186" y="996"/>
                    <a:pt x="1202" y="988"/>
                    <a:pt x="1202" y="980"/>
                  </a:cubicBezTo>
                  <a:cubicBezTo>
                    <a:pt x="1202" y="980"/>
                    <a:pt x="1202" y="972"/>
                    <a:pt x="1186" y="972"/>
                  </a:cubicBezTo>
                  <a:cubicBezTo>
                    <a:pt x="1170" y="964"/>
                    <a:pt x="1163" y="964"/>
                    <a:pt x="1155" y="964"/>
                  </a:cubicBezTo>
                  <a:cubicBezTo>
                    <a:pt x="1139" y="964"/>
                    <a:pt x="1131" y="964"/>
                    <a:pt x="1131" y="956"/>
                  </a:cubicBezTo>
                  <a:cubicBezTo>
                    <a:pt x="1131" y="949"/>
                    <a:pt x="1131" y="941"/>
                    <a:pt x="1147" y="925"/>
                  </a:cubicBezTo>
                  <a:cubicBezTo>
                    <a:pt x="1163" y="901"/>
                    <a:pt x="1163" y="877"/>
                    <a:pt x="1170" y="862"/>
                  </a:cubicBezTo>
                  <a:cubicBezTo>
                    <a:pt x="1178" y="846"/>
                    <a:pt x="1186" y="830"/>
                    <a:pt x="1202" y="806"/>
                  </a:cubicBezTo>
                  <a:cubicBezTo>
                    <a:pt x="1210" y="806"/>
                    <a:pt x="1210" y="798"/>
                    <a:pt x="1218" y="790"/>
                  </a:cubicBezTo>
                  <a:cubicBezTo>
                    <a:pt x="1234" y="767"/>
                    <a:pt x="1234" y="767"/>
                    <a:pt x="1242" y="735"/>
                  </a:cubicBezTo>
                  <a:cubicBezTo>
                    <a:pt x="1242" y="711"/>
                    <a:pt x="1242" y="703"/>
                    <a:pt x="1250" y="696"/>
                  </a:cubicBezTo>
                  <a:cubicBezTo>
                    <a:pt x="1257" y="688"/>
                    <a:pt x="1257" y="680"/>
                    <a:pt x="1265" y="648"/>
                  </a:cubicBezTo>
                  <a:cubicBezTo>
                    <a:pt x="1273" y="624"/>
                    <a:pt x="1273" y="601"/>
                    <a:pt x="1273" y="585"/>
                  </a:cubicBezTo>
                  <a:cubicBezTo>
                    <a:pt x="1273" y="553"/>
                    <a:pt x="1273" y="529"/>
                    <a:pt x="1297" y="514"/>
                  </a:cubicBezTo>
                  <a:cubicBezTo>
                    <a:pt x="1313" y="514"/>
                    <a:pt x="1321" y="506"/>
                    <a:pt x="1328" y="498"/>
                  </a:cubicBezTo>
                  <a:cubicBezTo>
                    <a:pt x="1337" y="490"/>
                    <a:pt x="1344" y="482"/>
                    <a:pt x="1360" y="482"/>
                  </a:cubicBezTo>
                  <a:cubicBezTo>
                    <a:pt x="1368" y="482"/>
                    <a:pt x="1368" y="490"/>
                    <a:pt x="1376" y="498"/>
                  </a:cubicBezTo>
                  <a:cubicBezTo>
                    <a:pt x="1384" y="498"/>
                    <a:pt x="1384" y="498"/>
                    <a:pt x="1384" y="498"/>
                  </a:cubicBezTo>
                  <a:cubicBezTo>
                    <a:pt x="1400" y="514"/>
                    <a:pt x="1423" y="538"/>
                    <a:pt x="1439" y="538"/>
                  </a:cubicBezTo>
                  <a:lnTo>
                    <a:pt x="1439" y="538"/>
                  </a:lnTo>
                  <a:cubicBezTo>
                    <a:pt x="1455" y="522"/>
                    <a:pt x="1447" y="514"/>
                    <a:pt x="1447" y="498"/>
                  </a:cubicBezTo>
                  <a:cubicBezTo>
                    <a:pt x="1447" y="490"/>
                    <a:pt x="1447" y="490"/>
                    <a:pt x="1447" y="490"/>
                  </a:cubicBezTo>
                  <a:cubicBezTo>
                    <a:pt x="1447" y="482"/>
                    <a:pt x="1455" y="458"/>
                    <a:pt x="1463" y="443"/>
                  </a:cubicBezTo>
                  <a:cubicBezTo>
                    <a:pt x="1479" y="435"/>
                    <a:pt x="1487" y="427"/>
                    <a:pt x="1495" y="435"/>
                  </a:cubicBezTo>
                  <a:cubicBezTo>
                    <a:pt x="1503" y="443"/>
                    <a:pt x="1503" y="443"/>
                    <a:pt x="1510" y="443"/>
                  </a:cubicBezTo>
                  <a:cubicBezTo>
                    <a:pt x="1510" y="443"/>
                    <a:pt x="1510" y="443"/>
                    <a:pt x="1510" y="419"/>
                  </a:cubicBezTo>
                  <a:cubicBezTo>
                    <a:pt x="1510" y="403"/>
                    <a:pt x="1510" y="395"/>
                    <a:pt x="1503" y="387"/>
                  </a:cubicBezTo>
                  <a:cubicBezTo>
                    <a:pt x="1503" y="371"/>
                    <a:pt x="1503" y="363"/>
                    <a:pt x="1503" y="356"/>
                  </a:cubicBezTo>
                  <a:cubicBezTo>
                    <a:pt x="1503" y="356"/>
                    <a:pt x="1510" y="356"/>
                    <a:pt x="1518" y="356"/>
                  </a:cubicBezTo>
                  <a:cubicBezTo>
                    <a:pt x="1526" y="356"/>
                    <a:pt x="1542" y="356"/>
                    <a:pt x="1550" y="356"/>
                  </a:cubicBezTo>
                  <a:cubicBezTo>
                    <a:pt x="1558" y="356"/>
                    <a:pt x="1566" y="356"/>
                    <a:pt x="1574" y="356"/>
                  </a:cubicBezTo>
                  <a:cubicBezTo>
                    <a:pt x="1581" y="356"/>
                    <a:pt x="1590" y="356"/>
                    <a:pt x="1590" y="348"/>
                  </a:cubicBezTo>
                  <a:cubicBezTo>
                    <a:pt x="1597" y="340"/>
                    <a:pt x="1597" y="324"/>
                    <a:pt x="1597" y="316"/>
                  </a:cubicBezTo>
                  <a:cubicBezTo>
                    <a:pt x="1597" y="300"/>
                    <a:pt x="1597" y="276"/>
                    <a:pt x="1629" y="269"/>
                  </a:cubicBezTo>
                  <a:cubicBezTo>
                    <a:pt x="1637" y="269"/>
                    <a:pt x="1645" y="269"/>
                    <a:pt x="1645" y="269"/>
                  </a:cubicBezTo>
                  <a:cubicBezTo>
                    <a:pt x="1661" y="261"/>
                    <a:pt x="1668" y="261"/>
                    <a:pt x="1676" y="221"/>
                  </a:cubicBezTo>
                  <a:cubicBezTo>
                    <a:pt x="1692" y="158"/>
                    <a:pt x="1692" y="111"/>
                    <a:pt x="1692" y="79"/>
                  </a:cubicBezTo>
                  <a:cubicBezTo>
                    <a:pt x="1692" y="55"/>
                    <a:pt x="1692" y="16"/>
                    <a:pt x="1708" y="8"/>
                  </a:cubicBezTo>
                  <a:cubicBezTo>
                    <a:pt x="1716" y="0"/>
                    <a:pt x="1724" y="0"/>
                    <a:pt x="1732" y="0"/>
                  </a:cubicBezTo>
                  <a:cubicBezTo>
                    <a:pt x="1740" y="8"/>
                    <a:pt x="1755" y="16"/>
                    <a:pt x="1771" y="23"/>
                  </a:cubicBezTo>
                  <a:cubicBezTo>
                    <a:pt x="1803" y="47"/>
                    <a:pt x="1843" y="87"/>
                    <a:pt x="1866" y="87"/>
                  </a:cubicBezTo>
                  <a:cubicBezTo>
                    <a:pt x="1890" y="95"/>
                    <a:pt x="1914" y="63"/>
                    <a:pt x="1937" y="16"/>
                  </a:cubicBezTo>
                  <a:lnTo>
                    <a:pt x="1937" y="16"/>
                  </a:lnTo>
                  <a:lnTo>
                    <a:pt x="1937" y="16"/>
                  </a:lnTo>
                  <a:cubicBezTo>
                    <a:pt x="1945" y="8"/>
                    <a:pt x="1961" y="8"/>
                    <a:pt x="1977" y="8"/>
                  </a:cubicBezTo>
                  <a:cubicBezTo>
                    <a:pt x="2008" y="8"/>
                    <a:pt x="2024" y="16"/>
                    <a:pt x="2024" y="23"/>
                  </a:cubicBezTo>
                  <a:cubicBezTo>
                    <a:pt x="2024" y="32"/>
                    <a:pt x="2024" y="39"/>
                    <a:pt x="2024" y="47"/>
                  </a:cubicBezTo>
                  <a:cubicBezTo>
                    <a:pt x="2032" y="71"/>
                    <a:pt x="2032" y="95"/>
                    <a:pt x="2040" y="103"/>
                  </a:cubicBezTo>
                  <a:cubicBezTo>
                    <a:pt x="2040" y="103"/>
                    <a:pt x="2048" y="111"/>
                    <a:pt x="2056" y="111"/>
                  </a:cubicBezTo>
                  <a:cubicBezTo>
                    <a:pt x="2056" y="111"/>
                    <a:pt x="2064" y="103"/>
                    <a:pt x="2072" y="103"/>
                  </a:cubicBezTo>
                  <a:cubicBezTo>
                    <a:pt x="2072" y="103"/>
                    <a:pt x="2080" y="103"/>
                    <a:pt x="2087" y="103"/>
                  </a:cubicBezTo>
                  <a:cubicBezTo>
                    <a:pt x="2095" y="103"/>
                    <a:pt x="2111" y="111"/>
                    <a:pt x="2127" y="118"/>
                  </a:cubicBezTo>
                  <a:cubicBezTo>
                    <a:pt x="2127" y="118"/>
                    <a:pt x="2135" y="126"/>
                    <a:pt x="2151" y="126"/>
                  </a:cubicBezTo>
                  <a:cubicBezTo>
                    <a:pt x="2182" y="150"/>
                    <a:pt x="2222" y="174"/>
                    <a:pt x="2230" y="198"/>
                  </a:cubicBezTo>
                  <a:cubicBezTo>
                    <a:pt x="2230" y="205"/>
                    <a:pt x="2230" y="205"/>
                    <a:pt x="2230" y="213"/>
                  </a:cubicBezTo>
                  <a:cubicBezTo>
                    <a:pt x="2230" y="245"/>
                    <a:pt x="2230" y="269"/>
                    <a:pt x="2214" y="300"/>
                  </a:cubicBezTo>
                  <a:cubicBezTo>
                    <a:pt x="2182" y="356"/>
                    <a:pt x="2167" y="403"/>
                    <a:pt x="2182" y="419"/>
                  </a:cubicBezTo>
                  <a:cubicBezTo>
                    <a:pt x="2182" y="427"/>
                    <a:pt x="2198" y="427"/>
                    <a:pt x="2206" y="427"/>
                  </a:cubicBezTo>
                  <a:cubicBezTo>
                    <a:pt x="2222" y="427"/>
                    <a:pt x="2238" y="427"/>
                    <a:pt x="2245" y="411"/>
                  </a:cubicBezTo>
                  <a:cubicBezTo>
                    <a:pt x="2254" y="403"/>
                    <a:pt x="2269" y="403"/>
                    <a:pt x="2285" y="403"/>
                  </a:cubicBezTo>
                  <a:cubicBezTo>
                    <a:pt x="2293" y="403"/>
                    <a:pt x="2309" y="403"/>
                    <a:pt x="2317" y="419"/>
                  </a:cubicBezTo>
                  <a:cubicBezTo>
                    <a:pt x="2325" y="427"/>
                    <a:pt x="2317" y="427"/>
                    <a:pt x="2317" y="435"/>
                  </a:cubicBezTo>
                  <a:cubicBezTo>
                    <a:pt x="2317" y="435"/>
                    <a:pt x="2309" y="435"/>
                    <a:pt x="2309" y="443"/>
                  </a:cubicBezTo>
                  <a:cubicBezTo>
                    <a:pt x="2309" y="443"/>
                    <a:pt x="2317" y="443"/>
                    <a:pt x="2325" y="443"/>
                  </a:cubicBezTo>
                  <a:cubicBezTo>
                    <a:pt x="2348" y="458"/>
                    <a:pt x="2396" y="474"/>
                    <a:pt x="2427" y="482"/>
                  </a:cubicBezTo>
                  <a:cubicBezTo>
                    <a:pt x="2427" y="482"/>
                    <a:pt x="2435" y="482"/>
                    <a:pt x="2443" y="482"/>
                  </a:cubicBezTo>
                  <a:cubicBezTo>
                    <a:pt x="2451" y="482"/>
                    <a:pt x="2467" y="482"/>
                    <a:pt x="2475" y="474"/>
                  </a:cubicBezTo>
                  <a:cubicBezTo>
                    <a:pt x="2491" y="474"/>
                    <a:pt x="2507" y="474"/>
                    <a:pt x="2514" y="474"/>
                  </a:cubicBezTo>
                  <a:lnTo>
                    <a:pt x="2514" y="474"/>
                  </a:lnTo>
                  <a:cubicBezTo>
                    <a:pt x="2514" y="482"/>
                    <a:pt x="2514" y="482"/>
                    <a:pt x="2514" y="482"/>
                  </a:cubicBezTo>
                  <a:cubicBezTo>
                    <a:pt x="2514" y="482"/>
                    <a:pt x="2514" y="490"/>
                    <a:pt x="2514" y="498"/>
                  </a:cubicBezTo>
                  <a:cubicBezTo>
                    <a:pt x="2514" y="522"/>
                    <a:pt x="2546" y="538"/>
                    <a:pt x="2570" y="545"/>
                  </a:cubicBezTo>
                  <a:lnTo>
                    <a:pt x="2570" y="545"/>
                  </a:lnTo>
                  <a:cubicBezTo>
                    <a:pt x="2593" y="553"/>
                    <a:pt x="2625" y="569"/>
                    <a:pt x="2625" y="577"/>
                  </a:cubicBezTo>
                  <a:cubicBezTo>
                    <a:pt x="2633" y="585"/>
                    <a:pt x="2625" y="593"/>
                    <a:pt x="2625" y="601"/>
                  </a:cubicBezTo>
                  <a:cubicBezTo>
                    <a:pt x="2617" y="609"/>
                    <a:pt x="2609" y="616"/>
                    <a:pt x="2601" y="616"/>
                  </a:cubicBezTo>
                  <a:cubicBezTo>
                    <a:pt x="2593" y="624"/>
                    <a:pt x="2593" y="624"/>
                    <a:pt x="2593" y="624"/>
                  </a:cubicBezTo>
                  <a:cubicBezTo>
                    <a:pt x="2593" y="624"/>
                    <a:pt x="2593" y="632"/>
                    <a:pt x="2593" y="640"/>
                  </a:cubicBezTo>
                  <a:cubicBezTo>
                    <a:pt x="2601" y="648"/>
                    <a:pt x="2601" y="664"/>
                    <a:pt x="2601" y="672"/>
                  </a:cubicBezTo>
                  <a:lnTo>
                    <a:pt x="2601" y="672"/>
                  </a:lnTo>
                  <a:cubicBezTo>
                    <a:pt x="2609" y="688"/>
                    <a:pt x="2609" y="696"/>
                    <a:pt x="2601" y="696"/>
                  </a:cubicBezTo>
                  <a:cubicBezTo>
                    <a:pt x="2601" y="703"/>
                    <a:pt x="2601" y="703"/>
                    <a:pt x="2593" y="703"/>
                  </a:cubicBezTo>
                  <a:cubicBezTo>
                    <a:pt x="2593" y="703"/>
                    <a:pt x="2593" y="703"/>
                    <a:pt x="2585" y="703"/>
                  </a:cubicBezTo>
                  <a:lnTo>
                    <a:pt x="2578" y="703"/>
                  </a:lnTo>
                  <a:cubicBezTo>
                    <a:pt x="2546" y="703"/>
                    <a:pt x="2538" y="688"/>
                    <a:pt x="2530" y="680"/>
                  </a:cubicBezTo>
                  <a:lnTo>
                    <a:pt x="2530" y="672"/>
                  </a:lnTo>
                  <a:cubicBezTo>
                    <a:pt x="2522" y="672"/>
                    <a:pt x="2522" y="672"/>
                    <a:pt x="2514" y="672"/>
                  </a:cubicBezTo>
                  <a:lnTo>
                    <a:pt x="2514" y="672"/>
                  </a:lnTo>
                  <a:cubicBezTo>
                    <a:pt x="2514" y="672"/>
                    <a:pt x="2514" y="672"/>
                    <a:pt x="2522" y="688"/>
                  </a:cubicBezTo>
                  <a:cubicBezTo>
                    <a:pt x="2530" y="703"/>
                    <a:pt x="2530" y="703"/>
                    <a:pt x="2538" y="703"/>
                  </a:cubicBezTo>
                  <a:cubicBezTo>
                    <a:pt x="2546" y="703"/>
                    <a:pt x="2546" y="711"/>
                    <a:pt x="2554" y="711"/>
                  </a:cubicBezTo>
                  <a:cubicBezTo>
                    <a:pt x="2570" y="719"/>
                    <a:pt x="2585" y="727"/>
                    <a:pt x="2601" y="727"/>
                  </a:cubicBezTo>
                  <a:cubicBezTo>
                    <a:pt x="2609" y="727"/>
                    <a:pt x="2617" y="735"/>
                    <a:pt x="2625" y="735"/>
                  </a:cubicBezTo>
                  <a:cubicBezTo>
                    <a:pt x="2641" y="743"/>
                    <a:pt x="2641" y="751"/>
                    <a:pt x="2649" y="759"/>
                  </a:cubicBezTo>
                  <a:cubicBezTo>
                    <a:pt x="2649" y="767"/>
                    <a:pt x="2657" y="775"/>
                    <a:pt x="2657" y="775"/>
                  </a:cubicBezTo>
                  <a:cubicBezTo>
                    <a:pt x="2665" y="790"/>
                    <a:pt x="2665" y="806"/>
                    <a:pt x="2657" y="822"/>
                  </a:cubicBezTo>
                  <a:cubicBezTo>
                    <a:pt x="2657" y="830"/>
                    <a:pt x="2641" y="838"/>
                    <a:pt x="2633" y="838"/>
                  </a:cubicBezTo>
                  <a:cubicBezTo>
                    <a:pt x="2625" y="846"/>
                    <a:pt x="2617" y="830"/>
                    <a:pt x="2617" y="822"/>
                  </a:cubicBezTo>
                  <a:cubicBezTo>
                    <a:pt x="2609" y="822"/>
                    <a:pt x="2609" y="814"/>
                    <a:pt x="2601" y="814"/>
                  </a:cubicBezTo>
                  <a:lnTo>
                    <a:pt x="2601" y="814"/>
                  </a:lnTo>
                  <a:cubicBezTo>
                    <a:pt x="2601" y="814"/>
                    <a:pt x="2601" y="814"/>
                    <a:pt x="2601" y="822"/>
                  </a:cubicBezTo>
                  <a:cubicBezTo>
                    <a:pt x="2609" y="822"/>
                    <a:pt x="2609" y="838"/>
                    <a:pt x="2617" y="846"/>
                  </a:cubicBezTo>
                  <a:cubicBezTo>
                    <a:pt x="2617" y="846"/>
                    <a:pt x="2617" y="854"/>
                    <a:pt x="2609" y="862"/>
                  </a:cubicBezTo>
                  <a:cubicBezTo>
                    <a:pt x="2601" y="869"/>
                    <a:pt x="2578" y="869"/>
                    <a:pt x="2578" y="869"/>
                  </a:cubicBezTo>
                  <a:cubicBezTo>
                    <a:pt x="2570" y="869"/>
                    <a:pt x="2562" y="869"/>
                    <a:pt x="2562" y="877"/>
                  </a:cubicBezTo>
                  <a:cubicBezTo>
                    <a:pt x="2562" y="877"/>
                    <a:pt x="2562" y="885"/>
                    <a:pt x="2578" y="893"/>
                  </a:cubicBezTo>
                  <a:cubicBezTo>
                    <a:pt x="2585" y="901"/>
                    <a:pt x="2593" y="901"/>
                    <a:pt x="2593" y="901"/>
                  </a:cubicBezTo>
                  <a:cubicBezTo>
                    <a:pt x="2601" y="901"/>
                    <a:pt x="2601" y="901"/>
                    <a:pt x="2601" y="893"/>
                  </a:cubicBezTo>
                  <a:cubicBezTo>
                    <a:pt x="2609" y="885"/>
                    <a:pt x="2609" y="885"/>
                    <a:pt x="2617" y="885"/>
                  </a:cubicBezTo>
                  <a:cubicBezTo>
                    <a:pt x="2617" y="885"/>
                    <a:pt x="2625" y="885"/>
                    <a:pt x="2649" y="917"/>
                  </a:cubicBezTo>
                  <a:cubicBezTo>
                    <a:pt x="2657" y="925"/>
                    <a:pt x="2665" y="925"/>
                    <a:pt x="2665" y="925"/>
                  </a:cubicBezTo>
                  <a:lnTo>
                    <a:pt x="2665" y="925"/>
                  </a:lnTo>
                  <a:lnTo>
                    <a:pt x="2673" y="925"/>
                  </a:lnTo>
                  <a:cubicBezTo>
                    <a:pt x="2680" y="925"/>
                    <a:pt x="2688" y="933"/>
                    <a:pt x="2688" y="941"/>
                  </a:cubicBezTo>
                  <a:cubicBezTo>
                    <a:pt x="2696" y="949"/>
                    <a:pt x="2696" y="964"/>
                    <a:pt x="2688" y="972"/>
                  </a:cubicBezTo>
                  <a:cubicBezTo>
                    <a:pt x="2680" y="972"/>
                    <a:pt x="2680" y="980"/>
                    <a:pt x="2680" y="980"/>
                  </a:cubicBezTo>
                  <a:cubicBezTo>
                    <a:pt x="2673" y="988"/>
                    <a:pt x="2673" y="996"/>
                    <a:pt x="2665" y="1004"/>
                  </a:cubicBezTo>
                  <a:cubicBezTo>
                    <a:pt x="2657" y="1012"/>
                    <a:pt x="2649" y="1012"/>
                    <a:pt x="2649" y="1012"/>
                  </a:cubicBezTo>
                  <a:cubicBezTo>
                    <a:pt x="2641" y="1012"/>
                    <a:pt x="2633" y="1012"/>
                    <a:pt x="2625" y="1004"/>
                  </a:cubicBezTo>
                  <a:cubicBezTo>
                    <a:pt x="2617" y="996"/>
                    <a:pt x="2609" y="996"/>
                    <a:pt x="2601" y="988"/>
                  </a:cubicBezTo>
                  <a:cubicBezTo>
                    <a:pt x="2578" y="972"/>
                    <a:pt x="2570" y="964"/>
                    <a:pt x="2562" y="964"/>
                  </a:cubicBezTo>
                  <a:cubicBezTo>
                    <a:pt x="2554" y="956"/>
                    <a:pt x="2546" y="949"/>
                    <a:pt x="2538" y="949"/>
                  </a:cubicBezTo>
                  <a:cubicBezTo>
                    <a:pt x="2530" y="941"/>
                    <a:pt x="2522" y="941"/>
                    <a:pt x="2522" y="941"/>
                  </a:cubicBezTo>
                  <a:lnTo>
                    <a:pt x="2522" y="941"/>
                  </a:lnTo>
                  <a:lnTo>
                    <a:pt x="2522" y="941"/>
                  </a:lnTo>
                  <a:lnTo>
                    <a:pt x="2522" y="949"/>
                  </a:lnTo>
                  <a:cubicBezTo>
                    <a:pt x="2538" y="956"/>
                    <a:pt x="2554" y="964"/>
                    <a:pt x="2585" y="1004"/>
                  </a:cubicBezTo>
                  <a:cubicBezTo>
                    <a:pt x="2601" y="1028"/>
                    <a:pt x="2609" y="1028"/>
                    <a:pt x="2617" y="1028"/>
                  </a:cubicBezTo>
                  <a:cubicBezTo>
                    <a:pt x="2625" y="1028"/>
                    <a:pt x="2625" y="1035"/>
                    <a:pt x="2633" y="1035"/>
                  </a:cubicBezTo>
                  <a:cubicBezTo>
                    <a:pt x="2641" y="1043"/>
                    <a:pt x="2641" y="1043"/>
                    <a:pt x="2649" y="1043"/>
                  </a:cubicBezTo>
                  <a:cubicBezTo>
                    <a:pt x="2657" y="1043"/>
                    <a:pt x="2657" y="1043"/>
                    <a:pt x="2665" y="1035"/>
                  </a:cubicBezTo>
                  <a:lnTo>
                    <a:pt x="2673" y="1028"/>
                  </a:lnTo>
                  <a:cubicBezTo>
                    <a:pt x="2680" y="1028"/>
                    <a:pt x="2680" y="1020"/>
                    <a:pt x="2688" y="1012"/>
                  </a:cubicBezTo>
                  <a:lnTo>
                    <a:pt x="2688" y="1004"/>
                  </a:lnTo>
                  <a:cubicBezTo>
                    <a:pt x="2696" y="996"/>
                    <a:pt x="2696" y="996"/>
                    <a:pt x="2704" y="996"/>
                  </a:cubicBezTo>
                  <a:cubicBezTo>
                    <a:pt x="2712" y="996"/>
                    <a:pt x="2728" y="996"/>
                    <a:pt x="2736" y="996"/>
                  </a:cubicBezTo>
                  <a:cubicBezTo>
                    <a:pt x="2744" y="996"/>
                    <a:pt x="2751" y="1004"/>
                    <a:pt x="2760" y="1004"/>
                  </a:cubicBezTo>
                  <a:cubicBezTo>
                    <a:pt x="2783" y="1004"/>
                    <a:pt x="2799" y="1004"/>
                    <a:pt x="2823" y="1028"/>
                  </a:cubicBezTo>
                  <a:cubicBezTo>
                    <a:pt x="2838" y="1043"/>
                    <a:pt x="2846" y="1051"/>
                    <a:pt x="2846" y="1067"/>
                  </a:cubicBezTo>
                  <a:cubicBezTo>
                    <a:pt x="2846" y="1075"/>
                    <a:pt x="2854" y="1090"/>
                    <a:pt x="2862" y="1114"/>
                  </a:cubicBezTo>
                  <a:cubicBezTo>
                    <a:pt x="2878" y="1137"/>
                    <a:pt x="2878" y="1145"/>
                    <a:pt x="2886" y="1145"/>
                  </a:cubicBezTo>
                  <a:cubicBezTo>
                    <a:pt x="2886" y="1153"/>
                    <a:pt x="2886" y="1153"/>
                    <a:pt x="2894" y="1153"/>
                  </a:cubicBezTo>
                  <a:cubicBezTo>
                    <a:pt x="2894" y="1161"/>
                    <a:pt x="2894" y="1161"/>
                    <a:pt x="2894" y="1161"/>
                  </a:cubicBezTo>
                  <a:lnTo>
                    <a:pt x="2894" y="1161"/>
                  </a:lnTo>
                  <a:cubicBezTo>
                    <a:pt x="2704" y="1208"/>
                    <a:pt x="1708" y="1438"/>
                    <a:pt x="838" y="1556"/>
                  </a:cubicBezTo>
                  <a:cubicBezTo>
                    <a:pt x="838" y="1556"/>
                    <a:pt x="791" y="1564"/>
                    <a:pt x="759" y="1564"/>
                  </a:cubicBezTo>
                  <a:cubicBezTo>
                    <a:pt x="751" y="1564"/>
                    <a:pt x="744" y="1564"/>
                    <a:pt x="744" y="1564"/>
                  </a:cubicBezTo>
                  <a:cubicBezTo>
                    <a:pt x="736" y="1556"/>
                    <a:pt x="736" y="1556"/>
                    <a:pt x="720" y="1556"/>
                  </a:cubicBezTo>
                  <a:cubicBezTo>
                    <a:pt x="680" y="1556"/>
                    <a:pt x="609" y="1572"/>
                    <a:pt x="562" y="1580"/>
                  </a:cubicBezTo>
                  <a:cubicBezTo>
                    <a:pt x="530" y="1588"/>
                    <a:pt x="309" y="1619"/>
                    <a:pt x="16" y="1659"/>
                  </a:cubicBezTo>
                  <a:lnTo>
                    <a:pt x="0" y="1659"/>
                  </a:lnTo>
                  <a:close/>
                  <a:moveTo>
                    <a:pt x="135" y="1572"/>
                  </a:moveTo>
                  <a:lnTo>
                    <a:pt x="135" y="1572"/>
                  </a:lnTo>
                  <a:cubicBezTo>
                    <a:pt x="127" y="1572"/>
                    <a:pt x="127" y="1572"/>
                    <a:pt x="119" y="1588"/>
                  </a:cubicBezTo>
                  <a:cubicBezTo>
                    <a:pt x="103" y="1596"/>
                    <a:pt x="64" y="1627"/>
                    <a:pt x="32" y="1651"/>
                  </a:cubicBezTo>
                  <a:cubicBezTo>
                    <a:pt x="317" y="1612"/>
                    <a:pt x="530" y="1580"/>
                    <a:pt x="562" y="1572"/>
                  </a:cubicBezTo>
                  <a:cubicBezTo>
                    <a:pt x="641" y="1556"/>
                    <a:pt x="696" y="1548"/>
                    <a:pt x="720" y="1548"/>
                  </a:cubicBezTo>
                  <a:cubicBezTo>
                    <a:pt x="736" y="1548"/>
                    <a:pt x="744" y="1556"/>
                    <a:pt x="744" y="1556"/>
                  </a:cubicBezTo>
                  <a:cubicBezTo>
                    <a:pt x="751" y="1556"/>
                    <a:pt x="751" y="1556"/>
                    <a:pt x="759" y="1556"/>
                  </a:cubicBezTo>
                  <a:cubicBezTo>
                    <a:pt x="791" y="1556"/>
                    <a:pt x="838" y="1548"/>
                    <a:pt x="838" y="1548"/>
                  </a:cubicBezTo>
                  <a:cubicBezTo>
                    <a:pt x="1700" y="1438"/>
                    <a:pt x="2680" y="1201"/>
                    <a:pt x="2886" y="1153"/>
                  </a:cubicBezTo>
                  <a:cubicBezTo>
                    <a:pt x="2878" y="1153"/>
                    <a:pt x="2878" y="1153"/>
                    <a:pt x="2878" y="1153"/>
                  </a:cubicBezTo>
                  <a:cubicBezTo>
                    <a:pt x="2878" y="1145"/>
                    <a:pt x="2870" y="1145"/>
                    <a:pt x="2854" y="1114"/>
                  </a:cubicBezTo>
                  <a:cubicBezTo>
                    <a:pt x="2846" y="1090"/>
                    <a:pt x="2838" y="1082"/>
                    <a:pt x="2838" y="1067"/>
                  </a:cubicBezTo>
                  <a:cubicBezTo>
                    <a:pt x="2838" y="1051"/>
                    <a:pt x="2838" y="1043"/>
                    <a:pt x="2823" y="1035"/>
                  </a:cubicBezTo>
                  <a:cubicBezTo>
                    <a:pt x="2791" y="1004"/>
                    <a:pt x="2783" y="1004"/>
                    <a:pt x="2760" y="1004"/>
                  </a:cubicBezTo>
                  <a:cubicBezTo>
                    <a:pt x="2751" y="1004"/>
                    <a:pt x="2744" y="1004"/>
                    <a:pt x="2736" y="1004"/>
                  </a:cubicBezTo>
                  <a:cubicBezTo>
                    <a:pt x="2728" y="1004"/>
                    <a:pt x="2712" y="1004"/>
                    <a:pt x="2704" y="1004"/>
                  </a:cubicBezTo>
                  <a:cubicBezTo>
                    <a:pt x="2696" y="1004"/>
                    <a:pt x="2696" y="1004"/>
                    <a:pt x="2696" y="1004"/>
                  </a:cubicBezTo>
                  <a:lnTo>
                    <a:pt x="2688" y="1012"/>
                  </a:lnTo>
                  <a:cubicBezTo>
                    <a:pt x="2688" y="1020"/>
                    <a:pt x="2688" y="1028"/>
                    <a:pt x="2680" y="1035"/>
                  </a:cubicBezTo>
                  <a:cubicBezTo>
                    <a:pt x="2673" y="1035"/>
                    <a:pt x="2673" y="1043"/>
                    <a:pt x="2665" y="1043"/>
                  </a:cubicBezTo>
                  <a:cubicBezTo>
                    <a:pt x="2665" y="1043"/>
                    <a:pt x="2657" y="1051"/>
                    <a:pt x="2649" y="1051"/>
                  </a:cubicBezTo>
                  <a:cubicBezTo>
                    <a:pt x="2641" y="1051"/>
                    <a:pt x="2633" y="1051"/>
                    <a:pt x="2633" y="1043"/>
                  </a:cubicBezTo>
                  <a:cubicBezTo>
                    <a:pt x="2625" y="1043"/>
                    <a:pt x="2617" y="1035"/>
                    <a:pt x="2617" y="1035"/>
                  </a:cubicBezTo>
                  <a:cubicBezTo>
                    <a:pt x="2609" y="1035"/>
                    <a:pt x="2601" y="1035"/>
                    <a:pt x="2578" y="1004"/>
                  </a:cubicBezTo>
                  <a:cubicBezTo>
                    <a:pt x="2546" y="972"/>
                    <a:pt x="2530" y="956"/>
                    <a:pt x="2522" y="949"/>
                  </a:cubicBezTo>
                  <a:lnTo>
                    <a:pt x="2514" y="949"/>
                  </a:lnTo>
                  <a:lnTo>
                    <a:pt x="2514" y="941"/>
                  </a:lnTo>
                  <a:cubicBezTo>
                    <a:pt x="2514" y="933"/>
                    <a:pt x="2530" y="933"/>
                    <a:pt x="2546" y="941"/>
                  </a:cubicBezTo>
                  <a:cubicBezTo>
                    <a:pt x="2554" y="949"/>
                    <a:pt x="2562" y="949"/>
                    <a:pt x="2562" y="956"/>
                  </a:cubicBezTo>
                  <a:cubicBezTo>
                    <a:pt x="2570" y="964"/>
                    <a:pt x="2578" y="972"/>
                    <a:pt x="2601" y="980"/>
                  </a:cubicBezTo>
                  <a:cubicBezTo>
                    <a:pt x="2617" y="988"/>
                    <a:pt x="2625" y="996"/>
                    <a:pt x="2625" y="996"/>
                  </a:cubicBezTo>
                  <a:cubicBezTo>
                    <a:pt x="2633" y="1004"/>
                    <a:pt x="2641" y="1004"/>
                    <a:pt x="2649" y="1004"/>
                  </a:cubicBezTo>
                  <a:cubicBezTo>
                    <a:pt x="2649" y="1004"/>
                    <a:pt x="2649" y="1004"/>
                    <a:pt x="2657" y="1004"/>
                  </a:cubicBezTo>
                  <a:cubicBezTo>
                    <a:pt x="2665" y="996"/>
                    <a:pt x="2673" y="988"/>
                    <a:pt x="2673" y="980"/>
                  </a:cubicBezTo>
                  <a:cubicBezTo>
                    <a:pt x="2673" y="972"/>
                    <a:pt x="2680" y="972"/>
                    <a:pt x="2680" y="964"/>
                  </a:cubicBezTo>
                  <a:cubicBezTo>
                    <a:pt x="2688" y="964"/>
                    <a:pt x="2688" y="949"/>
                    <a:pt x="2688" y="941"/>
                  </a:cubicBezTo>
                  <a:cubicBezTo>
                    <a:pt x="2680" y="933"/>
                    <a:pt x="2680" y="933"/>
                    <a:pt x="2673" y="933"/>
                  </a:cubicBezTo>
                  <a:cubicBezTo>
                    <a:pt x="2673" y="933"/>
                    <a:pt x="2673" y="933"/>
                    <a:pt x="2665" y="933"/>
                  </a:cubicBezTo>
                  <a:lnTo>
                    <a:pt x="2665" y="933"/>
                  </a:lnTo>
                  <a:cubicBezTo>
                    <a:pt x="2657" y="933"/>
                    <a:pt x="2657" y="933"/>
                    <a:pt x="2649" y="925"/>
                  </a:cubicBezTo>
                  <a:cubicBezTo>
                    <a:pt x="2625" y="901"/>
                    <a:pt x="2617" y="893"/>
                    <a:pt x="2617" y="893"/>
                  </a:cubicBezTo>
                  <a:lnTo>
                    <a:pt x="2609" y="893"/>
                  </a:lnTo>
                  <a:cubicBezTo>
                    <a:pt x="2609" y="901"/>
                    <a:pt x="2601" y="909"/>
                    <a:pt x="2593" y="909"/>
                  </a:cubicBezTo>
                  <a:cubicBezTo>
                    <a:pt x="2585" y="909"/>
                    <a:pt x="2578" y="901"/>
                    <a:pt x="2570" y="893"/>
                  </a:cubicBezTo>
                  <a:cubicBezTo>
                    <a:pt x="2562" y="885"/>
                    <a:pt x="2554" y="877"/>
                    <a:pt x="2554" y="869"/>
                  </a:cubicBezTo>
                  <a:cubicBezTo>
                    <a:pt x="2562" y="869"/>
                    <a:pt x="2562" y="862"/>
                    <a:pt x="2578" y="862"/>
                  </a:cubicBezTo>
                  <a:cubicBezTo>
                    <a:pt x="2585" y="862"/>
                    <a:pt x="2601" y="862"/>
                    <a:pt x="2609" y="854"/>
                  </a:cubicBezTo>
                  <a:lnTo>
                    <a:pt x="2609" y="846"/>
                  </a:lnTo>
                  <a:cubicBezTo>
                    <a:pt x="2609" y="838"/>
                    <a:pt x="2601" y="830"/>
                    <a:pt x="2593" y="822"/>
                  </a:cubicBezTo>
                  <a:cubicBezTo>
                    <a:pt x="2593" y="814"/>
                    <a:pt x="2593" y="806"/>
                    <a:pt x="2593" y="806"/>
                  </a:cubicBezTo>
                  <a:cubicBezTo>
                    <a:pt x="2593" y="806"/>
                    <a:pt x="2593" y="798"/>
                    <a:pt x="2601" y="806"/>
                  </a:cubicBezTo>
                  <a:cubicBezTo>
                    <a:pt x="2609" y="806"/>
                    <a:pt x="2617" y="814"/>
                    <a:pt x="2617" y="822"/>
                  </a:cubicBezTo>
                  <a:cubicBezTo>
                    <a:pt x="2625" y="830"/>
                    <a:pt x="2625" y="838"/>
                    <a:pt x="2633" y="830"/>
                  </a:cubicBezTo>
                  <a:cubicBezTo>
                    <a:pt x="2641" y="830"/>
                    <a:pt x="2649" y="830"/>
                    <a:pt x="2649" y="814"/>
                  </a:cubicBezTo>
                  <a:cubicBezTo>
                    <a:pt x="2657" y="806"/>
                    <a:pt x="2657" y="790"/>
                    <a:pt x="2649" y="782"/>
                  </a:cubicBezTo>
                  <a:cubicBezTo>
                    <a:pt x="2649" y="775"/>
                    <a:pt x="2641" y="767"/>
                    <a:pt x="2641" y="767"/>
                  </a:cubicBezTo>
                  <a:cubicBezTo>
                    <a:pt x="2641" y="751"/>
                    <a:pt x="2633" y="751"/>
                    <a:pt x="2625" y="743"/>
                  </a:cubicBezTo>
                  <a:cubicBezTo>
                    <a:pt x="2617" y="743"/>
                    <a:pt x="2609" y="735"/>
                    <a:pt x="2601" y="735"/>
                  </a:cubicBezTo>
                  <a:cubicBezTo>
                    <a:pt x="2585" y="735"/>
                    <a:pt x="2570" y="727"/>
                    <a:pt x="2554" y="719"/>
                  </a:cubicBezTo>
                  <a:cubicBezTo>
                    <a:pt x="2546" y="711"/>
                    <a:pt x="2538" y="711"/>
                    <a:pt x="2538" y="711"/>
                  </a:cubicBezTo>
                  <a:cubicBezTo>
                    <a:pt x="2530" y="703"/>
                    <a:pt x="2530" y="703"/>
                    <a:pt x="2514" y="688"/>
                  </a:cubicBezTo>
                  <a:cubicBezTo>
                    <a:pt x="2507" y="680"/>
                    <a:pt x="2507" y="672"/>
                    <a:pt x="2507" y="664"/>
                  </a:cubicBezTo>
                  <a:lnTo>
                    <a:pt x="2514" y="664"/>
                  </a:lnTo>
                  <a:cubicBezTo>
                    <a:pt x="2522" y="664"/>
                    <a:pt x="2530" y="664"/>
                    <a:pt x="2530" y="672"/>
                  </a:cubicBezTo>
                  <a:lnTo>
                    <a:pt x="2538" y="672"/>
                  </a:lnTo>
                  <a:cubicBezTo>
                    <a:pt x="2546" y="680"/>
                    <a:pt x="2554" y="696"/>
                    <a:pt x="2578" y="696"/>
                  </a:cubicBezTo>
                  <a:lnTo>
                    <a:pt x="2585" y="696"/>
                  </a:lnTo>
                  <a:cubicBezTo>
                    <a:pt x="2593" y="696"/>
                    <a:pt x="2593" y="696"/>
                    <a:pt x="2593" y="696"/>
                  </a:cubicBezTo>
                  <a:lnTo>
                    <a:pt x="2601" y="696"/>
                  </a:lnTo>
                  <a:cubicBezTo>
                    <a:pt x="2601" y="696"/>
                    <a:pt x="2601" y="688"/>
                    <a:pt x="2601" y="672"/>
                  </a:cubicBezTo>
                  <a:lnTo>
                    <a:pt x="2601" y="672"/>
                  </a:lnTo>
                  <a:cubicBezTo>
                    <a:pt x="2593" y="664"/>
                    <a:pt x="2593" y="656"/>
                    <a:pt x="2593" y="640"/>
                  </a:cubicBezTo>
                  <a:cubicBezTo>
                    <a:pt x="2585" y="632"/>
                    <a:pt x="2585" y="624"/>
                    <a:pt x="2585" y="616"/>
                  </a:cubicBezTo>
                  <a:cubicBezTo>
                    <a:pt x="2593" y="616"/>
                    <a:pt x="2593" y="616"/>
                    <a:pt x="2601" y="616"/>
                  </a:cubicBezTo>
                  <a:cubicBezTo>
                    <a:pt x="2609" y="609"/>
                    <a:pt x="2617" y="601"/>
                    <a:pt x="2617" y="601"/>
                  </a:cubicBezTo>
                  <a:cubicBezTo>
                    <a:pt x="2625" y="593"/>
                    <a:pt x="2625" y="585"/>
                    <a:pt x="2625" y="585"/>
                  </a:cubicBezTo>
                  <a:cubicBezTo>
                    <a:pt x="2617" y="577"/>
                    <a:pt x="2601" y="569"/>
                    <a:pt x="2570" y="553"/>
                  </a:cubicBezTo>
                  <a:lnTo>
                    <a:pt x="2570" y="553"/>
                  </a:lnTo>
                  <a:cubicBezTo>
                    <a:pt x="2538" y="538"/>
                    <a:pt x="2507" y="529"/>
                    <a:pt x="2507" y="498"/>
                  </a:cubicBezTo>
                  <a:cubicBezTo>
                    <a:pt x="2507" y="490"/>
                    <a:pt x="2507" y="482"/>
                    <a:pt x="2507" y="482"/>
                  </a:cubicBezTo>
                  <a:cubicBezTo>
                    <a:pt x="2507" y="482"/>
                    <a:pt x="2491" y="482"/>
                    <a:pt x="2483" y="482"/>
                  </a:cubicBezTo>
                  <a:cubicBezTo>
                    <a:pt x="2467" y="482"/>
                    <a:pt x="2451" y="490"/>
                    <a:pt x="2443" y="490"/>
                  </a:cubicBezTo>
                  <a:cubicBezTo>
                    <a:pt x="2435" y="490"/>
                    <a:pt x="2427" y="490"/>
                    <a:pt x="2427" y="490"/>
                  </a:cubicBezTo>
                  <a:cubicBezTo>
                    <a:pt x="2388" y="482"/>
                    <a:pt x="2348" y="466"/>
                    <a:pt x="2317" y="451"/>
                  </a:cubicBezTo>
                  <a:cubicBezTo>
                    <a:pt x="2309" y="451"/>
                    <a:pt x="2309" y="443"/>
                    <a:pt x="2309" y="443"/>
                  </a:cubicBezTo>
                  <a:cubicBezTo>
                    <a:pt x="2301" y="435"/>
                    <a:pt x="2309" y="435"/>
                    <a:pt x="2309" y="427"/>
                  </a:cubicBezTo>
                  <a:cubicBezTo>
                    <a:pt x="2309" y="427"/>
                    <a:pt x="2317" y="419"/>
                    <a:pt x="2309" y="419"/>
                  </a:cubicBezTo>
                  <a:cubicBezTo>
                    <a:pt x="2309" y="411"/>
                    <a:pt x="2293" y="411"/>
                    <a:pt x="2285" y="411"/>
                  </a:cubicBezTo>
                  <a:cubicBezTo>
                    <a:pt x="2277" y="411"/>
                    <a:pt x="2261" y="411"/>
                    <a:pt x="2254" y="419"/>
                  </a:cubicBezTo>
                  <a:cubicBezTo>
                    <a:pt x="2245" y="427"/>
                    <a:pt x="2222" y="435"/>
                    <a:pt x="2206" y="435"/>
                  </a:cubicBezTo>
                  <a:cubicBezTo>
                    <a:pt x="2190" y="435"/>
                    <a:pt x="2182" y="427"/>
                    <a:pt x="2174" y="419"/>
                  </a:cubicBezTo>
                  <a:cubicBezTo>
                    <a:pt x="2159" y="395"/>
                    <a:pt x="2190" y="324"/>
                    <a:pt x="2206" y="300"/>
                  </a:cubicBezTo>
                  <a:cubicBezTo>
                    <a:pt x="2230" y="269"/>
                    <a:pt x="2222" y="245"/>
                    <a:pt x="2222" y="213"/>
                  </a:cubicBezTo>
                  <a:cubicBezTo>
                    <a:pt x="2222" y="213"/>
                    <a:pt x="2222" y="205"/>
                    <a:pt x="2222" y="198"/>
                  </a:cubicBezTo>
                  <a:cubicBezTo>
                    <a:pt x="2214" y="174"/>
                    <a:pt x="2174" y="150"/>
                    <a:pt x="2143" y="134"/>
                  </a:cubicBezTo>
                  <a:cubicBezTo>
                    <a:pt x="2135" y="134"/>
                    <a:pt x="2127" y="126"/>
                    <a:pt x="2119" y="118"/>
                  </a:cubicBezTo>
                  <a:cubicBezTo>
                    <a:pt x="2111" y="111"/>
                    <a:pt x="2095" y="111"/>
                    <a:pt x="2087" y="111"/>
                  </a:cubicBezTo>
                  <a:cubicBezTo>
                    <a:pt x="2080" y="111"/>
                    <a:pt x="2072" y="111"/>
                    <a:pt x="2072" y="111"/>
                  </a:cubicBezTo>
                  <a:cubicBezTo>
                    <a:pt x="2064" y="111"/>
                    <a:pt x="2056" y="111"/>
                    <a:pt x="2056" y="111"/>
                  </a:cubicBezTo>
                  <a:cubicBezTo>
                    <a:pt x="2048" y="111"/>
                    <a:pt x="2040" y="111"/>
                    <a:pt x="2032" y="111"/>
                  </a:cubicBezTo>
                  <a:cubicBezTo>
                    <a:pt x="2024" y="103"/>
                    <a:pt x="2024" y="79"/>
                    <a:pt x="2016" y="47"/>
                  </a:cubicBezTo>
                  <a:cubicBezTo>
                    <a:pt x="2016" y="39"/>
                    <a:pt x="2016" y="32"/>
                    <a:pt x="2016" y="23"/>
                  </a:cubicBezTo>
                  <a:cubicBezTo>
                    <a:pt x="2016" y="23"/>
                    <a:pt x="2008" y="16"/>
                    <a:pt x="1977" y="16"/>
                  </a:cubicBezTo>
                  <a:cubicBezTo>
                    <a:pt x="1969" y="16"/>
                    <a:pt x="1953" y="16"/>
                    <a:pt x="1937" y="16"/>
                  </a:cubicBezTo>
                  <a:cubicBezTo>
                    <a:pt x="1921" y="71"/>
                    <a:pt x="1890" y="103"/>
                    <a:pt x="1866" y="95"/>
                  </a:cubicBezTo>
                  <a:cubicBezTo>
                    <a:pt x="1843" y="87"/>
                    <a:pt x="1795" y="55"/>
                    <a:pt x="1763" y="32"/>
                  </a:cubicBezTo>
                  <a:cubicBezTo>
                    <a:pt x="1748" y="23"/>
                    <a:pt x="1732" y="8"/>
                    <a:pt x="1732" y="8"/>
                  </a:cubicBezTo>
                  <a:cubicBezTo>
                    <a:pt x="1724" y="8"/>
                    <a:pt x="1716" y="8"/>
                    <a:pt x="1716" y="8"/>
                  </a:cubicBezTo>
                  <a:cubicBezTo>
                    <a:pt x="1708" y="23"/>
                    <a:pt x="1700" y="47"/>
                    <a:pt x="1700" y="79"/>
                  </a:cubicBezTo>
                  <a:cubicBezTo>
                    <a:pt x="1700" y="126"/>
                    <a:pt x="1700" y="174"/>
                    <a:pt x="1684" y="221"/>
                  </a:cubicBezTo>
                  <a:cubicBezTo>
                    <a:pt x="1676" y="269"/>
                    <a:pt x="1668" y="269"/>
                    <a:pt x="1645" y="269"/>
                  </a:cubicBezTo>
                  <a:cubicBezTo>
                    <a:pt x="1645" y="269"/>
                    <a:pt x="1637" y="276"/>
                    <a:pt x="1629" y="276"/>
                  </a:cubicBezTo>
                  <a:cubicBezTo>
                    <a:pt x="1605" y="276"/>
                    <a:pt x="1605" y="300"/>
                    <a:pt x="1605" y="316"/>
                  </a:cubicBezTo>
                  <a:cubicBezTo>
                    <a:pt x="1605" y="332"/>
                    <a:pt x="1605" y="340"/>
                    <a:pt x="1597" y="348"/>
                  </a:cubicBezTo>
                  <a:cubicBezTo>
                    <a:pt x="1597" y="363"/>
                    <a:pt x="1581" y="363"/>
                    <a:pt x="1574" y="363"/>
                  </a:cubicBezTo>
                  <a:cubicBezTo>
                    <a:pt x="1566" y="363"/>
                    <a:pt x="1558" y="363"/>
                    <a:pt x="1550" y="363"/>
                  </a:cubicBezTo>
                  <a:cubicBezTo>
                    <a:pt x="1542" y="363"/>
                    <a:pt x="1526" y="356"/>
                    <a:pt x="1518" y="363"/>
                  </a:cubicBezTo>
                  <a:cubicBezTo>
                    <a:pt x="1510" y="363"/>
                    <a:pt x="1510" y="363"/>
                    <a:pt x="1510" y="363"/>
                  </a:cubicBezTo>
                  <a:cubicBezTo>
                    <a:pt x="1510" y="363"/>
                    <a:pt x="1510" y="371"/>
                    <a:pt x="1510" y="379"/>
                  </a:cubicBezTo>
                  <a:cubicBezTo>
                    <a:pt x="1518" y="387"/>
                    <a:pt x="1518" y="403"/>
                    <a:pt x="1518" y="419"/>
                  </a:cubicBezTo>
                  <a:cubicBezTo>
                    <a:pt x="1518" y="435"/>
                    <a:pt x="1518" y="451"/>
                    <a:pt x="1510" y="451"/>
                  </a:cubicBezTo>
                  <a:cubicBezTo>
                    <a:pt x="1503" y="451"/>
                    <a:pt x="1495" y="451"/>
                    <a:pt x="1487" y="443"/>
                  </a:cubicBezTo>
                  <a:cubicBezTo>
                    <a:pt x="1487" y="435"/>
                    <a:pt x="1479" y="443"/>
                    <a:pt x="1471" y="451"/>
                  </a:cubicBezTo>
                  <a:cubicBezTo>
                    <a:pt x="1463" y="458"/>
                    <a:pt x="1455" y="482"/>
                    <a:pt x="1455" y="490"/>
                  </a:cubicBezTo>
                  <a:lnTo>
                    <a:pt x="1455" y="490"/>
                  </a:lnTo>
                  <a:cubicBezTo>
                    <a:pt x="1455" y="514"/>
                    <a:pt x="1455" y="529"/>
                    <a:pt x="1447" y="538"/>
                  </a:cubicBezTo>
                  <a:cubicBezTo>
                    <a:pt x="1447" y="545"/>
                    <a:pt x="1439" y="545"/>
                    <a:pt x="1439" y="545"/>
                  </a:cubicBezTo>
                  <a:cubicBezTo>
                    <a:pt x="1423" y="545"/>
                    <a:pt x="1400" y="522"/>
                    <a:pt x="1376" y="506"/>
                  </a:cubicBezTo>
                  <a:cubicBezTo>
                    <a:pt x="1376" y="498"/>
                    <a:pt x="1376" y="498"/>
                    <a:pt x="1376" y="498"/>
                  </a:cubicBezTo>
                  <a:cubicBezTo>
                    <a:pt x="1360" y="490"/>
                    <a:pt x="1352" y="490"/>
                    <a:pt x="1328" y="506"/>
                  </a:cubicBezTo>
                  <a:cubicBezTo>
                    <a:pt x="1321" y="514"/>
                    <a:pt x="1313" y="514"/>
                    <a:pt x="1305" y="522"/>
                  </a:cubicBezTo>
                  <a:cubicBezTo>
                    <a:pt x="1281" y="538"/>
                    <a:pt x="1281" y="553"/>
                    <a:pt x="1281" y="585"/>
                  </a:cubicBezTo>
                  <a:cubicBezTo>
                    <a:pt x="1281" y="601"/>
                    <a:pt x="1281" y="624"/>
                    <a:pt x="1273" y="648"/>
                  </a:cubicBezTo>
                  <a:cubicBezTo>
                    <a:pt x="1265" y="680"/>
                    <a:pt x="1257" y="696"/>
                    <a:pt x="1257" y="703"/>
                  </a:cubicBezTo>
                  <a:cubicBezTo>
                    <a:pt x="1250" y="711"/>
                    <a:pt x="1250" y="711"/>
                    <a:pt x="1250" y="735"/>
                  </a:cubicBezTo>
                  <a:cubicBezTo>
                    <a:pt x="1242" y="767"/>
                    <a:pt x="1242" y="775"/>
                    <a:pt x="1218" y="798"/>
                  </a:cubicBezTo>
                  <a:cubicBezTo>
                    <a:pt x="1218" y="798"/>
                    <a:pt x="1210" y="806"/>
                    <a:pt x="1210" y="814"/>
                  </a:cubicBezTo>
                  <a:cubicBezTo>
                    <a:pt x="1194" y="838"/>
                    <a:pt x="1186" y="846"/>
                    <a:pt x="1178" y="869"/>
                  </a:cubicBezTo>
                  <a:cubicBezTo>
                    <a:pt x="1170" y="885"/>
                    <a:pt x="1163" y="901"/>
                    <a:pt x="1147" y="925"/>
                  </a:cubicBezTo>
                  <a:cubicBezTo>
                    <a:pt x="1139" y="941"/>
                    <a:pt x="1139" y="949"/>
                    <a:pt x="1139" y="956"/>
                  </a:cubicBezTo>
                  <a:cubicBezTo>
                    <a:pt x="1139" y="956"/>
                    <a:pt x="1147" y="956"/>
                    <a:pt x="1155" y="956"/>
                  </a:cubicBezTo>
                  <a:cubicBezTo>
                    <a:pt x="1163" y="956"/>
                    <a:pt x="1178" y="956"/>
                    <a:pt x="1186" y="964"/>
                  </a:cubicBezTo>
                  <a:cubicBezTo>
                    <a:pt x="1202" y="972"/>
                    <a:pt x="1210" y="980"/>
                    <a:pt x="1210" y="988"/>
                  </a:cubicBezTo>
                  <a:cubicBezTo>
                    <a:pt x="1210" y="996"/>
                    <a:pt x="1186" y="996"/>
                    <a:pt x="1178" y="996"/>
                  </a:cubicBezTo>
                  <a:cubicBezTo>
                    <a:pt x="1170" y="996"/>
                    <a:pt x="1163" y="1012"/>
                    <a:pt x="1155" y="1028"/>
                  </a:cubicBezTo>
                  <a:cubicBezTo>
                    <a:pt x="1147" y="1051"/>
                    <a:pt x="1139" y="1067"/>
                    <a:pt x="1115" y="1075"/>
                  </a:cubicBezTo>
                  <a:cubicBezTo>
                    <a:pt x="1107" y="1082"/>
                    <a:pt x="1099" y="1082"/>
                    <a:pt x="1091" y="1082"/>
                  </a:cubicBezTo>
                  <a:lnTo>
                    <a:pt x="1084" y="1082"/>
                  </a:lnTo>
                  <a:cubicBezTo>
                    <a:pt x="1075" y="1082"/>
                    <a:pt x="1075" y="1082"/>
                    <a:pt x="1075" y="1082"/>
                  </a:cubicBezTo>
                  <a:lnTo>
                    <a:pt x="1075" y="1082"/>
                  </a:lnTo>
                  <a:cubicBezTo>
                    <a:pt x="1084" y="1114"/>
                    <a:pt x="1036" y="1121"/>
                    <a:pt x="965" y="1137"/>
                  </a:cubicBezTo>
                  <a:cubicBezTo>
                    <a:pt x="957" y="1137"/>
                    <a:pt x="957" y="1137"/>
                    <a:pt x="957" y="1137"/>
                  </a:cubicBezTo>
                  <a:cubicBezTo>
                    <a:pt x="933" y="1145"/>
                    <a:pt x="925" y="1145"/>
                    <a:pt x="925" y="1145"/>
                  </a:cubicBezTo>
                  <a:cubicBezTo>
                    <a:pt x="925" y="1153"/>
                    <a:pt x="925" y="1153"/>
                    <a:pt x="933" y="1153"/>
                  </a:cubicBezTo>
                  <a:cubicBezTo>
                    <a:pt x="933" y="1161"/>
                    <a:pt x="941" y="1169"/>
                    <a:pt x="933" y="1177"/>
                  </a:cubicBezTo>
                  <a:cubicBezTo>
                    <a:pt x="917" y="1185"/>
                    <a:pt x="878" y="1216"/>
                    <a:pt x="822" y="1216"/>
                  </a:cubicBezTo>
                  <a:cubicBezTo>
                    <a:pt x="815" y="1216"/>
                    <a:pt x="799" y="1208"/>
                    <a:pt x="791" y="1208"/>
                  </a:cubicBezTo>
                  <a:cubicBezTo>
                    <a:pt x="775" y="1208"/>
                    <a:pt x="767" y="1201"/>
                    <a:pt x="759" y="1201"/>
                  </a:cubicBezTo>
                  <a:cubicBezTo>
                    <a:pt x="751" y="1201"/>
                    <a:pt x="751" y="1208"/>
                    <a:pt x="751" y="1216"/>
                  </a:cubicBezTo>
                  <a:cubicBezTo>
                    <a:pt x="751" y="1224"/>
                    <a:pt x="751" y="1240"/>
                    <a:pt x="736" y="1264"/>
                  </a:cubicBezTo>
                  <a:cubicBezTo>
                    <a:pt x="728" y="1272"/>
                    <a:pt x="720" y="1279"/>
                    <a:pt x="712" y="1279"/>
                  </a:cubicBezTo>
                  <a:cubicBezTo>
                    <a:pt x="704" y="1279"/>
                    <a:pt x="696" y="1272"/>
                    <a:pt x="688" y="1264"/>
                  </a:cubicBezTo>
                  <a:cubicBezTo>
                    <a:pt x="680" y="1248"/>
                    <a:pt x="657" y="1224"/>
                    <a:pt x="609" y="1216"/>
                  </a:cubicBezTo>
                  <a:cubicBezTo>
                    <a:pt x="578" y="1208"/>
                    <a:pt x="562" y="1201"/>
                    <a:pt x="554" y="1192"/>
                  </a:cubicBezTo>
                  <a:cubicBezTo>
                    <a:pt x="546" y="1185"/>
                    <a:pt x="546" y="1177"/>
                    <a:pt x="546" y="1169"/>
                  </a:cubicBezTo>
                  <a:cubicBezTo>
                    <a:pt x="546" y="1161"/>
                    <a:pt x="554" y="1153"/>
                    <a:pt x="546" y="1145"/>
                  </a:cubicBezTo>
                  <a:cubicBezTo>
                    <a:pt x="522" y="1169"/>
                    <a:pt x="483" y="1216"/>
                    <a:pt x="475" y="1224"/>
                  </a:cubicBezTo>
                  <a:cubicBezTo>
                    <a:pt x="459" y="1248"/>
                    <a:pt x="404" y="1303"/>
                    <a:pt x="380" y="1311"/>
                  </a:cubicBezTo>
                  <a:cubicBezTo>
                    <a:pt x="364" y="1319"/>
                    <a:pt x="325" y="1343"/>
                    <a:pt x="325" y="1367"/>
                  </a:cubicBezTo>
                  <a:cubicBezTo>
                    <a:pt x="325" y="1390"/>
                    <a:pt x="301" y="1406"/>
                    <a:pt x="293" y="1422"/>
                  </a:cubicBezTo>
                  <a:cubicBezTo>
                    <a:pt x="293" y="1422"/>
                    <a:pt x="293" y="1422"/>
                    <a:pt x="285" y="1422"/>
                  </a:cubicBezTo>
                  <a:cubicBezTo>
                    <a:pt x="285" y="1430"/>
                    <a:pt x="285" y="1430"/>
                    <a:pt x="277" y="1430"/>
                  </a:cubicBezTo>
                  <a:cubicBezTo>
                    <a:pt x="277" y="1430"/>
                    <a:pt x="269" y="1430"/>
                    <a:pt x="269" y="1445"/>
                  </a:cubicBezTo>
                  <a:cubicBezTo>
                    <a:pt x="269" y="1454"/>
                    <a:pt x="269" y="1461"/>
                    <a:pt x="269" y="1469"/>
                  </a:cubicBezTo>
                  <a:cubicBezTo>
                    <a:pt x="269" y="1485"/>
                    <a:pt x="269" y="1485"/>
                    <a:pt x="253" y="1493"/>
                  </a:cubicBezTo>
                  <a:cubicBezTo>
                    <a:pt x="245" y="1493"/>
                    <a:pt x="238" y="1493"/>
                    <a:pt x="230" y="1493"/>
                  </a:cubicBezTo>
                  <a:cubicBezTo>
                    <a:pt x="214" y="1501"/>
                    <a:pt x="198" y="1501"/>
                    <a:pt x="190" y="1525"/>
                  </a:cubicBezTo>
                  <a:cubicBezTo>
                    <a:pt x="190" y="1532"/>
                    <a:pt x="190" y="1532"/>
                    <a:pt x="190" y="1540"/>
                  </a:cubicBezTo>
                  <a:cubicBezTo>
                    <a:pt x="182" y="1564"/>
                    <a:pt x="174" y="1580"/>
                    <a:pt x="158" y="1580"/>
                  </a:cubicBezTo>
                  <a:cubicBezTo>
                    <a:pt x="151" y="1580"/>
                    <a:pt x="143" y="1580"/>
                    <a:pt x="143" y="1580"/>
                  </a:cubicBezTo>
                  <a:cubicBezTo>
                    <a:pt x="135" y="1572"/>
                    <a:pt x="135" y="1572"/>
                    <a:pt x="135" y="1572"/>
                  </a:cubicBezTo>
                  <a:close/>
                </a:path>
              </a:pathLst>
            </a:custGeom>
            <a:solidFill>
              <a:schemeClr val="accent6"/>
            </a:solidFill>
            <a:ln>
              <a:solidFill>
                <a:schemeClr val="bg2"/>
              </a:solidFill>
            </a:ln>
            <a:effectLst/>
          </p:spPr>
          <p:txBody>
            <a:bodyPr wrap="none" anchor="ctr"/>
            <a:lstStyle/>
            <a:p>
              <a:endParaRPr lang="en-US"/>
            </a:p>
          </p:txBody>
        </p:sp>
        <p:sp>
          <p:nvSpPr>
            <p:cNvPr id="111" name="Freeform 781"/>
            <p:cNvSpPr>
              <a:spLocks noChangeArrowheads="1"/>
            </p:cNvSpPr>
            <p:nvPr/>
          </p:nvSpPr>
          <p:spPr bwMode="auto">
            <a:xfrm>
              <a:off x="5136579" y="3439310"/>
              <a:ext cx="974819" cy="448940"/>
            </a:xfrm>
            <a:custGeom>
              <a:avLst/>
              <a:gdLst>
                <a:gd name="T0" fmla="*/ 2396 w 2705"/>
                <a:gd name="T1" fmla="*/ 229 h 1439"/>
                <a:gd name="T2" fmla="*/ 2325 w 2705"/>
                <a:gd name="T3" fmla="*/ 182 h 1439"/>
                <a:gd name="T4" fmla="*/ 2285 w 2705"/>
                <a:gd name="T5" fmla="*/ 134 h 1439"/>
                <a:gd name="T6" fmla="*/ 2269 w 2705"/>
                <a:gd name="T7" fmla="*/ 110 h 1439"/>
                <a:gd name="T8" fmla="*/ 2222 w 2705"/>
                <a:gd name="T9" fmla="*/ 142 h 1439"/>
                <a:gd name="T10" fmla="*/ 2174 w 2705"/>
                <a:gd name="T11" fmla="*/ 174 h 1439"/>
                <a:gd name="T12" fmla="*/ 2079 w 2705"/>
                <a:gd name="T13" fmla="*/ 166 h 1439"/>
                <a:gd name="T14" fmla="*/ 1945 w 2705"/>
                <a:gd name="T15" fmla="*/ 158 h 1439"/>
                <a:gd name="T16" fmla="*/ 1779 w 2705"/>
                <a:gd name="T17" fmla="*/ 103 h 1439"/>
                <a:gd name="T18" fmla="*/ 1668 w 2705"/>
                <a:gd name="T19" fmla="*/ 23 h 1439"/>
                <a:gd name="T20" fmla="*/ 1550 w 2705"/>
                <a:gd name="T21" fmla="*/ 79 h 1439"/>
                <a:gd name="T22" fmla="*/ 1573 w 2705"/>
                <a:gd name="T23" fmla="*/ 182 h 1439"/>
                <a:gd name="T24" fmla="*/ 1463 w 2705"/>
                <a:gd name="T25" fmla="*/ 253 h 1439"/>
                <a:gd name="T26" fmla="*/ 1368 w 2705"/>
                <a:gd name="T27" fmla="*/ 261 h 1439"/>
                <a:gd name="T28" fmla="*/ 1352 w 2705"/>
                <a:gd name="T29" fmla="*/ 356 h 1439"/>
                <a:gd name="T30" fmla="*/ 1305 w 2705"/>
                <a:gd name="T31" fmla="*/ 419 h 1439"/>
                <a:gd name="T32" fmla="*/ 1218 w 2705"/>
                <a:gd name="T33" fmla="*/ 584 h 1439"/>
                <a:gd name="T34" fmla="*/ 1146 w 2705"/>
                <a:gd name="T35" fmla="*/ 600 h 1439"/>
                <a:gd name="T36" fmla="*/ 1067 w 2705"/>
                <a:gd name="T37" fmla="*/ 545 h 1439"/>
                <a:gd name="T38" fmla="*/ 1004 w 2705"/>
                <a:gd name="T39" fmla="*/ 615 h 1439"/>
                <a:gd name="T40" fmla="*/ 973 w 2705"/>
                <a:gd name="T41" fmla="*/ 663 h 1439"/>
                <a:gd name="T42" fmla="*/ 949 w 2705"/>
                <a:gd name="T43" fmla="*/ 702 h 1439"/>
                <a:gd name="T44" fmla="*/ 909 w 2705"/>
                <a:gd name="T45" fmla="*/ 655 h 1439"/>
                <a:gd name="T46" fmla="*/ 870 w 2705"/>
                <a:gd name="T47" fmla="*/ 663 h 1439"/>
                <a:gd name="T48" fmla="*/ 815 w 2705"/>
                <a:gd name="T49" fmla="*/ 695 h 1439"/>
                <a:gd name="T50" fmla="*/ 791 w 2705"/>
                <a:gd name="T51" fmla="*/ 750 h 1439"/>
                <a:gd name="T52" fmla="*/ 727 w 2705"/>
                <a:gd name="T53" fmla="*/ 718 h 1439"/>
                <a:gd name="T54" fmla="*/ 633 w 2705"/>
                <a:gd name="T55" fmla="*/ 718 h 1439"/>
                <a:gd name="T56" fmla="*/ 554 w 2705"/>
                <a:gd name="T57" fmla="*/ 742 h 1439"/>
                <a:gd name="T58" fmla="*/ 490 w 2705"/>
                <a:gd name="T59" fmla="*/ 789 h 1439"/>
                <a:gd name="T60" fmla="*/ 451 w 2705"/>
                <a:gd name="T61" fmla="*/ 821 h 1439"/>
                <a:gd name="T62" fmla="*/ 459 w 2705"/>
                <a:gd name="T63" fmla="*/ 932 h 1439"/>
                <a:gd name="T64" fmla="*/ 340 w 2705"/>
                <a:gd name="T65" fmla="*/ 1098 h 1439"/>
                <a:gd name="T66" fmla="*/ 87 w 2705"/>
                <a:gd name="T67" fmla="*/ 1200 h 1439"/>
                <a:gd name="T68" fmla="*/ 63 w 2705"/>
                <a:gd name="T69" fmla="*/ 1366 h 1439"/>
                <a:gd name="T70" fmla="*/ 0 w 2705"/>
                <a:gd name="T71" fmla="*/ 1414 h 1439"/>
                <a:gd name="T72" fmla="*/ 498 w 2705"/>
                <a:gd name="T73" fmla="*/ 1406 h 1439"/>
                <a:gd name="T74" fmla="*/ 577 w 2705"/>
                <a:gd name="T75" fmla="*/ 1311 h 1439"/>
                <a:gd name="T76" fmla="*/ 680 w 2705"/>
                <a:gd name="T77" fmla="*/ 1303 h 1439"/>
                <a:gd name="T78" fmla="*/ 2269 w 2705"/>
                <a:gd name="T79" fmla="*/ 1074 h 1439"/>
                <a:gd name="T80" fmla="*/ 2348 w 2705"/>
                <a:gd name="T81" fmla="*/ 1019 h 1439"/>
                <a:gd name="T82" fmla="*/ 2427 w 2705"/>
                <a:gd name="T83" fmla="*/ 939 h 1439"/>
                <a:gd name="T84" fmla="*/ 2475 w 2705"/>
                <a:gd name="T85" fmla="*/ 861 h 1439"/>
                <a:gd name="T86" fmla="*/ 2633 w 2705"/>
                <a:gd name="T87" fmla="*/ 718 h 1439"/>
                <a:gd name="T88" fmla="*/ 2601 w 2705"/>
                <a:gd name="T89" fmla="*/ 592 h 1439"/>
                <a:gd name="T90" fmla="*/ 2451 w 2705"/>
                <a:gd name="T91" fmla="*/ 395 h 1439"/>
                <a:gd name="T92" fmla="*/ 2427 w 2705"/>
                <a:gd name="T93" fmla="*/ 261 h 1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05" h="1439">
                  <a:moveTo>
                    <a:pt x="2396" y="229"/>
                  </a:moveTo>
                  <a:lnTo>
                    <a:pt x="2396" y="229"/>
                  </a:lnTo>
                  <a:cubicBezTo>
                    <a:pt x="2396" y="221"/>
                    <a:pt x="2396" y="205"/>
                    <a:pt x="2380" y="205"/>
                  </a:cubicBezTo>
                  <a:cubicBezTo>
                    <a:pt x="2364" y="197"/>
                    <a:pt x="2340" y="190"/>
                    <a:pt x="2325" y="182"/>
                  </a:cubicBezTo>
                  <a:cubicBezTo>
                    <a:pt x="2316" y="166"/>
                    <a:pt x="2325" y="166"/>
                    <a:pt x="2309" y="158"/>
                  </a:cubicBezTo>
                  <a:cubicBezTo>
                    <a:pt x="2301" y="158"/>
                    <a:pt x="2293" y="150"/>
                    <a:pt x="2285" y="134"/>
                  </a:cubicBezTo>
                  <a:cubicBezTo>
                    <a:pt x="2285" y="126"/>
                    <a:pt x="2285" y="126"/>
                    <a:pt x="2285" y="126"/>
                  </a:cubicBezTo>
                  <a:cubicBezTo>
                    <a:pt x="2269" y="110"/>
                    <a:pt x="2269" y="110"/>
                    <a:pt x="2269" y="110"/>
                  </a:cubicBezTo>
                  <a:cubicBezTo>
                    <a:pt x="2245" y="134"/>
                    <a:pt x="2245" y="134"/>
                    <a:pt x="2245" y="134"/>
                  </a:cubicBezTo>
                  <a:lnTo>
                    <a:pt x="2222" y="142"/>
                  </a:lnTo>
                  <a:cubicBezTo>
                    <a:pt x="2214" y="150"/>
                    <a:pt x="2206" y="166"/>
                    <a:pt x="2198" y="166"/>
                  </a:cubicBezTo>
                  <a:cubicBezTo>
                    <a:pt x="2190" y="158"/>
                    <a:pt x="2174" y="158"/>
                    <a:pt x="2174" y="174"/>
                  </a:cubicBezTo>
                  <a:cubicBezTo>
                    <a:pt x="2166" y="182"/>
                    <a:pt x="2158" y="190"/>
                    <a:pt x="2143" y="190"/>
                  </a:cubicBezTo>
                  <a:cubicBezTo>
                    <a:pt x="2119" y="190"/>
                    <a:pt x="2111" y="174"/>
                    <a:pt x="2079" y="166"/>
                  </a:cubicBezTo>
                  <a:cubicBezTo>
                    <a:pt x="2048" y="158"/>
                    <a:pt x="2056" y="205"/>
                    <a:pt x="2032" y="213"/>
                  </a:cubicBezTo>
                  <a:cubicBezTo>
                    <a:pt x="2008" y="221"/>
                    <a:pt x="1961" y="182"/>
                    <a:pt x="1945" y="158"/>
                  </a:cubicBezTo>
                  <a:cubicBezTo>
                    <a:pt x="1929" y="142"/>
                    <a:pt x="1882" y="166"/>
                    <a:pt x="1834" y="158"/>
                  </a:cubicBezTo>
                  <a:cubicBezTo>
                    <a:pt x="1787" y="158"/>
                    <a:pt x="1803" y="118"/>
                    <a:pt x="1779" y="103"/>
                  </a:cubicBezTo>
                  <a:cubicBezTo>
                    <a:pt x="1755" y="87"/>
                    <a:pt x="1755" y="71"/>
                    <a:pt x="1732" y="32"/>
                  </a:cubicBezTo>
                  <a:cubicBezTo>
                    <a:pt x="1708" y="0"/>
                    <a:pt x="1700" y="32"/>
                    <a:pt x="1668" y="23"/>
                  </a:cubicBezTo>
                  <a:cubicBezTo>
                    <a:pt x="1637" y="16"/>
                    <a:pt x="1613" y="16"/>
                    <a:pt x="1581" y="16"/>
                  </a:cubicBezTo>
                  <a:cubicBezTo>
                    <a:pt x="1558" y="16"/>
                    <a:pt x="1558" y="55"/>
                    <a:pt x="1550" y="79"/>
                  </a:cubicBezTo>
                  <a:cubicBezTo>
                    <a:pt x="1542" y="103"/>
                    <a:pt x="1550" y="110"/>
                    <a:pt x="1566" y="126"/>
                  </a:cubicBezTo>
                  <a:cubicBezTo>
                    <a:pt x="1581" y="150"/>
                    <a:pt x="1573" y="174"/>
                    <a:pt x="1573" y="182"/>
                  </a:cubicBezTo>
                  <a:cubicBezTo>
                    <a:pt x="1573" y="197"/>
                    <a:pt x="1542" y="190"/>
                    <a:pt x="1494" y="197"/>
                  </a:cubicBezTo>
                  <a:cubicBezTo>
                    <a:pt x="1455" y="205"/>
                    <a:pt x="1486" y="229"/>
                    <a:pt x="1463" y="253"/>
                  </a:cubicBezTo>
                  <a:cubicBezTo>
                    <a:pt x="1447" y="269"/>
                    <a:pt x="1423" y="229"/>
                    <a:pt x="1407" y="221"/>
                  </a:cubicBezTo>
                  <a:cubicBezTo>
                    <a:pt x="1399" y="205"/>
                    <a:pt x="1368" y="221"/>
                    <a:pt x="1368" y="261"/>
                  </a:cubicBezTo>
                  <a:cubicBezTo>
                    <a:pt x="1360" y="292"/>
                    <a:pt x="1368" y="284"/>
                    <a:pt x="1384" y="316"/>
                  </a:cubicBezTo>
                  <a:cubicBezTo>
                    <a:pt x="1392" y="348"/>
                    <a:pt x="1360" y="340"/>
                    <a:pt x="1352" y="356"/>
                  </a:cubicBezTo>
                  <a:cubicBezTo>
                    <a:pt x="1336" y="379"/>
                    <a:pt x="1336" y="371"/>
                    <a:pt x="1320" y="371"/>
                  </a:cubicBezTo>
                  <a:cubicBezTo>
                    <a:pt x="1305" y="379"/>
                    <a:pt x="1305" y="395"/>
                    <a:pt x="1305" y="419"/>
                  </a:cubicBezTo>
                  <a:cubicBezTo>
                    <a:pt x="1305" y="435"/>
                    <a:pt x="1281" y="466"/>
                    <a:pt x="1265" y="458"/>
                  </a:cubicBezTo>
                  <a:cubicBezTo>
                    <a:pt x="1249" y="458"/>
                    <a:pt x="1210" y="561"/>
                    <a:pt x="1218" y="584"/>
                  </a:cubicBezTo>
                  <a:cubicBezTo>
                    <a:pt x="1218" y="608"/>
                    <a:pt x="1202" y="600"/>
                    <a:pt x="1178" y="608"/>
                  </a:cubicBezTo>
                  <a:cubicBezTo>
                    <a:pt x="1155" y="615"/>
                    <a:pt x="1155" y="600"/>
                    <a:pt x="1146" y="600"/>
                  </a:cubicBezTo>
                  <a:cubicBezTo>
                    <a:pt x="1131" y="592"/>
                    <a:pt x="1115" y="592"/>
                    <a:pt x="1099" y="576"/>
                  </a:cubicBezTo>
                  <a:cubicBezTo>
                    <a:pt x="1083" y="569"/>
                    <a:pt x="1075" y="545"/>
                    <a:pt x="1067" y="545"/>
                  </a:cubicBezTo>
                  <a:cubicBezTo>
                    <a:pt x="1060" y="545"/>
                    <a:pt x="1052" y="569"/>
                    <a:pt x="1036" y="584"/>
                  </a:cubicBezTo>
                  <a:cubicBezTo>
                    <a:pt x="1028" y="592"/>
                    <a:pt x="1012" y="592"/>
                    <a:pt x="1004" y="615"/>
                  </a:cubicBezTo>
                  <a:cubicBezTo>
                    <a:pt x="1004" y="631"/>
                    <a:pt x="1004" y="631"/>
                    <a:pt x="988" y="639"/>
                  </a:cubicBezTo>
                  <a:cubicBezTo>
                    <a:pt x="973" y="647"/>
                    <a:pt x="973" y="655"/>
                    <a:pt x="973" y="663"/>
                  </a:cubicBezTo>
                  <a:cubicBezTo>
                    <a:pt x="973" y="671"/>
                    <a:pt x="980" y="695"/>
                    <a:pt x="973" y="702"/>
                  </a:cubicBezTo>
                  <a:cubicBezTo>
                    <a:pt x="973" y="710"/>
                    <a:pt x="949" y="702"/>
                    <a:pt x="949" y="702"/>
                  </a:cubicBezTo>
                  <a:cubicBezTo>
                    <a:pt x="941" y="679"/>
                    <a:pt x="941" y="679"/>
                    <a:pt x="941" y="679"/>
                  </a:cubicBezTo>
                  <a:cubicBezTo>
                    <a:pt x="941" y="679"/>
                    <a:pt x="909" y="663"/>
                    <a:pt x="909" y="655"/>
                  </a:cubicBezTo>
                  <a:cubicBezTo>
                    <a:pt x="902" y="647"/>
                    <a:pt x="902" y="639"/>
                    <a:pt x="893" y="639"/>
                  </a:cubicBezTo>
                  <a:cubicBezTo>
                    <a:pt x="886" y="647"/>
                    <a:pt x="878" y="663"/>
                    <a:pt x="870" y="663"/>
                  </a:cubicBezTo>
                  <a:cubicBezTo>
                    <a:pt x="862" y="663"/>
                    <a:pt x="846" y="671"/>
                    <a:pt x="838" y="679"/>
                  </a:cubicBezTo>
                  <a:cubicBezTo>
                    <a:pt x="838" y="686"/>
                    <a:pt x="830" y="695"/>
                    <a:pt x="815" y="695"/>
                  </a:cubicBezTo>
                  <a:cubicBezTo>
                    <a:pt x="807" y="686"/>
                    <a:pt x="799" y="702"/>
                    <a:pt x="799" y="718"/>
                  </a:cubicBezTo>
                  <a:cubicBezTo>
                    <a:pt x="807" y="734"/>
                    <a:pt x="799" y="750"/>
                    <a:pt x="791" y="750"/>
                  </a:cubicBezTo>
                  <a:cubicBezTo>
                    <a:pt x="783" y="758"/>
                    <a:pt x="775" y="750"/>
                    <a:pt x="759" y="734"/>
                  </a:cubicBezTo>
                  <a:cubicBezTo>
                    <a:pt x="743" y="718"/>
                    <a:pt x="743" y="726"/>
                    <a:pt x="727" y="718"/>
                  </a:cubicBezTo>
                  <a:cubicBezTo>
                    <a:pt x="704" y="718"/>
                    <a:pt x="704" y="702"/>
                    <a:pt x="688" y="695"/>
                  </a:cubicBezTo>
                  <a:cubicBezTo>
                    <a:pt x="672" y="695"/>
                    <a:pt x="649" y="702"/>
                    <a:pt x="633" y="718"/>
                  </a:cubicBezTo>
                  <a:cubicBezTo>
                    <a:pt x="617" y="726"/>
                    <a:pt x="609" y="734"/>
                    <a:pt x="617" y="750"/>
                  </a:cubicBezTo>
                  <a:cubicBezTo>
                    <a:pt x="617" y="766"/>
                    <a:pt x="569" y="742"/>
                    <a:pt x="554" y="742"/>
                  </a:cubicBezTo>
                  <a:cubicBezTo>
                    <a:pt x="538" y="742"/>
                    <a:pt x="522" y="758"/>
                    <a:pt x="522" y="766"/>
                  </a:cubicBezTo>
                  <a:cubicBezTo>
                    <a:pt x="522" y="781"/>
                    <a:pt x="514" y="789"/>
                    <a:pt x="490" y="789"/>
                  </a:cubicBezTo>
                  <a:cubicBezTo>
                    <a:pt x="482" y="789"/>
                    <a:pt x="467" y="789"/>
                    <a:pt x="459" y="789"/>
                  </a:cubicBezTo>
                  <a:cubicBezTo>
                    <a:pt x="459" y="805"/>
                    <a:pt x="459" y="813"/>
                    <a:pt x="451" y="821"/>
                  </a:cubicBezTo>
                  <a:cubicBezTo>
                    <a:pt x="435" y="845"/>
                    <a:pt x="411" y="861"/>
                    <a:pt x="435" y="884"/>
                  </a:cubicBezTo>
                  <a:cubicBezTo>
                    <a:pt x="451" y="900"/>
                    <a:pt x="475" y="924"/>
                    <a:pt x="459" y="932"/>
                  </a:cubicBezTo>
                  <a:cubicBezTo>
                    <a:pt x="435" y="939"/>
                    <a:pt x="293" y="939"/>
                    <a:pt x="309" y="1003"/>
                  </a:cubicBezTo>
                  <a:cubicBezTo>
                    <a:pt x="324" y="1066"/>
                    <a:pt x="348" y="1074"/>
                    <a:pt x="340" y="1098"/>
                  </a:cubicBezTo>
                  <a:cubicBezTo>
                    <a:pt x="332" y="1129"/>
                    <a:pt x="301" y="1169"/>
                    <a:pt x="261" y="1137"/>
                  </a:cubicBezTo>
                  <a:cubicBezTo>
                    <a:pt x="222" y="1106"/>
                    <a:pt x="79" y="1074"/>
                    <a:pt x="87" y="1200"/>
                  </a:cubicBezTo>
                  <a:cubicBezTo>
                    <a:pt x="95" y="1208"/>
                    <a:pt x="119" y="1295"/>
                    <a:pt x="79" y="1295"/>
                  </a:cubicBezTo>
                  <a:cubicBezTo>
                    <a:pt x="48" y="1295"/>
                    <a:pt x="79" y="1319"/>
                    <a:pt x="63" y="1366"/>
                  </a:cubicBezTo>
                  <a:cubicBezTo>
                    <a:pt x="48" y="1414"/>
                    <a:pt x="48" y="1398"/>
                    <a:pt x="40" y="1390"/>
                  </a:cubicBezTo>
                  <a:cubicBezTo>
                    <a:pt x="24" y="1390"/>
                    <a:pt x="0" y="1406"/>
                    <a:pt x="0" y="1414"/>
                  </a:cubicBezTo>
                  <a:cubicBezTo>
                    <a:pt x="0" y="1422"/>
                    <a:pt x="0" y="1422"/>
                    <a:pt x="0" y="1422"/>
                  </a:cubicBezTo>
                  <a:cubicBezTo>
                    <a:pt x="95" y="1438"/>
                    <a:pt x="467" y="1406"/>
                    <a:pt x="498" y="1406"/>
                  </a:cubicBezTo>
                  <a:cubicBezTo>
                    <a:pt x="530" y="1398"/>
                    <a:pt x="498" y="1343"/>
                    <a:pt x="498" y="1319"/>
                  </a:cubicBezTo>
                  <a:cubicBezTo>
                    <a:pt x="498" y="1295"/>
                    <a:pt x="562" y="1303"/>
                    <a:pt x="577" y="1311"/>
                  </a:cubicBezTo>
                  <a:cubicBezTo>
                    <a:pt x="601" y="1327"/>
                    <a:pt x="625" y="1351"/>
                    <a:pt x="633" y="1335"/>
                  </a:cubicBezTo>
                  <a:cubicBezTo>
                    <a:pt x="640" y="1311"/>
                    <a:pt x="680" y="1303"/>
                    <a:pt x="680" y="1303"/>
                  </a:cubicBezTo>
                  <a:cubicBezTo>
                    <a:pt x="1099" y="1279"/>
                    <a:pt x="1724" y="1208"/>
                    <a:pt x="2174" y="1153"/>
                  </a:cubicBezTo>
                  <a:cubicBezTo>
                    <a:pt x="2214" y="1121"/>
                    <a:pt x="2261" y="1090"/>
                    <a:pt x="2269" y="1074"/>
                  </a:cubicBezTo>
                  <a:cubicBezTo>
                    <a:pt x="2293" y="1050"/>
                    <a:pt x="2293" y="1074"/>
                    <a:pt x="2316" y="1074"/>
                  </a:cubicBezTo>
                  <a:cubicBezTo>
                    <a:pt x="2332" y="1074"/>
                    <a:pt x="2340" y="1058"/>
                    <a:pt x="2348" y="1019"/>
                  </a:cubicBezTo>
                  <a:cubicBezTo>
                    <a:pt x="2356" y="979"/>
                    <a:pt x="2388" y="995"/>
                    <a:pt x="2403" y="979"/>
                  </a:cubicBezTo>
                  <a:cubicBezTo>
                    <a:pt x="2427" y="971"/>
                    <a:pt x="2419" y="971"/>
                    <a:pt x="2427" y="939"/>
                  </a:cubicBezTo>
                  <a:cubicBezTo>
                    <a:pt x="2427" y="908"/>
                    <a:pt x="2435" y="924"/>
                    <a:pt x="2443" y="916"/>
                  </a:cubicBezTo>
                  <a:cubicBezTo>
                    <a:pt x="2451" y="908"/>
                    <a:pt x="2475" y="884"/>
                    <a:pt x="2475" y="861"/>
                  </a:cubicBezTo>
                  <a:cubicBezTo>
                    <a:pt x="2475" y="837"/>
                    <a:pt x="2514" y="813"/>
                    <a:pt x="2538" y="805"/>
                  </a:cubicBezTo>
                  <a:cubicBezTo>
                    <a:pt x="2554" y="789"/>
                    <a:pt x="2617" y="734"/>
                    <a:pt x="2633" y="718"/>
                  </a:cubicBezTo>
                  <a:cubicBezTo>
                    <a:pt x="2641" y="702"/>
                    <a:pt x="2680" y="663"/>
                    <a:pt x="2704" y="631"/>
                  </a:cubicBezTo>
                  <a:cubicBezTo>
                    <a:pt x="2680" y="608"/>
                    <a:pt x="2656" y="623"/>
                    <a:pt x="2601" y="592"/>
                  </a:cubicBezTo>
                  <a:cubicBezTo>
                    <a:pt x="2538" y="561"/>
                    <a:pt x="2538" y="522"/>
                    <a:pt x="2514" y="482"/>
                  </a:cubicBezTo>
                  <a:cubicBezTo>
                    <a:pt x="2498" y="450"/>
                    <a:pt x="2483" y="419"/>
                    <a:pt x="2451" y="395"/>
                  </a:cubicBezTo>
                  <a:cubicBezTo>
                    <a:pt x="2427" y="371"/>
                    <a:pt x="2419" y="276"/>
                    <a:pt x="2419" y="269"/>
                  </a:cubicBezTo>
                  <a:cubicBezTo>
                    <a:pt x="2419" y="269"/>
                    <a:pt x="2419" y="261"/>
                    <a:pt x="2427" y="261"/>
                  </a:cubicBezTo>
                  <a:cubicBezTo>
                    <a:pt x="2419" y="253"/>
                    <a:pt x="2403" y="237"/>
                    <a:pt x="2396" y="229"/>
                  </a:cubicBezTo>
                </a:path>
              </a:pathLst>
            </a:custGeom>
            <a:solidFill>
              <a:schemeClr val="accent6"/>
            </a:solidFill>
            <a:ln>
              <a:solidFill>
                <a:schemeClr val="bg2"/>
              </a:solidFill>
            </a:ln>
            <a:effectLst/>
          </p:spPr>
          <p:txBody>
            <a:bodyPr wrap="none" anchor="ctr"/>
            <a:lstStyle/>
            <a:p>
              <a:endParaRPr lang="en-US"/>
            </a:p>
          </p:txBody>
        </p:sp>
        <p:sp>
          <p:nvSpPr>
            <p:cNvPr id="112" name="Freeform 782"/>
            <p:cNvSpPr>
              <a:spLocks noChangeArrowheads="1"/>
            </p:cNvSpPr>
            <p:nvPr/>
          </p:nvSpPr>
          <p:spPr bwMode="auto">
            <a:xfrm>
              <a:off x="5133399" y="3442064"/>
              <a:ext cx="978000" cy="444808"/>
            </a:xfrm>
            <a:custGeom>
              <a:avLst/>
              <a:gdLst>
                <a:gd name="T0" fmla="*/ 8 w 2713"/>
                <a:gd name="T1" fmla="*/ 1406 h 1423"/>
                <a:gd name="T2" fmla="*/ 71 w 2713"/>
                <a:gd name="T3" fmla="*/ 1311 h 1423"/>
                <a:gd name="T4" fmla="*/ 87 w 2713"/>
                <a:gd name="T5" fmla="*/ 1192 h 1423"/>
                <a:gd name="T6" fmla="*/ 332 w 2713"/>
                <a:gd name="T7" fmla="*/ 1058 h 1423"/>
                <a:gd name="T8" fmla="*/ 443 w 2713"/>
                <a:gd name="T9" fmla="*/ 876 h 1423"/>
                <a:gd name="T10" fmla="*/ 467 w 2713"/>
                <a:gd name="T11" fmla="*/ 781 h 1423"/>
                <a:gd name="T12" fmla="*/ 617 w 2713"/>
                <a:gd name="T13" fmla="*/ 750 h 1423"/>
                <a:gd name="T14" fmla="*/ 712 w 2713"/>
                <a:gd name="T15" fmla="*/ 694 h 1423"/>
                <a:gd name="T16" fmla="*/ 807 w 2713"/>
                <a:gd name="T17" fmla="*/ 710 h 1423"/>
                <a:gd name="T18" fmla="*/ 886 w 2713"/>
                <a:gd name="T19" fmla="*/ 639 h 1423"/>
                <a:gd name="T20" fmla="*/ 949 w 2713"/>
                <a:gd name="T21" fmla="*/ 663 h 1423"/>
                <a:gd name="T22" fmla="*/ 996 w 2713"/>
                <a:gd name="T23" fmla="*/ 631 h 1423"/>
                <a:gd name="T24" fmla="*/ 1060 w 2713"/>
                <a:gd name="T25" fmla="*/ 553 h 1423"/>
                <a:gd name="T26" fmla="*/ 1154 w 2713"/>
                <a:gd name="T27" fmla="*/ 584 h 1423"/>
                <a:gd name="T28" fmla="*/ 1218 w 2713"/>
                <a:gd name="T29" fmla="*/ 576 h 1423"/>
                <a:gd name="T30" fmla="*/ 1352 w 2713"/>
                <a:gd name="T31" fmla="*/ 348 h 1423"/>
                <a:gd name="T32" fmla="*/ 1423 w 2713"/>
                <a:gd name="T33" fmla="*/ 205 h 1423"/>
                <a:gd name="T34" fmla="*/ 1550 w 2713"/>
                <a:gd name="T35" fmla="*/ 182 h 1423"/>
                <a:gd name="T36" fmla="*/ 1589 w 2713"/>
                <a:gd name="T37" fmla="*/ 0 h 1423"/>
                <a:gd name="T38" fmla="*/ 1740 w 2713"/>
                <a:gd name="T39" fmla="*/ 24 h 1423"/>
                <a:gd name="T40" fmla="*/ 1898 w 2713"/>
                <a:gd name="T41" fmla="*/ 142 h 1423"/>
                <a:gd name="T42" fmla="*/ 2080 w 2713"/>
                <a:gd name="T43" fmla="*/ 150 h 1423"/>
                <a:gd name="T44" fmla="*/ 2206 w 2713"/>
                <a:gd name="T45" fmla="*/ 150 h 1423"/>
                <a:gd name="T46" fmla="*/ 2301 w 2713"/>
                <a:gd name="T47" fmla="*/ 126 h 1423"/>
                <a:gd name="T48" fmla="*/ 2411 w 2713"/>
                <a:gd name="T49" fmla="*/ 221 h 1423"/>
                <a:gd name="T50" fmla="*/ 2522 w 2713"/>
                <a:gd name="T51" fmla="*/ 466 h 1423"/>
                <a:gd name="T52" fmla="*/ 2712 w 2713"/>
                <a:gd name="T53" fmla="*/ 623 h 1423"/>
                <a:gd name="T54" fmla="*/ 2451 w 2713"/>
                <a:gd name="T55" fmla="*/ 908 h 1423"/>
                <a:gd name="T56" fmla="*/ 2356 w 2713"/>
                <a:gd name="T57" fmla="*/ 1011 h 1423"/>
                <a:gd name="T58" fmla="*/ 2182 w 2713"/>
                <a:gd name="T59" fmla="*/ 1145 h 1423"/>
                <a:gd name="T60" fmla="*/ 593 w 2713"/>
                <a:gd name="T61" fmla="*/ 1311 h 1423"/>
                <a:gd name="T62" fmla="*/ 506 w 2713"/>
                <a:gd name="T63" fmla="*/ 1398 h 1423"/>
                <a:gd name="T64" fmla="*/ 490 w 2713"/>
                <a:gd name="T65" fmla="*/ 1390 h 1423"/>
                <a:gd name="T66" fmla="*/ 593 w 2713"/>
                <a:gd name="T67" fmla="*/ 1303 h 1423"/>
                <a:gd name="T68" fmla="*/ 2174 w 2713"/>
                <a:gd name="T69" fmla="*/ 1137 h 1423"/>
                <a:gd name="T70" fmla="*/ 2348 w 2713"/>
                <a:gd name="T71" fmla="*/ 1011 h 1423"/>
                <a:gd name="T72" fmla="*/ 2451 w 2713"/>
                <a:gd name="T73" fmla="*/ 908 h 1423"/>
                <a:gd name="T74" fmla="*/ 2672 w 2713"/>
                <a:gd name="T75" fmla="*/ 607 h 1423"/>
                <a:gd name="T76" fmla="*/ 2419 w 2713"/>
                <a:gd name="T77" fmla="*/ 261 h 1423"/>
                <a:gd name="T78" fmla="*/ 2324 w 2713"/>
                <a:gd name="T79" fmla="*/ 158 h 1423"/>
                <a:gd name="T80" fmla="*/ 2230 w 2713"/>
                <a:gd name="T81" fmla="*/ 142 h 1423"/>
                <a:gd name="T82" fmla="*/ 2087 w 2713"/>
                <a:gd name="T83" fmla="*/ 158 h 1423"/>
                <a:gd name="T84" fmla="*/ 1929 w 2713"/>
                <a:gd name="T85" fmla="*/ 150 h 1423"/>
                <a:gd name="T86" fmla="*/ 1755 w 2713"/>
                <a:gd name="T87" fmla="*/ 55 h 1423"/>
                <a:gd name="T88" fmla="*/ 1589 w 2713"/>
                <a:gd name="T89" fmla="*/ 8 h 1423"/>
                <a:gd name="T90" fmla="*/ 1581 w 2713"/>
                <a:gd name="T91" fmla="*/ 174 h 1423"/>
                <a:gd name="T92" fmla="*/ 1423 w 2713"/>
                <a:gd name="T93" fmla="*/ 221 h 1423"/>
                <a:gd name="T94" fmla="*/ 1376 w 2713"/>
                <a:gd name="T95" fmla="*/ 340 h 1423"/>
                <a:gd name="T96" fmla="*/ 1265 w 2713"/>
                <a:gd name="T97" fmla="*/ 466 h 1423"/>
                <a:gd name="T98" fmla="*/ 1154 w 2713"/>
                <a:gd name="T99" fmla="*/ 600 h 1423"/>
                <a:gd name="T100" fmla="*/ 1075 w 2713"/>
                <a:gd name="T101" fmla="*/ 545 h 1423"/>
                <a:gd name="T102" fmla="*/ 1004 w 2713"/>
                <a:gd name="T103" fmla="*/ 631 h 1423"/>
                <a:gd name="T104" fmla="*/ 957 w 2713"/>
                <a:gd name="T105" fmla="*/ 694 h 1423"/>
                <a:gd name="T106" fmla="*/ 894 w 2713"/>
                <a:gd name="T107" fmla="*/ 647 h 1423"/>
                <a:gd name="T108" fmla="*/ 815 w 2713"/>
                <a:gd name="T109" fmla="*/ 687 h 1423"/>
                <a:gd name="T110" fmla="*/ 728 w 2713"/>
                <a:gd name="T111" fmla="*/ 718 h 1423"/>
                <a:gd name="T112" fmla="*/ 625 w 2713"/>
                <a:gd name="T113" fmla="*/ 750 h 1423"/>
                <a:gd name="T114" fmla="*/ 498 w 2713"/>
                <a:gd name="T115" fmla="*/ 781 h 1423"/>
                <a:gd name="T116" fmla="*/ 475 w 2713"/>
                <a:gd name="T117" fmla="*/ 916 h 1423"/>
                <a:gd name="T118" fmla="*/ 348 w 2713"/>
                <a:gd name="T119" fmla="*/ 1098 h 1423"/>
                <a:gd name="T120" fmla="*/ 111 w 2713"/>
                <a:gd name="T121" fmla="*/ 1279 h 1423"/>
                <a:gd name="T122" fmla="*/ 48 w 2713"/>
                <a:gd name="T123" fmla="*/ 1390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13" h="1423">
                  <a:moveTo>
                    <a:pt x="71" y="1422"/>
                  </a:moveTo>
                  <a:lnTo>
                    <a:pt x="71" y="1422"/>
                  </a:lnTo>
                  <a:cubicBezTo>
                    <a:pt x="40" y="1422"/>
                    <a:pt x="24" y="1422"/>
                    <a:pt x="8" y="1422"/>
                  </a:cubicBezTo>
                  <a:cubicBezTo>
                    <a:pt x="0" y="1422"/>
                    <a:pt x="0" y="1422"/>
                    <a:pt x="0" y="1422"/>
                  </a:cubicBezTo>
                  <a:cubicBezTo>
                    <a:pt x="8" y="1414"/>
                    <a:pt x="8" y="1414"/>
                    <a:pt x="8" y="1414"/>
                  </a:cubicBezTo>
                  <a:cubicBezTo>
                    <a:pt x="8" y="1414"/>
                    <a:pt x="8" y="1414"/>
                    <a:pt x="8" y="1406"/>
                  </a:cubicBezTo>
                  <a:cubicBezTo>
                    <a:pt x="8" y="1398"/>
                    <a:pt x="24" y="1382"/>
                    <a:pt x="40" y="1382"/>
                  </a:cubicBezTo>
                  <a:cubicBezTo>
                    <a:pt x="40" y="1382"/>
                    <a:pt x="40" y="1382"/>
                    <a:pt x="48" y="1382"/>
                  </a:cubicBezTo>
                  <a:lnTo>
                    <a:pt x="56" y="1382"/>
                  </a:lnTo>
                  <a:cubicBezTo>
                    <a:pt x="56" y="1390"/>
                    <a:pt x="56" y="1390"/>
                    <a:pt x="56" y="1390"/>
                  </a:cubicBezTo>
                  <a:cubicBezTo>
                    <a:pt x="56" y="1382"/>
                    <a:pt x="64" y="1366"/>
                    <a:pt x="71" y="1358"/>
                  </a:cubicBezTo>
                  <a:cubicBezTo>
                    <a:pt x="71" y="1335"/>
                    <a:pt x="71" y="1319"/>
                    <a:pt x="71" y="1311"/>
                  </a:cubicBezTo>
                  <a:cubicBezTo>
                    <a:pt x="71" y="1303"/>
                    <a:pt x="71" y="1295"/>
                    <a:pt x="71" y="1287"/>
                  </a:cubicBezTo>
                  <a:cubicBezTo>
                    <a:pt x="71" y="1287"/>
                    <a:pt x="79" y="1287"/>
                    <a:pt x="87" y="1287"/>
                  </a:cubicBezTo>
                  <a:cubicBezTo>
                    <a:pt x="95" y="1287"/>
                    <a:pt x="103" y="1279"/>
                    <a:pt x="103" y="1271"/>
                  </a:cubicBezTo>
                  <a:cubicBezTo>
                    <a:pt x="111" y="1248"/>
                    <a:pt x="95" y="1200"/>
                    <a:pt x="87" y="1192"/>
                  </a:cubicBezTo>
                  <a:lnTo>
                    <a:pt x="87" y="1192"/>
                  </a:lnTo>
                  <a:lnTo>
                    <a:pt x="87" y="1192"/>
                  </a:lnTo>
                  <a:cubicBezTo>
                    <a:pt x="87" y="1161"/>
                    <a:pt x="95" y="1137"/>
                    <a:pt x="111" y="1121"/>
                  </a:cubicBezTo>
                  <a:cubicBezTo>
                    <a:pt x="127" y="1105"/>
                    <a:pt x="151" y="1098"/>
                    <a:pt x="174" y="1098"/>
                  </a:cubicBezTo>
                  <a:cubicBezTo>
                    <a:pt x="214" y="1098"/>
                    <a:pt x="253" y="1113"/>
                    <a:pt x="269" y="1129"/>
                  </a:cubicBezTo>
                  <a:cubicBezTo>
                    <a:pt x="277" y="1137"/>
                    <a:pt x="293" y="1137"/>
                    <a:pt x="301" y="1137"/>
                  </a:cubicBezTo>
                  <a:cubicBezTo>
                    <a:pt x="324" y="1137"/>
                    <a:pt x="340" y="1113"/>
                    <a:pt x="340" y="1090"/>
                  </a:cubicBezTo>
                  <a:cubicBezTo>
                    <a:pt x="348" y="1082"/>
                    <a:pt x="340" y="1074"/>
                    <a:pt x="332" y="1058"/>
                  </a:cubicBezTo>
                  <a:cubicBezTo>
                    <a:pt x="324" y="1042"/>
                    <a:pt x="317" y="1026"/>
                    <a:pt x="309" y="995"/>
                  </a:cubicBezTo>
                  <a:cubicBezTo>
                    <a:pt x="309" y="987"/>
                    <a:pt x="309" y="979"/>
                    <a:pt x="317" y="971"/>
                  </a:cubicBezTo>
                  <a:cubicBezTo>
                    <a:pt x="332" y="940"/>
                    <a:pt x="395" y="931"/>
                    <a:pt x="435" y="924"/>
                  </a:cubicBezTo>
                  <a:cubicBezTo>
                    <a:pt x="451" y="924"/>
                    <a:pt x="459" y="924"/>
                    <a:pt x="467" y="924"/>
                  </a:cubicBezTo>
                  <a:cubicBezTo>
                    <a:pt x="467" y="916"/>
                    <a:pt x="467" y="916"/>
                    <a:pt x="467" y="916"/>
                  </a:cubicBezTo>
                  <a:cubicBezTo>
                    <a:pt x="467" y="908"/>
                    <a:pt x="459" y="892"/>
                    <a:pt x="443" y="876"/>
                  </a:cubicBezTo>
                  <a:cubicBezTo>
                    <a:pt x="435" y="876"/>
                    <a:pt x="435" y="876"/>
                    <a:pt x="435" y="876"/>
                  </a:cubicBezTo>
                  <a:cubicBezTo>
                    <a:pt x="419" y="860"/>
                    <a:pt x="435" y="845"/>
                    <a:pt x="443" y="829"/>
                  </a:cubicBezTo>
                  <a:cubicBezTo>
                    <a:pt x="451" y="821"/>
                    <a:pt x="451" y="821"/>
                    <a:pt x="459" y="813"/>
                  </a:cubicBezTo>
                  <a:cubicBezTo>
                    <a:pt x="467" y="805"/>
                    <a:pt x="467" y="797"/>
                    <a:pt x="459" y="781"/>
                  </a:cubicBezTo>
                  <a:lnTo>
                    <a:pt x="459" y="781"/>
                  </a:lnTo>
                  <a:cubicBezTo>
                    <a:pt x="467" y="781"/>
                    <a:pt x="467" y="781"/>
                    <a:pt x="467" y="781"/>
                  </a:cubicBezTo>
                  <a:cubicBezTo>
                    <a:pt x="475" y="773"/>
                    <a:pt x="490" y="773"/>
                    <a:pt x="498" y="781"/>
                  </a:cubicBezTo>
                  <a:lnTo>
                    <a:pt x="506" y="781"/>
                  </a:lnTo>
                  <a:cubicBezTo>
                    <a:pt x="522" y="781"/>
                    <a:pt x="522" y="773"/>
                    <a:pt x="522" y="758"/>
                  </a:cubicBezTo>
                  <a:cubicBezTo>
                    <a:pt x="522" y="742"/>
                    <a:pt x="538" y="726"/>
                    <a:pt x="562" y="726"/>
                  </a:cubicBezTo>
                  <a:cubicBezTo>
                    <a:pt x="570" y="734"/>
                    <a:pt x="577" y="734"/>
                    <a:pt x="585" y="734"/>
                  </a:cubicBezTo>
                  <a:cubicBezTo>
                    <a:pt x="593" y="742"/>
                    <a:pt x="609" y="750"/>
                    <a:pt x="617" y="750"/>
                  </a:cubicBezTo>
                  <a:lnTo>
                    <a:pt x="617" y="750"/>
                  </a:lnTo>
                  <a:cubicBezTo>
                    <a:pt x="617" y="742"/>
                    <a:pt x="617" y="742"/>
                    <a:pt x="617" y="742"/>
                  </a:cubicBezTo>
                  <a:cubicBezTo>
                    <a:pt x="617" y="726"/>
                    <a:pt x="617" y="718"/>
                    <a:pt x="641" y="702"/>
                  </a:cubicBezTo>
                  <a:cubicBezTo>
                    <a:pt x="657" y="694"/>
                    <a:pt x="672" y="687"/>
                    <a:pt x="688" y="687"/>
                  </a:cubicBezTo>
                  <a:cubicBezTo>
                    <a:pt x="696" y="687"/>
                    <a:pt x="696" y="687"/>
                    <a:pt x="696" y="687"/>
                  </a:cubicBezTo>
                  <a:cubicBezTo>
                    <a:pt x="704" y="687"/>
                    <a:pt x="712" y="694"/>
                    <a:pt x="712" y="694"/>
                  </a:cubicBezTo>
                  <a:cubicBezTo>
                    <a:pt x="720" y="702"/>
                    <a:pt x="720" y="710"/>
                    <a:pt x="735" y="710"/>
                  </a:cubicBezTo>
                  <a:lnTo>
                    <a:pt x="743" y="710"/>
                  </a:lnTo>
                  <a:lnTo>
                    <a:pt x="743" y="710"/>
                  </a:lnTo>
                  <a:cubicBezTo>
                    <a:pt x="751" y="710"/>
                    <a:pt x="759" y="710"/>
                    <a:pt x="767" y="726"/>
                  </a:cubicBezTo>
                  <a:cubicBezTo>
                    <a:pt x="783" y="734"/>
                    <a:pt x="791" y="742"/>
                    <a:pt x="799" y="742"/>
                  </a:cubicBezTo>
                  <a:cubicBezTo>
                    <a:pt x="807" y="742"/>
                    <a:pt x="807" y="726"/>
                    <a:pt x="807" y="710"/>
                  </a:cubicBezTo>
                  <a:cubicBezTo>
                    <a:pt x="807" y="702"/>
                    <a:pt x="807" y="687"/>
                    <a:pt x="807" y="687"/>
                  </a:cubicBezTo>
                  <a:cubicBezTo>
                    <a:pt x="815" y="678"/>
                    <a:pt x="823" y="678"/>
                    <a:pt x="830" y="678"/>
                  </a:cubicBezTo>
                  <a:cubicBezTo>
                    <a:pt x="838" y="678"/>
                    <a:pt x="838" y="678"/>
                    <a:pt x="846" y="671"/>
                  </a:cubicBezTo>
                  <a:lnTo>
                    <a:pt x="846" y="671"/>
                  </a:lnTo>
                  <a:cubicBezTo>
                    <a:pt x="854" y="655"/>
                    <a:pt x="870" y="655"/>
                    <a:pt x="878" y="647"/>
                  </a:cubicBezTo>
                  <a:cubicBezTo>
                    <a:pt x="878" y="647"/>
                    <a:pt x="886" y="647"/>
                    <a:pt x="886" y="639"/>
                  </a:cubicBezTo>
                  <a:cubicBezTo>
                    <a:pt x="886" y="639"/>
                    <a:pt x="894" y="631"/>
                    <a:pt x="901" y="631"/>
                  </a:cubicBezTo>
                  <a:lnTo>
                    <a:pt x="901" y="631"/>
                  </a:lnTo>
                  <a:cubicBezTo>
                    <a:pt x="910" y="631"/>
                    <a:pt x="910" y="639"/>
                    <a:pt x="917" y="639"/>
                  </a:cubicBezTo>
                  <a:lnTo>
                    <a:pt x="917" y="647"/>
                  </a:lnTo>
                  <a:cubicBezTo>
                    <a:pt x="917" y="647"/>
                    <a:pt x="933" y="655"/>
                    <a:pt x="949" y="663"/>
                  </a:cubicBezTo>
                  <a:lnTo>
                    <a:pt x="949" y="663"/>
                  </a:lnTo>
                  <a:cubicBezTo>
                    <a:pt x="957" y="687"/>
                    <a:pt x="957" y="687"/>
                    <a:pt x="957" y="687"/>
                  </a:cubicBezTo>
                  <a:cubicBezTo>
                    <a:pt x="965" y="694"/>
                    <a:pt x="973" y="694"/>
                    <a:pt x="973" y="694"/>
                  </a:cubicBezTo>
                  <a:cubicBezTo>
                    <a:pt x="981" y="694"/>
                    <a:pt x="981" y="694"/>
                    <a:pt x="981" y="694"/>
                  </a:cubicBezTo>
                  <a:cubicBezTo>
                    <a:pt x="981" y="694"/>
                    <a:pt x="981" y="671"/>
                    <a:pt x="981" y="663"/>
                  </a:cubicBezTo>
                  <a:lnTo>
                    <a:pt x="981" y="655"/>
                  </a:lnTo>
                  <a:cubicBezTo>
                    <a:pt x="981" y="647"/>
                    <a:pt x="981" y="639"/>
                    <a:pt x="996" y="631"/>
                  </a:cubicBezTo>
                  <a:lnTo>
                    <a:pt x="996" y="631"/>
                  </a:lnTo>
                  <a:cubicBezTo>
                    <a:pt x="1004" y="623"/>
                    <a:pt x="1004" y="623"/>
                    <a:pt x="1012" y="607"/>
                  </a:cubicBezTo>
                  <a:lnTo>
                    <a:pt x="1012" y="607"/>
                  </a:lnTo>
                  <a:cubicBezTo>
                    <a:pt x="1020" y="584"/>
                    <a:pt x="1028" y="584"/>
                    <a:pt x="1036" y="576"/>
                  </a:cubicBezTo>
                  <a:cubicBezTo>
                    <a:pt x="1036" y="576"/>
                    <a:pt x="1044" y="576"/>
                    <a:pt x="1044" y="568"/>
                  </a:cubicBezTo>
                  <a:cubicBezTo>
                    <a:pt x="1052" y="568"/>
                    <a:pt x="1052" y="561"/>
                    <a:pt x="1060" y="553"/>
                  </a:cubicBezTo>
                  <a:cubicBezTo>
                    <a:pt x="1060" y="545"/>
                    <a:pt x="1068" y="537"/>
                    <a:pt x="1075" y="537"/>
                  </a:cubicBezTo>
                  <a:lnTo>
                    <a:pt x="1075" y="537"/>
                  </a:lnTo>
                  <a:cubicBezTo>
                    <a:pt x="1083" y="537"/>
                    <a:pt x="1091" y="545"/>
                    <a:pt x="1099" y="553"/>
                  </a:cubicBezTo>
                  <a:cubicBezTo>
                    <a:pt x="1099" y="561"/>
                    <a:pt x="1107" y="561"/>
                    <a:pt x="1107" y="568"/>
                  </a:cubicBezTo>
                  <a:cubicBezTo>
                    <a:pt x="1123" y="576"/>
                    <a:pt x="1131" y="584"/>
                    <a:pt x="1147" y="584"/>
                  </a:cubicBezTo>
                  <a:cubicBezTo>
                    <a:pt x="1147" y="584"/>
                    <a:pt x="1147" y="584"/>
                    <a:pt x="1154" y="584"/>
                  </a:cubicBezTo>
                  <a:lnTo>
                    <a:pt x="1163" y="592"/>
                  </a:lnTo>
                  <a:lnTo>
                    <a:pt x="1170" y="600"/>
                  </a:lnTo>
                  <a:cubicBezTo>
                    <a:pt x="1178" y="600"/>
                    <a:pt x="1178" y="600"/>
                    <a:pt x="1186" y="592"/>
                  </a:cubicBezTo>
                  <a:cubicBezTo>
                    <a:pt x="1194" y="592"/>
                    <a:pt x="1194" y="592"/>
                    <a:pt x="1202" y="592"/>
                  </a:cubicBezTo>
                  <a:cubicBezTo>
                    <a:pt x="1210" y="592"/>
                    <a:pt x="1218" y="592"/>
                    <a:pt x="1218" y="584"/>
                  </a:cubicBezTo>
                  <a:lnTo>
                    <a:pt x="1218" y="576"/>
                  </a:lnTo>
                  <a:cubicBezTo>
                    <a:pt x="1210" y="553"/>
                    <a:pt x="1241" y="482"/>
                    <a:pt x="1257" y="458"/>
                  </a:cubicBezTo>
                  <a:cubicBezTo>
                    <a:pt x="1265" y="450"/>
                    <a:pt x="1273" y="450"/>
                    <a:pt x="1273" y="450"/>
                  </a:cubicBezTo>
                  <a:cubicBezTo>
                    <a:pt x="1289" y="450"/>
                    <a:pt x="1305" y="427"/>
                    <a:pt x="1305" y="411"/>
                  </a:cubicBezTo>
                  <a:cubicBezTo>
                    <a:pt x="1305" y="379"/>
                    <a:pt x="1313" y="363"/>
                    <a:pt x="1328" y="363"/>
                  </a:cubicBezTo>
                  <a:cubicBezTo>
                    <a:pt x="1336" y="363"/>
                    <a:pt x="1336" y="363"/>
                    <a:pt x="1336" y="363"/>
                  </a:cubicBezTo>
                  <a:cubicBezTo>
                    <a:pt x="1344" y="363"/>
                    <a:pt x="1344" y="363"/>
                    <a:pt x="1352" y="348"/>
                  </a:cubicBezTo>
                  <a:cubicBezTo>
                    <a:pt x="1360" y="340"/>
                    <a:pt x="1368" y="340"/>
                    <a:pt x="1376" y="332"/>
                  </a:cubicBezTo>
                  <a:cubicBezTo>
                    <a:pt x="1384" y="332"/>
                    <a:pt x="1392" y="324"/>
                    <a:pt x="1384" y="308"/>
                  </a:cubicBezTo>
                  <a:cubicBezTo>
                    <a:pt x="1384" y="300"/>
                    <a:pt x="1376" y="292"/>
                    <a:pt x="1376" y="292"/>
                  </a:cubicBezTo>
                  <a:cubicBezTo>
                    <a:pt x="1368" y="276"/>
                    <a:pt x="1368" y="276"/>
                    <a:pt x="1368" y="245"/>
                  </a:cubicBezTo>
                  <a:cubicBezTo>
                    <a:pt x="1376" y="221"/>
                    <a:pt x="1392" y="205"/>
                    <a:pt x="1407" y="205"/>
                  </a:cubicBezTo>
                  <a:cubicBezTo>
                    <a:pt x="1415" y="205"/>
                    <a:pt x="1415" y="205"/>
                    <a:pt x="1423" y="205"/>
                  </a:cubicBezTo>
                  <a:cubicBezTo>
                    <a:pt x="1423" y="213"/>
                    <a:pt x="1423" y="213"/>
                    <a:pt x="1431" y="213"/>
                  </a:cubicBezTo>
                  <a:cubicBezTo>
                    <a:pt x="1439" y="229"/>
                    <a:pt x="1455" y="245"/>
                    <a:pt x="1463" y="245"/>
                  </a:cubicBezTo>
                  <a:cubicBezTo>
                    <a:pt x="1463" y="245"/>
                    <a:pt x="1471" y="245"/>
                    <a:pt x="1471" y="237"/>
                  </a:cubicBezTo>
                  <a:cubicBezTo>
                    <a:pt x="1479" y="229"/>
                    <a:pt x="1479" y="221"/>
                    <a:pt x="1479" y="213"/>
                  </a:cubicBezTo>
                  <a:cubicBezTo>
                    <a:pt x="1479" y="205"/>
                    <a:pt x="1471" y="189"/>
                    <a:pt x="1502" y="182"/>
                  </a:cubicBezTo>
                  <a:cubicBezTo>
                    <a:pt x="1518" y="182"/>
                    <a:pt x="1534" y="182"/>
                    <a:pt x="1550" y="182"/>
                  </a:cubicBezTo>
                  <a:cubicBezTo>
                    <a:pt x="1566" y="182"/>
                    <a:pt x="1574" y="182"/>
                    <a:pt x="1574" y="174"/>
                  </a:cubicBezTo>
                  <a:cubicBezTo>
                    <a:pt x="1581" y="166"/>
                    <a:pt x="1581" y="142"/>
                    <a:pt x="1574" y="118"/>
                  </a:cubicBezTo>
                  <a:cubicBezTo>
                    <a:pt x="1566" y="118"/>
                    <a:pt x="1566" y="110"/>
                    <a:pt x="1566" y="110"/>
                  </a:cubicBezTo>
                  <a:cubicBezTo>
                    <a:pt x="1550" y="102"/>
                    <a:pt x="1550" y="95"/>
                    <a:pt x="1550" y="71"/>
                  </a:cubicBezTo>
                  <a:cubicBezTo>
                    <a:pt x="1558" y="63"/>
                    <a:pt x="1558" y="55"/>
                    <a:pt x="1558" y="47"/>
                  </a:cubicBezTo>
                  <a:cubicBezTo>
                    <a:pt x="1566" y="31"/>
                    <a:pt x="1566" y="0"/>
                    <a:pt x="1589" y="0"/>
                  </a:cubicBezTo>
                  <a:lnTo>
                    <a:pt x="1589" y="0"/>
                  </a:lnTo>
                  <a:cubicBezTo>
                    <a:pt x="1621" y="0"/>
                    <a:pt x="1645" y="8"/>
                    <a:pt x="1676" y="15"/>
                  </a:cubicBezTo>
                  <a:lnTo>
                    <a:pt x="1684" y="15"/>
                  </a:lnTo>
                  <a:cubicBezTo>
                    <a:pt x="1692" y="15"/>
                    <a:pt x="1700" y="15"/>
                    <a:pt x="1700" y="8"/>
                  </a:cubicBezTo>
                  <a:cubicBezTo>
                    <a:pt x="1708" y="8"/>
                    <a:pt x="1708" y="8"/>
                    <a:pt x="1716" y="8"/>
                  </a:cubicBezTo>
                  <a:cubicBezTo>
                    <a:pt x="1724" y="8"/>
                    <a:pt x="1732" y="8"/>
                    <a:pt x="1740" y="24"/>
                  </a:cubicBezTo>
                  <a:cubicBezTo>
                    <a:pt x="1747" y="31"/>
                    <a:pt x="1755" y="47"/>
                    <a:pt x="1755" y="55"/>
                  </a:cubicBezTo>
                  <a:cubicBezTo>
                    <a:pt x="1771" y="71"/>
                    <a:pt x="1771" y="87"/>
                    <a:pt x="1787" y="95"/>
                  </a:cubicBezTo>
                  <a:cubicBezTo>
                    <a:pt x="1795" y="102"/>
                    <a:pt x="1803" y="110"/>
                    <a:pt x="1803" y="118"/>
                  </a:cubicBezTo>
                  <a:cubicBezTo>
                    <a:pt x="1811" y="134"/>
                    <a:pt x="1811" y="142"/>
                    <a:pt x="1842" y="150"/>
                  </a:cubicBezTo>
                  <a:cubicBezTo>
                    <a:pt x="1850" y="150"/>
                    <a:pt x="1850" y="150"/>
                    <a:pt x="1858" y="150"/>
                  </a:cubicBezTo>
                  <a:cubicBezTo>
                    <a:pt x="1874" y="150"/>
                    <a:pt x="1890" y="150"/>
                    <a:pt x="1898" y="142"/>
                  </a:cubicBezTo>
                  <a:cubicBezTo>
                    <a:pt x="1913" y="142"/>
                    <a:pt x="1921" y="142"/>
                    <a:pt x="1929" y="142"/>
                  </a:cubicBezTo>
                  <a:cubicBezTo>
                    <a:pt x="1945" y="142"/>
                    <a:pt x="1953" y="142"/>
                    <a:pt x="1953" y="150"/>
                  </a:cubicBezTo>
                  <a:cubicBezTo>
                    <a:pt x="1969" y="166"/>
                    <a:pt x="2008" y="197"/>
                    <a:pt x="2032" y="197"/>
                  </a:cubicBezTo>
                  <a:lnTo>
                    <a:pt x="2040" y="197"/>
                  </a:lnTo>
                  <a:cubicBezTo>
                    <a:pt x="2048" y="197"/>
                    <a:pt x="2056" y="189"/>
                    <a:pt x="2056" y="182"/>
                  </a:cubicBezTo>
                  <a:cubicBezTo>
                    <a:pt x="2064" y="166"/>
                    <a:pt x="2064" y="150"/>
                    <a:pt x="2080" y="150"/>
                  </a:cubicBezTo>
                  <a:cubicBezTo>
                    <a:pt x="2087" y="150"/>
                    <a:pt x="2087" y="150"/>
                    <a:pt x="2087" y="158"/>
                  </a:cubicBezTo>
                  <a:cubicBezTo>
                    <a:pt x="2103" y="158"/>
                    <a:pt x="2119" y="166"/>
                    <a:pt x="2127" y="166"/>
                  </a:cubicBezTo>
                  <a:cubicBezTo>
                    <a:pt x="2135" y="174"/>
                    <a:pt x="2135" y="182"/>
                    <a:pt x="2143" y="174"/>
                  </a:cubicBezTo>
                  <a:cubicBezTo>
                    <a:pt x="2166" y="174"/>
                    <a:pt x="2174" y="166"/>
                    <a:pt x="2174" y="158"/>
                  </a:cubicBezTo>
                  <a:cubicBezTo>
                    <a:pt x="2182" y="158"/>
                    <a:pt x="2182" y="150"/>
                    <a:pt x="2198" y="150"/>
                  </a:cubicBezTo>
                  <a:lnTo>
                    <a:pt x="2206" y="150"/>
                  </a:lnTo>
                  <a:cubicBezTo>
                    <a:pt x="2214" y="150"/>
                    <a:pt x="2214" y="150"/>
                    <a:pt x="2222" y="134"/>
                  </a:cubicBezTo>
                  <a:cubicBezTo>
                    <a:pt x="2230" y="134"/>
                    <a:pt x="2238" y="126"/>
                    <a:pt x="2246" y="118"/>
                  </a:cubicBezTo>
                  <a:cubicBezTo>
                    <a:pt x="2277" y="102"/>
                    <a:pt x="2277" y="102"/>
                    <a:pt x="2277" y="102"/>
                  </a:cubicBezTo>
                  <a:cubicBezTo>
                    <a:pt x="2293" y="110"/>
                    <a:pt x="2293" y="110"/>
                    <a:pt x="2293" y="110"/>
                  </a:cubicBezTo>
                  <a:cubicBezTo>
                    <a:pt x="2293" y="118"/>
                    <a:pt x="2293" y="118"/>
                    <a:pt x="2293" y="118"/>
                  </a:cubicBezTo>
                  <a:cubicBezTo>
                    <a:pt x="2293" y="118"/>
                    <a:pt x="2293" y="118"/>
                    <a:pt x="2301" y="126"/>
                  </a:cubicBezTo>
                  <a:cubicBezTo>
                    <a:pt x="2301" y="134"/>
                    <a:pt x="2309" y="142"/>
                    <a:pt x="2317" y="150"/>
                  </a:cubicBezTo>
                  <a:cubicBezTo>
                    <a:pt x="2324" y="150"/>
                    <a:pt x="2333" y="158"/>
                    <a:pt x="2333" y="158"/>
                  </a:cubicBezTo>
                  <a:cubicBezTo>
                    <a:pt x="2333" y="158"/>
                    <a:pt x="2333" y="166"/>
                    <a:pt x="2340" y="174"/>
                  </a:cubicBezTo>
                  <a:cubicBezTo>
                    <a:pt x="2340" y="182"/>
                    <a:pt x="2364" y="189"/>
                    <a:pt x="2388" y="189"/>
                  </a:cubicBezTo>
                  <a:cubicBezTo>
                    <a:pt x="2404" y="197"/>
                    <a:pt x="2404" y="205"/>
                    <a:pt x="2404" y="213"/>
                  </a:cubicBezTo>
                  <a:lnTo>
                    <a:pt x="2411" y="221"/>
                  </a:lnTo>
                  <a:cubicBezTo>
                    <a:pt x="2411" y="229"/>
                    <a:pt x="2419" y="229"/>
                    <a:pt x="2443" y="245"/>
                  </a:cubicBezTo>
                  <a:cubicBezTo>
                    <a:pt x="2443" y="253"/>
                    <a:pt x="2443" y="253"/>
                    <a:pt x="2443" y="253"/>
                  </a:cubicBezTo>
                  <a:cubicBezTo>
                    <a:pt x="2435" y="253"/>
                    <a:pt x="2435" y="253"/>
                    <a:pt x="2435" y="253"/>
                  </a:cubicBezTo>
                  <a:cubicBezTo>
                    <a:pt x="2427" y="261"/>
                    <a:pt x="2427" y="261"/>
                    <a:pt x="2427" y="261"/>
                  </a:cubicBezTo>
                  <a:cubicBezTo>
                    <a:pt x="2427" y="276"/>
                    <a:pt x="2435" y="363"/>
                    <a:pt x="2467" y="387"/>
                  </a:cubicBezTo>
                  <a:cubicBezTo>
                    <a:pt x="2491" y="403"/>
                    <a:pt x="2506" y="435"/>
                    <a:pt x="2522" y="466"/>
                  </a:cubicBezTo>
                  <a:cubicBezTo>
                    <a:pt x="2530" y="474"/>
                    <a:pt x="2530" y="474"/>
                    <a:pt x="2530" y="474"/>
                  </a:cubicBezTo>
                  <a:cubicBezTo>
                    <a:pt x="2530" y="482"/>
                    <a:pt x="2538" y="490"/>
                    <a:pt x="2538" y="498"/>
                  </a:cubicBezTo>
                  <a:cubicBezTo>
                    <a:pt x="2554" y="529"/>
                    <a:pt x="2562" y="561"/>
                    <a:pt x="2609" y="584"/>
                  </a:cubicBezTo>
                  <a:cubicBezTo>
                    <a:pt x="2633" y="600"/>
                    <a:pt x="2657" y="600"/>
                    <a:pt x="2672" y="600"/>
                  </a:cubicBezTo>
                  <a:cubicBezTo>
                    <a:pt x="2688" y="607"/>
                    <a:pt x="2704" y="607"/>
                    <a:pt x="2712" y="623"/>
                  </a:cubicBezTo>
                  <a:lnTo>
                    <a:pt x="2712" y="623"/>
                  </a:lnTo>
                  <a:cubicBezTo>
                    <a:pt x="2712" y="631"/>
                    <a:pt x="2712" y="631"/>
                    <a:pt x="2712" y="631"/>
                  </a:cubicBezTo>
                  <a:cubicBezTo>
                    <a:pt x="2688" y="655"/>
                    <a:pt x="2649" y="702"/>
                    <a:pt x="2641" y="710"/>
                  </a:cubicBezTo>
                  <a:cubicBezTo>
                    <a:pt x="2625" y="734"/>
                    <a:pt x="2570" y="789"/>
                    <a:pt x="2546" y="797"/>
                  </a:cubicBezTo>
                  <a:cubicBezTo>
                    <a:pt x="2530" y="805"/>
                    <a:pt x="2491" y="829"/>
                    <a:pt x="2491" y="853"/>
                  </a:cubicBezTo>
                  <a:cubicBezTo>
                    <a:pt x="2491" y="876"/>
                    <a:pt x="2467" y="892"/>
                    <a:pt x="2459" y="908"/>
                  </a:cubicBezTo>
                  <a:cubicBezTo>
                    <a:pt x="2459" y="908"/>
                    <a:pt x="2459" y="908"/>
                    <a:pt x="2451" y="908"/>
                  </a:cubicBezTo>
                  <a:cubicBezTo>
                    <a:pt x="2451" y="916"/>
                    <a:pt x="2451" y="916"/>
                    <a:pt x="2443" y="916"/>
                  </a:cubicBezTo>
                  <a:cubicBezTo>
                    <a:pt x="2443" y="916"/>
                    <a:pt x="2435" y="916"/>
                    <a:pt x="2435" y="931"/>
                  </a:cubicBezTo>
                  <a:cubicBezTo>
                    <a:pt x="2435" y="940"/>
                    <a:pt x="2435" y="947"/>
                    <a:pt x="2435" y="955"/>
                  </a:cubicBezTo>
                  <a:cubicBezTo>
                    <a:pt x="2435" y="971"/>
                    <a:pt x="2435" y="971"/>
                    <a:pt x="2419" y="979"/>
                  </a:cubicBezTo>
                  <a:cubicBezTo>
                    <a:pt x="2411" y="979"/>
                    <a:pt x="2404" y="979"/>
                    <a:pt x="2396" y="979"/>
                  </a:cubicBezTo>
                  <a:cubicBezTo>
                    <a:pt x="2380" y="987"/>
                    <a:pt x="2364" y="987"/>
                    <a:pt x="2356" y="1011"/>
                  </a:cubicBezTo>
                  <a:cubicBezTo>
                    <a:pt x="2356" y="1018"/>
                    <a:pt x="2356" y="1018"/>
                    <a:pt x="2356" y="1026"/>
                  </a:cubicBezTo>
                  <a:cubicBezTo>
                    <a:pt x="2348" y="1050"/>
                    <a:pt x="2340" y="1066"/>
                    <a:pt x="2324" y="1066"/>
                  </a:cubicBezTo>
                  <a:cubicBezTo>
                    <a:pt x="2317" y="1066"/>
                    <a:pt x="2309" y="1066"/>
                    <a:pt x="2309" y="1066"/>
                  </a:cubicBezTo>
                  <a:cubicBezTo>
                    <a:pt x="2301" y="1058"/>
                    <a:pt x="2301" y="1058"/>
                    <a:pt x="2301" y="1058"/>
                  </a:cubicBezTo>
                  <a:cubicBezTo>
                    <a:pt x="2293" y="1058"/>
                    <a:pt x="2293" y="1058"/>
                    <a:pt x="2285" y="1074"/>
                  </a:cubicBezTo>
                  <a:cubicBezTo>
                    <a:pt x="2269" y="1082"/>
                    <a:pt x="2222" y="1121"/>
                    <a:pt x="2182" y="1145"/>
                  </a:cubicBezTo>
                  <a:lnTo>
                    <a:pt x="2182" y="1145"/>
                  </a:lnTo>
                  <a:lnTo>
                    <a:pt x="2182" y="1145"/>
                  </a:lnTo>
                  <a:cubicBezTo>
                    <a:pt x="1818" y="1192"/>
                    <a:pt x="1139" y="1279"/>
                    <a:pt x="688" y="1295"/>
                  </a:cubicBezTo>
                  <a:cubicBezTo>
                    <a:pt x="680" y="1303"/>
                    <a:pt x="648" y="1311"/>
                    <a:pt x="641" y="1327"/>
                  </a:cubicBezTo>
                  <a:cubicBezTo>
                    <a:pt x="641" y="1335"/>
                    <a:pt x="633" y="1335"/>
                    <a:pt x="633" y="1335"/>
                  </a:cubicBezTo>
                  <a:cubicBezTo>
                    <a:pt x="617" y="1335"/>
                    <a:pt x="609" y="1327"/>
                    <a:pt x="593" y="1311"/>
                  </a:cubicBezTo>
                  <a:cubicBezTo>
                    <a:pt x="593" y="1311"/>
                    <a:pt x="593" y="1311"/>
                    <a:pt x="585" y="1311"/>
                  </a:cubicBezTo>
                  <a:cubicBezTo>
                    <a:pt x="577" y="1303"/>
                    <a:pt x="562" y="1303"/>
                    <a:pt x="538" y="1303"/>
                  </a:cubicBezTo>
                  <a:cubicBezTo>
                    <a:pt x="522" y="1303"/>
                    <a:pt x="506" y="1303"/>
                    <a:pt x="506" y="1311"/>
                  </a:cubicBezTo>
                  <a:cubicBezTo>
                    <a:pt x="506" y="1319"/>
                    <a:pt x="514" y="1327"/>
                    <a:pt x="514" y="1343"/>
                  </a:cubicBezTo>
                  <a:cubicBezTo>
                    <a:pt x="522" y="1358"/>
                    <a:pt x="530" y="1374"/>
                    <a:pt x="522" y="1390"/>
                  </a:cubicBezTo>
                  <a:cubicBezTo>
                    <a:pt x="514" y="1398"/>
                    <a:pt x="514" y="1398"/>
                    <a:pt x="506" y="1398"/>
                  </a:cubicBezTo>
                  <a:cubicBezTo>
                    <a:pt x="498" y="1398"/>
                    <a:pt x="498" y="1398"/>
                    <a:pt x="490" y="1398"/>
                  </a:cubicBezTo>
                  <a:cubicBezTo>
                    <a:pt x="293" y="1414"/>
                    <a:pt x="151" y="1422"/>
                    <a:pt x="71" y="1422"/>
                  </a:cubicBezTo>
                  <a:close/>
                  <a:moveTo>
                    <a:pt x="16" y="1414"/>
                  </a:moveTo>
                  <a:lnTo>
                    <a:pt x="16" y="1414"/>
                  </a:lnTo>
                  <a:cubicBezTo>
                    <a:pt x="24" y="1414"/>
                    <a:pt x="48" y="1414"/>
                    <a:pt x="71" y="1414"/>
                  </a:cubicBezTo>
                  <a:cubicBezTo>
                    <a:pt x="151" y="1414"/>
                    <a:pt x="293" y="1406"/>
                    <a:pt x="490" y="1390"/>
                  </a:cubicBezTo>
                  <a:cubicBezTo>
                    <a:pt x="498" y="1390"/>
                    <a:pt x="498" y="1390"/>
                    <a:pt x="506" y="1390"/>
                  </a:cubicBezTo>
                  <a:cubicBezTo>
                    <a:pt x="506" y="1390"/>
                    <a:pt x="514" y="1390"/>
                    <a:pt x="514" y="1382"/>
                  </a:cubicBezTo>
                  <a:cubicBezTo>
                    <a:pt x="522" y="1374"/>
                    <a:pt x="514" y="1358"/>
                    <a:pt x="506" y="1343"/>
                  </a:cubicBezTo>
                  <a:cubicBezTo>
                    <a:pt x="506" y="1327"/>
                    <a:pt x="498" y="1319"/>
                    <a:pt x="498" y="1311"/>
                  </a:cubicBezTo>
                  <a:cubicBezTo>
                    <a:pt x="498" y="1303"/>
                    <a:pt x="514" y="1295"/>
                    <a:pt x="538" y="1295"/>
                  </a:cubicBezTo>
                  <a:cubicBezTo>
                    <a:pt x="562" y="1295"/>
                    <a:pt x="577" y="1295"/>
                    <a:pt x="593" y="1303"/>
                  </a:cubicBezTo>
                  <a:cubicBezTo>
                    <a:pt x="593" y="1303"/>
                    <a:pt x="593" y="1311"/>
                    <a:pt x="601" y="1311"/>
                  </a:cubicBezTo>
                  <a:cubicBezTo>
                    <a:pt x="609" y="1319"/>
                    <a:pt x="625" y="1327"/>
                    <a:pt x="633" y="1327"/>
                  </a:cubicBezTo>
                  <a:cubicBezTo>
                    <a:pt x="633" y="1327"/>
                    <a:pt x="633" y="1327"/>
                    <a:pt x="641" y="1319"/>
                  </a:cubicBezTo>
                  <a:cubicBezTo>
                    <a:pt x="648" y="1303"/>
                    <a:pt x="688" y="1287"/>
                    <a:pt x="688" y="1287"/>
                  </a:cubicBezTo>
                  <a:lnTo>
                    <a:pt x="688" y="1287"/>
                  </a:lnTo>
                  <a:cubicBezTo>
                    <a:pt x="1131" y="1271"/>
                    <a:pt x="1811" y="1184"/>
                    <a:pt x="2174" y="1137"/>
                  </a:cubicBezTo>
                  <a:cubicBezTo>
                    <a:pt x="2230" y="1105"/>
                    <a:pt x="2269" y="1074"/>
                    <a:pt x="2277" y="1066"/>
                  </a:cubicBezTo>
                  <a:cubicBezTo>
                    <a:pt x="2285" y="1058"/>
                    <a:pt x="2293" y="1050"/>
                    <a:pt x="2301" y="1050"/>
                  </a:cubicBezTo>
                  <a:lnTo>
                    <a:pt x="2309" y="1058"/>
                  </a:lnTo>
                  <a:cubicBezTo>
                    <a:pt x="2317" y="1058"/>
                    <a:pt x="2317" y="1058"/>
                    <a:pt x="2324" y="1058"/>
                  </a:cubicBezTo>
                  <a:cubicBezTo>
                    <a:pt x="2340" y="1058"/>
                    <a:pt x="2340" y="1050"/>
                    <a:pt x="2348" y="1018"/>
                  </a:cubicBezTo>
                  <a:lnTo>
                    <a:pt x="2348" y="1011"/>
                  </a:lnTo>
                  <a:cubicBezTo>
                    <a:pt x="2356" y="979"/>
                    <a:pt x="2380" y="979"/>
                    <a:pt x="2396" y="979"/>
                  </a:cubicBezTo>
                  <a:cubicBezTo>
                    <a:pt x="2404" y="971"/>
                    <a:pt x="2411" y="971"/>
                    <a:pt x="2411" y="971"/>
                  </a:cubicBezTo>
                  <a:cubicBezTo>
                    <a:pt x="2427" y="963"/>
                    <a:pt x="2427" y="963"/>
                    <a:pt x="2427" y="955"/>
                  </a:cubicBezTo>
                  <a:cubicBezTo>
                    <a:pt x="2427" y="947"/>
                    <a:pt x="2427" y="940"/>
                    <a:pt x="2427" y="931"/>
                  </a:cubicBezTo>
                  <a:cubicBezTo>
                    <a:pt x="2427" y="916"/>
                    <a:pt x="2435" y="908"/>
                    <a:pt x="2443" y="908"/>
                  </a:cubicBezTo>
                  <a:cubicBezTo>
                    <a:pt x="2443" y="908"/>
                    <a:pt x="2443" y="908"/>
                    <a:pt x="2451" y="908"/>
                  </a:cubicBezTo>
                  <a:lnTo>
                    <a:pt x="2451" y="900"/>
                  </a:lnTo>
                  <a:cubicBezTo>
                    <a:pt x="2459" y="892"/>
                    <a:pt x="2483" y="868"/>
                    <a:pt x="2483" y="853"/>
                  </a:cubicBezTo>
                  <a:cubicBezTo>
                    <a:pt x="2483" y="829"/>
                    <a:pt x="2522" y="805"/>
                    <a:pt x="2546" y="789"/>
                  </a:cubicBezTo>
                  <a:cubicBezTo>
                    <a:pt x="2562" y="781"/>
                    <a:pt x="2625" y="726"/>
                    <a:pt x="2633" y="710"/>
                  </a:cubicBezTo>
                  <a:cubicBezTo>
                    <a:pt x="2641" y="694"/>
                    <a:pt x="2680" y="655"/>
                    <a:pt x="2704" y="623"/>
                  </a:cubicBezTo>
                  <a:cubicBezTo>
                    <a:pt x="2696" y="615"/>
                    <a:pt x="2688" y="615"/>
                    <a:pt x="2672" y="607"/>
                  </a:cubicBezTo>
                  <a:cubicBezTo>
                    <a:pt x="2657" y="607"/>
                    <a:pt x="2633" y="607"/>
                    <a:pt x="2601" y="592"/>
                  </a:cubicBezTo>
                  <a:cubicBezTo>
                    <a:pt x="2554" y="568"/>
                    <a:pt x="2546" y="529"/>
                    <a:pt x="2530" y="506"/>
                  </a:cubicBezTo>
                  <a:cubicBezTo>
                    <a:pt x="2530" y="498"/>
                    <a:pt x="2522" y="482"/>
                    <a:pt x="2522" y="474"/>
                  </a:cubicBezTo>
                  <a:cubicBezTo>
                    <a:pt x="2514" y="466"/>
                    <a:pt x="2514" y="466"/>
                    <a:pt x="2514" y="466"/>
                  </a:cubicBezTo>
                  <a:cubicBezTo>
                    <a:pt x="2498" y="435"/>
                    <a:pt x="2483" y="411"/>
                    <a:pt x="2459" y="387"/>
                  </a:cubicBezTo>
                  <a:cubicBezTo>
                    <a:pt x="2427" y="363"/>
                    <a:pt x="2419" y="268"/>
                    <a:pt x="2419" y="261"/>
                  </a:cubicBezTo>
                  <a:cubicBezTo>
                    <a:pt x="2419" y="261"/>
                    <a:pt x="2419" y="253"/>
                    <a:pt x="2427" y="253"/>
                  </a:cubicBezTo>
                  <a:cubicBezTo>
                    <a:pt x="2411" y="237"/>
                    <a:pt x="2404" y="229"/>
                    <a:pt x="2404" y="229"/>
                  </a:cubicBezTo>
                  <a:cubicBezTo>
                    <a:pt x="2404" y="221"/>
                    <a:pt x="2404" y="221"/>
                    <a:pt x="2396" y="213"/>
                  </a:cubicBezTo>
                  <a:cubicBezTo>
                    <a:pt x="2396" y="205"/>
                    <a:pt x="2396" y="197"/>
                    <a:pt x="2388" y="197"/>
                  </a:cubicBezTo>
                  <a:cubicBezTo>
                    <a:pt x="2356" y="189"/>
                    <a:pt x="2340" y="182"/>
                    <a:pt x="2333" y="174"/>
                  </a:cubicBezTo>
                  <a:cubicBezTo>
                    <a:pt x="2324" y="166"/>
                    <a:pt x="2324" y="166"/>
                    <a:pt x="2324" y="158"/>
                  </a:cubicBezTo>
                  <a:cubicBezTo>
                    <a:pt x="2324" y="158"/>
                    <a:pt x="2324" y="158"/>
                    <a:pt x="2317" y="158"/>
                  </a:cubicBezTo>
                  <a:cubicBezTo>
                    <a:pt x="2309" y="150"/>
                    <a:pt x="2293" y="142"/>
                    <a:pt x="2293" y="134"/>
                  </a:cubicBezTo>
                  <a:cubicBezTo>
                    <a:pt x="2285" y="126"/>
                    <a:pt x="2285" y="118"/>
                    <a:pt x="2285" y="118"/>
                  </a:cubicBezTo>
                  <a:cubicBezTo>
                    <a:pt x="2277" y="110"/>
                    <a:pt x="2277" y="110"/>
                    <a:pt x="2277" y="110"/>
                  </a:cubicBezTo>
                  <a:cubicBezTo>
                    <a:pt x="2253" y="126"/>
                    <a:pt x="2253" y="126"/>
                    <a:pt x="2253" y="126"/>
                  </a:cubicBezTo>
                  <a:cubicBezTo>
                    <a:pt x="2246" y="134"/>
                    <a:pt x="2230" y="134"/>
                    <a:pt x="2230" y="142"/>
                  </a:cubicBezTo>
                  <a:cubicBezTo>
                    <a:pt x="2222" y="158"/>
                    <a:pt x="2214" y="158"/>
                    <a:pt x="2206" y="158"/>
                  </a:cubicBezTo>
                  <a:lnTo>
                    <a:pt x="2198" y="158"/>
                  </a:lnTo>
                  <a:cubicBezTo>
                    <a:pt x="2190" y="158"/>
                    <a:pt x="2182" y="158"/>
                    <a:pt x="2182" y="166"/>
                  </a:cubicBezTo>
                  <a:cubicBezTo>
                    <a:pt x="2182" y="174"/>
                    <a:pt x="2166" y="182"/>
                    <a:pt x="2151" y="182"/>
                  </a:cubicBezTo>
                  <a:cubicBezTo>
                    <a:pt x="2135" y="182"/>
                    <a:pt x="2127" y="182"/>
                    <a:pt x="2119" y="174"/>
                  </a:cubicBezTo>
                  <a:cubicBezTo>
                    <a:pt x="2111" y="174"/>
                    <a:pt x="2103" y="166"/>
                    <a:pt x="2087" y="158"/>
                  </a:cubicBezTo>
                  <a:lnTo>
                    <a:pt x="2080" y="158"/>
                  </a:lnTo>
                  <a:cubicBezTo>
                    <a:pt x="2071" y="158"/>
                    <a:pt x="2071" y="166"/>
                    <a:pt x="2064" y="182"/>
                  </a:cubicBezTo>
                  <a:cubicBezTo>
                    <a:pt x="2056" y="189"/>
                    <a:pt x="2056" y="205"/>
                    <a:pt x="2040" y="205"/>
                  </a:cubicBezTo>
                  <a:cubicBezTo>
                    <a:pt x="2040" y="205"/>
                    <a:pt x="2040" y="205"/>
                    <a:pt x="2032" y="205"/>
                  </a:cubicBezTo>
                  <a:cubicBezTo>
                    <a:pt x="2008" y="205"/>
                    <a:pt x="1961" y="174"/>
                    <a:pt x="1953" y="150"/>
                  </a:cubicBezTo>
                  <a:cubicBezTo>
                    <a:pt x="1945" y="150"/>
                    <a:pt x="1937" y="150"/>
                    <a:pt x="1929" y="150"/>
                  </a:cubicBezTo>
                  <a:cubicBezTo>
                    <a:pt x="1921" y="150"/>
                    <a:pt x="1913" y="150"/>
                    <a:pt x="1906" y="150"/>
                  </a:cubicBezTo>
                  <a:cubicBezTo>
                    <a:pt x="1890" y="158"/>
                    <a:pt x="1874" y="158"/>
                    <a:pt x="1858" y="158"/>
                  </a:cubicBezTo>
                  <a:cubicBezTo>
                    <a:pt x="1850" y="158"/>
                    <a:pt x="1842" y="158"/>
                    <a:pt x="1842" y="158"/>
                  </a:cubicBezTo>
                  <a:cubicBezTo>
                    <a:pt x="1811" y="150"/>
                    <a:pt x="1803" y="134"/>
                    <a:pt x="1795" y="118"/>
                  </a:cubicBezTo>
                  <a:cubicBezTo>
                    <a:pt x="1795" y="110"/>
                    <a:pt x="1795" y="102"/>
                    <a:pt x="1787" y="95"/>
                  </a:cubicBezTo>
                  <a:cubicBezTo>
                    <a:pt x="1771" y="87"/>
                    <a:pt x="1763" y="79"/>
                    <a:pt x="1755" y="55"/>
                  </a:cubicBezTo>
                  <a:cubicBezTo>
                    <a:pt x="1747" y="47"/>
                    <a:pt x="1740" y="39"/>
                    <a:pt x="1732" y="24"/>
                  </a:cubicBezTo>
                  <a:cubicBezTo>
                    <a:pt x="1724" y="15"/>
                    <a:pt x="1716" y="15"/>
                    <a:pt x="1716" y="15"/>
                  </a:cubicBezTo>
                  <a:lnTo>
                    <a:pt x="1708" y="15"/>
                  </a:lnTo>
                  <a:cubicBezTo>
                    <a:pt x="1700" y="15"/>
                    <a:pt x="1692" y="24"/>
                    <a:pt x="1684" y="24"/>
                  </a:cubicBezTo>
                  <a:lnTo>
                    <a:pt x="1676" y="24"/>
                  </a:lnTo>
                  <a:cubicBezTo>
                    <a:pt x="1645" y="15"/>
                    <a:pt x="1621" y="8"/>
                    <a:pt x="1589" y="8"/>
                  </a:cubicBezTo>
                  <a:lnTo>
                    <a:pt x="1589" y="8"/>
                  </a:lnTo>
                  <a:cubicBezTo>
                    <a:pt x="1574" y="8"/>
                    <a:pt x="1566" y="31"/>
                    <a:pt x="1566" y="55"/>
                  </a:cubicBezTo>
                  <a:cubicBezTo>
                    <a:pt x="1566" y="55"/>
                    <a:pt x="1558" y="63"/>
                    <a:pt x="1558" y="71"/>
                  </a:cubicBezTo>
                  <a:cubicBezTo>
                    <a:pt x="1558" y="87"/>
                    <a:pt x="1558" y="95"/>
                    <a:pt x="1566" y="110"/>
                  </a:cubicBezTo>
                  <a:cubicBezTo>
                    <a:pt x="1574" y="110"/>
                    <a:pt x="1574" y="110"/>
                    <a:pt x="1574" y="118"/>
                  </a:cubicBezTo>
                  <a:cubicBezTo>
                    <a:pt x="1589" y="142"/>
                    <a:pt x="1589" y="166"/>
                    <a:pt x="1581" y="174"/>
                  </a:cubicBezTo>
                  <a:cubicBezTo>
                    <a:pt x="1581" y="189"/>
                    <a:pt x="1566" y="189"/>
                    <a:pt x="1550" y="189"/>
                  </a:cubicBezTo>
                  <a:cubicBezTo>
                    <a:pt x="1534" y="189"/>
                    <a:pt x="1518" y="189"/>
                    <a:pt x="1502" y="189"/>
                  </a:cubicBezTo>
                  <a:cubicBezTo>
                    <a:pt x="1479" y="197"/>
                    <a:pt x="1487" y="205"/>
                    <a:pt x="1487" y="213"/>
                  </a:cubicBezTo>
                  <a:cubicBezTo>
                    <a:pt x="1487" y="221"/>
                    <a:pt x="1487" y="237"/>
                    <a:pt x="1479" y="245"/>
                  </a:cubicBezTo>
                  <a:cubicBezTo>
                    <a:pt x="1471" y="245"/>
                    <a:pt x="1471" y="253"/>
                    <a:pt x="1463" y="253"/>
                  </a:cubicBezTo>
                  <a:cubicBezTo>
                    <a:pt x="1447" y="253"/>
                    <a:pt x="1431" y="237"/>
                    <a:pt x="1423" y="221"/>
                  </a:cubicBezTo>
                  <a:lnTo>
                    <a:pt x="1415" y="213"/>
                  </a:lnTo>
                  <a:lnTo>
                    <a:pt x="1407" y="213"/>
                  </a:lnTo>
                  <a:cubicBezTo>
                    <a:pt x="1392" y="213"/>
                    <a:pt x="1376" y="229"/>
                    <a:pt x="1376" y="253"/>
                  </a:cubicBezTo>
                  <a:cubicBezTo>
                    <a:pt x="1376" y="268"/>
                    <a:pt x="1376" y="276"/>
                    <a:pt x="1384" y="284"/>
                  </a:cubicBezTo>
                  <a:cubicBezTo>
                    <a:pt x="1384" y="292"/>
                    <a:pt x="1384" y="300"/>
                    <a:pt x="1392" y="308"/>
                  </a:cubicBezTo>
                  <a:cubicBezTo>
                    <a:pt x="1400" y="332"/>
                    <a:pt x="1392" y="332"/>
                    <a:pt x="1376" y="340"/>
                  </a:cubicBezTo>
                  <a:cubicBezTo>
                    <a:pt x="1368" y="340"/>
                    <a:pt x="1368" y="348"/>
                    <a:pt x="1360" y="355"/>
                  </a:cubicBezTo>
                  <a:cubicBezTo>
                    <a:pt x="1352" y="363"/>
                    <a:pt x="1352" y="371"/>
                    <a:pt x="1336" y="371"/>
                  </a:cubicBezTo>
                  <a:cubicBezTo>
                    <a:pt x="1336" y="371"/>
                    <a:pt x="1336" y="371"/>
                    <a:pt x="1328" y="371"/>
                  </a:cubicBezTo>
                  <a:cubicBezTo>
                    <a:pt x="1321" y="371"/>
                    <a:pt x="1313" y="387"/>
                    <a:pt x="1313" y="411"/>
                  </a:cubicBezTo>
                  <a:cubicBezTo>
                    <a:pt x="1313" y="427"/>
                    <a:pt x="1297" y="458"/>
                    <a:pt x="1273" y="458"/>
                  </a:cubicBezTo>
                  <a:cubicBezTo>
                    <a:pt x="1273" y="458"/>
                    <a:pt x="1273" y="458"/>
                    <a:pt x="1265" y="466"/>
                  </a:cubicBezTo>
                  <a:cubicBezTo>
                    <a:pt x="1241" y="490"/>
                    <a:pt x="1218" y="553"/>
                    <a:pt x="1226" y="576"/>
                  </a:cubicBezTo>
                  <a:cubicBezTo>
                    <a:pt x="1226" y="584"/>
                    <a:pt x="1226" y="584"/>
                    <a:pt x="1226" y="592"/>
                  </a:cubicBezTo>
                  <a:cubicBezTo>
                    <a:pt x="1218" y="592"/>
                    <a:pt x="1210" y="600"/>
                    <a:pt x="1202" y="600"/>
                  </a:cubicBezTo>
                  <a:cubicBezTo>
                    <a:pt x="1202" y="600"/>
                    <a:pt x="1194" y="600"/>
                    <a:pt x="1186" y="600"/>
                  </a:cubicBezTo>
                  <a:cubicBezTo>
                    <a:pt x="1178" y="607"/>
                    <a:pt x="1178" y="607"/>
                    <a:pt x="1170" y="607"/>
                  </a:cubicBezTo>
                  <a:cubicBezTo>
                    <a:pt x="1163" y="607"/>
                    <a:pt x="1163" y="600"/>
                    <a:pt x="1154" y="600"/>
                  </a:cubicBezTo>
                  <a:cubicBezTo>
                    <a:pt x="1154" y="592"/>
                    <a:pt x="1154" y="592"/>
                    <a:pt x="1147" y="592"/>
                  </a:cubicBezTo>
                  <a:cubicBezTo>
                    <a:pt x="1147" y="592"/>
                    <a:pt x="1147" y="592"/>
                    <a:pt x="1139" y="592"/>
                  </a:cubicBezTo>
                  <a:cubicBezTo>
                    <a:pt x="1131" y="584"/>
                    <a:pt x="1115" y="584"/>
                    <a:pt x="1107" y="576"/>
                  </a:cubicBezTo>
                  <a:cubicBezTo>
                    <a:pt x="1099" y="568"/>
                    <a:pt x="1091" y="561"/>
                    <a:pt x="1091" y="553"/>
                  </a:cubicBezTo>
                  <a:cubicBezTo>
                    <a:pt x="1083" y="553"/>
                    <a:pt x="1083" y="545"/>
                    <a:pt x="1075" y="545"/>
                  </a:cubicBezTo>
                  <a:lnTo>
                    <a:pt x="1075" y="545"/>
                  </a:lnTo>
                  <a:cubicBezTo>
                    <a:pt x="1068" y="545"/>
                    <a:pt x="1068" y="553"/>
                    <a:pt x="1068" y="553"/>
                  </a:cubicBezTo>
                  <a:cubicBezTo>
                    <a:pt x="1060" y="561"/>
                    <a:pt x="1052" y="568"/>
                    <a:pt x="1052" y="576"/>
                  </a:cubicBezTo>
                  <a:cubicBezTo>
                    <a:pt x="1044" y="576"/>
                    <a:pt x="1044" y="584"/>
                    <a:pt x="1036" y="584"/>
                  </a:cubicBezTo>
                  <a:cubicBezTo>
                    <a:pt x="1028" y="584"/>
                    <a:pt x="1020" y="592"/>
                    <a:pt x="1020" y="607"/>
                  </a:cubicBezTo>
                  <a:lnTo>
                    <a:pt x="1020" y="607"/>
                  </a:lnTo>
                  <a:cubicBezTo>
                    <a:pt x="1012" y="623"/>
                    <a:pt x="1012" y="631"/>
                    <a:pt x="1004" y="631"/>
                  </a:cubicBezTo>
                  <a:cubicBezTo>
                    <a:pt x="996" y="639"/>
                    <a:pt x="996" y="639"/>
                    <a:pt x="996" y="639"/>
                  </a:cubicBezTo>
                  <a:cubicBezTo>
                    <a:pt x="988" y="639"/>
                    <a:pt x="988" y="647"/>
                    <a:pt x="988" y="655"/>
                  </a:cubicBezTo>
                  <a:lnTo>
                    <a:pt x="988" y="663"/>
                  </a:lnTo>
                  <a:cubicBezTo>
                    <a:pt x="988" y="678"/>
                    <a:pt x="988" y="694"/>
                    <a:pt x="988" y="702"/>
                  </a:cubicBezTo>
                  <a:cubicBezTo>
                    <a:pt x="981" y="702"/>
                    <a:pt x="981" y="702"/>
                    <a:pt x="973" y="702"/>
                  </a:cubicBezTo>
                  <a:cubicBezTo>
                    <a:pt x="965" y="702"/>
                    <a:pt x="957" y="694"/>
                    <a:pt x="957" y="694"/>
                  </a:cubicBezTo>
                  <a:lnTo>
                    <a:pt x="957" y="694"/>
                  </a:lnTo>
                  <a:cubicBezTo>
                    <a:pt x="941" y="671"/>
                    <a:pt x="941" y="671"/>
                    <a:pt x="941" y="671"/>
                  </a:cubicBezTo>
                  <a:cubicBezTo>
                    <a:pt x="933" y="663"/>
                    <a:pt x="917" y="655"/>
                    <a:pt x="910" y="647"/>
                  </a:cubicBezTo>
                  <a:lnTo>
                    <a:pt x="910" y="647"/>
                  </a:lnTo>
                  <a:cubicBezTo>
                    <a:pt x="910" y="639"/>
                    <a:pt x="901" y="639"/>
                    <a:pt x="901" y="639"/>
                  </a:cubicBezTo>
                  <a:cubicBezTo>
                    <a:pt x="894" y="639"/>
                    <a:pt x="894" y="639"/>
                    <a:pt x="894" y="647"/>
                  </a:cubicBezTo>
                  <a:cubicBezTo>
                    <a:pt x="886" y="655"/>
                    <a:pt x="886" y="655"/>
                    <a:pt x="878" y="655"/>
                  </a:cubicBezTo>
                  <a:cubicBezTo>
                    <a:pt x="870" y="655"/>
                    <a:pt x="854" y="663"/>
                    <a:pt x="854" y="671"/>
                  </a:cubicBezTo>
                  <a:lnTo>
                    <a:pt x="854" y="671"/>
                  </a:lnTo>
                  <a:cubicBezTo>
                    <a:pt x="846" y="678"/>
                    <a:pt x="846" y="687"/>
                    <a:pt x="830" y="687"/>
                  </a:cubicBezTo>
                  <a:cubicBezTo>
                    <a:pt x="830" y="687"/>
                    <a:pt x="830" y="687"/>
                    <a:pt x="823" y="687"/>
                  </a:cubicBezTo>
                  <a:lnTo>
                    <a:pt x="815" y="687"/>
                  </a:lnTo>
                  <a:cubicBezTo>
                    <a:pt x="815" y="694"/>
                    <a:pt x="815" y="702"/>
                    <a:pt x="815" y="710"/>
                  </a:cubicBezTo>
                  <a:cubicBezTo>
                    <a:pt x="815" y="726"/>
                    <a:pt x="815" y="750"/>
                    <a:pt x="799" y="750"/>
                  </a:cubicBezTo>
                  <a:cubicBezTo>
                    <a:pt x="791" y="750"/>
                    <a:pt x="775" y="742"/>
                    <a:pt x="759" y="726"/>
                  </a:cubicBezTo>
                  <a:cubicBezTo>
                    <a:pt x="751" y="718"/>
                    <a:pt x="751" y="718"/>
                    <a:pt x="743" y="718"/>
                  </a:cubicBezTo>
                  <a:lnTo>
                    <a:pt x="743" y="718"/>
                  </a:lnTo>
                  <a:cubicBezTo>
                    <a:pt x="743" y="718"/>
                    <a:pt x="735" y="718"/>
                    <a:pt x="728" y="718"/>
                  </a:cubicBezTo>
                  <a:cubicBezTo>
                    <a:pt x="720" y="710"/>
                    <a:pt x="712" y="710"/>
                    <a:pt x="712" y="702"/>
                  </a:cubicBezTo>
                  <a:cubicBezTo>
                    <a:pt x="704" y="694"/>
                    <a:pt x="704" y="694"/>
                    <a:pt x="696" y="694"/>
                  </a:cubicBezTo>
                  <a:cubicBezTo>
                    <a:pt x="696" y="694"/>
                    <a:pt x="696" y="687"/>
                    <a:pt x="688" y="687"/>
                  </a:cubicBezTo>
                  <a:cubicBezTo>
                    <a:pt x="680" y="687"/>
                    <a:pt x="657" y="702"/>
                    <a:pt x="641" y="710"/>
                  </a:cubicBezTo>
                  <a:cubicBezTo>
                    <a:pt x="625" y="718"/>
                    <a:pt x="625" y="734"/>
                    <a:pt x="625" y="742"/>
                  </a:cubicBezTo>
                  <a:cubicBezTo>
                    <a:pt x="625" y="750"/>
                    <a:pt x="625" y="750"/>
                    <a:pt x="625" y="750"/>
                  </a:cubicBezTo>
                  <a:lnTo>
                    <a:pt x="617" y="758"/>
                  </a:lnTo>
                  <a:cubicBezTo>
                    <a:pt x="609" y="758"/>
                    <a:pt x="593" y="750"/>
                    <a:pt x="585" y="742"/>
                  </a:cubicBezTo>
                  <a:cubicBezTo>
                    <a:pt x="577" y="742"/>
                    <a:pt x="562" y="734"/>
                    <a:pt x="562" y="734"/>
                  </a:cubicBezTo>
                  <a:cubicBezTo>
                    <a:pt x="546" y="734"/>
                    <a:pt x="530" y="750"/>
                    <a:pt x="530" y="758"/>
                  </a:cubicBezTo>
                  <a:cubicBezTo>
                    <a:pt x="530" y="773"/>
                    <a:pt x="530" y="789"/>
                    <a:pt x="506" y="789"/>
                  </a:cubicBezTo>
                  <a:lnTo>
                    <a:pt x="498" y="781"/>
                  </a:lnTo>
                  <a:cubicBezTo>
                    <a:pt x="490" y="781"/>
                    <a:pt x="483" y="781"/>
                    <a:pt x="467" y="789"/>
                  </a:cubicBezTo>
                  <a:cubicBezTo>
                    <a:pt x="475" y="797"/>
                    <a:pt x="475" y="805"/>
                    <a:pt x="467" y="821"/>
                  </a:cubicBezTo>
                  <a:cubicBezTo>
                    <a:pt x="459" y="821"/>
                    <a:pt x="459" y="829"/>
                    <a:pt x="451" y="837"/>
                  </a:cubicBezTo>
                  <a:cubicBezTo>
                    <a:pt x="435" y="853"/>
                    <a:pt x="427" y="860"/>
                    <a:pt x="443" y="868"/>
                  </a:cubicBezTo>
                  <a:cubicBezTo>
                    <a:pt x="451" y="876"/>
                    <a:pt x="451" y="876"/>
                    <a:pt x="451" y="876"/>
                  </a:cubicBezTo>
                  <a:cubicBezTo>
                    <a:pt x="467" y="892"/>
                    <a:pt x="475" y="908"/>
                    <a:pt x="475" y="916"/>
                  </a:cubicBezTo>
                  <a:cubicBezTo>
                    <a:pt x="475" y="924"/>
                    <a:pt x="475" y="924"/>
                    <a:pt x="467" y="924"/>
                  </a:cubicBezTo>
                  <a:cubicBezTo>
                    <a:pt x="459" y="931"/>
                    <a:pt x="451" y="931"/>
                    <a:pt x="435" y="931"/>
                  </a:cubicBezTo>
                  <a:cubicBezTo>
                    <a:pt x="404" y="940"/>
                    <a:pt x="340" y="947"/>
                    <a:pt x="324" y="971"/>
                  </a:cubicBezTo>
                  <a:cubicBezTo>
                    <a:pt x="317" y="979"/>
                    <a:pt x="317" y="987"/>
                    <a:pt x="317" y="995"/>
                  </a:cubicBezTo>
                  <a:cubicBezTo>
                    <a:pt x="324" y="1026"/>
                    <a:pt x="332" y="1042"/>
                    <a:pt x="340" y="1050"/>
                  </a:cubicBezTo>
                  <a:cubicBezTo>
                    <a:pt x="348" y="1066"/>
                    <a:pt x="356" y="1082"/>
                    <a:pt x="348" y="1098"/>
                  </a:cubicBezTo>
                  <a:cubicBezTo>
                    <a:pt x="348" y="1113"/>
                    <a:pt x="324" y="1145"/>
                    <a:pt x="301" y="1145"/>
                  </a:cubicBezTo>
                  <a:cubicBezTo>
                    <a:pt x="285" y="1145"/>
                    <a:pt x="277" y="1145"/>
                    <a:pt x="269" y="1137"/>
                  </a:cubicBezTo>
                  <a:cubicBezTo>
                    <a:pt x="253" y="1121"/>
                    <a:pt x="214" y="1105"/>
                    <a:pt x="174" y="1105"/>
                  </a:cubicBezTo>
                  <a:cubicBezTo>
                    <a:pt x="158" y="1105"/>
                    <a:pt x="135" y="1113"/>
                    <a:pt x="119" y="1129"/>
                  </a:cubicBezTo>
                  <a:cubicBezTo>
                    <a:pt x="103" y="1145"/>
                    <a:pt x="95" y="1161"/>
                    <a:pt x="95" y="1192"/>
                  </a:cubicBezTo>
                  <a:cubicBezTo>
                    <a:pt x="103" y="1200"/>
                    <a:pt x="119" y="1248"/>
                    <a:pt x="111" y="1279"/>
                  </a:cubicBezTo>
                  <a:cubicBezTo>
                    <a:pt x="103" y="1287"/>
                    <a:pt x="103" y="1295"/>
                    <a:pt x="95" y="1295"/>
                  </a:cubicBezTo>
                  <a:cubicBezTo>
                    <a:pt x="87" y="1295"/>
                    <a:pt x="79" y="1295"/>
                    <a:pt x="79" y="1295"/>
                  </a:cubicBezTo>
                  <a:cubicBezTo>
                    <a:pt x="79" y="1295"/>
                    <a:pt x="79" y="1303"/>
                    <a:pt x="79" y="1311"/>
                  </a:cubicBezTo>
                  <a:cubicBezTo>
                    <a:pt x="79" y="1319"/>
                    <a:pt x="79" y="1335"/>
                    <a:pt x="79" y="1358"/>
                  </a:cubicBezTo>
                  <a:cubicBezTo>
                    <a:pt x="64" y="1390"/>
                    <a:pt x="64" y="1390"/>
                    <a:pt x="56" y="1390"/>
                  </a:cubicBezTo>
                  <a:cubicBezTo>
                    <a:pt x="56" y="1390"/>
                    <a:pt x="56" y="1390"/>
                    <a:pt x="48" y="1390"/>
                  </a:cubicBezTo>
                  <a:cubicBezTo>
                    <a:pt x="48" y="1390"/>
                    <a:pt x="48" y="1390"/>
                    <a:pt x="40" y="1390"/>
                  </a:cubicBezTo>
                  <a:lnTo>
                    <a:pt x="40" y="1390"/>
                  </a:lnTo>
                  <a:cubicBezTo>
                    <a:pt x="24" y="1390"/>
                    <a:pt x="16" y="1398"/>
                    <a:pt x="16" y="1406"/>
                  </a:cubicBezTo>
                  <a:cubicBezTo>
                    <a:pt x="16" y="1414"/>
                    <a:pt x="16" y="1414"/>
                    <a:pt x="16" y="1414"/>
                  </a:cubicBezTo>
                  <a:close/>
                </a:path>
              </a:pathLst>
            </a:custGeom>
            <a:solidFill>
              <a:schemeClr val="accent6"/>
            </a:solidFill>
            <a:ln>
              <a:solidFill>
                <a:schemeClr val="bg2"/>
              </a:solidFill>
            </a:ln>
            <a:effectLst/>
          </p:spPr>
          <p:txBody>
            <a:bodyPr wrap="none" anchor="ctr"/>
            <a:lstStyle/>
            <a:p>
              <a:endParaRPr lang="en-US"/>
            </a:p>
          </p:txBody>
        </p:sp>
        <p:sp>
          <p:nvSpPr>
            <p:cNvPr id="113" name="Freeform 783"/>
            <p:cNvSpPr>
              <a:spLocks noChangeArrowheads="1"/>
            </p:cNvSpPr>
            <p:nvPr/>
          </p:nvSpPr>
          <p:spPr bwMode="auto">
            <a:xfrm>
              <a:off x="5297195" y="3059227"/>
              <a:ext cx="410283" cy="626587"/>
            </a:xfrm>
            <a:custGeom>
              <a:avLst/>
              <a:gdLst>
                <a:gd name="T0" fmla="*/ 933 w 1139"/>
                <a:gd name="T1" fmla="*/ 8 h 2008"/>
                <a:gd name="T2" fmla="*/ 933 w 1139"/>
                <a:gd name="T3" fmla="*/ 8 h 2008"/>
                <a:gd name="T4" fmla="*/ 261 w 1139"/>
                <a:gd name="T5" fmla="*/ 87 h 2008"/>
                <a:gd name="T6" fmla="*/ 111 w 1139"/>
                <a:gd name="T7" fmla="*/ 158 h 2008"/>
                <a:gd name="T8" fmla="*/ 32 w 1139"/>
                <a:gd name="T9" fmla="*/ 135 h 2008"/>
                <a:gd name="T10" fmla="*/ 126 w 1139"/>
                <a:gd name="T11" fmla="*/ 1178 h 2008"/>
                <a:gd name="T12" fmla="*/ 111 w 1139"/>
                <a:gd name="T13" fmla="*/ 1281 h 2008"/>
                <a:gd name="T14" fmla="*/ 95 w 1139"/>
                <a:gd name="T15" fmla="*/ 1360 h 2008"/>
                <a:gd name="T16" fmla="*/ 134 w 1139"/>
                <a:gd name="T17" fmla="*/ 1423 h 2008"/>
                <a:gd name="T18" fmla="*/ 150 w 1139"/>
                <a:gd name="T19" fmla="*/ 1502 h 2008"/>
                <a:gd name="T20" fmla="*/ 158 w 1139"/>
                <a:gd name="T21" fmla="*/ 1581 h 2008"/>
                <a:gd name="T22" fmla="*/ 119 w 1139"/>
                <a:gd name="T23" fmla="*/ 1637 h 2008"/>
                <a:gd name="T24" fmla="*/ 39 w 1139"/>
                <a:gd name="T25" fmla="*/ 1771 h 2008"/>
                <a:gd name="T26" fmla="*/ 24 w 1139"/>
                <a:gd name="T27" fmla="*/ 1833 h 2008"/>
                <a:gd name="T28" fmla="*/ 16 w 1139"/>
                <a:gd name="T29" fmla="*/ 1889 h 2008"/>
                <a:gd name="T30" fmla="*/ 0 w 1139"/>
                <a:gd name="T31" fmla="*/ 1960 h 2008"/>
                <a:gd name="T32" fmla="*/ 16 w 1139"/>
                <a:gd name="T33" fmla="*/ 2007 h 2008"/>
                <a:gd name="T34" fmla="*/ 47 w 1139"/>
                <a:gd name="T35" fmla="*/ 2007 h 2008"/>
                <a:gd name="T36" fmla="*/ 79 w 1139"/>
                <a:gd name="T37" fmla="*/ 1984 h 2008"/>
                <a:gd name="T38" fmla="*/ 111 w 1139"/>
                <a:gd name="T39" fmla="*/ 1960 h 2008"/>
                <a:gd name="T40" fmla="*/ 174 w 1139"/>
                <a:gd name="T41" fmla="*/ 1968 h 2008"/>
                <a:gd name="T42" fmla="*/ 190 w 1139"/>
                <a:gd name="T43" fmla="*/ 1936 h 2008"/>
                <a:gd name="T44" fmla="*/ 245 w 1139"/>
                <a:gd name="T45" fmla="*/ 1913 h 2008"/>
                <a:gd name="T46" fmla="*/ 284 w 1139"/>
                <a:gd name="T47" fmla="*/ 1936 h 2008"/>
                <a:gd name="T48" fmla="*/ 316 w 1139"/>
                <a:gd name="T49" fmla="*/ 1952 h 2008"/>
                <a:gd name="T50" fmla="*/ 348 w 1139"/>
                <a:gd name="T51" fmla="*/ 1968 h 2008"/>
                <a:gd name="T52" fmla="*/ 356 w 1139"/>
                <a:gd name="T53" fmla="*/ 1936 h 2008"/>
                <a:gd name="T54" fmla="*/ 372 w 1139"/>
                <a:gd name="T55" fmla="*/ 1913 h 2008"/>
                <a:gd name="T56" fmla="*/ 395 w 1139"/>
                <a:gd name="T57" fmla="*/ 1897 h 2008"/>
                <a:gd name="T58" fmla="*/ 427 w 1139"/>
                <a:gd name="T59" fmla="*/ 1881 h 2008"/>
                <a:gd name="T60" fmla="*/ 450 w 1139"/>
                <a:gd name="T61" fmla="*/ 1857 h 2008"/>
                <a:gd name="T62" fmla="*/ 466 w 1139"/>
                <a:gd name="T63" fmla="*/ 1873 h 2008"/>
                <a:gd name="T64" fmla="*/ 498 w 1139"/>
                <a:gd name="T65" fmla="*/ 1897 h 2008"/>
                <a:gd name="T66" fmla="*/ 506 w 1139"/>
                <a:gd name="T67" fmla="*/ 1920 h 2008"/>
                <a:gd name="T68" fmla="*/ 530 w 1139"/>
                <a:gd name="T69" fmla="*/ 1920 h 2008"/>
                <a:gd name="T70" fmla="*/ 530 w 1139"/>
                <a:gd name="T71" fmla="*/ 1881 h 2008"/>
                <a:gd name="T72" fmla="*/ 545 w 1139"/>
                <a:gd name="T73" fmla="*/ 1857 h 2008"/>
                <a:gd name="T74" fmla="*/ 561 w 1139"/>
                <a:gd name="T75" fmla="*/ 1833 h 2008"/>
                <a:gd name="T76" fmla="*/ 593 w 1139"/>
                <a:gd name="T77" fmla="*/ 1802 h 2008"/>
                <a:gd name="T78" fmla="*/ 624 w 1139"/>
                <a:gd name="T79" fmla="*/ 1763 h 2008"/>
                <a:gd name="T80" fmla="*/ 656 w 1139"/>
                <a:gd name="T81" fmla="*/ 1794 h 2008"/>
                <a:gd name="T82" fmla="*/ 703 w 1139"/>
                <a:gd name="T83" fmla="*/ 1818 h 2008"/>
                <a:gd name="T84" fmla="*/ 735 w 1139"/>
                <a:gd name="T85" fmla="*/ 1826 h 2008"/>
                <a:gd name="T86" fmla="*/ 775 w 1139"/>
                <a:gd name="T87" fmla="*/ 1802 h 2008"/>
                <a:gd name="T88" fmla="*/ 822 w 1139"/>
                <a:gd name="T89" fmla="*/ 1676 h 2008"/>
                <a:gd name="T90" fmla="*/ 862 w 1139"/>
                <a:gd name="T91" fmla="*/ 1637 h 2008"/>
                <a:gd name="T92" fmla="*/ 877 w 1139"/>
                <a:gd name="T93" fmla="*/ 1589 h 2008"/>
                <a:gd name="T94" fmla="*/ 909 w 1139"/>
                <a:gd name="T95" fmla="*/ 1574 h 2008"/>
                <a:gd name="T96" fmla="*/ 941 w 1139"/>
                <a:gd name="T97" fmla="*/ 1534 h 2008"/>
                <a:gd name="T98" fmla="*/ 925 w 1139"/>
                <a:gd name="T99" fmla="*/ 1479 h 2008"/>
                <a:gd name="T100" fmla="*/ 964 w 1139"/>
                <a:gd name="T101" fmla="*/ 1439 h 2008"/>
                <a:gd name="T102" fmla="*/ 1020 w 1139"/>
                <a:gd name="T103" fmla="*/ 1471 h 2008"/>
                <a:gd name="T104" fmla="*/ 1051 w 1139"/>
                <a:gd name="T105" fmla="*/ 1415 h 2008"/>
                <a:gd name="T106" fmla="*/ 1130 w 1139"/>
                <a:gd name="T107" fmla="*/ 1400 h 2008"/>
                <a:gd name="T108" fmla="*/ 1123 w 1139"/>
                <a:gd name="T109" fmla="*/ 1344 h 2008"/>
                <a:gd name="T110" fmla="*/ 1107 w 1139"/>
                <a:gd name="T111" fmla="*/ 1297 h 2008"/>
                <a:gd name="T112" fmla="*/ 1123 w 1139"/>
                <a:gd name="T113" fmla="*/ 1250 h 2008"/>
                <a:gd name="T114" fmla="*/ 972 w 1139"/>
                <a:gd name="T115" fmla="*/ 32 h 2008"/>
                <a:gd name="T116" fmla="*/ 933 w 1139"/>
                <a:gd name="T117" fmla="*/ 8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39" h="2008">
                  <a:moveTo>
                    <a:pt x="933" y="8"/>
                  </a:moveTo>
                  <a:lnTo>
                    <a:pt x="933" y="8"/>
                  </a:lnTo>
                  <a:cubicBezTo>
                    <a:pt x="261" y="87"/>
                    <a:pt x="261" y="87"/>
                    <a:pt x="261" y="87"/>
                  </a:cubicBezTo>
                  <a:cubicBezTo>
                    <a:pt x="221" y="119"/>
                    <a:pt x="166" y="158"/>
                    <a:pt x="111" y="158"/>
                  </a:cubicBezTo>
                  <a:cubicBezTo>
                    <a:pt x="79" y="158"/>
                    <a:pt x="47" y="151"/>
                    <a:pt x="32" y="135"/>
                  </a:cubicBezTo>
                  <a:cubicBezTo>
                    <a:pt x="126" y="1178"/>
                    <a:pt x="126" y="1178"/>
                    <a:pt x="126" y="1178"/>
                  </a:cubicBezTo>
                  <a:cubicBezTo>
                    <a:pt x="126" y="1178"/>
                    <a:pt x="126" y="1257"/>
                    <a:pt x="111" y="1281"/>
                  </a:cubicBezTo>
                  <a:cubicBezTo>
                    <a:pt x="103" y="1297"/>
                    <a:pt x="79" y="1336"/>
                    <a:pt x="95" y="1360"/>
                  </a:cubicBezTo>
                  <a:cubicBezTo>
                    <a:pt x="119" y="1392"/>
                    <a:pt x="134" y="1368"/>
                    <a:pt x="134" y="1423"/>
                  </a:cubicBezTo>
                  <a:cubicBezTo>
                    <a:pt x="134" y="1471"/>
                    <a:pt x="134" y="1494"/>
                    <a:pt x="150" y="1502"/>
                  </a:cubicBezTo>
                  <a:cubicBezTo>
                    <a:pt x="166" y="1510"/>
                    <a:pt x="182" y="1566"/>
                    <a:pt x="158" y="1581"/>
                  </a:cubicBezTo>
                  <a:cubicBezTo>
                    <a:pt x="134" y="1597"/>
                    <a:pt x="119" y="1613"/>
                    <a:pt x="119" y="1637"/>
                  </a:cubicBezTo>
                  <a:cubicBezTo>
                    <a:pt x="119" y="1653"/>
                    <a:pt x="63" y="1763"/>
                    <a:pt x="39" y="1771"/>
                  </a:cubicBezTo>
                  <a:cubicBezTo>
                    <a:pt x="16" y="1779"/>
                    <a:pt x="24" y="1818"/>
                    <a:pt x="24" y="1833"/>
                  </a:cubicBezTo>
                  <a:cubicBezTo>
                    <a:pt x="32" y="1841"/>
                    <a:pt x="24" y="1873"/>
                    <a:pt x="16" y="1889"/>
                  </a:cubicBezTo>
                  <a:cubicBezTo>
                    <a:pt x="0" y="1913"/>
                    <a:pt x="0" y="1928"/>
                    <a:pt x="0" y="1960"/>
                  </a:cubicBezTo>
                  <a:cubicBezTo>
                    <a:pt x="0" y="1984"/>
                    <a:pt x="8" y="1999"/>
                    <a:pt x="16" y="2007"/>
                  </a:cubicBezTo>
                  <a:cubicBezTo>
                    <a:pt x="24" y="2007"/>
                    <a:pt x="39" y="2007"/>
                    <a:pt x="47" y="2007"/>
                  </a:cubicBezTo>
                  <a:cubicBezTo>
                    <a:pt x="71" y="2007"/>
                    <a:pt x="79" y="1999"/>
                    <a:pt x="79" y="1984"/>
                  </a:cubicBezTo>
                  <a:cubicBezTo>
                    <a:pt x="79" y="1976"/>
                    <a:pt x="95" y="1960"/>
                    <a:pt x="111" y="1960"/>
                  </a:cubicBezTo>
                  <a:cubicBezTo>
                    <a:pt x="126" y="1960"/>
                    <a:pt x="174" y="1984"/>
                    <a:pt x="174" y="1968"/>
                  </a:cubicBezTo>
                  <a:cubicBezTo>
                    <a:pt x="166" y="1952"/>
                    <a:pt x="174" y="1944"/>
                    <a:pt x="190" y="1936"/>
                  </a:cubicBezTo>
                  <a:cubicBezTo>
                    <a:pt x="206" y="1920"/>
                    <a:pt x="229" y="1913"/>
                    <a:pt x="245" y="1913"/>
                  </a:cubicBezTo>
                  <a:cubicBezTo>
                    <a:pt x="261" y="1920"/>
                    <a:pt x="261" y="1936"/>
                    <a:pt x="284" y="1936"/>
                  </a:cubicBezTo>
                  <a:cubicBezTo>
                    <a:pt x="300" y="1944"/>
                    <a:pt x="300" y="1936"/>
                    <a:pt x="316" y="1952"/>
                  </a:cubicBezTo>
                  <a:cubicBezTo>
                    <a:pt x="332" y="1968"/>
                    <a:pt x="340" y="1976"/>
                    <a:pt x="348" y="1968"/>
                  </a:cubicBezTo>
                  <a:cubicBezTo>
                    <a:pt x="356" y="1968"/>
                    <a:pt x="364" y="1952"/>
                    <a:pt x="356" y="1936"/>
                  </a:cubicBezTo>
                  <a:cubicBezTo>
                    <a:pt x="356" y="1920"/>
                    <a:pt x="364" y="1904"/>
                    <a:pt x="372" y="1913"/>
                  </a:cubicBezTo>
                  <a:cubicBezTo>
                    <a:pt x="387" y="1913"/>
                    <a:pt x="395" y="1904"/>
                    <a:pt x="395" y="1897"/>
                  </a:cubicBezTo>
                  <a:cubicBezTo>
                    <a:pt x="403" y="1889"/>
                    <a:pt x="419" y="1881"/>
                    <a:pt x="427" y="1881"/>
                  </a:cubicBezTo>
                  <a:cubicBezTo>
                    <a:pt x="435" y="1881"/>
                    <a:pt x="443" y="1865"/>
                    <a:pt x="450" y="1857"/>
                  </a:cubicBezTo>
                  <a:cubicBezTo>
                    <a:pt x="459" y="1857"/>
                    <a:pt x="459" y="1865"/>
                    <a:pt x="466" y="1873"/>
                  </a:cubicBezTo>
                  <a:cubicBezTo>
                    <a:pt x="466" y="1881"/>
                    <a:pt x="498" y="1897"/>
                    <a:pt x="498" y="1897"/>
                  </a:cubicBezTo>
                  <a:cubicBezTo>
                    <a:pt x="506" y="1920"/>
                    <a:pt x="506" y="1920"/>
                    <a:pt x="506" y="1920"/>
                  </a:cubicBezTo>
                  <a:cubicBezTo>
                    <a:pt x="506" y="1920"/>
                    <a:pt x="530" y="1928"/>
                    <a:pt x="530" y="1920"/>
                  </a:cubicBezTo>
                  <a:cubicBezTo>
                    <a:pt x="537" y="1913"/>
                    <a:pt x="530" y="1889"/>
                    <a:pt x="530" y="1881"/>
                  </a:cubicBezTo>
                  <a:cubicBezTo>
                    <a:pt x="530" y="1873"/>
                    <a:pt x="530" y="1865"/>
                    <a:pt x="545" y="1857"/>
                  </a:cubicBezTo>
                  <a:cubicBezTo>
                    <a:pt x="561" y="1849"/>
                    <a:pt x="561" y="1849"/>
                    <a:pt x="561" y="1833"/>
                  </a:cubicBezTo>
                  <a:cubicBezTo>
                    <a:pt x="569" y="1810"/>
                    <a:pt x="585" y="1810"/>
                    <a:pt x="593" y="1802"/>
                  </a:cubicBezTo>
                  <a:cubicBezTo>
                    <a:pt x="609" y="1787"/>
                    <a:pt x="617" y="1763"/>
                    <a:pt x="624" y="1763"/>
                  </a:cubicBezTo>
                  <a:cubicBezTo>
                    <a:pt x="632" y="1763"/>
                    <a:pt x="640" y="1787"/>
                    <a:pt x="656" y="1794"/>
                  </a:cubicBezTo>
                  <a:cubicBezTo>
                    <a:pt x="672" y="1810"/>
                    <a:pt x="688" y="1810"/>
                    <a:pt x="703" y="1818"/>
                  </a:cubicBezTo>
                  <a:cubicBezTo>
                    <a:pt x="712" y="1818"/>
                    <a:pt x="712" y="1833"/>
                    <a:pt x="735" y="1826"/>
                  </a:cubicBezTo>
                  <a:cubicBezTo>
                    <a:pt x="759" y="1818"/>
                    <a:pt x="775" y="1826"/>
                    <a:pt x="775" y="1802"/>
                  </a:cubicBezTo>
                  <a:cubicBezTo>
                    <a:pt x="767" y="1779"/>
                    <a:pt x="806" y="1676"/>
                    <a:pt x="822" y="1676"/>
                  </a:cubicBezTo>
                  <a:cubicBezTo>
                    <a:pt x="838" y="1684"/>
                    <a:pt x="862" y="1653"/>
                    <a:pt x="862" y="1637"/>
                  </a:cubicBezTo>
                  <a:cubicBezTo>
                    <a:pt x="862" y="1613"/>
                    <a:pt x="862" y="1597"/>
                    <a:pt x="877" y="1589"/>
                  </a:cubicBezTo>
                  <a:cubicBezTo>
                    <a:pt x="893" y="1589"/>
                    <a:pt x="893" y="1597"/>
                    <a:pt x="909" y="1574"/>
                  </a:cubicBezTo>
                  <a:cubicBezTo>
                    <a:pt x="917" y="1558"/>
                    <a:pt x="949" y="1566"/>
                    <a:pt x="941" y="1534"/>
                  </a:cubicBezTo>
                  <a:cubicBezTo>
                    <a:pt x="925" y="1502"/>
                    <a:pt x="917" y="1510"/>
                    <a:pt x="925" y="1479"/>
                  </a:cubicBezTo>
                  <a:cubicBezTo>
                    <a:pt x="925" y="1439"/>
                    <a:pt x="956" y="1423"/>
                    <a:pt x="964" y="1439"/>
                  </a:cubicBezTo>
                  <a:cubicBezTo>
                    <a:pt x="980" y="1447"/>
                    <a:pt x="1004" y="1487"/>
                    <a:pt x="1020" y="1471"/>
                  </a:cubicBezTo>
                  <a:cubicBezTo>
                    <a:pt x="1043" y="1447"/>
                    <a:pt x="1012" y="1423"/>
                    <a:pt x="1051" y="1415"/>
                  </a:cubicBezTo>
                  <a:cubicBezTo>
                    <a:pt x="1099" y="1408"/>
                    <a:pt x="1130" y="1415"/>
                    <a:pt x="1130" y="1400"/>
                  </a:cubicBezTo>
                  <a:cubicBezTo>
                    <a:pt x="1130" y="1392"/>
                    <a:pt x="1138" y="1368"/>
                    <a:pt x="1123" y="1344"/>
                  </a:cubicBezTo>
                  <a:cubicBezTo>
                    <a:pt x="1107" y="1328"/>
                    <a:pt x="1099" y="1321"/>
                    <a:pt x="1107" y="1297"/>
                  </a:cubicBezTo>
                  <a:cubicBezTo>
                    <a:pt x="1107" y="1281"/>
                    <a:pt x="1115" y="1257"/>
                    <a:pt x="1123" y="1250"/>
                  </a:cubicBezTo>
                  <a:cubicBezTo>
                    <a:pt x="972" y="32"/>
                    <a:pt x="972" y="32"/>
                    <a:pt x="972" y="32"/>
                  </a:cubicBezTo>
                  <a:cubicBezTo>
                    <a:pt x="949" y="0"/>
                    <a:pt x="933" y="8"/>
                    <a:pt x="933" y="8"/>
                  </a:cubicBezTo>
                </a:path>
              </a:pathLst>
            </a:custGeom>
            <a:solidFill>
              <a:schemeClr val="accent6"/>
            </a:solidFill>
            <a:ln>
              <a:solidFill>
                <a:schemeClr val="bg2"/>
              </a:solidFill>
            </a:ln>
            <a:effectLst/>
          </p:spPr>
          <p:txBody>
            <a:bodyPr wrap="none" anchor="ctr"/>
            <a:lstStyle/>
            <a:p>
              <a:endParaRPr lang="en-US"/>
            </a:p>
          </p:txBody>
        </p:sp>
        <p:sp>
          <p:nvSpPr>
            <p:cNvPr id="114" name="Freeform 784"/>
            <p:cNvSpPr>
              <a:spLocks noChangeArrowheads="1"/>
            </p:cNvSpPr>
            <p:nvPr/>
          </p:nvSpPr>
          <p:spPr bwMode="auto">
            <a:xfrm>
              <a:off x="5297195" y="3059227"/>
              <a:ext cx="410283" cy="629341"/>
            </a:xfrm>
            <a:custGeom>
              <a:avLst/>
              <a:gdLst>
                <a:gd name="T0" fmla="*/ 8 w 1139"/>
                <a:gd name="T1" fmla="*/ 1999 h 2016"/>
                <a:gd name="T2" fmla="*/ 24 w 1139"/>
                <a:gd name="T3" fmla="*/ 1826 h 2016"/>
                <a:gd name="T4" fmla="*/ 166 w 1139"/>
                <a:gd name="T5" fmla="*/ 1550 h 2016"/>
                <a:gd name="T6" fmla="*/ 119 w 1139"/>
                <a:gd name="T7" fmla="*/ 1384 h 2016"/>
                <a:gd name="T8" fmla="*/ 24 w 1139"/>
                <a:gd name="T9" fmla="*/ 127 h 2016"/>
                <a:gd name="T10" fmla="*/ 261 w 1139"/>
                <a:gd name="T11" fmla="*/ 80 h 2016"/>
                <a:gd name="T12" fmla="*/ 972 w 1139"/>
                <a:gd name="T13" fmla="*/ 24 h 2016"/>
                <a:gd name="T14" fmla="*/ 1115 w 1139"/>
                <a:gd name="T15" fmla="*/ 1281 h 2016"/>
                <a:gd name="T16" fmla="*/ 1130 w 1139"/>
                <a:gd name="T17" fmla="*/ 1400 h 2016"/>
                <a:gd name="T18" fmla="*/ 1028 w 1139"/>
                <a:gd name="T19" fmla="*/ 1471 h 2016"/>
                <a:gd name="T20" fmla="*/ 956 w 1139"/>
                <a:gd name="T21" fmla="*/ 1439 h 2016"/>
                <a:gd name="T22" fmla="*/ 925 w 1139"/>
                <a:gd name="T23" fmla="*/ 1566 h 2016"/>
                <a:gd name="T24" fmla="*/ 862 w 1139"/>
                <a:gd name="T25" fmla="*/ 1637 h 2016"/>
                <a:gd name="T26" fmla="*/ 775 w 1139"/>
                <a:gd name="T27" fmla="*/ 1818 h 2016"/>
                <a:gd name="T28" fmla="*/ 703 w 1139"/>
                <a:gd name="T29" fmla="*/ 1826 h 2016"/>
                <a:gd name="T30" fmla="*/ 640 w 1139"/>
                <a:gd name="T31" fmla="*/ 1779 h 2016"/>
                <a:gd name="T32" fmla="*/ 601 w 1139"/>
                <a:gd name="T33" fmla="*/ 1802 h 2016"/>
                <a:gd name="T34" fmla="*/ 553 w 1139"/>
                <a:gd name="T35" fmla="*/ 1857 h 2016"/>
                <a:gd name="T36" fmla="*/ 537 w 1139"/>
                <a:gd name="T37" fmla="*/ 1928 h 2016"/>
                <a:gd name="T38" fmla="*/ 490 w 1139"/>
                <a:gd name="T39" fmla="*/ 1897 h 2016"/>
                <a:gd name="T40" fmla="*/ 443 w 1139"/>
                <a:gd name="T41" fmla="*/ 1873 h 2016"/>
                <a:gd name="T42" fmla="*/ 379 w 1139"/>
                <a:gd name="T43" fmla="*/ 1913 h 2016"/>
                <a:gd name="T44" fmla="*/ 348 w 1139"/>
                <a:gd name="T45" fmla="*/ 1976 h 2016"/>
                <a:gd name="T46" fmla="*/ 277 w 1139"/>
                <a:gd name="T47" fmla="*/ 1944 h 2016"/>
                <a:gd name="T48" fmla="*/ 190 w 1139"/>
                <a:gd name="T49" fmla="*/ 1936 h 2016"/>
                <a:gd name="T50" fmla="*/ 134 w 1139"/>
                <a:gd name="T51" fmla="*/ 1968 h 2016"/>
                <a:gd name="T52" fmla="*/ 47 w 1139"/>
                <a:gd name="T53" fmla="*/ 2007 h 2016"/>
                <a:gd name="T54" fmla="*/ 32 w 1139"/>
                <a:gd name="T55" fmla="*/ 143 h 2016"/>
                <a:gd name="T56" fmla="*/ 119 w 1139"/>
                <a:gd name="T57" fmla="*/ 1376 h 2016"/>
                <a:gd name="T58" fmla="*/ 174 w 1139"/>
                <a:gd name="T59" fmla="*/ 1550 h 2016"/>
                <a:gd name="T60" fmla="*/ 32 w 1139"/>
                <a:gd name="T61" fmla="*/ 1826 h 2016"/>
                <a:gd name="T62" fmla="*/ 16 w 1139"/>
                <a:gd name="T63" fmla="*/ 1999 h 2016"/>
                <a:gd name="T64" fmla="*/ 71 w 1139"/>
                <a:gd name="T65" fmla="*/ 1984 h 2016"/>
                <a:gd name="T66" fmla="*/ 166 w 1139"/>
                <a:gd name="T67" fmla="*/ 1976 h 2016"/>
                <a:gd name="T68" fmla="*/ 245 w 1139"/>
                <a:gd name="T69" fmla="*/ 1913 h 2016"/>
                <a:gd name="T70" fmla="*/ 292 w 1139"/>
                <a:gd name="T71" fmla="*/ 1936 h 2016"/>
                <a:gd name="T72" fmla="*/ 356 w 1139"/>
                <a:gd name="T73" fmla="*/ 1913 h 2016"/>
                <a:gd name="T74" fmla="*/ 427 w 1139"/>
                <a:gd name="T75" fmla="*/ 1873 h 2016"/>
                <a:gd name="T76" fmla="*/ 466 w 1139"/>
                <a:gd name="T77" fmla="*/ 1865 h 2016"/>
                <a:gd name="T78" fmla="*/ 506 w 1139"/>
                <a:gd name="T79" fmla="*/ 1913 h 2016"/>
                <a:gd name="T80" fmla="*/ 530 w 1139"/>
                <a:gd name="T81" fmla="*/ 1881 h 2016"/>
                <a:gd name="T82" fmla="*/ 561 w 1139"/>
                <a:gd name="T83" fmla="*/ 1833 h 2016"/>
                <a:gd name="T84" fmla="*/ 624 w 1139"/>
                <a:gd name="T85" fmla="*/ 1763 h 2016"/>
                <a:gd name="T86" fmla="*/ 696 w 1139"/>
                <a:gd name="T87" fmla="*/ 1810 h 2016"/>
                <a:gd name="T88" fmla="*/ 735 w 1139"/>
                <a:gd name="T89" fmla="*/ 1818 h 2016"/>
                <a:gd name="T90" fmla="*/ 806 w 1139"/>
                <a:gd name="T91" fmla="*/ 1684 h 2016"/>
                <a:gd name="T92" fmla="*/ 885 w 1139"/>
                <a:gd name="T93" fmla="*/ 1589 h 2016"/>
                <a:gd name="T94" fmla="*/ 925 w 1139"/>
                <a:gd name="T95" fmla="*/ 1518 h 2016"/>
                <a:gd name="T96" fmla="*/ 980 w 1139"/>
                <a:gd name="T97" fmla="*/ 1439 h 2016"/>
                <a:gd name="T98" fmla="*/ 1051 w 1139"/>
                <a:gd name="T99" fmla="*/ 1408 h 2016"/>
                <a:gd name="T100" fmla="*/ 1115 w 1139"/>
                <a:gd name="T101" fmla="*/ 1336 h 2016"/>
                <a:gd name="T102" fmla="*/ 964 w 1139"/>
                <a:gd name="T103" fmla="*/ 32 h 2016"/>
                <a:gd name="T104" fmla="*/ 111 w 1139"/>
                <a:gd name="T105" fmla="*/ 166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39" h="2016">
                  <a:moveTo>
                    <a:pt x="8" y="2015"/>
                  </a:moveTo>
                  <a:lnTo>
                    <a:pt x="8" y="2015"/>
                  </a:lnTo>
                  <a:cubicBezTo>
                    <a:pt x="8" y="2007"/>
                    <a:pt x="8" y="2007"/>
                    <a:pt x="8" y="2007"/>
                  </a:cubicBezTo>
                  <a:lnTo>
                    <a:pt x="8" y="1999"/>
                  </a:lnTo>
                  <a:cubicBezTo>
                    <a:pt x="0" y="1991"/>
                    <a:pt x="0" y="1976"/>
                    <a:pt x="0" y="1960"/>
                  </a:cubicBezTo>
                  <a:cubicBezTo>
                    <a:pt x="0" y="1928"/>
                    <a:pt x="0" y="1913"/>
                    <a:pt x="8" y="1889"/>
                  </a:cubicBezTo>
                  <a:cubicBezTo>
                    <a:pt x="24" y="1873"/>
                    <a:pt x="24" y="1841"/>
                    <a:pt x="24" y="1833"/>
                  </a:cubicBezTo>
                  <a:lnTo>
                    <a:pt x="24" y="1826"/>
                  </a:lnTo>
                  <a:cubicBezTo>
                    <a:pt x="16" y="1810"/>
                    <a:pt x="8" y="1771"/>
                    <a:pt x="39" y="1763"/>
                  </a:cubicBezTo>
                  <a:cubicBezTo>
                    <a:pt x="63" y="1755"/>
                    <a:pt x="119" y="1653"/>
                    <a:pt x="119" y="1637"/>
                  </a:cubicBezTo>
                  <a:cubicBezTo>
                    <a:pt x="119" y="1613"/>
                    <a:pt x="134" y="1589"/>
                    <a:pt x="158" y="1574"/>
                  </a:cubicBezTo>
                  <a:cubicBezTo>
                    <a:pt x="166" y="1574"/>
                    <a:pt x="166" y="1558"/>
                    <a:pt x="166" y="1550"/>
                  </a:cubicBezTo>
                  <a:cubicBezTo>
                    <a:pt x="166" y="1534"/>
                    <a:pt x="158" y="1510"/>
                    <a:pt x="150" y="1502"/>
                  </a:cubicBezTo>
                  <a:cubicBezTo>
                    <a:pt x="134" y="1494"/>
                    <a:pt x="134" y="1479"/>
                    <a:pt x="134" y="1431"/>
                  </a:cubicBezTo>
                  <a:cubicBezTo>
                    <a:pt x="134" y="1423"/>
                    <a:pt x="134" y="1423"/>
                    <a:pt x="134" y="1423"/>
                  </a:cubicBezTo>
                  <a:cubicBezTo>
                    <a:pt x="134" y="1392"/>
                    <a:pt x="126" y="1392"/>
                    <a:pt x="119" y="1384"/>
                  </a:cubicBezTo>
                  <a:cubicBezTo>
                    <a:pt x="111" y="1384"/>
                    <a:pt x="103" y="1376"/>
                    <a:pt x="95" y="1368"/>
                  </a:cubicBezTo>
                  <a:cubicBezTo>
                    <a:pt x="79" y="1336"/>
                    <a:pt x="95" y="1297"/>
                    <a:pt x="111" y="1273"/>
                  </a:cubicBezTo>
                  <a:cubicBezTo>
                    <a:pt x="119" y="1265"/>
                    <a:pt x="126" y="1202"/>
                    <a:pt x="126" y="1178"/>
                  </a:cubicBezTo>
                  <a:cubicBezTo>
                    <a:pt x="24" y="127"/>
                    <a:pt x="24" y="127"/>
                    <a:pt x="24" y="127"/>
                  </a:cubicBezTo>
                  <a:cubicBezTo>
                    <a:pt x="32" y="135"/>
                    <a:pt x="32" y="135"/>
                    <a:pt x="32" y="135"/>
                  </a:cubicBezTo>
                  <a:cubicBezTo>
                    <a:pt x="47" y="151"/>
                    <a:pt x="79" y="158"/>
                    <a:pt x="111" y="158"/>
                  </a:cubicBezTo>
                  <a:cubicBezTo>
                    <a:pt x="166" y="158"/>
                    <a:pt x="229" y="111"/>
                    <a:pt x="261" y="87"/>
                  </a:cubicBezTo>
                  <a:cubicBezTo>
                    <a:pt x="261" y="80"/>
                    <a:pt x="261" y="80"/>
                    <a:pt x="261" y="80"/>
                  </a:cubicBezTo>
                  <a:lnTo>
                    <a:pt x="261" y="80"/>
                  </a:lnTo>
                  <a:cubicBezTo>
                    <a:pt x="933" y="0"/>
                    <a:pt x="933" y="0"/>
                    <a:pt x="933" y="0"/>
                  </a:cubicBezTo>
                  <a:cubicBezTo>
                    <a:pt x="933" y="0"/>
                    <a:pt x="949" y="0"/>
                    <a:pt x="972" y="24"/>
                  </a:cubicBezTo>
                  <a:lnTo>
                    <a:pt x="972" y="24"/>
                  </a:lnTo>
                  <a:cubicBezTo>
                    <a:pt x="972" y="32"/>
                    <a:pt x="972" y="32"/>
                    <a:pt x="972" y="32"/>
                  </a:cubicBezTo>
                  <a:cubicBezTo>
                    <a:pt x="1123" y="1250"/>
                    <a:pt x="1123" y="1250"/>
                    <a:pt x="1123" y="1250"/>
                  </a:cubicBezTo>
                  <a:lnTo>
                    <a:pt x="1123" y="1250"/>
                  </a:lnTo>
                  <a:cubicBezTo>
                    <a:pt x="1115" y="1257"/>
                    <a:pt x="1115" y="1265"/>
                    <a:pt x="1115" y="1281"/>
                  </a:cubicBezTo>
                  <a:cubicBezTo>
                    <a:pt x="1115" y="1289"/>
                    <a:pt x="1107" y="1289"/>
                    <a:pt x="1107" y="1297"/>
                  </a:cubicBezTo>
                  <a:cubicBezTo>
                    <a:pt x="1107" y="1313"/>
                    <a:pt x="1107" y="1321"/>
                    <a:pt x="1115" y="1336"/>
                  </a:cubicBezTo>
                  <a:cubicBezTo>
                    <a:pt x="1123" y="1336"/>
                    <a:pt x="1123" y="1336"/>
                    <a:pt x="1123" y="1344"/>
                  </a:cubicBezTo>
                  <a:cubicBezTo>
                    <a:pt x="1138" y="1368"/>
                    <a:pt x="1138" y="1392"/>
                    <a:pt x="1130" y="1400"/>
                  </a:cubicBezTo>
                  <a:cubicBezTo>
                    <a:pt x="1130" y="1415"/>
                    <a:pt x="1115" y="1415"/>
                    <a:pt x="1099" y="1415"/>
                  </a:cubicBezTo>
                  <a:cubicBezTo>
                    <a:pt x="1083" y="1415"/>
                    <a:pt x="1067" y="1415"/>
                    <a:pt x="1051" y="1415"/>
                  </a:cubicBezTo>
                  <a:cubicBezTo>
                    <a:pt x="1028" y="1423"/>
                    <a:pt x="1036" y="1431"/>
                    <a:pt x="1036" y="1439"/>
                  </a:cubicBezTo>
                  <a:cubicBezTo>
                    <a:pt x="1036" y="1447"/>
                    <a:pt x="1036" y="1463"/>
                    <a:pt x="1028" y="1471"/>
                  </a:cubicBezTo>
                  <a:cubicBezTo>
                    <a:pt x="1020" y="1471"/>
                    <a:pt x="1020" y="1479"/>
                    <a:pt x="1012" y="1479"/>
                  </a:cubicBezTo>
                  <a:cubicBezTo>
                    <a:pt x="996" y="1479"/>
                    <a:pt x="980" y="1463"/>
                    <a:pt x="972" y="1447"/>
                  </a:cubicBezTo>
                  <a:lnTo>
                    <a:pt x="964" y="1439"/>
                  </a:lnTo>
                  <a:lnTo>
                    <a:pt x="956" y="1439"/>
                  </a:lnTo>
                  <a:cubicBezTo>
                    <a:pt x="941" y="1439"/>
                    <a:pt x="925" y="1455"/>
                    <a:pt x="925" y="1479"/>
                  </a:cubicBezTo>
                  <a:cubicBezTo>
                    <a:pt x="925" y="1494"/>
                    <a:pt x="925" y="1502"/>
                    <a:pt x="933" y="1510"/>
                  </a:cubicBezTo>
                  <a:cubicBezTo>
                    <a:pt x="933" y="1518"/>
                    <a:pt x="933" y="1526"/>
                    <a:pt x="941" y="1534"/>
                  </a:cubicBezTo>
                  <a:cubicBezTo>
                    <a:pt x="949" y="1558"/>
                    <a:pt x="941" y="1558"/>
                    <a:pt x="925" y="1566"/>
                  </a:cubicBezTo>
                  <a:cubicBezTo>
                    <a:pt x="917" y="1566"/>
                    <a:pt x="917" y="1574"/>
                    <a:pt x="909" y="1581"/>
                  </a:cubicBezTo>
                  <a:cubicBezTo>
                    <a:pt x="901" y="1589"/>
                    <a:pt x="901" y="1597"/>
                    <a:pt x="885" y="1597"/>
                  </a:cubicBezTo>
                  <a:cubicBezTo>
                    <a:pt x="885" y="1597"/>
                    <a:pt x="885" y="1597"/>
                    <a:pt x="877" y="1597"/>
                  </a:cubicBezTo>
                  <a:cubicBezTo>
                    <a:pt x="870" y="1597"/>
                    <a:pt x="862" y="1613"/>
                    <a:pt x="862" y="1637"/>
                  </a:cubicBezTo>
                  <a:cubicBezTo>
                    <a:pt x="862" y="1653"/>
                    <a:pt x="846" y="1684"/>
                    <a:pt x="822" y="1684"/>
                  </a:cubicBezTo>
                  <a:cubicBezTo>
                    <a:pt x="822" y="1684"/>
                    <a:pt x="822" y="1684"/>
                    <a:pt x="814" y="1692"/>
                  </a:cubicBezTo>
                  <a:cubicBezTo>
                    <a:pt x="790" y="1716"/>
                    <a:pt x="767" y="1779"/>
                    <a:pt x="775" y="1802"/>
                  </a:cubicBezTo>
                  <a:cubicBezTo>
                    <a:pt x="775" y="1810"/>
                    <a:pt x="775" y="1810"/>
                    <a:pt x="775" y="1818"/>
                  </a:cubicBezTo>
                  <a:cubicBezTo>
                    <a:pt x="767" y="1818"/>
                    <a:pt x="759" y="1826"/>
                    <a:pt x="751" y="1826"/>
                  </a:cubicBezTo>
                  <a:cubicBezTo>
                    <a:pt x="751" y="1826"/>
                    <a:pt x="743" y="1826"/>
                    <a:pt x="735" y="1826"/>
                  </a:cubicBezTo>
                  <a:cubicBezTo>
                    <a:pt x="727" y="1833"/>
                    <a:pt x="727" y="1833"/>
                    <a:pt x="719" y="1833"/>
                  </a:cubicBezTo>
                  <a:cubicBezTo>
                    <a:pt x="712" y="1833"/>
                    <a:pt x="712" y="1826"/>
                    <a:pt x="703" y="1826"/>
                  </a:cubicBezTo>
                  <a:cubicBezTo>
                    <a:pt x="703" y="1818"/>
                    <a:pt x="703" y="1818"/>
                    <a:pt x="696" y="1818"/>
                  </a:cubicBezTo>
                  <a:cubicBezTo>
                    <a:pt x="696" y="1818"/>
                    <a:pt x="696" y="1818"/>
                    <a:pt x="688" y="1818"/>
                  </a:cubicBezTo>
                  <a:cubicBezTo>
                    <a:pt x="680" y="1810"/>
                    <a:pt x="664" y="1810"/>
                    <a:pt x="656" y="1802"/>
                  </a:cubicBezTo>
                  <a:cubicBezTo>
                    <a:pt x="648" y="1794"/>
                    <a:pt x="640" y="1787"/>
                    <a:pt x="640" y="1779"/>
                  </a:cubicBezTo>
                  <a:cubicBezTo>
                    <a:pt x="632" y="1779"/>
                    <a:pt x="632" y="1771"/>
                    <a:pt x="624" y="1771"/>
                  </a:cubicBezTo>
                  <a:lnTo>
                    <a:pt x="624" y="1771"/>
                  </a:lnTo>
                  <a:cubicBezTo>
                    <a:pt x="617" y="1771"/>
                    <a:pt x="617" y="1779"/>
                    <a:pt x="617" y="1779"/>
                  </a:cubicBezTo>
                  <a:cubicBezTo>
                    <a:pt x="609" y="1787"/>
                    <a:pt x="601" y="1794"/>
                    <a:pt x="601" y="1802"/>
                  </a:cubicBezTo>
                  <a:cubicBezTo>
                    <a:pt x="593" y="1802"/>
                    <a:pt x="593" y="1810"/>
                    <a:pt x="585" y="1810"/>
                  </a:cubicBezTo>
                  <a:cubicBezTo>
                    <a:pt x="577" y="1810"/>
                    <a:pt x="569" y="1818"/>
                    <a:pt x="569" y="1833"/>
                  </a:cubicBezTo>
                  <a:lnTo>
                    <a:pt x="569" y="1833"/>
                  </a:lnTo>
                  <a:cubicBezTo>
                    <a:pt x="561" y="1849"/>
                    <a:pt x="561" y="1857"/>
                    <a:pt x="553" y="1857"/>
                  </a:cubicBezTo>
                  <a:cubicBezTo>
                    <a:pt x="545" y="1865"/>
                    <a:pt x="545" y="1865"/>
                    <a:pt x="545" y="1865"/>
                  </a:cubicBezTo>
                  <a:cubicBezTo>
                    <a:pt x="537" y="1865"/>
                    <a:pt x="537" y="1873"/>
                    <a:pt x="537" y="1881"/>
                  </a:cubicBezTo>
                  <a:lnTo>
                    <a:pt x="537" y="1889"/>
                  </a:lnTo>
                  <a:cubicBezTo>
                    <a:pt x="537" y="1904"/>
                    <a:pt x="537" y="1920"/>
                    <a:pt x="537" y="1928"/>
                  </a:cubicBezTo>
                  <a:cubicBezTo>
                    <a:pt x="530" y="1928"/>
                    <a:pt x="530" y="1928"/>
                    <a:pt x="522" y="1928"/>
                  </a:cubicBezTo>
                  <a:cubicBezTo>
                    <a:pt x="514" y="1928"/>
                    <a:pt x="506" y="1920"/>
                    <a:pt x="506" y="1920"/>
                  </a:cubicBezTo>
                  <a:lnTo>
                    <a:pt x="506" y="1920"/>
                  </a:lnTo>
                  <a:cubicBezTo>
                    <a:pt x="490" y="1897"/>
                    <a:pt x="490" y="1897"/>
                    <a:pt x="490" y="1897"/>
                  </a:cubicBezTo>
                  <a:cubicBezTo>
                    <a:pt x="482" y="1889"/>
                    <a:pt x="466" y="1881"/>
                    <a:pt x="459" y="1873"/>
                  </a:cubicBezTo>
                  <a:lnTo>
                    <a:pt x="459" y="1873"/>
                  </a:lnTo>
                  <a:cubicBezTo>
                    <a:pt x="459" y="1865"/>
                    <a:pt x="450" y="1865"/>
                    <a:pt x="450" y="1865"/>
                  </a:cubicBezTo>
                  <a:cubicBezTo>
                    <a:pt x="443" y="1865"/>
                    <a:pt x="443" y="1865"/>
                    <a:pt x="443" y="1873"/>
                  </a:cubicBezTo>
                  <a:cubicBezTo>
                    <a:pt x="435" y="1881"/>
                    <a:pt x="435" y="1881"/>
                    <a:pt x="427" y="1881"/>
                  </a:cubicBezTo>
                  <a:cubicBezTo>
                    <a:pt x="419" y="1881"/>
                    <a:pt x="403" y="1889"/>
                    <a:pt x="403" y="1897"/>
                  </a:cubicBezTo>
                  <a:lnTo>
                    <a:pt x="403" y="1897"/>
                  </a:lnTo>
                  <a:cubicBezTo>
                    <a:pt x="395" y="1904"/>
                    <a:pt x="395" y="1913"/>
                    <a:pt x="379" y="1913"/>
                  </a:cubicBezTo>
                  <a:cubicBezTo>
                    <a:pt x="379" y="1913"/>
                    <a:pt x="379" y="1913"/>
                    <a:pt x="372" y="1913"/>
                  </a:cubicBezTo>
                  <a:lnTo>
                    <a:pt x="364" y="1913"/>
                  </a:lnTo>
                  <a:cubicBezTo>
                    <a:pt x="364" y="1920"/>
                    <a:pt x="364" y="1928"/>
                    <a:pt x="364" y="1936"/>
                  </a:cubicBezTo>
                  <a:cubicBezTo>
                    <a:pt x="364" y="1952"/>
                    <a:pt x="364" y="1976"/>
                    <a:pt x="348" y="1976"/>
                  </a:cubicBezTo>
                  <a:cubicBezTo>
                    <a:pt x="340" y="1976"/>
                    <a:pt x="324" y="1968"/>
                    <a:pt x="308" y="1952"/>
                  </a:cubicBezTo>
                  <a:cubicBezTo>
                    <a:pt x="300" y="1944"/>
                    <a:pt x="300" y="1944"/>
                    <a:pt x="292" y="1944"/>
                  </a:cubicBezTo>
                  <a:lnTo>
                    <a:pt x="292" y="1944"/>
                  </a:lnTo>
                  <a:cubicBezTo>
                    <a:pt x="292" y="1944"/>
                    <a:pt x="284" y="1944"/>
                    <a:pt x="277" y="1944"/>
                  </a:cubicBezTo>
                  <a:cubicBezTo>
                    <a:pt x="269" y="1936"/>
                    <a:pt x="261" y="1936"/>
                    <a:pt x="261" y="1928"/>
                  </a:cubicBezTo>
                  <a:cubicBezTo>
                    <a:pt x="253" y="1920"/>
                    <a:pt x="253" y="1920"/>
                    <a:pt x="245" y="1920"/>
                  </a:cubicBezTo>
                  <a:cubicBezTo>
                    <a:pt x="245" y="1920"/>
                    <a:pt x="245" y="1913"/>
                    <a:pt x="237" y="1913"/>
                  </a:cubicBezTo>
                  <a:cubicBezTo>
                    <a:pt x="229" y="1913"/>
                    <a:pt x="206" y="1928"/>
                    <a:pt x="190" y="1936"/>
                  </a:cubicBezTo>
                  <a:cubicBezTo>
                    <a:pt x="174" y="1944"/>
                    <a:pt x="174" y="1960"/>
                    <a:pt x="174" y="1968"/>
                  </a:cubicBezTo>
                  <a:cubicBezTo>
                    <a:pt x="174" y="1976"/>
                    <a:pt x="174" y="1976"/>
                    <a:pt x="174" y="1976"/>
                  </a:cubicBezTo>
                  <a:lnTo>
                    <a:pt x="166" y="1984"/>
                  </a:lnTo>
                  <a:cubicBezTo>
                    <a:pt x="158" y="1984"/>
                    <a:pt x="142" y="1976"/>
                    <a:pt x="134" y="1968"/>
                  </a:cubicBezTo>
                  <a:cubicBezTo>
                    <a:pt x="126" y="1968"/>
                    <a:pt x="111" y="1960"/>
                    <a:pt x="111" y="1960"/>
                  </a:cubicBezTo>
                  <a:cubicBezTo>
                    <a:pt x="95" y="1960"/>
                    <a:pt x="79" y="1976"/>
                    <a:pt x="79" y="1984"/>
                  </a:cubicBezTo>
                  <a:cubicBezTo>
                    <a:pt x="79" y="1999"/>
                    <a:pt x="79" y="2015"/>
                    <a:pt x="55" y="2015"/>
                  </a:cubicBezTo>
                  <a:lnTo>
                    <a:pt x="47" y="2007"/>
                  </a:lnTo>
                  <a:cubicBezTo>
                    <a:pt x="39" y="2007"/>
                    <a:pt x="32" y="2007"/>
                    <a:pt x="16" y="2015"/>
                  </a:cubicBezTo>
                  <a:lnTo>
                    <a:pt x="8" y="2015"/>
                  </a:lnTo>
                  <a:close/>
                  <a:moveTo>
                    <a:pt x="32" y="143"/>
                  </a:moveTo>
                  <a:lnTo>
                    <a:pt x="32" y="143"/>
                  </a:lnTo>
                  <a:cubicBezTo>
                    <a:pt x="134" y="1178"/>
                    <a:pt x="134" y="1178"/>
                    <a:pt x="134" y="1178"/>
                  </a:cubicBezTo>
                  <a:cubicBezTo>
                    <a:pt x="134" y="1186"/>
                    <a:pt x="126" y="1265"/>
                    <a:pt x="119" y="1281"/>
                  </a:cubicBezTo>
                  <a:cubicBezTo>
                    <a:pt x="103" y="1297"/>
                    <a:pt x="87" y="1336"/>
                    <a:pt x="103" y="1360"/>
                  </a:cubicBezTo>
                  <a:cubicBezTo>
                    <a:pt x="111" y="1368"/>
                    <a:pt x="111" y="1376"/>
                    <a:pt x="119" y="1376"/>
                  </a:cubicBezTo>
                  <a:cubicBezTo>
                    <a:pt x="134" y="1384"/>
                    <a:pt x="142" y="1392"/>
                    <a:pt x="142" y="1423"/>
                  </a:cubicBezTo>
                  <a:cubicBezTo>
                    <a:pt x="142" y="1431"/>
                    <a:pt x="142" y="1431"/>
                    <a:pt x="142" y="1431"/>
                  </a:cubicBezTo>
                  <a:cubicBezTo>
                    <a:pt x="142" y="1471"/>
                    <a:pt x="142" y="1494"/>
                    <a:pt x="158" y="1502"/>
                  </a:cubicBezTo>
                  <a:cubicBezTo>
                    <a:pt x="166" y="1502"/>
                    <a:pt x="174" y="1526"/>
                    <a:pt x="174" y="1550"/>
                  </a:cubicBezTo>
                  <a:cubicBezTo>
                    <a:pt x="174" y="1566"/>
                    <a:pt x="174" y="1574"/>
                    <a:pt x="158" y="1581"/>
                  </a:cubicBezTo>
                  <a:cubicBezTo>
                    <a:pt x="134" y="1597"/>
                    <a:pt x="126" y="1613"/>
                    <a:pt x="126" y="1637"/>
                  </a:cubicBezTo>
                  <a:cubicBezTo>
                    <a:pt x="126" y="1653"/>
                    <a:pt x="63" y="1763"/>
                    <a:pt x="39" y="1771"/>
                  </a:cubicBezTo>
                  <a:cubicBezTo>
                    <a:pt x="24" y="1779"/>
                    <a:pt x="24" y="1810"/>
                    <a:pt x="32" y="1826"/>
                  </a:cubicBezTo>
                  <a:lnTo>
                    <a:pt x="32" y="1833"/>
                  </a:lnTo>
                  <a:cubicBezTo>
                    <a:pt x="32" y="1849"/>
                    <a:pt x="32" y="1873"/>
                    <a:pt x="16" y="1897"/>
                  </a:cubicBezTo>
                  <a:cubicBezTo>
                    <a:pt x="8" y="1913"/>
                    <a:pt x="0" y="1928"/>
                    <a:pt x="8" y="1960"/>
                  </a:cubicBezTo>
                  <a:cubicBezTo>
                    <a:pt x="8" y="1976"/>
                    <a:pt x="8" y="1984"/>
                    <a:pt x="16" y="1999"/>
                  </a:cubicBezTo>
                  <a:cubicBezTo>
                    <a:pt x="16" y="1999"/>
                    <a:pt x="16" y="1999"/>
                    <a:pt x="16" y="2007"/>
                  </a:cubicBezTo>
                  <a:cubicBezTo>
                    <a:pt x="32" y="1999"/>
                    <a:pt x="39" y="1999"/>
                    <a:pt x="47" y="2007"/>
                  </a:cubicBezTo>
                  <a:lnTo>
                    <a:pt x="55" y="2007"/>
                  </a:lnTo>
                  <a:cubicBezTo>
                    <a:pt x="71" y="2007"/>
                    <a:pt x="71" y="1999"/>
                    <a:pt x="71" y="1984"/>
                  </a:cubicBezTo>
                  <a:cubicBezTo>
                    <a:pt x="71" y="1968"/>
                    <a:pt x="87" y="1952"/>
                    <a:pt x="111" y="1952"/>
                  </a:cubicBezTo>
                  <a:cubicBezTo>
                    <a:pt x="119" y="1960"/>
                    <a:pt x="126" y="1960"/>
                    <a:pt x="134" y="1960"/>
                  </a:cubicBezTo>
                  <a:cubicBezTo>
                    <a:pt x="142" y="1968"/>
                    <a:pt x="158" y="1976"/>
                    <a:pt x="166" y="1976"/>
                  </a:cubicBezTo>
                  <a:lnTo>
                    <a:pt x="166" y="1976"/>
                  </a:lnTo>
                  <a:cubicBezTo>
                    <a:pt x="166" y="1968"/>
                    <a:pt x="166" y="1968"/>
                    <a:pt x="166" y="1968"/>
                  </a:cubicBezTo>
                  <a:cubicBezTo>
                    <a:pt x="166" y="1952"/>
                    <a:pt x="166" y="1944"/>
                    <a:pt x="190" y="1928"/>
                  </a:cubicBezTo>
                  <a:cubicBezTo>
                    <a:pt x="206" y="1920"/>
                    <a:pt x="221" y="1913"/>
                    <a:pt x="237" y="1913"/>
                  </a:cubicBezTo>
                  <a:cubicBezTo>
                    <a:pt x="245" y="1913"/>
                    <a:pt x="245" y="1913"/>
                    <a:pt x="245" y="1913"/>
                  </a:cubicBezTo>
                  <a:cubicBezTo>
                    <a:pt x="253" y="1913"/>
                    <a:pt x="261" y="1920"/>
                    <a:pt x="261" y="1920"/>
                  </a:cubicBezTo>
                  <a:cubicBezTo>
                    <a:pt x="269" y="1928"/>
                    <a:pt x="269" y="1936"/>
                    <a:pt x="284" y="1936"/>
                  </a:cubicBezTo>
                  <a:lnTo>
                    <a:pt x="292" y="1936"/>
                  </a:lnTo>
                  <a:lnTo>
                    <a:pt x="292" y="1936"/>
                  </a:lnTo>
                  <a:cubicBezTo>
                    <a:pt x="300" y="1936"/>
                    <a:pt x="308" y="1936"/>
                    <a:pt x="316" y="1952"/>
                  </a:cubicBezTo>
                  <a:cubicBezTo>
                    <a:pt x="332" y="1960"/>
                    <a:pt x="340" y="1968"/>
                    <a:pt x="348" y="1968"/>
                  </a:cubicBezTo>
                  <a:cubicBezTo>
                    <a:pt x="356" y="1968"/>
                    <a:pt x="356" y="1952"/>
                    <a:pt x="356" y="1936"/>
                  </a:cubicBezTo>
                  <a:cubicBezTo>
                    <a:pt x="356" y="1928"/>
                    <a:pt x="356" y="1913"/>
                    <a:pt x="356" y="1913"/>
                  </a:cubicBezTo>
                  <a:cubicBezTo>
                    <a:pt x="364" y="1904"/>
                    <a:pt x="372" y="1904"/>
                    <a:pt x="379" y="1904"/>
                  </a:cubicBezTo>
                  <a:cubicBezTo>
                    <a:pt x="387" y="1904"/>
                    <a:pt x="387" y="1904"/>
                    <a:pt x="395" y="1897"/>
                  </a:cubicBezTo>
                  <a:lnTo>
                    <a:pt x="395" y="1897"/>
                  </a:lnTo>
                  <a:cubicBezTo>
                    <a:pt x="403" y="1881"/>
                    <a:pt x="419" y="1881"/>
                    <a:pt x="427" y="1873"/>
                  </a:cubicBezTo>
                  <a:cubicBezTo>
                    <a:pt x="427" y="1873"/>
                    <a:pt x="435" y="1873"/>
                    <a:pt x="435" y="1865"/>
                  </a:cubicBezTo>
                  <a:cubicBezTo>
                    <a:pt x="435" y="1865"/>
                    <a:pt x="443" y="1857"/>
                    <a:pt x="450" y="1857"/>
                  </a:cubicBezTo>
                  <a:lnTo>
                    <a:pt x="450" y="1857"/>
                  </a:lnTo>
                  <a:cubicBezTo>
                    <a:pt x="459" y="1857"/>
                    <a:pt x="459" y="1865"/>
                    <a:pt x="466" y="1865"/>
                  </a:cubicBezTo>
                  <a:lnTo>
                    <a:pt x="466" y="1873"/>
                  </a:lnTo>
                  <a:cubicBezTo>
                    <a:pt x="466" y="1873"/>
                    <a:pt x="482" y="1881"/>
                    <a:pt x="498" y="1889"/>
                  </a:cubicBezTo>
                  <a:lnTo>
                    <a:pt x="498" y="1889"/>
                  </a:lnTo>
                  <a:cubicBezTo>
                    <a:pt x="506" y="1913"/>
                    <a:pt x="506" y="1913"/>
                    <a:pt x="506" y="1913"/>
                  </a:cubicBezTo>
                  <a:cubicBezTo>
                    <a:pt x="514" y="1920"/>
                    <a:pt x="522" y="1920"/>
                    <a:pt x="522" y="1920"/>
                  </a:cubicBezTo>
                  <a:cubicBezTo>
                    <a:pt x="530" y="1920"/>
                    <a:pt x="530" y="1920"/>
                    <a:pt x="530" y="1920"/>
                  </a:cubicBezTo>
                  <a:cubicBezTo>
                    <a:pt x="530" y="1920"/>
                    <a:pt x="530" y="1897"/>
                    <a:pt x="530" y="1889"/>
                  </a:cubicBezTo>
                  <a:lnTo>
                    <a:pt x="530" y="1881"/>
                  </a:lnTo>
                  <a:cubicBezTo>
                    <a:pt x="530" y="1873"/>
                    <a:pt x="530" y="1865"/>
                    <a:pt x="545" y="1857"/>
                  </a:cubicBezTo>
                  <a:lnTo>
                    <a:pt x="545" y="1857"/>
                  </a:lnTo>
                  <a:cubicBezTo>
                    <a:pt x="553" y="1849"/>
                    <a:pt x="553" y="1849"/>
                    <a:pt x="561" y="1833"/>
                  </a:cubicBezTo>
                  <a:lnTo>
                    <a:pt x="561" y="1833"/>
                  </a:lnTo>
                  <a:cubicBezTo>
                    <a:pt x="569" y="1810"/>
                    <a:pt x="577" y="1810"/>
                    <a:pt x="585" y="1802"/>
                  </a:cubicBezTo>
                  <a:cubicBezTo>
                    <a:pt x="585" y="1802"/>
                    <a:pt x="593" y="1802"/>
                    <a:pt x="593" y="1794"/>
                  </a:cubicBezTo>
                  <a:cubicBezTo>
                    <a:pt x="601" y="1794"/>
                    <a:pt x="601" y="1787"/>
                    <a:pt x="609" y="1779"/>
                  </a:cubicBezTo>
                  <a:cubicBezTo>
                    <a:pt x="609" y="1771"/>
                    <a:pt x="617" y="1763"/>
                    <a:pt x="624" y="1763"/>
                  </a:cubicBezTo>
                  <a:lnTo>
                    <a:pt x="624" y="1763"/>
                  </a:lnTo>
                  <a:cubicBezTo>
                    <a:pt x="632" y="1763"/>
                    <a:pt x="640" y="1771"/>
                    <a:pt x="648" y="1779"/>
                  </a:cubicBezTo>
                  <a:cubicBezTo>
                    <a:pt x="648" y="1787"/>
                    <a:pt x="656" y="1787"/>
                    <a:pt x="656" y="1794"/>
                  </a:cubicBezTo>
                  <a:cubicBezTo>
                    <a:pt x="672" y="1802"/>
                    <a:pt x="680" y="1810"/>
                    <a:pt x="696" y="1810"/>
                  </a:cubicBezTo>
                  <a:cubicBezTo>
                    <a:pt x="696" y="1810"/>
                    <a:pt x="696" y="1810"/>
                    <a:pt x="703" y="1810"/>
                  </a:cubicBezTo>
                  <a:lnTo>
                    <a:pt x="712" y="1818"/>
                  </a:lnTo>
                  <a:lnTo>
                    <a:pt x="719" y="1826"/>
                  </a:lnTo>
                  <a:cubicBezTo>
                    <a:pt x="727" y="1826"/>
                    <a:pt x="727" y="1826"/>
                    <a:pt x="735" y="1818"/>
                  </a:cubicBezTo>
                  <a:cubicBezTo>
                    <a:pt x="743" y="1818"/>
                    <a:pt x="743" y="1818"/>
                    <a:pt x="751" y="1818"/>
                  </a:cubicBezTo>
                  <a:cubicBezTo>
                    <a:pt x="759" y="1818"/>
                    <a:pt x="767" y="1818"/>
                    <a:pt x="767" y="1810"/>
                  </a:cubicBezTo>
                  <a:lnTo>
                    <a:pt x="767" y="1802"/>
                  </a:lnTo>
                  <a:cubicBezTo>
                    <a:pt x="759" y="1779"/>
                    <a:pt x="790" y="1708"/>
                    <a:pt x="806" y="1684"/>
                  </a:cubicBezTo>
                  <a:cubicBezTo>
                    <a:pt x="814" y="1676"/>
                    <a:pt x="822" y="1676"/>
                    <a:pt x="822" y="1676"/>
                  </a:cubicBezTo>
                  <a:cubicBezTo>
                    <a:pt x="838" y="1676"/>
                    <a:pt x="854" y="1653"/>
                    <a:pt x="854" y="1637"/>
                  </a:cubicBezTo>
                  <a:cubicBezTo>
                    <a:pt x="854" y="1605"/>
                    <a:pt x="862" y="1589"/>
                    <a:pt x="877" y="1589"/>
                  </a:cubicBezTo>
                  <a:cubicBezTo>
                    <a:pt x="885" y="1589"/>
                    <a:pt x="885" y="1589"/>
                    <a:pt x="885" y="1589"/>
                  </a:cubicBezTo>
                  <a:cubicBezTo>
                    <a:pt x="893" y="1589"/>
                    <a:pt x="893" y="1589"/>
                    <a:pt x="901" y="1574"/>
                  </a:cubicBezTo>
                  <a:cubicBezTo>
                    <a:pt x="909" y="1566"/>
                    <a:pt x="917" y="1566"/>
                    <a:pt x="925" y="1558"/>
                  </a:cubicBezTo>
                  <a:cubicBezTo>
                    <a:pt x="933" y="1558"/>
                    <a:pt x="941" y="1550"/>
                    <a:pt x="933" y="1534"/>
                  </a:cubicBezTo>
                  <a:cubicBezTo>
                    <a:pt x="933" y="1526"/>
                    <a:pt x="925" y="1518"/>
                    <a:pt x="925" y="1518"/>
                  </a:cubicBezTo>
                  <a:cubicBezTo>
                    <a:pt x="917" y="1502"/>
                    <a:pt x="917" y="1502"/>
                    <a:pt x="917" y="1471"/>
                  </a:cubicBezTo>
                  <a:cubicBezTo>
                    <a:pt x="925" y="1447"/>
                    <a:pt x="941" y="1431"/>
                    <a:pt x="956" y="1431"/>
                  </a:cubicBezTo>
                  <a:cubicBezTo>
                    <a:pt x="964" y="1431"/>
                    <a:pt x="964" y="1431"/>
                    <a:pt x="972" y="1431"/>
                  </a:cubicBezTo>
                  <a:cubicBezTo>
                    <a:pt x="972" y="1439"/>
                    <a:pt x="972" y="1439"/>
                    <a:pt x="980" y="1439"/>
                  </a:cubicBezTo>
                  <a:cubicBezTo>
                    <a:pt x="988" y="1455"/>
                    <a:pt x="1004" y="1471"/>
                    <a:pt x="1012" y="1471"/>
                  </a:cubicBezTo>
                  <a:cubicBezTo>
                    <a:pt x="1012" y="1471"/>
                    <a:pt x="1020" y="1471"/>
                    <a:pt x="1020" y="1463"/>
                  </a:cubicBezTo>
                  <a:cubicBezTo>
                    <a:pt x="1028" y="1455"/>
                    <a:pt x="1028" y="1447"/>
                    <a:pt x="1028" y="1439"/>
                  </a:cubicBezTo>
                  <a:cubicBezTo>
                    <a:pt x="1028" y="1431"/>
                    <a:pt x="1020" y="1415"/>
                    <a:pt x="1051" y="1408"/>
                  </a:cubicBezTo>
                  <a:cubicBezTo>
                    <a:pt x="1067" y="1408"/>
                    <a:pt x="1083" y="1408"/>
                    <a:pt x="1099" y="1408"/>
                  </a:cubicBezTo>
                  <a:cubicBezTo>
                    <a:pt x="1115" y="1408"/>
                    <a:pt x="1123" y="1408"/>
                    <a:pt x="1123" y="1400"/>
                  </a:cubicBezTo>
                  <a:cubicBezTo>
                    <a:pt x="1130" y="1392"/>
                    <a:pt x="1130" y="1368"/>
                    <a:pt x="1123" y="1344"/>
                  </a:cubicBezTo>
                  <a:cubicBezTo>
                    <a:pt x="1115" y="1344"/>
                    <a:pt x="1115" y="1336"/>
                    <a:pt x="1115" y="1336"/>
                  </a:cubicBezTo>
                  <a:cubicBezTo>
                    <a:pt x="1099" y="1328"/>
                    <a:pt x="1099" y="1321"/>
                    <a:pt x="1099" y="1297"/>
                  </a:cubicBezTo>
                  <a:cubicBezTo>
                    <a:pt x="1107" y="1289"/>
                    <a:pt x="1107" y="1281"/>
                    <a:pt x="1107" y="1273"/>
                  </a:cubicBezTo>
                  <a:cubicBezTo>
                    <a:pt x="1107" y="1265"/>
                    <a:pt x="1115" y="1257"/>
                    <a:pt x="1115" y="1241"/>
                  </a:cubicBezTo>
                  <a:cubicBezTo>
                    <a:pt x="964" y="32"/>
                    <a:pt x="964" y="32"/>
                    <a:pt x="964" y="32"/>
                  </a:cubicBezTo>
                  <a:cubicBezTo>
                    <a:pt x="949" y="8"/>
                    <a:pt x="941" y="8"/>
                    <a:pt x="933" y="8"/>
                  </a:cubicBezTo>
                  <a:lnTo>
                    <a:pt x="933" y="8"/>
                  </a:lnTo>
                  <a:cubicBezTo>
                    <a:pt x="261" y="87"/>
                    <a:pt x="261" y="87"/>
                    <a:pt x="261" y="87"/>
                  </a:cubicBezTo>
                  <a:cubicBezTo>
                    <a:pt x="229" y="119"/>
                    <a:pt x="166" y="166"/>
                    <a:pt x="111" y="166"/>
                  </a:cubicBezTo>
                  <a:cubicBezTo>
                    <a:pt x="79" y="166"/>
                    <a:pt x="55" y="158"/>
                    <a:pt x="32" y="143"/>
                  </a:cubicBezTo>
                  <a:close/>
                </a:path>
              </a:pathLst>
            </a:custGeom>
            <a:solidFill>
              <a:schemeClr val="accent6"/>
            </a:solidFill>
            <a:ln>
              <a:solidFill>
                <a:schemeClr val="bg2"/>
              </a:solidFill>
            </a:ln>
            <a:effectLst/>
          </p:spPr>
          <p:txBody>
            <a:bodyPr wrap="none" anchor="ctr"/>
            <a:lstStyle/>
            <a:p>
              <a:endParaRPr lang="en-US"/>
            </a:p>
          </p:txBody>
        </p:sp>
        <p:sp>
          <p:nvSpPr>
            <p:cNvPr id="115" name="Freeform 785"/>
            <p:cNvSpPr>
              <a:spLocks noChangeArrowheads="1"/>
            </p:cNvSpPr>
            <p:nvPr/>
          </p:nvSpPr>
          <p:spPr bwMode="auto">
            <a:xfrm>
              <a:off x="5647048" y="2958697"/>
              <a:ext cx="570896" cy="563240"/>
            </a:xfrm>
            <a:custGeom>
              <a:avLst/>
              <a:gdLst>
                <a:gd name="T0" fmla="*/ 1550 w 1582"/>
                <a:gd name="T1" fmla="*/ 720 h 1804"/>
                <a:gd name="T2" fmla="*/ 1550 w 1582"/>
                <a:gd name="T3" fmla="*/ 720 h 1804"/>
                <a:gd name="T4" fmla="*/ 1542 w 1582"/>
                <a:gd name="T5" fmla="*/ 648 h 1804"/>
                <a:gd name="T6" fmla="*/ 1565 w 1582"/>
                <a:gd name="T7" fmla="*/ 641 h 1804"/>
                <a:gd name="T8" fmla="*/ 1447 w 1582"/>
                <a:gd name="T9" fmla="*/ 0 h 1804"/>
                <a:gd name="T10" fmla="*/ 1186 w 1582"/>
                <a:gd name="T11" fmla="*/ 190 h 1804"/>
                <a:gd name="T12" fmla="*/ 1052 w 1582"/>
                <a:gd name="T13" fmla="*/ 309 h 1804"/>
                <a:gd name="T14" fmla="*/ 925 w 1582"/>
                <a:gd name="T15" fmla="*/ 332 h 1804"/>
                <a:gd name="T16" fmla="*/ 791 w 1582"/>
                <a:gd name="T17" fmla="*/ 380 h 1804"/>
                <a:gd name="T18" fmla="*/ 728 w 1582"/>
                <a:gd name="T19" fmla="*/ 364 h 1804"/>
                <a:gd name="T20" fmla="*/ 672 w 1582"/>
                <a:gd name="T21" fmla="*/ 388 h 1804"/>
                <a:gd name="T22" fmla="*/ 657 w 1582"/>
                <a:gd name="T23" fmla="*/ 364 h 1804"/>
                <a:gd name="T24" fmla="*/ 712 w 1582"/>
                <a:gd name="T25" fmla="*/ 348 h 1804"/>
                <a:gd name="T26" fmla="*/ 672 w 1582"/>
                <a:gd name="T27" fmla="*/ 332 h 1804"/>
                <a:gd name="T28" fmla="*/ 641 w 1582"/>
                <a:gd name="T29" fmla="*/ 340 h 1804"/>
                <a:gd name="T30" fmla="*/ 577 w 1582"/>
                <a:gd name="T31" fmla="*/ 317 h 1804"/>
                <a:gd name="T32" fmla="*/ 506 w 1582"/>
                <a:gd name="T33" fmla="*/ 285 h 1804"/>
                <a:gd name="T34" fmla="*/ 459 w 1582"/>
                <a:gd name="T35" fmla="*/ 261 h 1804"/>
                <a:gd name="T36" fmla="*/ 0 w 1582"/>
                <a:gd name="T37" fmla="*/ 356 h 1804"/>
                <a:gd name="T38" fmla="*/ 0 w 1582"/>
                <a:gd name="T39" fmla="*/ 356 h 1804"/>
                <a:gd name="T40" fmla="*/ 151 w 1582"/>
                <a:gd name="T41" fmla="*/ 1574 h 1804"/>
                <a:gd name="T42" fmla="*/ 166 w 1582"/>
                <a:gd name="T43" fmla="*/ 1558 h 1804"/>
                <a:gd name="T44" fmla="*/ 253 w 1582"/>
                <a:gd name="T45" fmla="*/ 1565 h 1804"/>
                <a:gd name="T46" fmla="*/ 317 w 1582"/>
                <a:gd name="T47" fmla="*/ 1574 h 1804"/>
                <a:gd name="T48" fmla="*/ 364 w 1582"/>
                <a:gd name="T49" fmla="*/ 1645 h 1804"/>
                <a:gd name="T50" fmla="*/ 419 w 1582"/>
                <a:gd name="T51" fmla="*/ 1700 h 1804"/>
                <a:gd name="T52" fmla="*/ 530 w 1582"/>
                <a:gd name="T53" fmla="*/ 1700 h 1804"/>
                <a:gd name="T54" fmla="*/ 617 w 1582"/>
                <a:gd name="T55" fmla="*/ 1755 h 1804"/>
                <a:gd name="T56" fmla="*/ 664 w 1582"/>
                <a:gd name="T57" fmla="*/ 1708 h 1804"/>
                <a:gd name="T58" fmla="*/ 728 w 1582"/>
                <a:gd name="T59" fmla="*/ 1732 h 1804"/>
                <a:gd name="T60" fmla="*/ 759 w 1582"/>
                <a:gd name="T61" fmla="*/ 1716 h 1804"/>
                <a:gd name="T62" fmla="*/ 783 w 1582"/>
                <a:gd name="T63" fmla="*/ 1708 h 1804"/>
                <a:gd name="T64" fmla="*/ 807 w 1582"/>
                <a:gd name="T65" fmla="*/ 1684 h 1804"/>
                <a:gd name="T66" fmla="*/ 830 w 1582"/>
                <a:gd name="T67" fmla="*/ 1676 h 1804"/>
                <a:gd name="T68" fmla="*/ 854 w 1582"/>
                <a:gd name="T69" fmla="*/ 1652 h 1804"/>
                <a:gd name="T70" fmla="*/ 870 w 1582"/>
                <a:gd name="T71" fmla="*/ 1668 h 1804"/>
                <a:gd name="T72" fmla="*/ 870 w 1582"/>
                <a:gd name="T73" fmla="*/ 1676 h 1804"/>
                <a:gd name="T74" fmla="*/ 894 w 1582"/>
                <a:gd name="T75" fmla="*/ 1700 h 1804"/>
                <a:gd name="T76" fmla="*/ 910 w 1582"/>
                <a:gd name="T77" fmla="*/ 1724 h 1804"/>
                <a:gd name="T78" fmla="*/ 965 w 1582"/>
                <a:gd name="T79" fmla="*/ 1747 h 1804"/>
                <a:gd name="T80" fmla="*/ 981 w 1582"/>
                <a:gd name="T81" fmla="*/ 1771 h 1804"/>
                <a:gd name="T82" fmla="*/ 1012 w 1582"/>
                <a:gd name="T83" fmla="*/ 1803 h 1804"/>
                <a:gd name="T84" fmla="*/ 1060 w 1582"/>
                <a:gd name="T85" fmla="*/ 1787 h 1804"/>
                <a:gd name="T86" fmla="*/ 1083 w 1582"/>
                <a:gd name="T87" fmla="*/ 1739 h 1804"/>
                <a:gd name="T88" fmla="*/ 1123 w 1582"/>
                <a:gd name="T89" fmla="*/ 1708 h 1804"/>
                <a:gd name="T90" fmla="*/ 1123 w 1582"/>
                <a:gd name="T91" fmla="*/ 1637 h 1804"/>
                <a:gd name="T92" fmla="*/ 1123 w 1582"/>
                <a:gd name="T93" fmla="*/ 1550 h 1804"/>
                <a:gd name="T94" fmla="*/ 1163 w 1582"/>
                <a:gd name="T95" fmla="*/ 1479 h 1804"/>
                <a:gd name="T96" fmla="*/ 1226 w 1582"/>
                <a:gd name="T97" fmla="*/ 1510 h 1804"/>
                <a:gd name="T98" fmla="*/ 1218 w 1582"/>
                <a:gd name="T99" fmla="*/ 1376 h 1804"/>
                <a:gd name="T100" fmla="*/ 1281 w 1582"/>
                <a:gd name="T101" fmla="*/ 1328 h 1804"/>
                <a:gd name="T102" fmla="*/ 1305 w 1582"/>
                <a:gd name="T103" fmla="*/ 1257 h 1804"/>
                <a:gd name="T104" fmla="*/ 1360 w 1582"/>
                <a:gd name="T105" fmla="*/ 1265 h 1804"/>
                <a:gd name="T106" fmla="*/ 1423 w 1582"/>
                <a:gd name="T107" fmla="*/ 1257 h 1804"/>
                <a:gd name="T108" fmla="*/ 1502 w 1582"/>
                <a:gd name="T109" fmla="*/ 1154 h 1804"/>
                <a:gd name="T110" fmla="*/ 1510 w 1582"/>
                <a:gd name="T111" fmla="*/ 1012 h 1804"/>
                <a:gd name="T112" fmla="*/ 1550 w 1582"/>
                <a:gd name="T113" fmla="*/ 957 h 1804"/>
                <a:gd name="T114" fmla="*/ 1550 w 1582"/>
                <a:gd name="T115" fmla="*/ 830 h 1804"/>
                <a:gd name="T116" fmla="*/ 1565 w 1582"/>
                <a:gd name="T117" fmla="*/ 799 h 1804"/>
                <a:gd name="T118" fmla="*/ 1550 w 1582"/>
                <a:gd name="T119" fmla="*/ 720 h 1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82" h="1804">
                  <a:moveTo>
                    <a:pt x="1550" y="720"/>
                  </a:moveTo>
                  <a:lnTo>
                    <a:pt x="1550" y="720"/>
                  </a:lnTo>
                  <a:cubicBezTo>
                    <a:pt x="1550" y="696"/>
                    <a:pt x="1542" y="664"/>
                    <a:pt x="1542" y="648"/>
                  </a:cubicBezTo>
                  <a:cubicBezTo>
                    <a:pt x="1534" y="641"/>
                    <a:pt x="1550" y="633"/>
                    <a:pt x="1565" y="641"/>
                  </a:cubicBezTo>
                  <a:cubicBezTo>
                    <a:pt x="1447" y="0"/>
                    <a:pt x="1447" y="0"/>
                    <a:pt x="1447" y="0"/>
                  </a:cubicBezTo>
                  <a:cubicBezTo>
                    <a:pt x="1352" y="56"/>
                    <a:pt x="1210" y="151"/>
                    <a:pt x="1186" y="190"/>
                  </a:cubicBezTo>
                  <a:cubicBezTo>
                    <a:pt x="1154" y="230"/>
                    <a:pt x="1083" y="309"/>
                    <a:pt x="1052" y="309"/>
                  </a:cubicBezTo>
                  <a:cubicBezTo>
                    <a:pt x="1012" y="309"/>
                    <a:pt x="949" y="309"/>
                    <a:pt x="925" y="332"/>
                  </a:cubicBezTo>
                  <a:cubicBezTo>
                    <a:pt x="910" y="356"/>
                    <a:pt x="807" y="395"/>
                    <a:pt x="791" y="380"/>
                  </a:cubicBezTo>
                  <a:cubicBezTo>
                    <a:pt x="767" y="364"/>
                    <a:pt x="728" y="356"/>
                    <a:pt x="728" y="364"/>
                  </a:cubicBezTo>
                  <a:cubicBezTo>
                    <a:pt x="720" y="372"/>
                    <a:pt x="688" y="380"/>
                    <a:pt x="672" y="388"/>
                  </a:cubicBezTo>
                  <a:cubicBezTo>
                    <a:pt x="657" y="395"/>
                    <a:pt x="648" y="372"/>
                    <a:pt x="657" y="364"/>
                  </a:cubicBezTo>
                  <a:cubicBezTo>
                    <a:pt x="672" y="356"/>
                    <a:pt x="712" y="364"/>
                    <a:pt x="712" y="348"/>
                  </a:cubicBezTo>
                  <a:cubicBezTo>
                    <a:pt x="704" y="332"/>
                    <a:pt x="696" y="324"/>
                    <a:pt x="672" y="332"/>
                  </a:cubicBezTo>
                  <a:cubicBezTo>
                    <a:pt x="648" y="348"/>
                    <a:pt x="657" y="364"/>
                    <a:pt x="641" y="340"/>
                  </a:cubicBezTo>
                  <a:cubicBezTo>
                    <a:pt x="625" y="324"/>
                    <a:pt x="617" y="332"/>
                    <a:pt x="577" y="317"/>
                  </a:cubicBezTo>
                  <a:cubicBezTo>
                    <a:pt x="538" y="301"/>
                    <a:pt x="538" y="309"/>
                    <a:pt x="506" y="285"/>
                  </a:cubicBezTo>
                  <a:cubicBezTo>
                    <a:pt x="483" y="277"/>
                    <a:pt x="459" y="285"/>
                    <a:pt x="459" y="261"/>
                  </a:cubicBezTo>
                  <a:cubicBezTo>
                    <a:pt x="332" y="301"/>
                    <a:pt x="16" y="380"/>
                    <a:pt x="0" y="356"/>
                  </a:cubicBezTo>
                  <a:lnTo>
                    <a:pt x="0" y="356"/>
                  </a:lnTo>
                  <a:cubicBezTo>
                    <a:pt x="151" y="1574"/>
                    <a:pt x="151" y="1574"/>
                    <a:pt x="151" y="1574"/>
                  </a:cubicBezTo>
                  <a:cubicBezTo>
                    <a:pt x="151" y="1558"/>
                    <a:pt x="158" y="1558"/>
                    <a:pt x="166" y="1558"/>
                  </a:cubicBezTo>
                  <a:cubicBezTo>
                    <a:pt x="198" y="1558"/>
                    <a:pt x="222" y="1558"/>
                    <a:pt x="253" y="1565"/>
                  </a:cubicBezTo>
                  <a:cubicBezTo>
                    <a:pt x="285" y="1574"/>
                    <a:pt x="293" y="1542"/>
                    <a:pt x="317" y="1574"/>
                  </a:cubicBezTo>
                  <a:cubicBezTo>
                    <a:pt x="340" y="1613"/>
                    <a:pt x="340" y="1629"/>
                    <a:pt x="364" y="1645"/>
                  </a:cubicBezTo>
                  <a:cubicBezTo>
                    <a:pt x="388" y="1660"/>
                    <a:pt x="372" y="1700"/>
                    <a:pt x="419" y="1700"/>
                  </a:cubicBezTo>
                  <a:cubicBezTo>
                    <a:pt x="467" y="1708"/>
                    <a:pt x="514" y="1684"/>
                    <a:pt x="530" y="1700"/>
                  </a:cubicBezTo>
                  <a:cubicBezTo>
                    <a:pt x="546" y="1724"/>
                    <a:pt x="593" y="1763"/>
                    <a:pt x="617" y="1755"/>
                  </a:cubicBezTo>
                  <a:cubicBezTo>
                    <a:pt x="641" y="1747"/>
                    <a:pt x="633" y="1700"/>
                    <a:pt x="664" y="1708"/>
                  </a:cubicBezTo>
                  <a:cubicBezTo>
                    <a:pt x="696" y="1716"/>
                    <a:pt x="704" y="1732"/>
                    <a:pt x="728" y="1732"/>
                  </a:cubicBezTo>
                  <a:cubicBezTo>
                    <a:pt x="743" y="1732"/>
                    <a:pt x="751" y="1724"/>
                    <a:pt x="759" y="1716"/>
                  </a:cubicBezTo>
                  <a:cubicBezTo>
                    <a:pt x="759" y="1700"/>
                    <a:pt x="775" y="1700"/>
                    <a:pt x="783" y="1708"/>
                  </a:cubicBezTo>
                  <a:cubicBezTo>
                    <a:pt x="791" y="1708"/>
                    <a:pt x="799" y="1692"/>
                    <a:pt x="807" y="1684"/>
                  </a:cubicBezTo>
                  <a:lnTo>
                    <a:pt x="830" y="1676"/>
                  </a:lnTo>
                  <a:cubicBezTo>
                    <a:pt x="854" y="1652"/>
                    <a:pt x="854" y="1652"/>
                    <a:pt x="854" y="1652"/>
                  </a:cubicBezTo>
                  <a:cubicBezTo>
                    <a:pt x="870" y="1668"/>
                    <a:pt x="870" y="1668"/>
                    <a:pt x="870" y="1668"/>
                  </a:cubicBezTo>
                  <a:cubicBezTo>
                    <a:pt x="870" y="1668"/>
                    <a:pt x="870" y="1668"/>
                    <a:pt x="870" y="1676"/>
                  </a:cubicBezTo>
                  <a:cubicBezTo>
                    <a:pt x="878" y="1692"/>
                    <a:pt x="886" y="1700"/>
                    <a:pt x="894" y="1700"/>
                  </a:cubicBezTo>
                  <a:cubicBezTo>
                    <a:pt x="910" y="1708"/>
                    <a:pt x="901" y="1708"/>
                    <a:pt x="910" y="1724"/>
                  </a:cubicBezTo>
                  <a:cubicBezTo>
                    <a:pt x="925" y="1732"/>
                    <a:pt x="949" y="1739"/>
                    <a:pt x="965" y="1747"/>
                  </a:cubicBezTo>
                  <a:cubicBezTo>
                    <a:pt x="981" y="1747"/>
                    <a:pt x="981" y="1763"/>
                    <a:pt x="981" y="1771"/>
                  </a:cubicBezTo>
                  <a:cubicBezTo>
                    <a:pt x="988" y="1779"/>
                    <a:pt x="1004" y="1795"/>
                    <a:pt x="1012" y="1803"/>
                  </a:cubicBezTo>
                  <a:cubicBezTo>
                    <a:pt x="1028" y="1795"/>
                    <a:pt x="1044" y="1795"/>
                    <a:pt x="1060" y="1787"/>
                  </a:cubicBezTo>
                  <a:cubicBezTo>
                    <a:pt x="1091" y="1787"/>
                    <a:pt x="1083" y="1779"/>
                    <a:pt x="1083" y="1739"/>
                  </a:cubicBezTo>
                  <a:cubicBezTo>
                    <a:pt x="1083" y="1708"/>
                    <a:pt x="1099" y="1716"/>
                    <a:pt x="1123" y="1708"/>
                  </a:cubicBezTo>
                  <a:cubicBezTo>
                    <a:pt x="1139" y="1700"/>
                    <a:pt x="1131" y="1660"/>
                    <a:pt x="1123" y="1637"/>
                  </a:cubicBezTo>
                  <a:cubicBezTo>
                    <a:pt x="1107" y="1613"/>
                    <a:pt x="1131" y="1581"/>
                    <a:pt x="1123" y="1550"/>
                  </a:cubicBezTo>
                  <a:cubicBezTo>
                    <a:pt x="1123" y="1526"/>
                    <a:pt x="1147" y="1487"/>
                    <a:pt x="1163" y="1479"/>
                  </a:cubicBezTo>
                  <a:cubicBezTo>
                    <a:pt x="1170" y="1463"/>
                    <a:pt x="1202" y="1494"/>
                    <a:pt x="1226" y="1510"/>
                  </a:cubicBezTo>
                  <a:cubicBezTo>
                    <a:pt x="1241" y="1526"/>
                    <a:pt x="1226" y="1415"/>
                    <a:pt x="1218" y="1376"/>
                  </a:cubicBezTo>
                  <a:cubicBezTo>
                    <a:pt x="1210" y="1344"/>
                    <a:pt x="1257" y="1336"/>
                    <a:pt x="1281" y="1328"/>
                  </a:cubicBezTo>
                  <a:cubicBezTo>
                    <a:pt x="1305" y="1321"/>
                    <a:pt x="1297" y="1289"/>
                    <a:pt x="1305" y="1257"/>
                  </a:cubicBezTo>
                  <a:cubicBezTo>
                    <a:pt x="1313" y="1226"/>
                    <a:pt x="1336" y="1249"/>
                    <a:pt x="1360" y="1265"/>
                  </a:cubicBezTo>
                  <a:cubicBezTo>
                    <a:pt x="1392" y="1281"/>
                    <a:pt x="1392" y="1265"/>
                    <a:pt x="1423" y="1257"/>
                  </a:cubicBezTo>
                  <a:cubicBezTo>
                    <a:pt x="1447" y="1257"/>
                    <a:pt x="1487" y="1186"/>
                    <a:pt x="1502" y="1154"/>
                  </a:cubicBezTo>
                  <a:cubicBezTo>
                    <a:pt x="1526" y="1131"/>
                    <a:pt x="1518" y="1068"/>
                    <a:pt x="1510" y="1012"/>
                  </a:cubicBezTo>
                  <a:cubicBezTo>
                    <a:pt x="1510" y="949"/>
                    <a:pt x="1542" y="973"/>
                    <a:pt x="1550" y="957"/>
                  </a:cubicBezTo>
                  <a:cubicBezTo>
                    <a:pt x="1565" y="949"/>
                    <a:pt x="1550" y="870"/>
                    <a:pt x="1550" y="830"/>
                  </a:cubicBezTo>
                  <a:cubicBezTo>
                    <a:pt x="1542" y="791"/>
                    <a:pt x="1550" y="807"/>
                    <a:pt x="1565" y="799"/>
                  </a:cubicBezTo>
                  <a:cubicBezTo>
                    <a:pt x="1581" y="791"/>
                    <a:pt x="1558" y="751"/>
                    <a:pt x="1550" y="720"/>
                  </a:cubicBezTo>
                </a:path>
              </a:pathLst>
            </a:custGeom>
            <a:solidFill>
              <a:schemeClr val="accent6"/>
            </a:solidFill>
            <a:ln>
              <a:solidFill>
                <a:schemeClr val="bg2"/>
              </a:solidFill>
            </a:ln>
            <a:effectLst/>
          </p:spPr>
          <p:txBody>
            <a:bodyPr wrap="none" anchor="ctr"/>
            <a:lstStyle/>
            <a:p>
              <a:endParaRPr lang="en-US"/>
            </a:p>
          </p:txBody>
        </p:sp>
        <p:sp>
          <p:nvSpPr>
            <p:cNvPr id="116" name="Freeform 786"/>
            <p:cNvSpPr>
              <a:spLocks noChangeArrowheads="1"/>
            </p:cNvSpPr>
            <p:nvPr/>
          </p:nvSpPr>
          <p:spPr bwMode="auto">
            <a:xfrm>
              <a:off x="5643868" y="2955942"/>
              <a:ext cx="574077" cy="565994"/>
            </a:xfrm>
            <a:custGeom>
              <a:avLst/>
              <a:gdLst>
                <a:gd name="T0" fmla="*/ 989 w 1590"/>
                <a:gd name="T1" fmla="*/ 1787 h 1812"/>
                <a:gd name="T2" fmla="*/ 909 w 1590"/>
                <a:gd name="T3" fmla="*/ 1716 h 1812"/>
                <a:gd name="T4" fmla="*/ 862 w 1590"/>
                <a:gd name="T5" fmla="*/ 1668 h 1812"/>
                <a:gd name="T6" fmla="*/ 783 w 1590"/>
                <a:gd name="T7" fmla="*/ 1716 h 1812"/>
                <a:gd name="T8" fmla="*/ 672 w 1590"/>
                <a:gd name="T9" fmla="*/ 1716 h 1812"/>
                <a:gd name="T10" fmla="*/ 617 w 1590"/>
                <a:gd name="T11" fmla="*/ 1763 h 1812"/>
                <a:gd name="T12" fmla="*/ 443 w 1590"/>
                <a:gd name="T13" fmla="*/ 1716 h 1812"/>
                <a:gd name="T14" fmla="*/ 340 w 1590"/>
                <a:gd name="T15" fmla="*/ 1613 h 1812"/>
                <a:gd name="T16" fmla="*/ 269 w 1590"/>
                <a:gd name="T17" fmla="*/ 1582 h 1812"/>
                <a:gd name="T18" fmla="*/ 159 w 1590"/>
                <a:gd name="T19" fmla="*/ 1582 h 1812"/>
                <a:gd name="T20" fmla="*/ 8 w 1590"/>
                <a:gd name="T21" fmla="*/ 356 h 1812"/>
                <a:gd name="T22" fmla="*/ 475 w 1590"/>
                <a:gd name="T23" fmla="*/ 269 h 1812"/>
                <a:gd name="T24" fmla="*/ 554 w 1590"/>
                <a:gd name="T25" fmla="*/ 309 h 1812"/>
                <a:gd name="T26" fmla="*/ 656 w 1590"/>
                <a:gd name="T27" fmla="*/ 356 h 1812"/>
                <a:gd name="T28" fmla="*/ 720 w 1590"/>
                <a:gd name="T29" fmla="*/ 356 h 1812"/>
                <a:gd name="T30" fmla="*/ 665 w 1590"/>
                <a:gd name="T31" fmla="*/ 388 h 1812"/>
                <a:gd name="T32" fmla="*/ 728 w 1590"/>
                <a:gd name="T33" fmla="*/ 372 h 1812"/>
                <a:gd name="T34" fmla="*/ 933 w 1590"/>
                <a:gd name="T35" fmla="*/ 340 h 1812"/>
                <a:gd name="T36" fmla="*/ 1463 w 1590"/>
                <a:gd name="T37" fmla="*/ 0 h 1812"/>
                <a:gd name="T38" fmla="*/ 1566 w 1590"/>
                <a:gd name="T39" fmla="*/ 649 h 1812"/>
                <a:gd name="T40" fmla="*/ 1566 w 1590"/>
                <a:gd name="T41" fmla="*/ 728 h 1812"/>
                <a:gd name="T42" fmla="*/ 1558 w 1590"/>
                <a:gd name="T43" fmla="*/ 838 h 1812"/>
                <a:gd name="T44" fmla="*/ 1526 w 1590"/>
                <a:gd name="T45" fmla="*/ 1020 h 1812"/>
                <a:gd name="T46" fmla="*/ 1408 w 1590"/>
                <a:gd name="T47" fmla="*/ 1281 h 1812"/>
                <a:gd name="T48" fmla="*/ 1329 w 1590"/>
                <a:gd name="T49" fmla="*/ 1249 h 1812"/>
                <a:gd name="T50" fmla="*/ 1273 w 1590"/>
                <a:gd name="T51" fmla="*/ 1344 h 1812"/>
                <a:gd name="T52" fmla="*/ 1234 w 1590"/>
                <a:gd name="T53" fmla="*/ 1518 h 1812"/>
                <a:gd name="T54" fmla="*/ 1131 w 1590"/>
                <a:gd name="T55" fmla="*/ 1597 h 1812"/>
                <a:gd name="T56" fmla="*/ 1115 w 1590"/>
                <a:gd name="T57" fmla="*/ 1724 h 1812"/>
                <a:gd name="T58" fmla="*/ 1020 w 1590"/>
                <a:gd name="T59" fmla="*/ 1811 h 1812"/>
                <a:gd name="T60" fmla="*/ 878 w 1590"/>
                <a:gd name="T61" fmla="*/ 1676 h 1812"/>
                <a:gd name="T62" fmla="*/ 925 w 1590"/>
                <a:gd name="T63" fmla="*/ 1732 h 1812"/>
                <a:gd name="T64" fmla="*/ 1020 w 1590"/>
                <a:gd name="T65" fmla="*/ 1803 h 1812"/>
                <a:gd name="T66" fmla="*/ 1115 w 1590"/>
                <a:gd name="T67" fmla="*/ 1716 h 1812"/>
                <a:gd name="T68" fmla="*/ 1123 w 1590"/>
                <a:gd name="T69" fmla="*/ 1597 h 1812"/>
                <a:gd name="T70" fmla="*/ 1210 w 1590"/>
                <a:gd name="T71" fmla="*/ 1502 h 1812"/>
                <a:gd name="T72" fmla="*/ 1273 w 1590"/>
                <a:gd name="T73" fmla="*/ 1336 h 1812"/>
                <a:gd name="T74" fmla="*/ 1329 w 1590"/>
                <a:gd name="T75" fmla="*/ 1242 h 1812"/>
                <a:gd name="T76" fmla="*/ 1408 w 1590"/>
                <a:gd name="T77" fmla="*/ 1273 h 1812"/>
                <a:gd name="T78" fmla="*/ 1518 w 1590"/>
                <a:gd name="T79" fmla="*/ 1020 h 1812"/>
                <a:gd name="T80" fmla="*/ 1550 w 1590"/>
                <a:gd name="T81" fmla="*/ 838 h 1812"/>
                <a:gd name="T82" fmla="*/ 1558 w 1590"/>
                <a:gd name="T83" fmla="*/ 728 h 1812"/>
                <a:gd name="T84" fmla="*/ 1566 w 1590"/>
                <a:gd name="T85" fmla="*/ 641 h 1812"/>
                <a:gd name="T86" fmla="*/ 1060 w 1590"/>
                <a:gd name="T87" fmla="*/ 325 h 1812"/>
                <a:gd name="T88" fmla="*/ 743 w 1590"/>
                <a:gd name="T89" fmla="*/ 372 h 1812"/>
                <a:gd name="T90" fmla="*/ 672 w 1590"/>
                <a:gd name="T91" fmla="*/ 403 h 1812"/>
                <a:gd name="T92" fmla="*/ 712 w 1590"/>
                <a:gd name="T93" fmla="*/ 356 h 1812"/>
                <a:gd name="T94" fmla="*/ 665 w 1590"/>
                <a:gd name="T95" fmla="*/ 356 h 1812"/>
                <a:gd name="T96" fmla="*/ 585 w 1590"/>
                <a:gd name="T97" fmla="*/ 325 h 1812"/>
                <a:gd name="T98" fmla="*/ 467 w 1590"/>
                <a:gd name="T99" fmla="*/ 277 h 1812"/>
                <a:gd name="T100" fmla="*/ 174 w 1590"/>
                <a:gd name="T101" fmla="*/ 1558 h 1812"/>
                <a:gd name="T102" fmla="*/ 285 w 1590"/>
                <a:gd name="T103" fmla="*/ 1566 h 1812"/>
                <a:gd name="T104" fmla="*/ 372 w 1590"/>
                <a:gd name="T105" fmla="*/ 1653 h 1812"/>
                <a:gd name="T106" fmla="*/ 483 w 1590"/>
                <a:gd name="T107" fmla="*/ 1700 h 1812"/>
                <a:gd name="T108" fmla="*/ 625 w 1590"/>
                <a:gd name="T109" fmla="*/ 1755 h 1812"/>
                <a:gd name="T110" fmla="*/ 712 w 1590"/>
                <a:gd name="T111" fmla="*/ 1724 h 1812"/>
                <a:gd name="T112" fmla="*/ 791 w 1590"/>
                <a:gd name="T113" fmla="*/ 1708 h 1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0" h="1812">
                  <a:moveTo>
                    <a:pt x="1020" y="1811"/>
                  </a:moveTo>
                  <a:lnTo>
                    <a:pt x="1020" y="1811"/>
                  </a:lnTo>
                  <a:lnTo>
                    <a:pt x="1020" y="1811"/>
                  </a:lnTo>
                  <a:cubicBezTo>
                    <a:pt x="1004" y="1803"/>
                    <a:pt x="989" y="1787"/>
                    <a:pt x="989" y="1787"/>
                  </a:cubicBezTo>
                  <a:cubicBezTo>
                    <a:pt x="989" y="1779"/>
                    <a:pt x="989" y="1779"/>
                    <a:pt x="981" y="1771"/>
                  </a:cubicBezTo>
                  <a:cubicBezTo>
                    <a:pt x="981" y="1763"/>
                    <a:pt x="981" y="1755"/>
                    <a:pt x="973" y="1755"/>
                  </a:cubicBezTo>
                  <a:cubicBezTo>
                    <a:pt x="941" y="1747"/>
                    <a:pt x="925" y="1740"/>
                    <a:pt x="918" y="1732"/>
                  </a:cubicBezTo>
                  <a:cubicBezTo>
                    <a:pt x="909" y="1724"/>
                    <a:pt x="909" y="1724"/>
                    <a:pt x="909" y="1716"/>
                  </a:cubicBezTo>
                  <a:cubicBezTo>
                    <a:pt x="909" y="1716"/>
                    <a:pt x="909" y="1716"/>
                    <a:pt x="902" y="1716"/>
                  </a:cubicBezTo>
                  <a:cubicBezTo>
                    <a:pt x="894" y="1708"/>
                    <a:pt x="878" y="1700"/>
                    <a:pt x="878" y="1692"/>
                  </a:cubicBezTo>
                  <a:cubicBezTo>
                    <a:pt x="870" y="1684"/>
                    <a:pt x="870" y="1676"/>
                    <a:pt x="870" y="1676"/>
                  </a:cubicBezTo>
                  <a:cubicBezTo>
                    <a:pt x="862" y="1668"/>
                    <a:pt x="862" y="1668"/>
                    <a:pt x="862" y="1668"/>
                  </a:cubicBezTo>
                  <a:cubicBezTo>
                    <a:pt x="838" y="1684"/>
                    <a:pt x="838" y="1684"/>
                    <a:pt x="838" y="1684"/>
                  </a:cubicBezTo>
                  <a:cubicBezTo>
                    <a:pt x="831" y="1692"/>
                    <a:pt x="815" y="1692"/>
                    <a:pt x="815" y="1700"/>
                  </a:cubicBezTo>
                  <a:cubicBezTo>
                    <a:pt x="807" y="1716"/>
                    <a:pt x="799" y="1716"/>
                    <a:pt x="791" y="1716"/>
                  </a:cubicBezTo>
                  <a:lnTo>
                    <a:pt x="783" y="1716"/>
                  </a:lnTo>
                  <a:cubicBezTo>
                    <a:pt x="775" y="1716"/>
                    <a:pt x="767" y="1716"/>
                    <a:pt x="767" y="1724"/>
                  </a:cubicBezTo>
                  <a:cubicBezTo>
                    <a:pt x="767" y="1732"/>
                    <a:pt x="751" y="1740"/>
                    <a:pt x="736" y="1740"/>
                  </a:cubicBezTo>
                  <a:cubicBezTo>
                    <a:pt x="720" y="1740"/>
                    <a:pt x="712" y="1740"/>
                    <a:pt x="704" y="1732"/>
                  </a:cubicBezTo>
                  <a:cubicBezTo>
                    <a:pt x="696" y="1732"/>
                    <a:pt x="688" y="1724"/>
                    <a:pt x="672" y="1716"/>
                  </a:cubicBezTo>
                  <a:lnTo>
                    <a:pt x="665" y="1716"/>
                  </a:lnTo>
                  <a:cubicBezTo>
                    <a:pt x="656" y="1716"/>
                    <a:pt x="656" y="1724"/>
                    <a:pt x="649" y="1740"/>
                  </a:cubicBezTo>
                  <a:cubicBezTo>
                    <a:pt x="641" y="1747"/>
                    <a:pt x="641" y="1763"/>
                    <a:pt x="625" y="1763"/>
                  </a:cubicBezTo>
                  <a:cubicBezTo>
                    <a:pt x="625" y="1763"/>
                    <a:pt x="625" y="1763"/>
                    <a:pt x="617" y="1763"/>
                  </a:cubicBezTo>
                  <a:cubicBezTo>
                    <a:pt x="593" y="1763"/>
                    <a:pt x="546" y="1732"/>
                    <a:pt x="538" y="1708"/>
                  </a:cubicBezTo>
                  <a:cubicBezTo>
                    <a:pt x="530" y="1708"/>
                    <a:pt x="522" y="1708"/>
                    <a:pt x="514" y="1708"/>
                  </a:cubicBezTo>
                  <a:cubicBezTo>
                    <a:pt x="506" y="1708"/>
                    <a:pt x="498" y="1708"/>
                    <a:pt x="491" y="1708"/>
                  </a:cubicBezTo>
                  <a:cubicBezTo>
                    <a:pt x="475" y="1716"/>
                    <a:pt x="459" y="1716"/>
                    <a:pt x="443" y="1716"/>
                  </a:cubicBezTo>
                  <a:cubicBezTo>
                    <a:pt x="435" y="1716"/>
                    <a:pt x="427" y="1716"/>
                    <a:pt x="427" y="1716"/>
                  </a:cubicBezTo>
                  <a:cubicBezTo>
                    <a:pt x="396" y="1708"/>
                    <a:pt x="388" y="1692"/>
                    <a:pt x="380" y="1676"/>
                  </a:cubicBezTo>
                  <a:cubicBezTo>
                    <a:pt x="380" y="1668"/>
                    <a:pt x="380" y="1660"/>
                    <a:pt x="372" y="1653"/>
                  </a:cubicBezTo>
                  <a:cubicBezTo>
                    <a:pt x="356" y="1645"/>
                    <a:pt x="348" y="1637"/>
                    <a:pt x="340" y="1613"/>
                  </a:cubicBezTo>
                  <a:cubicBezTo>
                    <a:pt x="332" y="1605"/>
                    <a:pt x="325" y="1597"/>
                    <a:pt x="317" y="1582"/>
                  </a:cubicBezTo>
                  <a:cubicBezTo>
                    <a:pt x="309" y="1573"/>
                    <a:pt x="301" y="1573"/>
                    <a:pt x="301" y="1573"/>
                  </a:cubicBezTo>
                  <a:lnTo>
                    <a:pt x="293" y="1573"/>
                  </a:lnTo>
                  <a:cubicBezTo>
                    <a:pt x="285" y="1573"/>
                    <a:pt x="277" y="1582"/>
                    <a:pt x="269" y="1582"/>
                  </a:cubicBezTo>
                  <a:lnTo>
                    <a:pt x="261" y="1582"/>
                  </a:lnTo>
                  <a:cubicBezTo>
                    <a:pt x="230" y="1573"/>
                    <a:pt x="206" y="1566"/>
                    <a:pt x="174" y="1566"/>
                  </a:cubicBezTo>
                  <a:lnTo>
                    <a:pt x="174" y="1566"/>
                  </a:lnTo>
                  <a:cubicBezTo>
                    <a:pt x="166" y="1566"/>
                    <a:pt x="159" y="1573"/>
                    <a:pt x="159" y="1582"/>
                  </a:cubicBezTo>
                  <a:cubicBezTo>
                    <a:pt x="151" y="1589"/>
                    <a:pt x="151" y="1589"/>
                    <a:pt x="151" y="1589"/>
                  </a:cubicBezTo>
                  <a:cubicBezTo>
                    <a:pt x="0" y="348"/>
                    <a:pt x="0" y="348"/>
                    <a:pt x="0" y="348"/>
                  </a:cubicBezTo>
                  <a:cubicBezTo>
                    <a:pt x="8" y="356"/>
                    <a:pt x="8" y="356"/>
                    <a:pt x="8" y="356"/>
                  </a:cubicBezTo>
                  <a:lnTo>
                    <a:pt x="8" y="356"/>
                  </a:lnTo>
                  <a:cubicBezTo>
                    <a:pt x="8" y="364"/>
                    <a:pt x="8" y="364"/>
                    <a:pt x="8" y="364"/>
                  </a:cubicBezTo>
                  <a:cubicBezTo>
                    <a:pt x="8" y="364"/>
                    <a:pt x="16" y="364"/>
                    <a:pt x="24" y="364"/>
                  </a:cubicBezTo>
                  <a:cubicBezTo>
                    <a:pt x="103" y="364"/>
                    <a:pt x="356" y="301"/>
                    <a:pt x="467" y="269"/>
                  </a:cubicBezTo>
                  <a:cubicBezTo>
                    <a:pt x="475" y="269"/>
                    <a:pt x="475" y="269"/>
                    <a:pt x="475" y="269"/>
                  </a:cubicBezTo>
                  <a:cubicBezTo>
                    <a:pt x="475" y="277"/>
                    <a:pt x="475" y="277"/>
                    <a:pt x="475" y="277"/>
                  </a:cubicBezTo>
                  <a:cubicBezTo>
                    <a:pt x="467" y="277"/>
                    <a:pt x="475" y="277"/>
                    <a:pt x="491" y="285"/>
                  </a:cubicBezTo>
                  <a:cubicBezTo>
                    <a:pt x="498" y="285"/>
                    <a:pt x="506" y="285"/>
                    <a:pt x="522" y="293"/>
                  </a:cubicBezTo>
                  <a:cubicBezTo>
                    <a:pt x="538" y="301"/>
                    <a:pt x="546" y="301"/>
                    <a:pt x="554" y="309"/>
                  </a:cubicBezTo>
                  <a:cubicBezTo>
                    <a:pt x="562" y="309"/>
                    <a:pt x="570" y="309"/>
                    <a:pt x="585" y="317"/>
                  </a:cubicBezTo>
                  <a:cubicBezTo>
                    <a:pt x="601" y="325"/>
                    <a:pt x="609" y="325"/>
                    <a:pt x="617" y="325"/>
                  </a:cubicBezTo>
                  <a:cubicBezTo>
                    <a:pt x="633" y="332"/>
                    <a:pt x="641" y="332"/>
                    <a:pt x="649" y="348"/>
                  </a:cubicBezTo>
                  <a:cubicBezTo>
                    <a:pt x="656" y="356"/>
                    <a:pt x="656" y="356"/>
                    <a:pt x="656" y="356"/>
                  </a:cubicBezTo>
                  <a:cubicBezTo>
                    <a:pt x="656" y="356"/>
                    <a:pt x="656" y="356"/>
                    <a:pt x="665" y="348"/>
                  </a:cubicBezTo>
                  <a:cubicBezTo>
                    <a:pt x="665" y="348"/>
                    <a:pt x="672" y="340"/>
                    <a:pt x="680" y="340"/>
                  </a:cubicBezTo>
                  <a:cubicBezTo>
                    <a:pt x="688" y="332"/>
                    <a:pt x="688" y="332"/>
                    <a:pt x="696" y="332"/>
                  </a:cubicBezTo>
                  <a:cubicBezTo>
                    <a:pt x="712" y="332"/>
                    <a:pt x="712" y="340"/>
                    <a:pt x="720" y="356"/>
                  </a:cubicBezTo>
                  <a:lnTo>
                    <a:pt x="720" y="364"/>
                  </a:lnTo>
                  <a:cubicBezTo>
                    <a:pt x="712" y="372"/>
                    <a:pt x="704" y="372"/>
                    <a:pt x="688" y="372"/>
                  </a:cubicBezTo>
                  <a:cubicBezTo>
                    <a:pt x="680" y="372"/>
                    <a:pt x="672" y="372"/>
                    <a:pt x="672" y="380"/>
                  </a:cubicBezTo>
                  <a:cubicBezTo>
                    <a:pt x="665" y="380"/>
                    <a:pt x="665" y="380"/>
                    <a:pt x="665" y="388"/>
                  </a:cubicBezTo>
                  <a:lnTo>
                    <a:pt x="672" y="396"/>
                  </a:lnTo>
                  <a:cubicBezTo>
                    <a:pt x="680" y="396"/>
                    <a:pt x="680" y="396"/>
                    <a:pt x="680" y="396"/>
                  </a:cubicBezTo>
                  <a:cubicBezTo>
                    <a:pt x="688" y="388"/>
                    <a:pt x="696" y="388"/>
                    <a:pt x="704" y="380"/>
                  </a:cubicBezTo>
                  <a:cubicBezTo>
                    <a:pt x="712" y="380"/>
                    <a:pt x="728" y="372"/>
                    <a:pt x="728" y="372"/>
                  </a:cubicBezTo>
                  <a:cubicBezTo>
                    <a:pt x="728" y="372"/>
                    <a:pt x="736" y="364"/>
                    <a:pt x="743" y="364"/>
                  </a:cubicBezTo>
                  <a:cubicBezTo>
                    <a:pt x="759" y="364"/>
                    <a:pt x="783" y="372"/>
                    <a:pt x="799" y="388"/>
                  </a:cubicBezTo>
                  <a:lnTo>
                    <a:pt x="807" y="388"/>
                  </a:lnTo>
                  <a:cubicBezTo>
                    <a:pt x="846" y="388"/>
                    <a:pt x="918" y="356"/>
                    <a:pt x="933" y="340"/>
                  </a:cubicBezTo>
                  <a:cubicBezTo>
                    <a:pt x="957" y="317"/>
                    <a:pt x="1012" y="317"/>
                    <a:pt x="1060" y="317"/>
                  </a:cubicBezTo>
                  <a:cubicBezTo>
                    <a:pt x="1091" y="317"/>
                    <a:pt x="1155" y="245"/>
                    <a:pt x="1194" y="190"/>
                  </a:cubicBezTo>
                  <a:cubicBezTo>
                    <a:pt x="1218" y="159"/>
                    <a:pt x="1352" y="64"/>
                    <a:pt x="1455" y="8"/>
                  </a:cubicBezTo>
                  <a:cubicBezTo>
                    <a:pt x="1463" y="0"/>
                    <a:pt x="1463" y="0"/>
                    <a:pt x="1463" y="0"/>
                  </a:cubicBezTo>
                  <a:cubicBezTo>
                    <a:pt x="1463" y="8"/>
                    <a:pt x="1463" y="8"/>
                    <a:pt x="1463" y="8"/>
                  </a:cubicBezTo>
                  <a:cubicBezTo>
                    <a:pt x="1582" y="649"/>
                    <a:pt x="1582" y="649"/>
                    <a:pt x="1582" y="649"/>
                  </a:cubicBezTo>
                  <a:cubicBezTo>
                    <a:pt x="1573" y="649"/>
                    <a:pt x="1573" y="649"/>
                    <a:pt x="1573" y="649"/>
                  </a:cubicBezTo>
                  <a:cubicBezTo>
                    <a:pt x="1573" y="649"/>
                    <a:pt x="1573" y="649"/>
                    <a:pt x="1566" y="649"/>
                  </a:cubicBezTo>
                  <a:cubicBezTo>
                    <a:pt x="1558" y="649"/>
                    <a:pt x="1550" y="649"/>
                    <a:pt x="1550" y="656"/>
                  </a:cubicBezTo>
                  <a:lnTo>
                    <a:pt x="1550" y="656"/>
                  </a:lnTo>
                  <a:cubicBezTo>
                    <a:pt x="1550" y="665"/>
                    <a:pt x="1558" y="672"/>
                    <a:pt x="1558" y="688"/>
                  </a:cubicBezTo>
                  <a:cubicBezTo>
                    <a:pt x="1558" y="704"/>
                    <a:pt x="1566" y="712"/>
                    <a:pt x="1566" y="728"/>
                  </a:cubicBezTo>
                  <a:cubicBezTo>
                    <a:pt x="1566" y="736"/>
                    <a:pt x="1573" y="751"/>
                    <a:pt x="1573" y="759"/>
                  </a:cubicBezTo>
                  <a:cubicBezTo>
                    <a:pt x="1582" y="783"/>
                    <a:pt x="1589" y="799"/>
                    <a:pt x="1573" y="807"/>
                  </a:cubicBezTo>
                  <a:lnTo>
                    <a:pt x="1566" y="807"/>
                  </a:lnTo>
                  <a:cubicBezTo>
                    <a:pt x="1558" y="815"/>
                    <a:pt x="1558" y="815"/>
                    <a:pt x="1558" y="838"/>
                  </a:cubicBezTo>
                  <a:cubicBezTo>
                    <a:pt x="1558" y="846"/>
                    <a:pt x="1558" y="862"/>
                    <a:pt x="1566" y="878"/>
                  </a:cubicBezTo>
                  <a:cubicBezTo>
                    <a:pt x="1566" y="925"/>
                    <a:pt x="1573" y="957"/>
                    <a:pt x="1566" y="973"/>
                  </a:cubicBezTo>
                  <a:cubicBezTo>
                    <a:pt x="1558" y="973"/>
                    <a:pt x="1550" y="973"/>
                    <a:pt x="1542" y="981"/>
                  </a:cubicBezTo>
                  <a:cubicBezTo>
                    <a:pt x="1534" y="981"/>
                    <a:pt x="1518" y="981"/>
                    <a:pt x="1526" y="1020"/>
                  </a:cubicBezTo>
                  <a:cubicBezTo>
                    <a:pt x="1534" y="1083"/>
                    <a:pt x="1534" y="1139"/>
                    <a:pt x="1518" y="1170"/>
                  </a:cubicBezTo>
                  <a:cubicBezTo>
                    <a:pt x="1510" y="1178"/>
                    <a:pt x="1502" y="1186"/>
                    <a:pt x="1495" y="1202"/>
                  </a:cubicBezTo>
                  <a:cubicBezTo>
                    <a:pt x="1471" y="1234"/>
                    <a:pt x="1455" y="1265"/>
                    <a:pt x="1431" y="1273"/>
                  </a:cubicBezTo>
                  <a:cubicBezTo>
                    <a:pt x="1423" y="1273"/>
                    <a:pt x="1415" y="1273"/>
                    <a:pt x="1408" y="1281"/>
                  </a:cubicBezTo>
                  <a:cubicBezTo>
                    <a:pt x="1408" y="1281"/>
                    <a:pt x="1400" y="1281"/>
                    <a:pt x="1392" y="1281"/>
                  </a:cubicBezTo>
                  <a:cubicBezTo>
                    <a:pt x="1384" y="1281"/>
                    <a:pt x="1376" y="1281"/>
                    <a:pt x="1368" y="1273"/>
                  </a:cubicBezTo>
                  <a:cubicBezTo>
                    <a:pt x="1368" y="1273"/>
                    <a:pt x="1360" y="1273"/>
                    <a:pt x="1360" y="1265"/>
                  </a:cubicBezTo>
                  <a:cubicBezTo>
                    <a:pt x="1344" y="1257"/>
                    <a:pt x="1336" y="1249"/>
                    <a:pt x="1329" y="1249"/>
                  </a:cubicBezTo>
                  <a:cubicBezTo>
                    <a:pt x="1329" y="1249"/>
                    <a:pt x="1321" y="1249"/>
                    <a:pt x="1321" y="1265"/>
                  </a:cubicBezTo>
                  <a:cubicBezTo>
                    <a:pt x="1321" y="1273"/>
                    <a:pt x="1313" y="1281"/>
                    <a:pt x="1313" y="1289"/>
                  </a:cubicBezTo>
                  <a:cubicBezTo>
                    <a:pt x="1313" y="1313"/>
                    <a:pt x="1313" y="1329"/>
                    <a:pt x="1289" y="1336"/>
                  </a:cubicBezTo>
                  <a:cubicBezTo>
                    <a:pt x="1289" y="1344"/>
                    <a:pt x="1281" y="1344"/>
                    <a:pt x="1273" y="1344"/>
                  </a:cubicBezTo>
                  <a:cubicBezTo>
                    <a:pt x="1249" y="1360"/>
                    <a:pt x="1226" y="1368"/>
                    <a:pt x="1234" y="1384"/>
                  </a:cubicBezTo>
                  <a:cubicBezTo>
                    <a:pt x="1242" y="1415"/>
                    <a:pt x="1249" y="1502"/>
                    <a:pt x="1242" y="1518"/>
                  </a:cubicBezTo>
                  <a:cubicBezTo>
                    <a:pt x="1242" y="1526"/>
                    <a:pt x="1234" y="1526"/>
                    <a:pt x="1234" y="1526"/>
                  </a:cubicBezTo>
                  <a:cubicBezTo>
                    <a:pt x="1234" y="1526"/>
                    <a:pt x="1234" y="1526"/>
                    <a:pt x="1234" y="1518"/>
                  </a:cubicBezTo>
                  <a:cubicBezTo>
                    <a:pt x="1226" y="1518"/>
                    <a:pt x="1218" y="1510"/>
                    <a:pt x="1210" y="1502"/>
                  </a:cubicBezTo>
                  <a:cubicBezTo>
                    <a:pt x="1194" y="1495"/>
                    <a:pt x="1178" y="1479"/>
                    <a:pt x="1171" y="1487"/>
                  </a:cubicBezTo>
                  <a:cubicBezTo>
                    <a:pt x="1155" y="1495"/>
                    <a:pt x="1139" y="1534"/>
                    <a:pt x="1139" y="1558"/>
                  </a:cubicBezTo>
                  <a:cubicBezTo>
                    <a:pt x="1139" y="1573"/>
                    <a:pt x="1139" y="1589"/>
                    <a:pt x="1131" y="1597"/>
                  </a:cubicBezTo>
                  <a:cubicBezTo>
                    <a:pt x="1131" y="1613"/>
                    <a:pt x="1123" y="1629"/>
                    <a:pt x="1131" y="1645"/>
                  </a:cubicBezTo>
                  <a:cubicBezTo>
                    <a:pt x="1139" y="1653"/>
                    <a:pt x="1147" y="1684"/>
                    <a:pt x="1139" y="1708"/>
                  </a:cubicBezTo>
                  <a:cubicBezTo>
                    <a:pt x="1139" y="1716"/>
                    <a:pt x="1131" y="1716"/>
                    <a:pt x="1131" y="1716"/>
                  </a:cubicBezTo>
                  <a:cubicBezTo>
                    <a:pt x="1123" y="1724"/>
                    <a:pt x="1115" y="1724"/>
                    <a:pt x="1115" y="1724"/>
                  </a:cubicBezTo>
                  <a:cubicBezTo>
                    <a:pt x="1099" y="1724"/>
                    <a:pt x="1099" y="1724"/>
                    <a:pt x="1099" y="1747"/>
                  </a:cubicBezTo>
                  <a:cubicBezTo>
                    <a:pt x="1099" y="1755"/>
                    <a:pt x="1099" y="1755"/>
                    <a:pt x="1099" y="1755"/>
                  </a:cubicBezTo>
                  <a:cubicBezTo>
                    <a:pt x="1099" y="1787"/>
                    <a:pt x="1099" y="1795"/>
                    <a:pt x="1068" y="1803"/>
                  </a:cubicBezTo>
                  <a:cubicBezTo>
                    <a:pt x="1052" y="1803"/>
                    <a:pt x="1036" y="1811"/>
                    <a:pt x="1020" y="1811"/>
                  </a:cubicBezTo>
                  <a:close/>
                  <a:moveTo>
                    <a:pt x="862" y="1660"/>
                  </a:moveTo>
                  <a:lnTo>
                    <a:pt x="862" y="1660"/>
                  </a:lnTo>
                  <a:cubicBezTo>
                    <a:pt x="878" y="1668"/>
                    <a:pt x="878" y="1668"/>
                    <a:pt x="878" y="1668"/>
                  </a:cubicBezTo>
                  <a:cubicBezTo>
                    <a:pt x="878" y="1676"/>
                    <a:pt x="878" y="1676"/>
                    <a:pt x="878" y="1676"/>
                  </a:cubicBezTo>
                  <a:cubicBezTo>
                    <a:pt x="878" y="1676"/>
                    <a:pt x="878" y="1676"/>
                    <a:pt x="886" y="1684"/>
                  </a:cubicBezTo>
                  <a:cubicBezTo>
                    <a:pt x="886" y="1692"/>
                    <a:pt x="894" y="1700"/>
                    <a:pt x="902" y="1708"/>
                  </a:cubicBezTo>
                  <a:cubicBezTo>
                    <a:pt x="909" y="1708"/>
                    <a:pt x="918" y="1716"/>
                    <a:pt x="918" y="1716"/>
                  </a:cubicBezTo>
                  <a:cubicBezTo>
                    <a:pt x="918" y="1716"/>
                    <a:pt x="918" y="1724"/>
                    <a:pt x="925" y="1732"/>
                  </a:cubicBezTo>
                  <a:cubicBezTo>
                    <a:pt x="925" y="1740"/>
                    <a:pt x="949" y="1747"/>
                    <a:pt x="973" y="1747"/>
                  </a:cubicBezTo>
                  <a:cubicBezTo>
                    <a:pt x="989" y="1755"/>
                    <a:pt x="989" y="1763"/>
                    <a:pt x="989" y="1771"/>
                  </a:cubicBezTo>
                  <a:lnTo>
                    <a:pt x="996" y="1779"/>
                  </a:lnTo>
                  <a:cubicBezTo>
                    <a:pt x="996" y="1787"/>
                    <a:pt x="1004" y="1787"/>
                    <a:pt x="1020" y="1803"/>
                  </a:cubicBezTo>
                  <a:cubicBezTo>
                    <a:pt x="1036" y="1803"/>
                    <a:pt x="1052" y="1795"/>
                    <a:pt x="1068" y="1795"/>
                  </a:cubicBezTo>
                  <a:cubicBezTo>
                    <a:pt x="1091" y="1787"/>
                    <a:pt x="1091" y="1787"/>
                    <a:pt x="1091" y="1755"/>
                  </a:cubicBezTo>
                  <a:cubicBezTo>
                    <a:pt x="1091" y="1747"/>
                    <a:pt x="1091" y="1747"/>
                    <a:pt x="1091" y="1747"/>
                  </a:cubicBezTo>
                  <a:cubicBezTo>
                    <a:pt x="1091" y="1724"/>
                    <a:pt x="1099" y="1716"/>
                    <a:pt x="1115" y="1716"/>
                  </a:cubicBezTo>
                  <a:lnTo>
                    <a:pt x="1123" y="1716"/>
                  </a:lnTo>
                  <a:cubicBezTo>
                    <a:pt x="1131" y="1708"/>
                    <a:pt x="1131" y="1708"/>
                    <a:pt x="1131" y="1708"/>
                  </a:cubicBezTo>
                  <a:cubicBezTo>
                    <a:pt x="1139" y="1692"/>
                    <a:pt x="1131" y="1668"/>
                    <a:pt x="1123" y="1645"/>
                  </a:cubicBezTo>
                  <a:cubicBezTo>
                    <a:pt x="1115" y="1629"/>
                    <a:pt x="1123" y="1613"/>
                    <a:pt x="1123" y="1597"/>
                  </a:cubicBezTo>
                  <a:cubicBezTo>
                    <a:pt x="1131" y="1582"/>
                    <a:pt x="1131" y="1573"/>
                    <a:pt x="1131" y="1558"/>
                  </a:cubicBezTo>
                  <a:cubicBezTo>
                    <a:pt x="1131" y="1534"/>
                    <a:pt x="1155" y="1495"/>
                    <a:pt x="1162" y="1479"/>
                  </a:cubicBezTo>
                  <a:cubicBezTo>
                    <a:pt x="1171" y="1479"/>
                    <a:pt x="1171" y="1479"/>
                    <a:pt x="1178" y="1479"/>
                  </a:cubicBezTo>
                  <a:cubicBezTo>
                    <a:pt x="1186" y="1479"/>
                    <a:pt x="1202" y="1487"/>
                    <a:pt x="1210" y="1502"/>
                  </a:cubicBezTo>
                  <a:cubicBezTo>
                    <a:pt x="1218" y="1502"/>
                    <a:pt x="1226" y="1510"/>
                    <a:pt x="1234" y="1518"/>
                  </a:cubicBezTo>
                  <a:lnTo>
                    <a:pt x="1234" y="1518"/>
                  </a:lnTo>
                  <a:cubicBezTo>
                    <a:pt x="1242" y="1510"/>
                    <a:pt x="1234" y="1431"/>
                    <a:pt x="1226" y="1392"/>
                  </a:cubicBezTo>
                  <a:cubicBezTo>
                    <a:pt x="1218" y="1360"/>
                    <a:pt x="1249" y="1344"/>
                    <a:pt x="1273" y="1336"/>
                  </a:cubicBezTo>
                  <a:cubicBezTo>
                    <a:pt x="1273" y="1336"/>
                    <a:pt x="1281" y="1336"/>
                    <a:pt x="1289" y="1336"/>
                  </a:cubicBezTo>
                  <a:cubicBezTo>
                    <a:pt x="1305" y="1329"/>
                    <a:pt x="1305" y="1305"/>
                    <a:pt x="1305" y="1289"/>
                  </a:cubicBezTo>
                  <a:cubicBezTo>
                    <a:pt x="1305" y="1281"/>
                    <a:pt x="1313" y="1273"/>
                    <a:pt x="1313" y="1265"/>
                  </a:cubicBezTo>
                  <a:cubicBezTo>
                    <a:pt x="1313" y="1249"/>
                    <a:pt x="1321" y="1242"/>
                    <a:pt x="1329" y="1242"/>
                  </a:cubicBezTo>
                  <a:cubicBezTo>
                    <a:pt x="1336" y="1242"/>
                    <a:pt x="1344" y="1249"/>
                    <a:pt x="1360" y="1265"/>
                  </a:cubicBezTo>
                  <a:cubicBezTo>
                    <a:pt x="1368" y="1265"/>
                    <a:pt x="1368" y="1265"/>
                    <a:pt x="1376" y="1273"/>
                  </a:cubicBezTo>
                  <a:cubicBezTo>
                    <a:pt x="1376" y="1273"/>
                    <a:pt x="1384" y="1281"/>
                    <a:pt x="1392" y="1281"/>
                  </a:cubicBezTo>
                  <a:cubicBezTo>
                    <a:pt x="1400" y="1281"/>
                    <a:pt x="1400" y="1273"/>
                    <a:pt x="1408" y="1273"/>
                  </a:cubicBezTo>
                  <a:cubicBezTo>
                    <a:pt x="1415" y="1273"/>
                    <a:pt x="1423" y="1265"/>
                    <a:pt x="1431" y="1265"/>
                  </a:cubicBezTo>
                  <a:cubicBezTo>
                    <a:pt x="1447" y="1257"/>
                    <a:pt x="1471" y="1226"/>
                    <a:pt x="1487" y="1194"/>
                  </a:cubicBezTo>
                  <a:cubicBezTo>
                    <a:pt x="1495" y="1186"/>
                    <a:pt x="1502" y="1170"/>
                    <a:pt x="1510" y="1162"/>
                  </a:cubicBezTo>
                  <a:cubicBezTo>
                    <a:pt x="1534" y="1139"/>
                    <a:pt x="1526" y="1076"/>
                    <a:pt x="1518" y="1020"/>
                  </a:cubicBezTo>
                  <a:cubicBezTo>
                    <a:pt x="1510" y="981"/>
                    <a:pt x="1526" y="973"/>
                    <a:pt x="1542" y="973"/>
                  </a:cubicBezTo>
                  <a:cubicBezTo>
                    <a:pt x="1550" y="973"/>
                    <a:pt x="1558" y="965"/>
                    <a:pt x="1558" y="965"/>
                  </a:cubicBezTo>
                  <a:cubicBezTo>
                    <a:pt x="1566" y="957"/>
                    <a:pt x="1558" y="909"/>
                    <a:pt x="1558" y="878"/>
                  </a:cubicBezTo>
                  <a:cubicBezTo>
                    <a:pt x="1558" y="862"/>
                    <a:pt x="1550" y="846"/>
                    <a:pt x="1550" y="838"/>
                  </a:cubicBezTo>
                  <a:cubicBezTo>
                    <a:pt x="1550" y="807"/>
                    <a:pt x="1550" y="807"/>
                    <a:pt x="1566" y="807"/>
                  </a:cubicBezTo>
                  <a:lnTo>
                    <a:pt x="1573" y="799"/>
                  </a:lnTo>
                  <a:cubicBezTo>
                    <a:pt x="1582" y="799"/>
                    <a:pt x="1573" y="775"/>
                    <a:pt x="1566" y="759"/>
                  </a:cubicBezTo>
                  <a:cubicBezTo>
                    <a:pt x="1566" y="751"/>
                    <a:pt x="1558" y="743"/>
                    <a:pt x="1558" y="728"/>
                  </a:cubicBezTo>
                  <a:cubicBezTo>
                    <a:pt x="1558" y="720"/>
                    <a:pt x="1550" y="704"/>
                    <a:pt x="1550" y="688"/>
                  </a:cubicBezTo>
                  <a:cubicBezTo>
                    <a:pt x="1550" y="680"/>
                    <a:pt x="1542" y="665"/>
                    <a:pt x="1542" y="656"/>
                  </a:cubicBezTo>
                  <a:lnTo>
                    <a:pt x="1542" y="649"/>
                  </a:lnTo>
                  <a:cubicBezTo>
                    <a:pt x="1550" y="641"/>
                    <a:pt x="1558" y="641"/>
                    <a:pt x="1566" y="641"/>
                  </a:cubicBezTo>
                  <a:cubicBezTo>
                    <a:pt x="1573" y="641"/>
                    <a:pt x="1573" y="641"/>
                    <a:pt x="1573" y="641"/>
                  </a:cubicBezTo>
                  <a:cubicBezTo>
                    <a:pt x="1455" y="16"/>
                    <a:pt x="1455" y="16"/>
                    <a:pt x="1455" y="16"/>
                  </a:cubicBezTo>
                  <a:cubicBezTo>
                    <a:pt x="1352" y="72"/>
                    <a:pt x="1226" y="166"/>
                    <a:pt x="1194" y="198"/>
                  </a:cubicBezTo>
                  <a:cubicBezTo>
                    <a:pt x="1171" y="230"/>
                    <a:pt x="1099" y="325"/>
                    <a:pt x="1060" y="325"/>
                  </a:cubicBezTo>
                  <a:cubicBezTo>
                    <a:pt x="1036" y="325"/>
                    <a:pt x="957" y="325"/>
                    <a:pt x="941" y="340"/>
                  </a:cubicBezTo>
                  <a:cubicBezTo>
                    <a:pt x="918" y="364"/>
                    <a:pt x="846" y="396"/>
                    <a:pt x="807" y="396"/>
                  </a:cubicBezTo>
                  <a:cubicBezTo>
                    <a:pt x="799" y="396"/>
                    <a:pt x="799" y="396"/>
                    <a:pt x="791" y="388"/>
                  </a:cubicBezTo>
                  <a:cubicBezTo>
                    <a:pt x="783" y="380"/>
                    <a:pt x="759" y="372"/>
                    <a:pt x="743" y="372"/>
                  </a:cubicBezTo>
                  <a:cubicBezTo>
                    <a:pt x="736" y="372"/>
                    <a:pt x="736" y="372"/>
                    <a:pt x="736" y="372"/>
                  </a:cubicBezTo>
                  <a:cubicBezTo>
                    <a:pt x="736" y="380"/>
                    <a:pt x="728" y="388"/>
                    <a:pt x="704" y="388"/>
                  </a:cubicBezTo>
                  <a:cubicBezTo>
                    <a:pt x="696" y="396"/>
                    <a:pt x="688" y="396"/>
                    <a:pt x="680" y="396"/>
                  </a:cubicBezTo>
                  <a:cubicBezTo>
                    <a:pt x="680" y="403"/>
                    <a:pt x="680" y="403"/>
                    <a:pt x="672" y="403"/>
                  </a:cubicBezTo>
                  <a:cubicBezTo>
                    <a:pt x="665" y="403"/>
                    <a:pt x="656" y="396"/>
                    <a:pt x="656" y="388"/>
                  </a:cubicBezTo>
                  <a:cubicBezTo>
                    <a:pt x="656" y="380"/>
                    <a:pt x="656" y="372"/>
                    <a:pt x="665" y="372"/>
                  </a:cubicBezTo>
                  <a:cubicBezTo>
                    <a:pt x="672" y="364"/>
                    <a:pt x="680" y="364"/>
                    <a:pt x="688" y="364"/>
                  </a:cubicBezTo>
                  <a:cubicBezTo>
                    <a:pt x="696" y="364"/>
                    <a:pt x="712" y="364"/>
                    <a:pt x="712" y="356"/>
                  </a:cubicBezTo>
                  <a:lnTo>
                    <a:pt x="712" y="356"/>
                  </a:lnTo>
                  <a:cubicBezTo>
                    <a:pt x="712" y="348"/>
                    <a:pt x="704" y="340"/>
                    <a:pt x="696" y="340"/>
                  </a:cubicBezTo>
                  <a:cubicBezTo>
                    <a:pt x="696" y="340"/>
                    <a:pt x="688" y="340"/>
                    <a:pt x="680" y="348"/>
                  </a:cubicBezTo>
                  <a:cubicBezTo>
                    <a:pt x="672" y="348"/>
                    <a:pt x="672" y="356"/>
                    <a:pt x="665" y="356"/>
                  </a:cubicBezTo>
                  <a:cubicBezTo>
                    <a:pt x="665" y="356"/>
                    <a:pt x="665" y="364"/>
                    <a:pt x="656" y="364"/>
                  </a:cubicBezTo>
                  <a:cubicBezTo>
                    <a:pt x="656" y="364"/>
                    <a:pt x="649" y="356"/>
                    <a:pt x="641" y="356"/>
                  </a:cubicBezTo>
                  <a:cubicBezTo>
                    <a:pt x="633" y="340"/>
                    <a:pt x="633" y="340"/>
                    <a:pt x="617" y="332"/>
                  </a:cubicBezTo>
                  <a:cubicBezTo>
                    <a:pt x="609" y="332"/>
                    <a:pt x="601" y="332"/>
                    <a:pt x="585" y="325"/>
                  </a:cubicBezTo>
                  <a:cubicBezTo>
                    <a:pt x="570" y="317"/>
                    <a:pt x="562" y="317"/>
                    <a:pt x="554" y="317"/>
                  </a:cubicBezTo>
                  <a:cubicBezTo>
                    <a:pt x="538" y="309"/>
                    <a:pt x="530" y="309"/>
                    <a:pt x="514" y="301"/>
                  </a:cubicBezTo>
                  <a:cubicBezTo>
                    <a:pt x="506" y="293"/>
                    <a:pt x="498" y="293"/>
                    <a:pt x="483" y="293"/>
                  </a:cubicBezTo>
                  <a:cubicBezTo>
                    <a:pt x="475" y="285"/>
                    <a:pt x="467" y="285"/>
                    <a:pt x="467" y="277"/>
                  </a:cubicBezTo>
                  <a:cubicBezTo>
                    <a:pt x="356" y="309"/>
                    <a:pt x="103" y="372"/>
                    <a:pt x="24" y="372"/>
                  </a:cubicBezTo>
                  <a:cubicBezTo>
                    <a:pt x="16" y="372"/>
                    <a:pt x="16" y="372"/>
                    <a:pt x="8" y="372"/>
                  </a:cubicBezTo>
                  <a:cubicBezTo>
                    <a:pt x="159" y="1566"/>
                    <a:pt x="159" y="1566"/>
                    <a:pt x="159" y="1566"/>
                  </a:cubicBezTo>
                  <a:cubicBezTo>
                    <a:pt x="159" y="1566"/>
                    <a:pt x="166" y="1558"/>
                    <a:pt x="174" y="1558"/>
                  </a:cubicBezTo>
                  <a:lnTo>
                    <a:pt x="174" y="1558"/>
                  </a:lnTo>
                  <a:cubicBezTo>
                    <a:pt x="206" y="1558"/>
                    <a:pt x="230" y="1566"/>
                    <a:pt x="261" y="1573"/>
                  </a:cubicBezTo>
                  <a:lnTo>
                    <a:pt x="269" y="1573"/>
                  </a:lnTo>
                  <a:cubicBezTo>
                    <a:pt x="277" y="1573"/>
                    <a:pt x="285" y="1573"/>
                    <a:pt x="285" y="1566"/>
                  </a:cubicBezTo>
                  <a:cubicBezTo>
                    <a:pt x="293" y="1566"/>
                    <a:pt x="293" y="1566"/>
                    <a:pt x="301" y="1566"/>
                  </a:cubicBezTo>
                  <a:cubicBezTo>
                    <a:pt x="309" y="1566"/>
                    <a:pt x="317" y="1566"/>
                    <a:pt x="325" y="1582"/>
                  </a:cubicBezTo>
                  <a:cubicBezTo>
                    <a:pt x="332" y="1589"/>
                    <a:pt x="340" y="1605"/>
                    <a:pt x="340" y="1613"/>
                  </a:cubicBezTo>
                  <a:cubicBezTo>
                    <a:pt x="356" y="1629"/>
                    <a:pt x="356" y="1645"/>
                    <a:pt x="372" y="1653"/>
                  </a:cubicBezTo>
                  <a:cubicBezTo>
                    <a:pt x="380" y="1660"/>
                    <a:pt x="388" y="1668"/>
                    <a:pt x="388" y="1676"/>
                  </a:cubicBezTo>
                  <a:cubicBezTo>
                    <a:pt x="396" y="1692"/>
                    <a:pt x="396" y="1700"/>
                    <a:pt x="427" y="1708"/>
                  </a:cubicBezTo>
                  <a:cubicBezTo>
                    <a:pt x="435" y="1708"/>
                    <a:pt x="435" y="1708"/>
                    <a:pt x="443" y="1708"/>
                  </a:cubicBezTo>
                  <a:cubicBezTo>
                    <a:pt x="459" y="1708"/>
                    <a:pt x="475" y="1708"/>
                    <a:pt x="483" y="1700"/>
                  </a:cubicBezTo>
                  <a:cubicBezTo>
                    <a:pt x="498" y="1700"/>
                    <a:pt x="506" y="1700"/>
                    <a:pt x="514" y="1700"/>
                  </a:cubicBezTo>
                  <a:cubicBezTo>
                    <a:pt x="530" y="1700"/>
                    <a:pt x="538" y="1700"/>
                    <a:pt x="538" y="1708"/>
                  </a:cubicBezTo>
                  <a:cubicBezTo>
                    <a:pt x="554" y="1724"/>
                    <a:pt x="593" y="1755"/>
                    <a:pt x="617" y="1755"/>
                  </a:cubicBezTo>
                  <a:lnTo>
                    <a:pt x="625" y="1755"/>
                  </a:lnTo>
                  <a:cubicBezTo>
                    <a:pt x="633" y="1755"/>
                    <a:pt x="641" y="1747"/>
                    <a:pt x="641" y="1740"/>
                  </a:cubicBezTo>
                  <a:cubicBezTo>
                    <a:pt x="649" y="1724"/>
                    <a:pt x="649" y="1708"/>
                    <a:pt x="665" y="1708"/>
                  </a:cubicBezTo>
                  <a:cubicBezTo>
                    <a:pt x="672" y="1708"/>
                    <a:pt x="672" y="1708"/>
                    <a:pt x="672" y="1716"/>
                  </a:cubicBezTo>
                  <a:cubicBezTo>
                    <a:pt x="688" y="1716"/>
                    <a:pt x="704" y="1724"/>
                    <a:pt x="712" y="1724"/>
                  </a:cubicBezTo>
                  <a:cubicBezTo>
                    <a:pt x="720" y="1732"/>
                    <a:pt x="720" y="1740"/>
                    <a:pt x="728" y="1732"/>
                  </a:cubicBezTo>
                  <a:cubicBezTo>
                    <a:pt x="751" y="1732"/>
                    <a:pt x="759" y="1724"/>
                    <a:pt x="759" y="1716"/>
                  </a:cubicBezTo>
                  <a:cubicBezTo>
                    <a:pt x="767" y="1716"/>
                    <a:pt x="767" y="1708"/>
                    <a:pt x="783" y="1708"/>
                  </a:cubicBezTo>
                  <a:lnTo>
                    <a:pt x="791" y="1708"/>
                  </a:lnTo>
                  <a:cubicBezTo>
                    <a:pt x="799" y="1708"/>
                    <a:pt x="799" y="1708"/>
                    <a:pt x="807" y="1692"/>
                  </a:cubicBezTo>
                  <a:cubicBezTo>
                    <a:pt x="815" y="1692"/>
                    <a:pt x="823" y="1684"/>
                    <a:pt x="831" y="1676"/>
                  </a:cubicBezTo>
                  <a:lnTo>
                    <a:pt x="862" y="1660"/>
                  </a:lnTo>
                  <a:close/>
                </a:path>
              </a:pathLst>
            </a:custGeom>
            <a:solidFill>
              <a:schemeClr val="accent6"/>
            </a:solidFill>
            <a:ln>
              <a:solidFill>
                <a:schemeClr val="bg2"/>
              </a:solidFill>
            </a:ln>
            <a:effectLst/>
          </p:spPr>
          <p:txBody>
            <a:bodyPr wrap="none" anchor="ctr"/>
            <a:lstStyle/>
            <a:p>
              <a:endParaRPr lang="en-US"/>
            </a:p>
          </p:txBody>
        </p:sp>
        <p:grpSp>
          <p:nvGrpSpPr>
            <p:cNvPr id="117" name="Group 116"/>
            <p:cNvGrpSpPr/>
            <p:nvPr>
              <p:custDataLst>
                <p:tags r:id="rId9"/>
              </p:custDataLst>
            </p:nvPr>
          </p:nvGrpSpPr>
          <p:grpSpPr>
            <a:xfrm>
              <a:off x="1824106" y="2946303"/>
              <a:ext cx="744233" cy="813874"/>
              <a:chOff x="14001891" y="6008321"/>
              <a:chExt cx="1085435" cy="1370709"/>
            </a:xfrm>
          </p:grpSpPr>
          <p:sp>
            <p:nvSpPr>
              <p:cNvPr id="118" name="Freeform 131"/>
              <p:cNvSpPr>
                <a:spLocks noChangeArrowheads="1"/>
              </p:cNvSpPr>
              <p:nvPr/>
            </p:nvSpPr>
            <p:spPr bwMode="auto">
              <a:xfrm>
                <a:off x="14001891" y="6008321"/>
                <a:ext cx="1085435" cy="1370709"/>
              </a:xfrm>
              <a:custGeom>
                <a:avLst/>
                <a:gdLst>
                  <a:gd name="T0" fmla="*/ 2040 w 2064"/>
                  <a:gd name="T1" fmla="*/ 711 h 2608"/>
                  <a:gd name="T2" fmla="*/ 2040 w 2064"/>
                  <a:gd name="T3" fmla="*/ 711 h 2608"/>
                  <a:gd name="T4" fmla="*/ 1344 w 2064"/>
                  <a:gd name="T5" fmla="*/ 632 h 2608"/>
                  <a:gd name="T6" fmla="*/ 1415 w 2064"/>
                  <a:gd name="T7" fmla="*/ 174 h 2608"/>
                  <a:gd name="T8" fmla="*/ 403 w 2064"/>
                  <a:gd name="T9" fmla="*/ 0 h 2608"/>
                  <a:gd name="T10" fmla="*/ 0 w 2064"/>
                  <a:gd name="T11" fmla="*/ 2315 h 2608"/>
                  <a:gd name="T12" fmla="*/ 0 w 2064"/>
                  <a:gd name="T13" fmla="*/ 2315 h 2608"/>
                  <a:gd name="T14" fmla="*/ 24 w 2064"/>
                  <a:gd name="T15" fmla="*/ 2323 h 2608"/>
                  <a:gd name="T16" fmla="*/ 24 w 2064"/>
                  <a:gd name="T17" fmla="*/ 2323 h 2608"/>
                  <a:gd name="T18" fmla="*/ 40 w 2064"/>
                  <a:gd name="T19" fmla="*/ 2323 h 2608"/>
                  <a:gd name="T20" fmla="*/ 40 w 2064"/>
                  <a:gd name="T21" fmla="*/ 2323 h 2608"/>
                  <a:gd name="T22" fmla="*/ 1818 w 2064"/>
                  <a:gd name="T23" fmla="*/ 2607 h 2608"/>
                  <a:gd name="T24" fmla="*/ 2063 w 2064"/>
                  <a:gd name="T25" fmla="*/ 735 h 2608"/>
                  <a:gd name="T26" fmla="*/ 2040 w 2064"/>
                  <a:gd name="T27" fmla="*/ 711 h 2608"/>
                  <a:gd name="T28" fmla="*/ 941 w 2064"/>
                  <a:gd name="T29" fmla="*/ 569 h 2608"/>
                  <a:gd name="T30" fmla="*/ 941 w 2064"/>
                  <a:gd name="T31" fmla="*/ 569 h 2608"/>
                  <a:gd name="T32" fmla="*/ 917 w 2064"/>
                  <a:gd name="T33" fmla="*/ 521 h 2608"/>
                  <a:gd name="T34" fmla="*/ 886 w 2064"/>
                  <a:gd name="T35" fmla="*/ 490 h 2608"/>
                  <a:gd name="T36" fmla="*/ 893 w 2064"/>
                  <a:gd name="T37" fmla="*/ 577 h 2608"/>
                  <a:gd name="T38" fmla="*/ 886 w 2064"/>
                  <a:gd name="T39" fmla="*/ 632 h 2608"/>
                  <a:gd name="T40" fmla="*/ 830 w 2064"/>
                  <a:gd name="T41" fmla="*/ 664 h 2608"/>
                  <a:gd name="T42" fmla="*/ 814 w 2064"/>
                  <a:gd name="T43" fmla="*/ 616 h 2608"/>
                  <a:gd name="T44" fmla="*/ 798 w 2064"/>
                  <a:gd name="T45" fmla="*/ 577 h 2608"/>
                  <a:gd name="T46" fmla="*/ 791 w 2064"/>
                  <a:gd name="T47" fmla="*/ 537 h 2608"/>
                  <a:gd name="T48" fmla="*/ 775 w 2064"/>
                  <a:gd name="T49" fmla="*/ 466 h 2608"/>
                  <a:gd name="T50" fmla="*/ 743 w 2064"/>
                  <a:gd name="T51" fmla="*/ 490 h 2608"/>
                  <a:gd name="T52" fmla="*/ 711 w 2064"/>
                  <a:gd name="T53" fmla="*/ 466 h 2608"/>
                  <a:gd name="T54" fmla="*/ 719 w 2064"/>
                  <a:gd name="T55" fmla="*/ 371 h 2608"/>
                  <a:gd name="T56" fmla="*/ 688 w 2064"/>
                  <a:gd name="T57" fmla="*/ 316 h 2608"/>
                  <a:gd name="T58" fmla="*/ 680 w 2064"/>
                  <a:gd name="T59" fmla="*/ 221 h 2608"/>
                  <a:gd name="T60" fmla="*/ 719 w 2064"/>
                  <a:gd name="T61" fmla="*/ 158 h 2608"/>
                  <a:gd name="T62" fmla="*/ 775 w 2064"/>
                  <a:gd name="T63" fmla="*/ 166 h 2608"/>
                  <a:gd name="T64" fmla="*/ 767 w 2064"/>
                  <a:gd name="T65" fmla="*/ 190 h 2608"/>
                  <a:gd name="T66" fmla="*/ 759 w 2064"/>
                  <a:gd name="T67" fmla="*/ 205 h 2608"/>
                  <a:gd name="T68" fmla="*/ 822 w 2064"/>
                  <a:gd name="T69" fmla="*/ 316 h 2608"/>
                  <a:gd name="T70" fmla="*/ 830 w 2064"/>
                  <a:gd name="T71" fmla="*/ 379 h 2608"/>
                  <a:gd name="T72" fmla="*/ 854 w 2064"/>
                  <a:gd name="T73" fmla="*/ 395 h 2608"/>
                  <a:gd name="T74" fmla="*/ 893 w 2064"/>
                  <a:gd name="T75" fmla="*/ 411 h 2608"/>
                  <a:gd name="T76" fmla="*/ 933 w 2064"/>
                  <a:gd name="T77" fmla="*/ 498 h 2608"/>
                  <a:gd name="T78" fmla="*/ 941 w 2064"/>
                  <a:gd name="T79" fmla="*/ 569 h 2608"/>
                  <a:gd name="T80" fmla="*/ 2040 w 2064"/>
                  <a:gd name="T81" fmla="*/ 711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64" h="2608">
                    <a:moveTo>
                      <a:pt x="2040" y="711"/>
                    </a:moveTo>
                    <a:lnTo>
                      <a:pt x="2040" y="711"/>
                    </a:lnTo>
                    <a:cubicBezTo>
                      <a:pt x="1344" y="632"/>
                      <a:pt x="1344" y="632"/>
                      <a:pt x="1344" y="632"/>
                    </a:cubicBezTo>
                    <a:cubicBezTo>
                      <a:pt x="1415" y="174"/>
                      <a:pt x="1415" y="174"/>
                      <a:pt x="1415" y="174"/>
                    </a:cubicBezTo>
                    <a:cubicBezTo>
                      <a:pt x="1075" y="118"/>
                      <a:pt x="735" y="63"/>
                      <a:pt x="403" y="0"/>
                    </a:cubicBezTo>
                    <a:cubicBezTo>
                      <a:pt x="0" y="2315"/>
                      <a:pt x="0" y="2315"/>
                      <a:pt x="0" y="2315"/>
                    </a:cubicBezTo>
                    <a:lnTo>
                      <a:pt x="0" y="2315"/>
                    </a:lnTo>
                    <a:cubicBezTo>
                      <a:pt x="8" y="2315"/>
                      <a:pt x="8" y="2323"/>
                      <a:pt x="24" y="2323"/>
                    </a:cubicBezTo>
                    <a:lnTo>
                      <a:pt x="24" y="2323"/>
                    </a:lnTo>
                    <a:cubicBezTo>
                      <a:pt x="24" y="2323"/>
                      <a:pt x="32" y="2323"/>
                      <a:pt x="40" y="2323"/>
                    </a:cubicBezTo>
                    <a:lnTo>
                      <a:pt x="40" y="2323"/>
                    </a:lnTo>
                    <a:cubicBezTo>
                      <a:pt x="206" y="2354"/>
                      <a:pt x="814" y="2481"/>
                      <a:pt x="1818" y="2607"/>
                    </a:cubicBezTo>
                    <a:cubicBezTo>
                      <a:pt x="2063" y="735"/>
                      <a:pt x="2063" y="735"/>
                      <a:pt x="2063" y="735"/>
                    </a:cubicBezTo>
                    <a:cubicBezTo>
                      <a:pt x="2040" y="711"/>
                      <a:pt x="2040" y="711"/>
                      <a:pt x="2040" y="711"/>
                    </a:cubicBezTo>
                    <a:lnTo>
                      <a:pt x="941" y="569"/>
                    </a:lnTo>
                    <a:lnTo>
                      <a:pt x="941" y="569"/>
                    </a:lnTo>
                    <a:cubicBezTo>
                      <a:pt x="933" y="585"/>
                      <a:pt x="925" y="561"/>
                      <a:pt x="917" y="521"/>
                    </a:cubicBezTo>
                    <a:cubicBezTo>
                      <a:pt x="901" y="482"/>
                      <a:pt x="901" y="498"/>
                      <a:pt x="886" y="490"/>
                    </a:cubicBezTo>
                    <a:cubicBezTo>
                      <a:pt x="862" y="482"/>
                      <a:pt x="886" y="529"/>
                      <a:pt x="893" y="577"/>
                    </a:cubicBezTo>
                    <a:cubicBezTo>
                      <a:pt x="893" y="616"/>
                      <a:pt x="893" y="601"/>
                      <a:pt x="886" y="632"/>
                    </a:cubicBezTo>
                    <a:cubicBezTo>
                      <a:pt x="877" y="664"/>
                      <a:pt x="854" y="648"/>
                      <a:pt x="830" y="664"/>
                    </a:cubicBezTo>
                    <a:cubicBezTo>
                      <a:pt x="806" y="672"/>
                      <a:pt x="814" y="632"/>
                      <a:pt x="814" y="616"/>
                    </a:cubicBezTo>
                    <a:cubicBezTo>
                      <a:pt x="806" y="601"/>
                      <a:pt x="798" y="601"/>
                      <a:pt x="798" y="577"/>
                    </a:cubicBezTo>
                    <a:cubicBezTo>
                      <a:pt x="798" y="545"/>
                      <a:pt x="798" y="537"/>
                      <a:pt x="791" y="537"/>
                    </a:cubicBezTo>
                    <a:cubicBezTo>
                      <a:pt x="783" y="529"/>
                      <a:pt x="775" y="482"/>
                      <a:pt x="775" y="466"/>
                    </a:cubicBezTo>
                    <a:cubicBezTo>
                      <a:pt x="767" y="450"/>
                      <a:pt x="759" y="458"/>
                      <a:pt x="743" y="490"/>
                    </a:cubicBezTo>
                    <a:cubicBezTo>
                      <a:pt x="719" y="514"/>
                      <a:pt x="719" y="498"/>
                      <a:pt x="711" y="466"/>
                    </a:cubicBezTo>
                    <a:cubicBezTo>
                      <a:pt x="711" y="443"/>
                      <a:pt x="719" y="403"/>
                      <a:pt x="719" y="371"/>
                    </a:cubicBezTo>
                    <a:cubicBezTo>
                      <a:pt x="719" y="340"/>
                      <a:pt x="704" y="348"/>
                      <a:pt x="688" y="316"/>
                    </a:cubicBezTo>
                    <a:cubicBezTo>
                      <a:pt x="664" y="292"/>
                      <a:pt x="680" y="245"/>
                      <a:pt x="680" y="221"/>
                    </a:cubicBezTo>
                    <a:cubicBezTo>
                      <a:pt x="680" y="205"/>
                      <a:pt x="711" y="166"/>
                      <a:pt x="719" y="158"/>
                    </a:cubicBezTo>
                    <a:cubicBezTo>
                      <a:pt x="735" y="142"/>
                      <a:pt x="759" y="150"/>
                      <a:pt x="775" y="166"/>
                    </a:cubicBezTo>
                    <a:cubicBezTo>
                      <a:pt x="791" y="174"/>
                      <a:pt x="775" y="181"/>
                      <a:pt x="767" y="190"/>
                    </a:cubicBezTo>
                    <a:cubicBezTo>
                      <a:pt x="751" y="197"/>
                      <a:pt x="759" y="205"/>
                      <a:pt x="759" y="205"/>
                    </a:cubicBezTo>
                    <a:cubicBezTo>
                      <a:pt x="751" y="237"/>
                      <a:pt x="791" y="292"/>
                      <a:pt x="822" y="316"/>
                    </a:cubicBezTo>
                    <a:cubicBezTo>
                      <a:pt x="846" y="332"/>
                      <a:pt x="830" y="348"/>
                      <a:pt x="830" y="379"/>
                    </a:cubicBezTo>
                    <a:cubicBezTo>
                      <a:pt x="830" y="411"/>
                      <a:pt x="846" y="403"/>
                      <a:pt x="854" y="395"/>
                    </a:cubicBezTo>
                    <a:cubicBezTo>
                      <a:pt x="870" y="395"/>
                      <a:pt x="886" y="395"/>
                      <a:pt x="893" y="411"/>
                    </a:cubicBezTo>
                    <a:cubicBezTo>
                      <a:pt x="893" y="427"/>
                      <a:pt x="917" y="466"/>
                      <a:pt x="933" y="498"/>
                    </a:cubicBezTo>
                    <a:cubicBezTo>
                      <a:pt x="957" y="529"/>
                      <a:pt x="941" y="545"/>
                      <a:pt x="941" y="569"/>
                    </a:cubicBezTo>
                    <a:lnTo>
                      <a:pt x="2040" y="711"/>
                    </a:lnTo>
                  </a:path>
                </a:pathLst>
              </a:custGeom>
              <a:solidFill>
                <a:schemeClr val="accent6"/>
              </a:solidFill>
              <a:ln>
                <a:solidFill>
                  <a:schemeClr val="bg2"/>
                </a:solidFill>
              </a:ln>
              <a:effectLst/>
            </p:spPr>
            <p:txBody>
              <a:bodyPr wrap="none" anchor="ctr"/>
              <a:lstStyle/>
              <a:p>
                <a:endParaRPr lang="en-US"/>
              </a:p>
            </p:txBody>
          </p:sp>
          <p:sp>
            <p:nvSpPr>
              <p:cNvPr id="119" name="Freeform 1061"/>
              <p:cNvSpPr>
                <a:spLocks noChangeArrowheads="1"/>
              </p:cNvSpPr>
              <p:nvPr/>
            </p:nvSpPr>
            <p:spPr bwMode="auto">
              <a:xfrm>
                <a:off x="14306109" y="6070942"/>
                <a:ext cx="221161" cy="329230"/>
              </a:xfrm>
              <a:custGeom>
                <a:avLst/>
                <a:gdLst>
                  <a:gd name="T0" fmla="*/ 31 w 388"/>
                  <a:gd name="T1" fmla="*/ 143 h 579"/>
                  <a:gd name="T2" fmla="*/ 86 w 388"/>
                  <a:gd name="T3" fmla="*/ 32 h 579"/>
                  <a:gd name="T4" fmla="*/ 173 w 388"/>
                  <a:gd name="T5" fmla="*/ 0 h 579"/>
                  <a:gd name="T6" fmla="*/ 387 w 388"/>
                  <a:gd name="T7" fmla="*/ 435 h 579"/>
                  <a:gd name="T8" fmla="*/ 150 w 388"/>
                  <a:gd name="T9" fmla="*/ 578 h 579"/>
                  <a:gd name="T10" fmla="*/ 0 w 388"/>
                  <a:gd name="T11" fmla="*/ 111 h 579"/>
                  <a:gd name="T12" fmla="*/ 31 w 388"/>
                  <a:gd name="T13" fmla="*/ 143 h 579"/>
                </a:gdLst>
                <a:ahLst/>
                <a:cxnLst>
                  <a:cxn ang="0">
                    <a:pos x="T0" y="T1"/>
                  </a:cxn>
                  <a:cxn ang="0">
                    <a:pos x="T2" y="T3"/>
                  </a:cxn>
                  <a:cxn ang="0">
                    <a:pos x="T4" y="T5"/>
                  </a:cxn>
                  <a:cxn ang="0">
                    <a:pos x="T6" y="T7"/>
                  </a:cxn>
                  <a:cxn ang="0">
                    <a:pos x="T8" y="T9"/>
                  </a:cxn>
                  <a:cxn ang="0">
                    <a:pos x="T10" y="T11"/>
                  </a:cxn>
                  <a:cxn ang="0">
                    <a:pos x="T12" y="T13"/>
                  </a:cxn>
                </a:cxnLst>
                <a:rect l="0" t="0" r="r" b="b"/>
                <a:pathLst>
                  <a:path w="388" h="579">
                    <a:moveTo>
                      <a:pt x="31" y="143"/>
                    </a:moveTo>
                    <a:lnTo>
                      <a:pt x="86" y="32"/>
                    </a:lnTo>
                    <a:lnTo>
                      <a:pt x="173" y="0"/>
                    </a:lnTo>
                    <a:lnTo>
                      <a:pt x="387" y="435"/>
                    </a:lnTo>
                    <a:lnTo>
                      <a:pt x="150" y="578"/>
                    </a:lnTo>
                    <a:lnTo>
                      <a:pt x="0" y="111"/>
                    </a:lnTo>
                    <a:lnTo>
                      <a:pt x="31" y="143"/>
                    </a:lnTo>
                  </a:path>
                </a:pathLst>
              </a:custGeom>
              <a:solidFill>
                <a:schemeClr val="accent6"/>
              </a:solidFill>
              <a:ln>
                <a:noFill/>
              </a:ln>
              <a:effectLst/>
            </p:spPr>
            <p:txBody>
              <a:bodyPr wrap="none" anchor="ctr"/>
              <a:lstStyle/>
              <a:p>
                <a:endParaRPr lang="en-US"/>
              </a:p>
            </p:txBody>
          </p:sp>
        </p:grpSp>
      </p:grpSp>
      <p:grpSp>
        <p:nvGrpSpPr>
          <p:cNvPr id="169" name="Group 168"/>
          <p:cNvGrpSpPr/>
          <p:nvPr>
            <p:custDataLst>
              <p:tags r:id="rId2"/>
            </p:custDataLst>
          </p:nvPr>
        </p:nvGrpSpPr>
        <p:grpSpPr>
          <a:xfrm>
            <a:off x="8509483" y="1179317"/>
            <a:ext cx="3499981" cy="5074961"/>
            <a:chOff x="1060116" y="790477"/>
            <a:chExt cx="3499981" cy="5074961"/>
          </a:xfrm>
        </p:grpSpPr>
        <p:grpSp>
          <p:nvGrpSpPr>
            <p:cNvPr id="148" name="Group 147"/>
            <p:cNvGrpSpPr/>
            <p:nvPr>
              <p:custDataLst>
                <p:tags r:id="rId3"/>
              </p:custDataLst>
            </p:nvPr>
          </p:nvGrpSpPr>
          <p:grpSpPr>
            <a:xfrm>
              <a:off x="1844304" y="790477"/>
              <a:ext cx="2715793" cy="1565218"/>
              <a:chOff x="1844304" y="790477"/>
              <a:chExt cx="2715793" cy="1565218"/>
            </a:xfrm>
          </p:grpSpPr>
          <p:sp>
            <p:nvSpPr>
              <p:cNvPr id="121" name="Content Placeholder 2"/>
              <p:cNvSpPr txBox="1">
                <a:spLocks/>
              </p:cNvSpPr>
              <p:nvPr/>
            </p:nvSpPr>
            <p:spPr bwMode="auto">
              <a:xfrm>
                <a:off x="1856496" y="1682927"/>
                <a:ext cx="2703601" cy="672768"/>
              </a:xfrm>
              <a:prstGeom prst="rect">
                <a:avLst/>
              </a:prstGeom>
            </p:spPr>
            <p:txBody>
              <a:bodyPr wrap="square" lIns="182843" tIns="91422" rIns="182843" bIns="91422" numCol="1" anchor="t" anchorCtr="0" compatLnSpc="1">
                <a:prstTxWarp prst="textNoShape">
                  <a:avLst/>
                </a:prstTxWarp>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400" kern="1200" dirty="0" smtClean="0">
                    <a:solidFill>
                      <a:schemeClr val="tx1"/>
                    </a:solidFill>
                    <a:effectLst/>
                    <a:latin typeface="Lato" panose="020F050202020403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tx1"/>
                    </a:solidFill>
                    <a:effectLst/>
                    <a:latin typeface="Lato" panose="020F050202020403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effectLst/>
                    <a:latin typeface="Lato" panose="020F050202020403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effectLst/>
                    <a:latin typeface="Lato" panose="020F050202020403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a:solidFill>
                      <a:schemeClr val="tx1"/>
                    </a:solidFill>
                    <a:effectLst/>
                    <a:latin typeface="Lato" panose="020F050202020403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rgbClr val="58595B"/>
                    </a:solidFill>
                    <a:latin typeface="+mj-lt"/>
                    <a:cs typeface="Lato Light"/>
                  </a:rPr>
                  <a:t>Curabitur elementum posuere pretium. Quisque nibh dolor, dignissim ac </a:t>
                </a:r>
                <a:r>
                  <a:rPr lang="en-US" sz="1200" dirty="0" smtClean="0">
                    <a:solidFill>
                      <a:srgbClr val="58595B"/>
                    </a:solidFill>
                    <a:latin typeface="+mj-lt"/>
                    <a:cs typeface="Lato Light"/>
                  </a:rPr>
                  <a:t>dignissim</a:t>
                </a:r>
                <a:endParaRPr lang="en-US" sz="1200" dirty="0">
                  <a:solidFill>
                    <a:srgbClr val="58595B"/>
                  </a:solidFill>
                  <a:latin typeface="+mj-lt"/>
                  <a:cs typeface="Lato Light"/>
                </a:endParaRPr>
              </a:p>
            </p:txBody>
          </p:sp>
          <p:grpSp>
            <p:nvGrpSpPr>
              <p:cNvPr id="123" name="Group 122"/>
              <p:cNvGrpSpPr>
                <a:grpSpLocks/>
              </p:cNvGrpSpPr>
              <p:nvPr>
                <p:custDataLst>
                  <p:tags r:id="rId8"/>
                </p:custDataLst>
              </p:nvPr>
            </p:nvGrpSpPr>
            <p:grpSpPr bwMode="auto">
              <a:xfrm>
                <a:off x="1844304" y="790477"/>
                <a:ext cx="2561645" cy="1375834"/>
                <a:chOff x="975398" y="1453103"/>
                <a:chExt cx="960910" cy="516725"/>
              </a:xfrm>
            </p:grpSpPr>
            <p:sp>
              <p:nvSpPr>
                <p:cNvPr id="125" name="Content Placeholder 2"/>
                <p:cNvSpPr txBox="1">
                  <a:spLocks/>
                </p:cNvSpPr>
                <p:nvPr/>
              </p:nvSpPr>
              <p:spPr>
                <a:xfrm>
                  <a:off x="975398" y="1453103"/>
                  <a:ext cx="923967" cy="459489"/>
                </a:xfrm>
                <a:prstGeom prst="rect">
                  <a:avLst/>
                </a:prstGeom>
              </p:spPr>
              <p:txBody>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4000" dirty="0">
                      <a:solidFill>
                        <a:srgbClr val="0A3E56"/>
                      </a:solidFill>
                      <a:latin typeface="+mj-lt"/>
                      <a:cs typeface="Lato Regular"/>
                    </a:rPr>
                    <a:t>18%</a:t>
                  </a:r>
                </a:p>
              </p:txBody>
            </p:sp>
            <p:sp>
              <p:nvSpPr>
                <p:cNvPr id="126" name="Content Placeholder 2"/>
                <p:cNvSpPr txBox="1">
                  <a:spLocks/>
                </p:cNvSpPr>
                <p:nvPr/>
              </p:nvSpPr>
              <p:spPr>
                <a:xfrm>
                  <a:off x="1012341" y="1685231"/>
                  <a:ext cx="923967" cy="284597"/>
                </a:xfrm>
                <a:prstGeom prst="rect">
                  <a:avLst/>
                </a:prstGeom>
              </p:spPr>
              <p:txBody>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1600" b="1" dirty="0">
                      <a:solidFill>
                        <a:srgbClr val="0A3E56"/>
                      </a:solidFill>
                      <a:latin typeface="+mj-lt"/>
                      <a:cs typeface="Lato Regular"/>
                    </a:rPr>
                    <a:t>Fall Leaf</a:t>
                  </a:r>
                </a:p>
              </p:txBody>
            </p:sp>
          </p:grpSp>
        </p:grpSp>
        <p:sp>
          <p:nvSpPr>
            <p:cNvPr id="124" name="AutoShape 91"/>
            <p:cNvSpPr>
              <a:spLocks/>
            </p:cNvSpPr>
            <p:nvPr/>
          </p:nvSpPr>
          <p:spPr bwMode="auto">
            <a:xfrm>
              <a:off x="1067929" y="921381"/>
              <a:ext cx="596660" cy="656498"/>
            </a:xfrm>
            <a:custGeom>
              <a:avLst/>
              <a:gdLst>
                <a:gd name="T0" fmla="+- 0 10795 54"/>
                <a:gd name="T1" fmla="*/ T0 w 21483"/>
                <a:gd name="T2" fmla="*/ 10800 h 21600"/>
                <a:gd name="T3" fmla="+- 0 10795 54"/>
                <a:gd name="T4" fmla="*/ T3 w 21483"/>
                <a:gd name="T5" fmla="*/ 10800 h 21600"/>
                <a:gd name="T6" fmla="+- 0 10795 54"/>
                <a:gd name="T7" fmla="*/ T6 w 21483"/>
                <a:gd name="T8" fmla="*/ 10800 h 21600"/>
                <a:gd name="T9" fmla="+- 0 10795 54"/>
                <a:gd name="T10" fmla="*/ T9 w 21483"/>
                <a:gd name="T11" fmla="*/ 10800 h 21600"/>
              </a:gdLst>
              <a:ahLst/>
              <a:cxnLst>
                <a:cxn ang="0">
                  <a:pos x="T1" y="T2"/>
                </a:cxn>
                <a:cxn ang="0">
                  <a:pos x="T4" y="T5"/>
                </a:cxn>
                <a:cxn ang="0">
                  <a:pos x="T7" y="T8"/>
                </a:cxn>
                <a:cxn ang="0">
                  <a:pos x="T10" y="T11"/>
                </a:cxn>
              </a:cxnLst>
              <a:rect l="0" t="0" r="r" b="b"/>
              <a:pathLst>
                <a:path w="21483" h="21600">
                  <a:moveTo>
                    <a:pt x="20490" y="581"/>
                  </a:moveTo>
                  <a:cubicBezTo>
                    <a:pt x="20984" y="1781"/>
                    <a:pt x="21295" y="3048"/>
                    <a:pt x="21421" y="4387"/>
                  </a:cubicBezTo>
                  <a:cubicBezTo>
                    <a:pt x="21545" y="5722"/>
                    <a:pt x="21482" y="7179"/>
                    <a:pt x="21220" y="8744"/>
                  </a:cubicBezTo>
                  <a:cubicBezTo>
                    <a:pt x="20549" y="13134"/>
                    <a:pt x="18385" y="16469"/>
                    <a:pt x="14732" y="18748"/>
                  </a:cubicBezTo>
                  <a:cubicBezTo>
                    <a:pt x="13010" y="19857"/>
                    <a:pt x="11265" y="20408"/>
                    <a:pt x="9505" y="20408"/>
                  </a:cubicBezTo>
                  <a:cubicBezTo>
                    <a:pt x="8354" y="20408"/>
                    <a:pt x="7208" y="20165"/>
                    <a:pt x="6064" y="19682"/>
                  </a:cubicBezTo>
                  <a:cubicBezTo>
                    <a:pt x="5893" y="19609"/>
                    <a:pt x="5725" y="19519"/>
                    <a:pt x="5556" y="19411"/>
                  </a:cubicBezTo>
                  <a:cubicBezTo>
                    <a:pt x="5388" y="19301"/>
                    <a:pt x="5221" y="19191"/>
                    <a:pt x="5058" y="19075"/>
                  </a:cubicBezTo>
                  <a:cubicBezTo>
                    <a:pt x="4840" y="18928"/>
                    <a:pt x="4625" y="18790"/>
                    <a:pt x="4414" y="18660"/>
                  </a:cubicBezTo>
                  <a:cubicBezTo>
                    <a:pt x="4199" y="18527"/>
                    <a:pt x="4017" y="18465"/>
                    <a:pt x="3857" y="18465"/>
                  </a:cubicBezTo>
                  <a:cubicBezTo>
                    <a:pt x="3785" y="18485"/>
                    <a:pt x="3698" y="18561"/>
                    <a:pt x="3598" y="18700"/>
                  </a:cubicBezTo>
                  <a:cubicBezTo>
                    <a:pt x="3497" y="18841"/>
                    <a:pt x="3392" y="18996"/>
                    <a:pt x="3287" y="19174"/>
                  </a:cubicBezTo>
                  <a:cubicBezTo>
                    <a:pt x="3184" y="19349"/>
                    <a:pt x="3085" y="19536"/>
                    <a:pt x="2989" y="19728"/>
                  </a:cubicBezTo>
                  <a:cubicBezTo>
                    <a:pt x="2898" y="19922"/>
                    <a:pt x="2821" y="20072"/>
                    <a:pt x="2760" y="20179"/>
                  </a:cubicBezTo>
                  <a:cubicBezTo>
                    <a:pt x="2655" y="20388"/>
                    <a:pt x="2557" y="20575"/>
                    <a:pt x="2463" y="20741"/>
                  </a:cubicBezTo>
                  <a:cubicBezTo>
                    <a:pt x="2372" y="20908"/>
                    <a:pt x="2285" y="21055"/>
                    <a:pt x="2213" y="21182"/>
                  </a:cubicBezTo>
                  <a:cubicBezTo>
                    <a:pt x="2025" y="21461"/>
                    <a:pt x="1787" y="21599"/>
                    <a:pt x="1494" y="21599"/>
                  </a:cubicBezTo>
                  <a:lnTo>
                    <a:pt x="1450" y="21599"/>
                  </a:lnTo>
                  <a:cubicBezTo>
                    <a:pt x="1235" y="21583"/>
                    <a:pt x="1050" y="21526"/>
                    <a:pt x="895" y="21433"/>
                  </a:cubicBezTo>
                  <a:cubicBezTo>
                    <a:pt x="743" y="21334"/>
                    <a:pt x="617" y="21224"/>
                    <a:pt x="521" y="21097"/>
                  </a:cubicBezTo>
                  <a:cubicBezTo>
                    <a:pt x="425" y="20975"/>
                    <a:pt x="348" y="20846"/>
                    <a:pt x="292" y="20716"/>
                  </a:cubicBezTo>
                  <a:cubicBezTo>
                    <a:pt x="236" y="20586"/>
                    <a:pt x="198" y="20484"/>
                    <a:pt x="184" y="20408"/>
                  </a:cubicBezTo>
                  <a:cubicBezTo>
                    <a:pt x="-17" y="20077"/>
                    <a:pt x="-54" y="19724"/>
                    <a:pt x="74" y="19355"/>
                  </a:cubicBezTo>
                  <a:cubicBezTo>
                    <a:pt x="222" y="18877"/>
                    <a:pt x="430" y="18479"/>
                    <a:pt x="699" y="18152"/>
                  </a:cubicBezTo>
                  <a:cubicBezTo>
                    <a:pt x="970" y="17827"/>
                    <a:pt x="1235" y="17536"/>
                    <a:pt x="1494" y="17276"/>
                  </a:cubicBezTo>
                  <a:cubicBezTo>
                    <a:pt x="1712" y="17068"/>
                    <a:pt x="1901" y="16873"/>
                    <a:pt x="2061" y="16692"/>
                  </a:cubicBezTo>
                  <a:cubicBezTo>
                    <a:pt x="2222" y="16511"/>
                    <a:pt x="2325" y="16319"/>
                    <a:pt x="2367" y="16113"/>
                  </a:cubicBezTo>
                  <a:cubicBezTo>
                    <a:pt x="2383" y="16057"/>
                    <a:pt x="2383" y="16003"/>
                    <a:pt x="2367" y="15949"/>
                  </a:cubicBezTo>
                  <a:cubicBezTo>
                    <a:pt x="2353" y="15899"/>
                    <a:pt x="2318" y="15783"/>
                    <a:pt x="2257" y="15611"/>
                  </a:cubicBezTo>
                  <a:cubicBezTo>
                    <a:pt x="2213" y="15503"/>
                    <a:pt x="2168" y="15379"/>
                    <a:pt x="2128" y="15241"/>
                  </a:cubicBezTo>
                  <a:cubicBezTo>
                    <a:pt x="2086" y="15100"/>
                    <a:pt x="2051" y="14941"/>
                    <a:pt x="2021" y="14761"/>
                  </a:cubicBezTo>
                  <a:cubicBezTo>
                    <a:pt x="1836" y="13321"/>
                    <a:pt x="1883" y="11988"/>
                    <a:pt x="2166" y="10774"/>
                  </a:cubicBezTo>
                  <a:cubicBezTo>
                    <a:pt x="2449" y="9557"/>
                    <a:pt x="2898" y="8464"/>
                    <a:pt x="3509" y="7493"/>
                  </a:cubicBezTo>
                  <a:cubicBezTo>
                    <a:pt x="4122" y="6527"/>
                    <a:pt x="4852" y="5689"/>
                    <a:pt x="5694" y="4986"/>
                  </a:cubicBezTo>
                  <a:cubicBezTo>
                    <a:pt x="6539" y="4283"/>
                    <a:pt x="7416" y="3741"/>
                    <a:pt x="8326" y="3351"/>
                  </a:cubicBezTo>
                  <a:cubicBezTo>
                    <a:pt x="8939" y="3091"/>
                    <a:pt x="9611" y="2939"/>
                    <a:pt x="10336" y="2894"/>
                  </a:cubicBezTo>
                  <a:cubicBezTo>
                    <a:pt x="11066" y="2848"/>
                    <a:pt x="11826" y="2817"/>
                    <a:pt x="12617" y="2798"/>
                  </a:cubicBezTo>
                  <a:cubicBezTo>
                    <a:pt x="13073" y="2798"/>
                    <a:pt x="13546" y="2789"/>
                    <a:pt x="14037" y="2772"/>
                  </a:cubicBezTo>
                  <a:cubicBezTo>
                    <a:pt x="14531" y="2752"/>
                    <a:pt x="15008" y="2704"/>
                    <a:pt x="15469" y="2623"/>
                  </a:cubicBezTo>
                  <a:cubicBezTo>
                    <a:pt x="15926" y="2541"/>
                    <a:pt x="16351" y="2414"/>
                    <a:pt x="16740" y="2239"/>
                  </a:cubicBezTo>
                  <a:cubicBezTo>
                    <a:pt x="17128" y="2064"/>
                    <a:pt x="17446" y="1815"/>
                    <a:pt x="17692" y="1499"/>
                  </a:cubicBezTo>
                  <a:cubicBezTo>
                    <a:pt x="17839" y="1321"/>
                    <a:pt x="17984" y="1135"/>
                    <a:pt x="18125" y="948"/>
                  </a:cubicBezTo>
                  <a:cubicBezTo>
                    <a:pt x="18261" y="756"/>
                    <a:pt x="18403" y="595"/>
                    <a:pt x="18548" y="460"/>
                  </a:cubicBezTo>
                  <a:cubicBezTo>
                    <a:pt x="18696" y="324"/>
                    <a:pt x="18855" y="214"/>
                    <a:pt x="19028" y="129"/>
                  </a:cubicBezTo>
                  <a:cubicBezTo>
                    <a:pt x="19206" y="42"/>
                    <a:pt x="19423" y="0"/>
                    <a:pt x="19688" y="0"/>
                  </a:cubicBezTo>
                  <a:cubicBezTo>
                    <a:pt x="19856" y="0"/>
                    <a:pt x="20015" y="50"/>
                    <a:pt x="20163" y="155"/>
                  </a:cubicBezTo>
                  <a:cubicBezTo>
                    <a:pt x="20308" y="261"/>
                    <a:pt x="20418" y="400"/>
                    <a:pt x="20490" y="581"/>
                  </a:cubicBezTo>
                  <a:moveTo>
                    <a:pt x="15350" y="9977"/>
                  </a:moveTo>
                  <a:cubicBezTo>
                    <a:pt x="15596" y="10017"/>
                    <a:pt x="15811" y="9927"/>
                    <a:pt x="15993" y="9712"/>
                  </a:cubicBezTo>
                  <a:cubicBezTo>
                    <a:pt x="16178" y="9503"/>
                    <a:pt x="16276" y="9249"/>
                    <a:pt x="16291" y="8953"/>
                  </a:cubicBezTo>
                  <a:cubicBezTo>
                    <a:pt x="16305" y="8636"/>
                    <a:pt x="16230" y="8374"/>
                    <a:pt x="16064" y="8159"/>
                  </a:cubicBezTo>
                  <a:cubicBezTo>
                    <a:pt x="15893" y="7947"/>
                    <a:pt x="15680" y="7832"/>
                    <a:pt x="15418" y="7815"/>
                  </a:cubicBezTo>
                  <a:cubicBezTo>
                    <a:pt x="14321" y="7761"/>
                    <a:pt x="13284" y="7834"/>
                    <a:pt x="12315" y="8038"/>
                  </a:cubicBezTo>
                  <a:cubicBezTo>
                    <a:pt x="11344" y="8241"/>
                    <a:pt x="10425" y="8571"/>
                    <a:pt x="9550" y="9032"/>
                  </a:cubicBezTo>
                  <a:cubicBezTo>
                    <a:pt x="8673" y="9492"/>
                    <a:pt x="7842" y="10090"/>
                    <a:pt x="7046" y="10830"/>
                  </a:cubicBezTo>
                  <a:cubicBezTo>
                    <a:pt x="6249" y="11567"/>
                    <a:pt x="5479" y="12465"/>
                    <a:pt x="4732" y="13518"/>
                  </a:cubicBezTo>
                  <a:cubicBezTo>
                    <a:pt x="4562" y="13764"/>
                    <a:pt x="4482" y="14032"/>
                    <a:pt x="4496" y="14323"/>
                  </a:cubicBezTo>
                  <a:cubicBezTo>
                    <a:pt x="4510" y="14617"/>
                    <a:pt x="4620" y="14862"/>
                    <a:pt x="4821" y="15063"/>
                  </a:cubicBezTo>
                  <a:cubicBezTo>
                    <a:pt x="4971" y="15221"/>
                    <a:pt x="5163" y="15311"/>
                    <a:pt x="5392" y="15317"/>
                  </a:cubicBezTo>
                  <a:cubicBezTo>
                    <a:pt x="5668" y="15317"/>
                    <a:pt x="5900" y="15195"/>
                    <a:pt x="6087" y="14953"/>
                  </a:cubicBezTo>
                  <a:cubicBezTo>
                    <a:pt x="6759" y="14035"/>
                    <a:pt x="7435" y="13244"/>
                    <a:pt x="8116" y="12586"/>
                  </a:cubicBezTo>
                  <a:cubicBezTo>
                    <a:pt x="8794" y="11929"/>
                    <a:pt x="9510" y="11401"/>
                    <a:pt x="10259" y="11005"/>
                  </a:cubicBezTo>
                  <a:cubicBezTo>
                    <a:pt x="11010" y="10610"/>
                    <a:pt x="11801" y="10330"/>
                    <a:pt x="12636" y="10167"/>
                  </a:cubicBezTo>
                  <a:cubicBezTo>
                    <a:pt x="13467" y="10003"/>
                    <a:pt x="14372" y="9938"/>
                    <a:pt x="15350" y="9977"/>
                  </a:cubicBezTo>
                </a:path>
              </a:pathLst>
            </a:custGeom>
            <a:solidFill>
              <a:srgbClr val="0A3E56"/>
            </a:solidFill>
            <a:ln>
              <a:noFill/>
            </a:ln>
            <a:effectLst/>
            <a:extLst/>
          </p:spPr>
          <p:txBody>
            <a:bodyPr lIns="50799" tIns="50799" rIns="50799" bIns="50799" anchor="ctr"/>
            <a:lstStyle/>
            <a:p>
              <a:pPr defTabSz="914195">
                <a:defRPr/>
              </a:pPr>
              <a:endParaRPr lang="es-ES" sz="3600" dirty="0">
                <a:solidFill>
                  <a:srgbClr val="58595B"/>
                </a:solidFill>
                <a:effectLst>
                  <a:outerShdw blurRad="38100" dist="38100" dir="2700000" algn="tl">
                    <a:srgbClr val="000000"/>
                  </a:outerShdw>
                </a:effectLst>
                <a:latin typeface="+mj-lt"/>
                <a:cs typeface="Gill Sans" charset="0"/>
                <a:sym typeface="Gill Sans" charset="0"/>
              </a:endParaRPr>
            </a:p>
          </p:txBody>
        </p:sp>
        <p:sp>
          <p:nvSpPr>
            <p:cNvPr id="131" name="AutoShape 28"/>
            <p:cNvSpPr>
              <a:spLocks/>
            </p:cNvSpPr>
            <p:nvPr/>
          </p:nvSpPr>
          <p:spPr bwMode="auto">
            <a:xfrm>
              <a:off x="1060116" y="3008584"/>
              <a:ext cx="612286" cy="609998"/>
            </a:xfrm>
            <a:custGeom>
              <a:avLst/>
              <a:gdLst>
                <a:gd name="T0" fmla="*/ 10800 w 21600"/>
                <a:gd name="T1" fmla="+- 0 10821 42"/>
                <a:gd name="T2" fmla="*/ 10821 h 21558"/>
                <a:gd name="T3" fmla="*/ 10800 w 21600"/>
                <a:gd name="T4" fmla="+- 0 10821 42"/>
                <a:gd name="T5" fmla="*/ 10821 h 21558"/>
                <a:gd name="T6" fmla="*/ 10800 w 21600"/>
                <a:gd name="T7" fmla="+- 0 10821 42"/>
                <a:gd name="T8" fmla="*/ 10821 h 21558"/>
                <a:gd name="T9" fmla="*/ 10800 w 21600"/>
                <a:gd name="T10" fmla="+- 0 10821 42"/>
                <a:gd name="T11" fmla="*/ 10821 h 21558"/>
              </a:gdLst>
              <a:ahLst/>
              <a:cxnLst>
                <a:cxn ang="0">
                  <a:pos x="T0" y="T2"/>
                </a:cxn>
                <a:cxn ang="0">
                  <a:pos x="T3" y="T5"/>
                </a:cxn>
                <a:cxn ang="0">
                  <a:pos x="T6" y="T8"/>
                </a:cxn>
                <a:cxn ang="0">
                  <a:pos x="T9" y="T11"/>
                </a:cxn>
              </a:cxnLst>
              <a:rect l="0" t="0" r="r" b="b"/>
              <a:pathLst>
                <a:path w="21600" h="21558">
                  <a:moveTo>
                    <a:pt x="18076" y="8547"/>
                  </a:moveTo>
                  <a:cubicBezTo>
                    <a:pt x="19181" y="9499"/>
                    <a:pt x="20046" y="10569"/>
                    <a:pt x="20670" y="11749"/>
                  </a:cubicBezTo>
                  <a:cubicBezTo>
                    <a:pt x="21291" y="12932"/>
                    <a:pt x="21599" y="14075"/>
                    <a:pt x="21599" y="15179"/>
                  </a:cubicBezTo>
                  <a:cubicBezTo>
                    <a:pt x="21599" y="16159"/>
                    <a:pt x="21344" y="17040"/>
                    <a:pt x="20832" y="17815"/>
                  </a:cubicBezTo>
                  <a:cubicBezTo>
                    <a:pt x="20320" y="18592"/>
                    <a:pt x="19593" y="19260"/>
                    <a:pt x="18660" y="19812"/>
                  </a:cubicBezTo>
                  <a:cubicBezTo>
                    <a:pt x="17724" y="20363"/>
                    <a:pt x="16585" y="20794"/>
                    <a:pt x="15252" y="21098"/>
                  </a:cubicBezTo>
                  <a:cubicBezTo>
                    <a:pt x="13917" y="21403"/>
                    <a:pt x="12435" y="21558"/>
                    <a:pt x="10800" y="21558"/>
                  </a:cubicBezTo>
                  <a:cubicBezTo>
                    <a:pt x="9168" y="21558"/>
                    <a:pt x="7682" y="21403"/>
                    <a:pt x="6350" y="21098"/>
                  </a:cubicBezTo>
                  <a:cubicBezTo>
                    <a:pt x="5014" y="20794"/>
                    <a:pt x="3878" y="20363"/>
                    <a:pt x="2936" y="19812"/>
                  </a:cubicBezTo>
                  <a:cubicBezTo>
                    <a:pt x="1993" y="19260"/>
                    <a:pt x="1270" y="18589"/>
                    <a:pt x="761" y="17809"/>
                  </a:cubicBezTo>
                  <a:cubicBezTo>
                    <a:pt x="255" y="17029"/>
                    <a:pt x="0" y="16150"/>
                    <a:pt x="0" y="15179"/>
                  </a:cubicBezTo>
                  <a:cubicBezTo>
                    <a:pt x="0" y="14075"/>
                    <a:pt x="318" y="12934"/>
                    <a:pt x="948" y="11757"/>
                  </a:cubicBezTo>
                  <a:cubicBezTo>
                    <a:pt x="1582" y="10580"/>
                    <a:pt x="2449" y="9510"/>
                    <a:pt x="3557" y="8547"/>
                  </a:cubicBezTo>
                  <a:cubicBezTo>
                    <a:pt x="3654" y="8403"/>
                    <a:pt x="3822" y="8344"/>
                    <a:pt x="4056" y="8369"/>
                  </a:cubicBezTo>
                  <a:cubicBezTo>
                    <a:pt x="4290" y="8398"/>
                    <a:pt x="4446" y="8491"/>
                    <a:pt x="4527" y="8654"/>
                  </a:cubicBezTo>
                  <a:cubicBezTo>
                    <a:pt x="4565" y="8800"/>
                    <a:pt x="4565" y="8930"/>
                    <a:pt x="4527" y="9045"/>
                  </a:cubicBezTo>
                  <a:cubicBezTo>
                    <a:pt x="4446" y="9361"/>
                    <a:pt x="4378" y="9738"/>
                    <a:pt x="4318" y="10177"/>
                  </a:cubicBezTo>
                  <a:cubicBezTo>
                    <a:pt x="4259" y="10617"/>
                    <a:pt x="4237" y="11073"/>
                    <a:pt x="4259" y="11546"/>
                  </a:cubicBezTo>
                  <a:cubicBezTo>
                    <a:pt x="4278" y="12016"/>
                    <a:pt x="4343" y="12475"/>
                    <a:pt x="4452" y="12915"/>
                  </a:cubicBezTo>
                  <a:cubicBezTo>
                    <a:pt x="4562" y="13354"/>
                    <a:pt x="4749" y="13734"/>
                    <a:pt x="5020" y="14047"/>
                  </a:cubicBezTo>
                  <a:cubicBezTo>
                    <a:pt x="5329" y="14379"/>
                    <a:pt x="5716" y="14599"/>
                    <a:pt x="6184" y="14709"/>
                  </a:cubicBezTo>
                  <a:cubicBezTo>
                    <a:pt x="5698" y="13323"/>
                    <a:pt x="5498" y="12008"/>
                    <a:pt x="5588" y="10757"/>
                  </a:cubicBezTo>
                  <a:cubicBezTo>
                    <a:pt x="5676" y="9510"/>
                    <a:pt x="5919" y="8344"/>
                    <a:pt x="6318" y="7265"/>
                  </a:cubicBezTo>
                  <a:cubicBezTo>
                    <a:pt x="6718" y="6187"/>
                    <a:pt x="7223" y="5212"/>
                    <a:pt x="7835" y="4339"/>
                  </a:cubicBezTo>
                  <a:cubicBezTo>
                    <a:pt x="8450" y="3469"/>
                    <a:pt x="9040" y="2720"/>
                    <a:pt x="9607" y="2089"/>
                  </a:cubicBezTo>
                  <a:cubicBezTo>
                    <a:pt x="10172" y="1459"/>
                    <a:pt x="10662" y="980"/>
                    <a:pt x="11068" y="653"/>
                  </a:cubicBezTo>
                  <a:cubicBezTo>
                    <a:pt x="11477" y="326"/>
                    <a:pt x="11692" y="149"/>
                    <a:pt x="11711" y="124"/>
                  </a:cubicBezTo>
                  <a:cubicBezTo>
                    <a:pt x="11960" y="-42"/>
                    <a:pt x="12194" y="-42"/>
                    <a:pt x="12416" y="124"/>
                  </a:cubicBezTo>
                  <a:cubicBezTo>
                    <a:pt x="12513" y="191"/>
                    <a:pt x="12581" y="293"/>
                    <a:pt x="12616" y="414"/>
                  </a:cubicBezTo>
                  <a:cubicBezTo>
                    <a:pt x="12650" y="535"/>
                    <a:pt x="12647" y="645"/>
                    <a:pt x="12609" y="746"/>
                  </a:cubicBezTo>
                  <a:cubicBezTo>
                    <a:pt x="12609" y="760"/>
                    <a:pt x="12531" y="954"/>
                    <a:pt x="12375" y="1318"/>
                  </a:cubicBezTo>
                  <a:cubicBezTo>
                    <a:pt x="12222" y="1681"/>
                    <a:pt x="12116" y="2140"/>
                    <a:pt x="12057" y="2692"/>
                  </a:cubicBezTo>
                  <a:cubicBezTo>
                    <a:pt x="11995" y="3244"/>
                    <a:pt x="12029" y="3849"/>
                    <a:pt x="12160" y="4503"/>
                  </a:cubicBezTo>
                  <a:cubicBezTo>
                    <a:pt x="12291" y="5162"/>
                    <a:pt x="12644" y="5773"/>
                    <a:pt x="13221" y="6339"/>
                  </a:cubicBezTo>
                  <a:cubicBezTo>
                    <a:pt x="13589" y="6728"/>
                    <a:pt x="13926" y="7108"/>
                    <a:pt x="14229" y="7485"/>
                  </a:cubicBezTo>
                  <a:cubicBezTo>
                    <a:pt x="14532" y="7862"/>
                    <a:pt x="14791" y="8282"/>
                    <a:pt x="15006" y="8744"/>
                  </a:cubicBezTo>
                  <a:cubicBezTo>
                    <a:pt x="15218" y="9209"/>
                    <a:pt x="15390" y="9749"/>
                    <a:pt x="15515" y="10363"/>
                  </a:cubicBezTo>
                  <a:cubicBezTo>
                    <a:pt x="15639" y="10977"/>
                    <a:pt x="15702" y="11709"/>
                    <a:pt x="15702" y="12554"/>
                  </a:cubicBezTo>
                  <a:cubicBezTo>
                    <a:pt x="15702" y="12850"/>
                    <a:pt x="15546" y="13027"/>
                    <a:pt x="15237" y="13078"/>
                  </a:cubicBezTo>
                  <a:cubicBezTo>
                    <a:pt x="15118" y="13098"/>
                    <a:pt x="14997" y="13078"/>
                    <a:pt x="14872" y="13027"/>
                  </a:cubicBezTo>
                  <a:cubicBezTo>
                    <a:pt x="14747" y="12971"/>
                    <a:pt x="14666" y="12886"/>
                    <a:pt x="14625" y="12768"/>
                  </a:cubicBezTo>
                  <a:cubicBezTo>
                    <a:pt x="14485" y="12489"/>
                    <a:pt x="14276" y="12270"/>
                    <a:pt x="13998" y="12109"/>
                  </a:cubicBezTo>
                  <a:cubicBezTo>
                    <a:pt x="13720" y="11946"/>
                    <a:pt x="13405" y="11867"/>
                    <a:pt x="13056" y="11867"/>
                  </a:cubicBezTo>
                  <a:cubicBezTo>
                    <a:pt x="12588" y="11867"/>
                    <a:pt x="12191" y="12016"/>
                    <a:pt x="11870" y="12318"/>
                  </a:cubicBezTo>
                  <a:cubicBezTo>
                    <a:pt x="11545" y="12619"/>
                    <a:pt x="11383" y="12985"/>
                    <a:pt x="11383" y="13419"/>
                  </a:cubicBezTo>
                  <a:cubicBezTo>
                    <a:pt x="11383" y="14503"/>
                    <a:pt x="12160" y="15044"/>
                    <a:pt x="13714" y="15035"/>
                  </a:cubicBezTo>
                  <a:cubicBezTo>
                    <a:pt x="14691" y="15035"/>
                    <a:pt x="15452" y="14751"/>
                    <a:pt x="15998" y="14185"/>
                  </a:cubicBezTo>
                  <a:cubicBezTo>
                    <a:pt x="16370" y="13799"/>
                    <a:pt x="16635" y="13343"/>
                    <a:pt x="16797" y="12819"/>
                  </a:cubicBezTo>
                  <a:cubicBezTo>
                    <a:pt x="16963" y="12290"/>
                    <a:pt x="17065" y="11777"/>
                    <a:pt x="17103" y="11273"/>
                  </a:cubicBezTo>
                  <a:cubicBezTo>
                    <a:pt x="17143" y="10769"/>
                    <a:pt x="17156" y="10310"/>
                    <a:pt x="17134" y="9893"/>
                  </a:cubicBezTo>
                  <a:cubicBezTo>
                    <a:pt x="17115" y="9473"/>
                    <a:pt x="17097" y="9195"/>
                    <a:pt x="17075" y="9048"/>
                  </a:cubicBezTo>
                  <a:cubicBezTo>
                    <a:pt x="17016" y="8941"/>
                    <a:pt x="17016" y="8812"/>
                    <a:pt x="17075" y="8657"/>
                  </a:cubicBezTo>
                  <a:cubicBezTo>
                    <a:pt x="17156" y="8493"/>
                    <a:pt x="17312" y="8400"/>
                    <a:pt x="17546" y="8372"/>
                  </a:cubicBezTo>
                  <a:cubicBezTo>
                    <a:pt x="17780" y="8347"/>
                    <a:pt x="17955" y="8403"/>
                    <a:pt x="18076" y="8547"/>
                  </a:cubicBezTo>
                </a:path>
              </a:pathLst>
            </a:custGeom>
            <a:solidFill>
              <a:srgbClr val="58595B"/>
            </a:solidFill>
            <a:ln>
              <a:noFill/>
            </a:ln>
            <a:effectLst/>
            <a:extLst/>
          </p:spPr>
          <p:txBody>
            <a:bodyPr lIns="50799" tIns="50799" rIns="50799" bIns="50799" anchor="ctr"/>
            <a:lstStyle/>
            <a:p>
              <a:pPr defTabSz="914195">
                <a:defRPr/>
              </a:pPr>
              <a:endParaRPr lang="es-ES" sz="3600" dirty="0">
                <a:solidFill>
                  <a:srgbClr val="58595B"/>
                </a:solidFill>
                <a:effectLst>
                  <a:outerShdw blurRad="38100" dist="38100" dir="2700000" algn="tl">
                    <a:srgbClr val="000000"/>
                  </a:outerShdw>
                </a:effectLst>
                <a:latin typeface="+mj-lt"/>
                <a:cs typeface="Gill Sans" charset="0"/>
                <a:sym typeface="Gill Sans" charset="0"/>
              </a:endParaRPr>
            </a:p>
          </p:txBody>
        </p:sp>
        <p:sp>
          <p:nvSpPr>
            <p:cNvPr id="138" name="AutoShape 122"/>
            <p:cNvSpPr>
              <a:spLocks/>
            </p:cNvSpPr>
            <p:nvPr/>
          </p:nvSpPr>
          <p:spPr bwMode="auto">
            <a:xfrm>
              <a:off x="1067839" y="4725583"/>
              <a:ext cx="596841" cy="65669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599" y="4921"/>
                  </a:moveTo>
                  <a:lnTo>
                    <a:pt x="21599" y="5871"/>
                  </a:lnTo>
                  <a:cubicBezTo>
                    <a:pt x="21192" y="6052"/>
                    <a:pt x="20518" y="6202"/>
                    <a:pt x="19564" y="6320"/>
                  </a:cubicBezTo>
                  <a:cubicBezTo>
                    <a:pt x="18617" y="6436"/>
                    <a:pt x="17593" y="6522"/>
                    <a:pt x="16494" y="6579"/>
                  </a:cubicBezTo>
                  <a:cubicBezTo>
                    <a:pt x="15398" y="6643"/>
                    <a:pt x="14330" y="6677"/>
                    <a:pt x="13290" y="6683"/>
                  </a:cubicBezTo>
                  <a:cubicBezTo>
                    <a:pt x="12253" y="6692"/>
                    <a:pt x="11427" y="6698"/>
                    <a:pt x="10808" y="6698"/>
                  </a:cubicBezTo>
                  <a:cubicBezTo>
                    <a:pt x="10200" y="6698"/>
                    <a:pt x="9374" y="6692"/>
                    <a:pt x="8326" y="6683"/>
                  </a:cubicBezTo>
                  <a:cubicBezTo>
                    <a:pt x="7276" y="6677"/>
                    <a:pt x="6204" y="6643"/>
                    <a:pt x="5105" y="6579"/>
                  </a:cubicBezTo>
                  <a:cubicBezTo>
                    <a:pt x="4009" y="6522"/>
                    <a:pt x="2993" y="6436"/>
                    <a:pt x="2053" y="6326"/>
                  </a:cubicBezTo>
                  <a:cubicBezTo>
                    <a:pt x="1116" y="6214"/>
                    <a:pt x="442" y="6064"/>
                    <a:pt x="34" y="5871"/>
                  </a:cubicBezTo>
                  <a:cubicBezTo>
                    <a:pt x="10" y="5724"/>
                    <a:pt x="0" y="5566"/>
                    <a:pt x="0" y="5393"/>
                  </a:cubicBezTo>
                  <a:lnTo>
                    <a:pt x="0" y="4921"/>
                  </a:lnTo>
                  <a:lnTo>
                    <a:pt x="0" y="4423"/>
                  </a:lnTo>
                  <a:cubicBezTo>
                    <a:pt x="0" y="4258"/>
                    <a:pt x="10" y="4092"/>
                    <a:pt x="34" y="3924"/>
                  </a:cubicBezTo>
                  <a:cubicBezTo>
                    <a:pt x="307" y="3801"/>
                    <a:pt x="701" y="3688"/>
                    <a:pt x="1213" y="3602"/>
                  </a:cubicBezTo>
                  <a:cubicBezTo>
                    <a:pt x="1717" y="3516"/>
                    <a:pt x="2257" y="3444"/>
                    <a:pt x="2830" y="3389"/>
                  </a:cubicBezTo>
                  <a:cubicBezTo>
                    <a:pt x="3404" y="3334"/>
                    <a:pt x="3971" y="3294"/>
                    <a:pt x="4528" y="3265"/>
                  </a:cubicBezTo>
                  <a:cubicBezTo>
                    <a:pt x="5084" y="3239"/>
                    <a:pt x="5516" y="3213"/>
                    <a:pt x="5827" y="3196"/>
                  </a:cubicBezTo>
                  <a:cubicBezTo>
                    <a:pt x="5737" y="2444"/>
                    <a:pt x="5800" y="1857"/>
                    <a:pt x="6017" y="1431"/>
                  </a:cubicBezTo>
                  <a:cubicBezTo>
                    <a:pt x="6232" y="1010"/>
                    <a:pt x="6560" y="693"/>
                    <a:pt x="7003" y="489"/>
                  </a:cubicBezTo>
                  <a:cubicBezTo>
                    <a:pt x="7441" y="282"/>
                    <a:pt x="7984" y="146"/>
                    <a:pt x="8631" y="86"/>
                  </a:cubicBezTo>
                  <a:cubicBezTo>
                    <a:pt x="9280" y="28"/>
                    <a:pt x="9999" y="0"/>
                    <a:pt x="10808" y="0"/>
                  </a:cubicBezTo>
                  <a:cubicBezTo>
                    <a:pt x="11417" y="0"/>
                    <a:pt x="12021" y="11"/>
                    <a:pt x="12619" y="40"/>
                  </a:cubicBezTo>
                  <a:cubicBezTo>
                    <a:pt x="13221" y="69"/>
                    <a:pt x="13757" y="164"/>
                    <a:pt x="14234" y="319"/>
                  </a:cubicBezTo>
                  <a:cubicBezTo>
                    <a:pt x="14707" y="483"/>
                    <a:pt x="15084" y="734"/>
                    <a:pt x="15367" y="1074"/>
                  </a:cubicBezTo>
                  <a:cubicBezTo>
                    <a:pt x="15647" y="1413"/>
                    <a:pt x="15789" y="1894"/>
                    <a:pt x="15789" y="2519"/>
                  </a:cubicBezTo>
                  <a:lnTo>
                    <a:pt x="15789" y="2850"/>
                  </a:lnTo>
                  <a:cubicBezTo>
                    <a:pt x="15789" y="2963"/>
                    <a:pt x="15775" y="3078"/>
                    <a:pt x="15758" y="3196"/>
                  </a:cubicBezTo>
                  <a:cubicBezTo>
                    <a:pt x="16076" y="3213"/>
                    <a:pt x="16511" y="3239"/>
                    <a:pt x="17061" y="3265"/>
                  </a:cubicBezTo>
                  <a:cubicBezTo>
                    <a:pt x="17611" y="3294"/>
                    <a:pt x="18178" y="3334"/>
                    <a:pt x="18758" y="3389"/>
                  </a:cubicBezTo>
                  <a:cubicBezTo>
                    <a:pt x="19335" y="3443"/>
                    <a:pt x="19885" y="3515"/>
                    <a:pt x="20404" y="3602"/>
                  </a:cubicBezTo>
                  <a:cubicBezTo>
                    <a:pt x="20922" y="3688"/>
                    <a:pt x="21323" y="3801"/>
                    <a:pt x="21596" y="3924"/>
                  </a:cubicBezTo>
                  <a:lnTo>
                    <a:pt x="21596" y="4921"/>
                  </a:lnTo>
                  <a:close/>
                  <a:moveTo>
                    <a:pt x="10812" y="8296"/>
                  </a:moveTo>
                  <a:cubicBezTo>
                    <a:pt x="12236" y="8278"/>
                    <a:pt x="13656" y="8250"/>
                    <a:pt x="15080" y="8215"/>
                  </a:cubicBezTo>
                  <a:cubicBezTo>
                    <a:pt x="16501" y="8178"/>
                    <a:pt x="17925" y="8088"/>
                    <a:pt x="19353" y="7939"/>
                  </a:cubicBezTo>
                  <a:lnTo>
                    <a:pt x="19353" y="19477"/>
                  </a:lnTo>
                  <a:cubicBezTo>
                    <a:pt x="19353" y="20056"/>
                    <a:pt x="19107" y="20557"/>
                    <a:pt x="18620" y="20972"/>
                  </a:cubicBezTo>
                  <a:cubicBezTo>
                    <a:pt x="18133" y="21392"/>
                    <a:pt x="17542" y="21599"/>
                    <a:pt x="16847" y="21599"/>
                  </a:cubicBezTo>
                  <a:lnTo>
                    <a:pt x="4752" y="21599"/>
                  </a:lnTo>
                  <a:cubicBezTo>
                    <a:pt x="4058" y="21599"/>
                    <a:pt x="3460" y="21395"/>
                    <a:pt x="2955" y="20977"/>
                  </a:cubicBezTo>
                  <a:cubicBezTo>
                    <a:pt x="2450" y="20569"/>
                    <a:pt x="2201" y="20068"/>
                    <a:pt x="2201" y="19477"/>
                  </a:cubicBezTo>
                  <a:lnTo>
                    <a:pt x="2201" y="7939"/>
                  </a:lnTo>
                  <a:cubicBezTo>
                    <a:pt x="3560" y="8088"/>
                    <a:pt x="4904" y="8183"/>
                    <a:pt x="6239" y="8229"/>
                  </a:cubicBezTo>
                  <a:cubicBezTo>
                    <a:pt x="7576" y="8273"/>
                    <a:pt x="8917" y="8296"/>
                    <a:pt x="10276" y="8296"/>
                  </a:cubicBezTo>
                  <a:lnTo>
                    <a:pt x="10812" y="8296"/>
                  </a:lnTo>
                  <a:close/>
                  <a:moveTo>
                    <a:pt x="6923" y="10395"/>
                  </a:moveTo>
                  <a:cubicBezTo>
                    <a:pt x="6923" y="10248"/>
                    <a:pt x="6857" y="10119"/>
                    <a:pt x="6733" y="10015"/>
                  </a:cubicBezTo>
                  <a:cubicBezTo>
                    <a:pt x="6605" y="9908"/>
                    <a:pt x="6453" y="9854"/>
                    <a:pt x="6277" y="9854"/>
                  </a:cubicBezTo>
                  <a:lnTo>
                    <a:pt x="5630" y="9854"/>
                  </a:lnTo>
                  <a:cubicBezTo>
                    <a:pt x="5450" y="9854"/>
                    <a:pt x="5305" y="9908"/>
                    <a:pt x="5191" y="10015"/>
                  </a:cubicBezTo>
                  <a:cubicBezTo>
                    <a:pt x="5074" y="10119"/>
                    <a:pt x="5015" y="10248"/>
                    <a:pt x="5015" y="10395"/>
                  </a:cubicBezTo>
                  <a:lnTo>
                    <a:pt x="5015" y="18858"/>
                  </a:lnTo>
                  <a:cubicBezTo>
                    <a:pt x="5015" y="19005"/>
                    <a:pt x="5074" y="19126"/>
                    <a:pt x="5191" y="19224"/>
                  </a:cubicBezTo>
                  <a:cubicBezTo>
                    <a:pt x="5305" y="19319"/>
                    <a:pt x="5450" y="19368"/>
                    <a:pt x="5630" y="19368"/>
                  </a:cubicBezTo>
                  <a:lnTo>
                    <a:pt x="6277" y="19368"/>
                  </a:lnTo>
                  <a:cubicBezTo>
                    <a:pt x="6453" y="19368"/>
                    <a:pt x="6605" y="19319"/>
                    <a:pt x="6733" y="19230"/>
                  </a:cubicBezTo>
                  <a:cubicBezTo>
                    <a:pt x="6857" y="19137"/>
                    <a:pt x="6923" y="19014"/>
                    <a:pt x="6923" y="18858"/>
                  </a:cubicBezTo>
                  <a:lnTo>
                    <a:pt x="6923" y="10395"/>
                  </a:lnTo>
                  <a:close/>
                  <a:moveTo>
                    <a:pt x="8416" y="3141"/>
                  </a:moveTo>
                  <a:cubicBezTo>
                    <a:pt x="10006" y="3121"/>
                    <a:pt x="11607" y="3121"/>
                    <a:pt x="13231" y="3141"/>
                  </a:cubicBezTo>
                  <a:cubicBezTo>
                    <a:pt x="13231" y="3032"/>
                    <a:pt x="13242" y="2925"/>
                    <a:pt x="13266" y="2819"/>
                  </a:cubicBezTo>
                  <a:cubicBezTo>
                    <a:pt x="13286" y="2712"/>
                    <a:pt x="13286" y="2611"/>
                    <a:pt x="13266" y="2519"/>
                  </a:cubicBezTo>
                  <a:lnTo>
                    <a:pt x="13266" y="2315"/>
                  </a:lnTo>
                  <a:cubicBezTo>
                    <a:pt x="12879" y="2222"/>
                    <a:pt x="12471" y="2171"/>
                    <a:pt x="12042" y="2162"/>
                  </a:cubicBezTo>
                  <a:cubicBezTo>
                    <a:pt x="11610" y="2153"/>
                    <a:pt x="11202" y="2148"/>
                    <a:pt x="10819" y="2148"/>
                  </a:cubicBezTo>
                  <a:cubicBezTo>
                    <a:pt x="10411" y="2148"/>
                    <a:pt x="9996" y="2153"/>
                    <a:pt x="9574" y="2162"/>
                  </a:cubicBezTo>
                  <a:cubicBezTo>
                    <a:pt x="9149" y="2171"/>
                    <a:pt x="8741" y="2222"/>
                    <a:pt x="8354" y="2315"/>
                  </a:cubicBezTo>
                  <a:lnTo>
                    <a:pt x="8354" y="2519"/>
                  </a:lnTo>
                  <a:cubicBezTo>
                    <a:pt x="8354" y="2611"/>
                    <a:pt x="8357" y="2715"/>
                    <a:pt x="8371" y="2824"/>
                  </a:cubicBezTo>
                  <a:cubicBezTo>
                    <a:pt x="8375" y="2937"/>
                    <a:pt x="8392" y="3040"/>
                    <a:pt x="8416" y="3141"/>
                  </a:cubicBezTo>
                  <a:moveTo>
                    <a:pt x="11769" y="10395"/>
                  </a:moveTo>
                  <a:cubicBezTo>
                    <a:pt x="11769" y="10248"/>
                    <a:pt x="11707" y="10119"/>
                    <a:pt x="11582" y="10015"/>
                  </a:cubicBezTo>
                  <a:cubicBezTo>
                    <a:pt x="11451" y="9908"/>
                    <a:pt x="11299" y="9854"/>
                    <a:pt x="11123" y="9854"/>
                  </a:cubicBezTo>
                  <a:lnTo>
                    <a:pt x="10476" y="9854"/>
                  </a:lnTo>
                  <a:cubicBezTo>
                    <a:pt x="10300" y="9854"/>
                    <a:pt x="10151" y="9908"/>
                    <a:pt x="10037" y="10015"/>
                  </a:cubicBezTo>
                  <a:cubicBezTo>
                    <a:pt x="9923" y="10119"/>
                    <a:pt x="9865" y="10248"/>
                    <a:pt x="9865" y="10395"/>
                  </a:cubicBezTo>
                  <a:lnTo>
                    <a:pt x="9865" y="18858"/>
                  </a:lnTo>
                  <a:cubicBezTo>
                    <a:pt x="9865" y="19005"/>
                    <a:pt x="9920" y="19126"/>
                    <a:pt x="10030" y="19224"/>
                  </a:cubicBezTo>
                  <a:cubicBezTo>
                    <a:pt x="10141" y="19319"/>
                    <a:pt x="10286" y="19368"/>
                    <a:pt x="10476" y="19368"/>
                  </a:cubicBezTo>
                  <a:lnTo>
                    <a:pt x="11123" y="19368"/>
                  </a:lnTo>
                  <a:cubicBezTo>
                    <a:pt x="11299" y="19368"/>
                    <a:pt x="11451" y="19319"/>
                    <a:pt x="11582" y="19230"/>
                  </a:cubicBezTo>
                  <a:cubicBezTo>
                    <a:pt x="11707" y="19137"/>
                    <a:pt x="11769" y="19014"/>
                    <a:pt x="11769" y="18858"/>
                  </a:cubicBezTo>
                  <a:lnTo>
                    <a:pt x="11769" y="10395"/>
                  </a:lnTo>
                  <a:close/>
                  <a:moveTo>
                    <a:pt x="14683" y="18858"/>
                  </a:moveTo>
                  <a:cubicBezTo>
                    <a:pt x="14683" y="19005"/>
                    <a:pt x="14745" y="19126"/>
                    <a:pt x="14866" y="19224"/>
                  </a:cubicBezTo>
                  <a:cubicBezTo>
                    <a:pt x="14987" y="19319"/>
                    <a:pt x="15143" y="19368"/>
                    <a:pt x="15333" y="19368"/>
                  </a:cubicBezTo>
                  <a:lnTo>
                    <a:pt x="15979" y="19368"/>
                  </a:lnTo>
                  <a:cubicBezTo>
                    <a:pt x="16155" y="19368"/>
                    <a:pt x="16308" y="19319"/>
                    <a:pt x="16432" y="19230"/>
                  </a:cubicBezTo>
                  <a:cubicBezTo>
                    <a:pt x="16560" y="19137"/>
                    <a:pt x="16629" y="19014"/>
                    <a:pt x="16629" y="18858"/>
                  </a:cubicBezTo>
                  <a:lnTo>
                    <a:pt x="16629" y="10395"/>
                  </a:lnTo>
                  <a:cubicBezTo>
                    <a:pt x="16629" y="10248"/>
                    <a:pt x="16560" y="10119"/>
                    <a:pt x="16432" y="10015"/>
                  </a:cubicBezTo>
                  <a:cubicBezTo>
                    <a:pt x="16308" y="9908"/>
                    <a:pt x="16155" y="9854"/>
                    <a:pt x="15979" y="9854"/>
                  </a:cubicBezTo>
                  <a:lnTo>
                    <a:pt x="15333" y="9854"/>
                  </a:lnTo>
                  <a:cubicBezTo>
                    <a:pt x="15153" y="9854"/>
                    <a:pt x="15001" y="9908"/>
                    <a:pt x="14877" y="10015"/>
                  </a:cubicBezTo>
                  <a:cubicBezTo>
                    <a:pt x="14752" y="10119"/>
                    <a:pt x="14683" y="10248"/>
                    <a:pt x="14683" y="10395"/>
                  </a:cubicBezTo>
                  <a:lnTo>
                    <a:pt x="14683" y="18858"/>
                  </a:lnTo>
                  <a:close/>
                </a:path>
              </a:pathLst>
            </a:custGeom>
            <a:solidFill>
              <a:schemeClr val="accent3"/>
            </a:solidFill>
            <a:ln>
              <a:noFill/>
            </a:ln>
            <a:effectLst/>
            <a:extLst/>
          </p:spPr>
          <p:txBody>
            <a:bodyPr lIns="50799" tIns="50799" rIns="50799" bIns="50799" anchor="ctr"/>
            <a:lstStyle/>
            <a:p>
              <a:pPr defTabSz="914195">
                <a:defRPr/>
              </a:pPr>
              <a:endParaRPr lang="es-ES" sz="3600" dirty="0">
                <a:solidFill>
                  <a:srgbClr val="58595B"/>
                </a:solidFill>
                <a:effectLst>
                  <a:outerShdw blurRad="38100" dist="38100" dir="2700000" algn="tl">
                    <a:srgbClr val="000000"/>
                  </a:outerShdw>
                </a:effectLst>
                <a:latin typeface="+mj-lt"/>
                <a:cs typeface="Gill Sans" charset="0"/>
                <a:sym typeface="Gill Sans" charset="0"/>
              </a:endParaRPr>
            </a:p>
          </p:txBody>
        </p:sp>
        <p:grpSp>
          <p:nvGrpSpPr>
            <p:cNvPr id="159" name="Group 158"/>
            <p:cNvGrpSpPr/>
            <p:nvPr>
              <p:custDataLst>
                <p:tags r:id="rId4"/>
              </p:custDataLst>
            </p:nvPr>
          </p:nvGrpSpPr>
          <p:grpSpPr>
            <a:xfrm>
              <a:off x="1792955" y="2534027"/>
              <a:ext cx="2715793" cy="1565218"/>
              <a:chOff x="1844304" y="790477"/>
              <a:chExt cx="2715793" cy="1565218"/>
            </a:xfrm>
          </p:grpSpPr>
          <p:sp>
            <p:nvSpPr>
              <p:cNvPr id="160" name="Content Placeholder 2"/>
              <p:cNvSpPr txBox="1">
                <a:spLocks/>
              </p:cNvSpPr>
              <p:nvPr/>
            </p:nvSpPr>
            <p:spPr bwMode="auto">
              <a:xfrm>
                <a:off x="1856496" y="1682927"/>
                <a:ext cx="2703601" cy="672768"/>
              </a:xfrm>
              <a:prstGeom prst="rect">
                <a:avLst/>
              </a:prstGeom>
            </p:spPr>
            <p:txBody>
              <a:bodyPr wrap="square" lIns="182843" tIns="91422" rIns="182843" bIns="91422" numCol="1" anchor="t" anchorCtr="0" compatLnSpc="1">
                <a:prstTxWarp prst="textNoShape">
                  <a:avLst/>
                </a:prstTxWarp>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400" kern="1200" dirty="0" smtClean="0">
                    <a:solidFill>
                      <a:schemeClr val="tx1"/>
                    </a:solidFill>
                    <a:effectLst/>
                    <a:latin typeface="Lato" panose="020F050202020403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tx1"/>
                    </a:solidFill>
                    <a:effectLst/>
                    <a:latin typeface="Lato" panose="020F050202020403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effectLst/>
                    <a:latin typeface="Lato" panose="020F050202020403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effectLst/>
                    <a:latin typeface="Lato" panose="020F050202020403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a:solidFill>
                      <a:schemeClr val="tx1"/>
                    </a:solidFill>
                    <a:effectLst/>
                    <a:latin typeface="Lato" panose="020F050202020403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rgbClr val="58595B"/>
                    </a:solidFill>
                    <a:latin typeface="+mj-lt"/>
                    <a:cs typeface="Lato Light"/>
                  </a:rPr>
                  <a:t>Curabitur elementum posuere pretium. Quisque nibh dolor, dignissim ac </a:t>
                </a:r>
                <a:r>
                  <a:rPr lang="en-US" sz="1200" dirty="0" smtClean="0">
                    <a:solidFill>
                      <a:srgbClr val="58595B"/>
                    </a:solidFill>
                    <a:latin typeface="+mj-lt"/>
                    <a:cs typeface="Lato Light"/>
                  </a:rPr>
                  <a:t>dignissim</a:t>
                </a:r>
                <a:endParaRPr lang="en-US" sz="1200" dirty="0">
                  <a:solidFill>
                    <a:srgbClr val="58595B"/>
                  </a:solidFill>
                  <a:latin typeface="+mj-lt"/>
                  <a:cs typeface="Lato Light"/>
                </a:endParaRPr>
              </a:p>
            </p:txBody>
          </p:sp>
          <p:grpSp>
            <p:nvGrpSpPr>
              <p:cNvPr id="161" name="Group 160"/>
              <p:cNvGrpSpPr>
                <a:grpSpLocks/>
              </p:cNvGrpSpPr>
              <p:nvPr>
                <p:custDataLst>
                  <p:tags r:id="rId7"/>
                </p:custDataLst>
              </p:nvPr>
            </p:nvGrpSpPr>
            <p:grpSpPr bwMode="auto">
              <a:xfrm>
                <a:off x="1844304" y="790477"/>
                <a:ext cx="2561645" cy="1375834"/>
                <a:chOff x="975398" y="1453103"/>
                <a:chExt cx="960910" cy="516725"/>
              </a:xfrm>
            </p:grpSpPr>
            <p:sp>
              <p:nvSpPr>
                <p:cNvPr id="162" name="Content Placeholder 2"/>
                <p:cNvSpPr txBox="1">
                  <a:spLocks/>
                </p:cNvSpPr>
                <p:nvPr/>
              </p:nvSpPr>
              <p:spPr>
                <a:xfrm>
                  <a:off x="975398" y="1453103"/>
                  <a:ext cx="923967" cy="459489"/>
                </a:xfrm>
                <a:prstGeom prst="rect">
                  <a:avLst/>
                </a:prstGeom>
              </p:spPr>
              <p:txBody>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4000" dirty="0" smtClean="0">
                      <a:solidFill>
                        <a:srgbClr val="58595B"/>
                      </a:solidFill>
                      <a:latin typeface="+mj-lt"/>
                      <a:cs typeface="Lato Regular"/>
                    </a:rPr>
                    <a:t>45%</a:t>
                  </a:r>
                  <a:endParaRPr lang="en-US" sz="4000" dirty="0">
                    <a:solidFill>
                      <a:srgbClr val="58595B"/>
                    </a:solidFill>
                    <a:latin typeface="+mj-lt"/>
                    <a:cs typeface="Lato Regular"/>
                  </a:endParaRPr>
                </a:p>
              </p:txBody>
            </p:sp>
            <p:sp>
              <p:nvSpPr>
                <p:cNvPr id="163" name="Content Placeholder 2"/>
                <p:cNvSpPr txBox="1">
                  <a:spLocks/>
                </p:cNvSpPr>
                <p:nvPr/>
              </p:nvSpPr>
              <p:spPr>
                <a:xfrm>
                  <a:off x="1012341" y="1685231"/>
                  <a:ext cx="923967" cy="284597"/>
                </a:xfrm>
                <a:prstGeom prst="rect">
                  <a:avLst/>
                </a:prstGeom>
              </p:spPr>
              <p:txBody>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1600" b="1" dirty="0" smtClean="0">
                      <a:solidFill>
                        <a:srgbClr val="58595B"/>
                      </a:solidFill>
                      <a:latin typeface="+mj-lt"/>
                      <a:cs typeface="Lato Regular"/>
                    </a:rPr>
                    <a:t>Conflagration</a:t>
                  </a:r>
                  <a:endParaRPr lang="en-US" sz="1600" b="1" dirty="0">
                    <a:solidFill>
                      <a:srgbClr val="58595B"/>
                    </a:solidFill>
                    <a:latin typeface="+mj-lt"/>
                    <a:cs typeface="Lato Regular"/>
                  </a:endParaRPr>
                </a:p>
              </p:txBody>
            </p:sp>
          </p:grpSp>
        </p:grpSp>
        <p:grpSp>
          <p:nvGrpSpPr>
            <p:cNvPr id="164" name="Group 163"/>
            <p:cNvGrpSpPr/>
            <p:nvPr>
              <p:custDataLst>
                <p:tags r:id="rId5"/>
              </p:custDataLst>
            </p:nvPr>
          </p:nvGrpSpPr>
          <p:grpSpPr>
            <a:xfrm>
              <a:off x="1816472" y="4300220"/>
              <a:ext cx="2715793" cy="1565218"/>
              <a:chOff x="1844304" y="790477"/>
              <a:chExt cx="2715793" cy="1565218"/>
            </a:xfrm>
          </p:grpSpPr>
          <p:sp>
            <p:nvSpPr>
              <p:cNvPr id="165" name="Content Placeholder 2"/>
              <p:cNvSpPr txBox="1">
                <a:spLocks/>
              </p:cNvSpPr>
              <p:nvPr/>
            </p:nvSpPr>
            <p:spPr bwMode="auto">
              <a:xfrm>
                <a:off x="1856496" y="1682927"/>
                <a:ext cx="2703601" cy="672768"/>
              </a:xfrm>
              <a:prstGeom prst="rect">
                <a:avLst/>
              </a:prstGeom>
            </p:spPr>
            <p:txBody>
              <a:bodyPr wrap="square" lIns="182843" tIns="91422" rIns="182843" bIns="91422" numCol="1" anchor="t" anchorCtr="0" compatLnSpc="1">
                <a:prstTxWarp prst="textNoShape">
                  <a:avLst/>
                </a:prstTxWarp>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400" kern="1200" dirty="0" smtClean="0">
                    <a:solidFill>
                      <a:schemeClr val="tx1"/>
                    </a:solidFill>
                    <a:effectLst/>
                    <a:latin typeface="Lato" panose="020F050202020403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tx1"/>
                    </a:solidFill>
                    <a:effectLst/>
                    <a:latin typeface="Lato" panose="020F050202020403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effectLst/>
                    <a:latin typeface="Lato" panose="020F050202020403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solidFill>
                    <a:effectLst/>
                    <a:latin typeface="Lato" panose="020F050202020403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600" kern="1200" dirty="0">
                    <a:solidFill>
                      <a:schemeClr val="tx1"/>
                    </a:solidFill>
                    <a:effectLst/>
                    <a:latin typeface="Lato" panose="020F050202020403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rgbClr val="58595B"/>
                    </a:solidFill>
                    <a:latin typeface="+mj-lt"/>
                    <a:cs typeface="Lato Light"/>
                  </a:rPr>
                  <a:t>Curabitur elementum posuere pretium. Quisque nibh dolor, dignissim ac </a:t>
                </a:r>
                <a:r>
                  <a:rPr lang="en-US" sz="1200" dirty="0" smtClean="0">
                    <a:solidFill>
                      <a:srgbClr val="58595B"/>
                    </a:solidFill>
                    <a:latin typeface="+mj-lt"/>
                    <a:cs typeface="Lato Light"/>
                  </a:rPr>
                  <a:t>dignissim</a:t>
                </a:r>
                <a:endParaRPr lang="en-US" sz="1200" dirty="0">
                  <a:solidFill>
                    <a:srgbClr val="58595B"/>
                  </a:solidFill>
                  <a:latin typeface="+mj-lt"/>
                  <a:cs typeface="Lato Light"/>
                </a:endParaRPr>
              </a:p>
            </p:txBody>
          </p:sp>
          <p:grpSp>
            <p:nvGrpSpPr>
              <p:cNvPr id="166" name="Group 165"/>
              <p:cNvGrpSpPr>
                <a:grpSpLocks/>
              </p:cNvGrpSpPr>
              <p:nvPr>
                <p:custDataLst>
                  <p:tags r:id="rId6"/>
                </p:custDataLst>
              </p:nvPr>
            </p:nvGrpSpPr>
            <p:grpSpPr bwMode="auto">
              <a:xfrm>
                <a:off x="1844304" y="790477"/>
                <a:ext cx="2561645" cy="1375834"/>
                <a:chOff x="975398" y="1453103"/>
                <a:chExt cx="960910" cy="516725"/>
              </a:xfrm>
            </p:grpSpPr>
            <p:sp>
              <p:nvSpPr>
                <p:cNvPr id="167" name="Content Placeholder 2"/>
                <p:cNvSpPr txBox="1">
                  <a:spLocks/>
                </p:cNvSpPr>
                <p:nvPr/>
              </p:nvSpPr>
              <p:spPr>
                <a:xfrm>
                  <a:off x="975398" y="1453103"/>
                  <a:ext cx="923967" cy="459489"/>
                </a:xfrm>
                <a:prstGeom prst="rect">
                  <a:avLst/>
                </a:prstGeom>
              </p:spPr>
              <p:txBody>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4000" dirty="0" smtClean="0">
                      <a:solidFill>
                        <a:srgbClr val="41B5E8"/>
                      </a:solidFill>
                      <a:latin typeface="+mj-lt"/>
                      <a:cs typeface="Lato Regular"/>
                    </a:rPr>
                    <a:t>27%</a:t>
                  </a:r>
                  <a:endParaRPr lang="en-US" sz="4000" dirty="0">
                    <a:solidFill>
                      <a:srgbClr val="41B5E8"/>
                    </a:solidFill>
                    <a:latin typeface="+mj-lt"/>
                    <a:cs typeface="Lato Regular"/>
                  </a:endParaRPr>
                </a:p>
              </p:txBody>
            </p:sp>
            <p:sp>
              <p:nvSpPr>
                <p:cNvPr id="168" name="Content Placeholder 2"/>
                <p:cNvSpPr txBox="1">
                  <a:spLocks/>
                </p:cNvSpPr>
                <p:nvPr/>
              </p:nvSpPr>
              <p:spPr>
                <a:xfrm>
                  <a:off x="1012341" y="1685231"/>
                  <a:ext cx="923967" cy="284597"/>
                </a:xfrm>
                <a:prstGeom prst="rect">
                  <a:avLst/>
                </a:prstGeom>
              </p:spPr>
              <p:txBody>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lang="en-US" sz="1600" b="1" dirty="0" smtClean="0">
                      <a:solidFill>
                        <a:srgbClr val="41B5E8"/>
                      </a:solidFill>
                      <a:latin typeface="+mj-lt"/>
                      <a:cs typeface="Lato Regular"/>
                    </a:rPr>
                    <a:t>Trash</a:t>
                  </a:r>
                  <a:endParaRPr lang="en-US" sz="1600" b="1" dirty="0">
                    <a:solidFill>
                      <a:srgbClr val="41B5E8"/>
                    </a:solidFill>
                    <a:latin typeface="+mj-lt"/>
                    <a:cs typeface="Lato Regular"/>
                  </a:endParaRPr>
                </a:p>
              </p:txBody>
            </p:sp>
          </p:grpSp>
        </p:grpSp>
      </p:grpSp>
    </p:spTree>
    <p:extLst>
      <p:ext uri="{BB962C8B-B14F-4D97-AF65-F5344CB8AC3E}">
        <p14:creationId xmlns:p14="http://schemas.microsoft.com/office/powerpoint/2010/main" val="9700506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nvPr>
        </p:nvGraphicFramePr>
        <p:xfrm>
          <a:off x="1701506" y="1541"/>
          <a:ext cx="1540" cy="1540"/>
        </p:xfrm>
        <a:graphic>
          <a:graphicData uri="http://schemas.openxmlformats.org/presentationml/2006/ole">
            <mc:AlternateContent xmlns:mc="http://schemas.openxmlformats.org/markup-compatibility/2006">
              <mc:Choice xmlns:v="urn:schemas-microsoft-com:vml" Requires="v">
                <p:oleObj spid="_x0000_s1035"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701506" y="1541"/>
                        <a:ext cx="1540" cy="154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Flags of the world (1/2)</a:t>
            </a:r>
            <a:endParaRPr lang="en-CA" dirty="0"/>
          </a:p>
        </p:txBody>
      </p:sp>
      <p:sp>
        <p:nvSpPr>
          <p:cNvPr id="44" name="BainBulletsConfiguration" hidden="1"/>
          <p:cNvSpPr txBox="1"/>
          <p:nvPr/>
        </p:nvSpPr>
        <p:spPr>
          <a:xfrm>
            <a:off x="1712288" y="12323"/>
            <a:ext cx="8626466" cy="107722"/>
          </a:xfrm>
          <a:prstGeom prst="rect">
            <a:avLst/>
          </a:prstGeom>
          <a:noFill/>
        </p:spPr>
        <p:txBody>
          <a:bodyPr vert="horz" wrap="square" lIns="44365" rIns="44365" rtlCol="0">
            <a:spAutoFit/>
          </a:bodyPr>
          <a:lstStyle/>
          <a:p>
            <a:r>
              <a:rPr lang="en-CA" sz="100" smtClean="0">
                <a:solidFill>
                  <a:srgbClr val="FFFFFF"/>
                </a:solidFill>
              </a:rPr>
              <a:t>181_84 182_84 183_84</a:t>
            </a:r>
            <a:endParaRPr lang="en-CA" sz="100" dirty="0">
              <a:solidFill>
                <a:srgbClr val="FFFFFF"/>
              </a:solidFill>
            </a:endParaRPr>
          </a:p>
        </p:txBody>
      </p:sp>
      <p:grpSp>
        <p:nvGrpSpPr>
          <p:cNvPr id="181" name="Group 180"/>
          <p:cNvGrpSpPr/>
          <p:nvPr>
            <p:custDataLst>
              <p:tags r:id="rId3"/>
            </p:custDataLst>
          </p:nvPr>
        </p:nvGrpSpPr>
        <p:grpSpPr>
          <a:xfrm>
            <a:off x="1555193" y="1470729"/>
            <a:ext cx="2587763" cy="3621542"/>
            <a:chOff x="2398593" y="1576778"/>
            <a:chExt cx="2530080" cy="3540815"/>
          </a:xfrm>
        </p:grpSpPr>
        <p:sp>
          <p:nvSpPr>
            <p:cNvPr id="227" name="Text Box 41"/>
            <p:cNvSpPr txBox="1">
              <a:spLocks noChangeArrowheads="1"/>
            </p:cNvSpPr>
            <p:nvPr/>
          </p:nvSpPr>
          <p:spPr bwMode="auto">
            <a:xfrm>
              <a:off x="3663562" y="2656320"/>
              <a:ext cx="973365"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Austria </a:t>
              </a:r>
            </a:p>
          </p:txBody>
        </p:sp>
        <p:sp>
          <p:nvSpPr>
            <p:cNvPr id="228" name="Text Box 17"/>
            <p:cNvSpPr txBox="1">
              <a:spLocks noChangeArrowheads="1"/>
            </p:cNvSpPr>
            <p:nvPr/>
          </p:nvSpPr>
          <p:spPr bwMode="auto">
            <a:xfrm>
              <a:off x="3663562" y="3146085"/>
              <a:ext cx="1087178"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Belgium </a:t>
              </a:r>
            </a:p>
          </p:txBody>
        </p:sp>
        <p:sp>
          <p:nvSpPr>
            <p:cNvPr id="229" name="Text Box 44"/>
            <p:cNvSpPr txBox="1">
              <a:spLocks noChangeArrowheads="1"/>
            </p:cNvSpPr>
            <p:nvPr/>
          </p:nvSpPr>
          <p:spPr bwMode="auto">
            <a:xfrm>
              <a:off x="3663562" y="4173920"/>
              <a:ext cx="1031073"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Bulgaria</a:t>
              </a:r>
            </a:p>
          </p:txBody>
        </p:sp>
        <p:sp>
          <p:nvSpPr>
            <p:cNvPr id="230" name="Text Box 46"/>
            <p:cNvSpPr txBox="1">
              <a:spLocks noChangeArrowheads="1"/>
            </p:cNvSpPr>
            <p:nvPr/>
          </p:nvSpPr>
          <p:spPr bwMode="auto">
            <a:xfrm>
              <a:off x="3663562" y="4711605"/>
              <a:ext cx="930084"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Canada</a:t>
              </a:r>
            </a:p>
          </p:txBody>
        </p:sp>
        <p:sp>
          <p:nvSpPr>
            <p:cNvPr id="231" name="Text Box 45"/>
            <p:cNvSpPr txBox="1">
              <a:spLocks noChangeArrowheads="1"/>
            </p:cNvSpPr>
            <p:nvPr/>
          </p:nvSpPr>
          <p:spPr bwMode="auto">
            <a:xfrm>
              <a:off x="3663562" y="3643460"/>
              <a:ext cx="744136"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Brazil</a:t>
              </a:r>
            </a:p>
          </p:txBody>
        </p:sp>
        <p:sp>
          <p:nvSpPr>
            <p:cNvPr id="232" name="Text Box 40"/>
            <p:cNvSpPr txBox="1">
              <a:spLocks noChangeArrowheads="1"/>
            </p:cNvSpPr>
            <p:nvPr/>
          </p:nvSpPr>
          <p:spPr bwMode="auto">
            <a:xfrm>
              <a:off x="3663562" y="2121739"/>
              <a:ext cx="1173740"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Australia </a:t>
              </a:r>
            </a:p>
          </p:txBody>
        </p:sp>
        <p:sp>
          <p:nvSpPr>
            <p:cNvPr id="233" name="Text Box 124"/>
            <p:cNvSpPr txBox="1">
              <a:spLocks noChangeArrowheads="1"/>
            </p:cNvSpPr>
            <p:nvPr/>
          </p:nvSpPr>
          <p:spPr bwMode="auto">
            <a:xfrm>
              <a:off x="3663562" y="1592382"/>
              <a:ext cx="1265111"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Argentina </a:t>
              </a:r>
            </a:p>
          </p:txBody>
        </p:sp>
        <p:sp>
          <p:nvSpPr>
            <p:cNvPr id="234" name="Rektangel 112"/>
            <p:cNvSpPr>
              <a:spLocks noChangeArrowheads="1"/>
            </p:cNvSpPr>
            <p:nvPr/>
          </p:nvSpPr>
          <p:spPr bwMode="auto">
            <a:xfrm>
              <a:off x="2996253" y="1591233"/>
              <a:ext cx="591254" cy="392683"/>
            </a:xfrm>
            <a:prstGeom prst="rect">
              <a:avLst/>
            </a:prstGeom>
            <a:blipFill dpi="0" rotWithShape="1">
              <a:blip r:embed="rId10"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latin typeface="Calibri" charset="0"/>
              </a:endParaRPr>
            </a:p>
          </p:txBody>
        </p:sp>
        <p:sp>
          <p:nvSpPr>
            <p:cNvPr id="235" name="Rektangel 82"/>
            <p:cNvSpPr>
              <a:spLocks noChangeArrowheads="1"/>
            </p:cNvSpPr>
            <p:nvPr/>
          </p:nvSpPr>
          <p:spPr bwMode="auto">
            <a:xfrm>
              <a:off x="2996254" y="2120590"/>
              <a:ext cx="591254" cy="392683"/>
            </a:xfrm>
            <a:prstGeom prst="rect">
              <a:avLst/>
            </a:prstGeom>
            <a:blipFill dpi="0" rotWithShape="1">
              <a:blip r:embed="rId11"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236" name="Rektangel 85"/>
            <p:cNvSpPr>
              <a:spLocks noChangeArrowheads="1"/>
            </p:cNvSpPr>
            <p:nvPr/>
          </p:nvSpPr>
          <p:spPr bwMode="auto">
            <a:xfrm>
              <a:off x="2996253" y="2655171"/>
              <a:ext cx="591254" cy="392683"/>
            </a:xfrm>
            <a:prstGeom prst="rect">
              <a:avLst/>
            </a:prstGeom>
            <a:blipFill dpi="0" rotWithShape="1">
              <a:blip r:embed="rId12"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237" name="Rektangel 115"/>
            <p:cNvSpPr/>
            <p:nvPr/>
          </p:nvSpPr>
          <p:spPr bwMode="auto">
            <a:xfrm>
              <a:off x="2996253" y="3144936"/>
              <a:ext cx="591254" cy="392683"/>
            </a:xfrm>
            <a:prstGeom prst="rect">
              <a:avLst/>
            </a:prstGeom>
            <a:blipFill dpi="0" rotWithShape="1">
              <a:blip r:embed="rId13" cstate="print"/>
              <a:srcRect/>
              <a:stretch>
                <a:fillRect r="-1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238" name="Rektangel 106"/>
            <p:cNvSpPr>
              <a:spLocks noChangeArrowheads="1"/>
            </p:cNvSpPr>
            <p:nvPr/>
          </p:nvSpPr>
          <p:spPr bwMode="auto">
            <a:xfrm>
              <a:off x="2996255" y="3642311"/>
              <a:ext cx="591253" cy="392683"/>
            </a:xfrm>
            <a:prstGeom prst="rect">
              <a:avLst/>
            </a:prstGeom>
            <a:blipFill dpi="0" rotWithShape="1">
              <a:blip r:embed="rId14"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239" name="Rektangel 118"/>
            <p:cNvSpPr>
              <a:spLocks noChangeArrowheads="1"/>
            </p:cNvSpPr>
            <p:nvPr/>
          </p:nvSpPr>
          <p:spPr bwMode="auto">
            <a:xfrm>
              <a:off x="2996255" y="4172771"/>
              <a:ext cx="591253" cy="392683"/>
            </a:xfrm>
            <a:prstGeom prst="rect">
              <a:avLst/>
            </a:prstGeom>
            <a:blipFill dpi="0" rotWithShape="1">
              <a:blip r:embed="rId15"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240" name="Rektangel 97"/>
            <p:cNvSpPr>
              <a:spLocks noChangeArrowheads="1"/>
            </p:cNvSpPr>
            <p:nvPr/>
          </p:nvSpPr>
          <p:spPr bwMode="auto">
            <a:xfrm>
              <a:off x="2996255" y="4710456"/>
              <a:ext cx="591253" cy="392683"/>
            </a:xfrm>
            <a:prstGeom prst="rect">
              <a:avLst/>
            </a:prstGeom>
            <a:blipFill dpi="0" rotWithShape="1">
              <a:blip r:embed="rId16"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latin typeface="Calibri" charset="0"/>
              </a:endParaRPr>
            </a:p>
          </p:txBody>
        </p:sp>
        <p:pic>
          <p:nvPicPr>
            <p:cNvPr id="241" name="Picture 2" descr="C:\Users\08TJO\AppData\Local\Microsoft\Windows\Temporary Internet Files\Content.IE5\K86CLE5P\Proportional Flag Buttons\Argentinien.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398593" y="1576778"/>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42" name="Picture 3" descr="C:\Users\08TJO\AppData\Local\Microsoft\Windows\Temporary Internet Files\Content.IE5\K86CLE5P\Proportional Flag Buttons\Australien.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398593" y="2106135"/>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43" name="Picture 4" descr="C:\Users\08TJO\AppData\Local\Microsoft\Windows\Temporary Internet Files\Content.IE5\K86CLE5P\Proportional Flag Buttons\Österreich.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398593" y="2640716"/>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44" name="Picture 5" descr="C:\Users\08TJO\AppData\Local\Microsoft\Windows\Temporary Internet Files\Content.IE5\K86CLE5P\Proportional Flag Buttons\Belgien.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398593" y="3130481"/>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45" name="Picture 6" descr="C:\Users\08TJO\AppData\Local\Microsoft\Windows\Temporary Internet Files\Content.IE5\K86CLE5P\Proportional Flag Buttons\Brasilien.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398593" y="3627856"/>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46" name="Picture 7" descr="C:\Users\08TJO\AppData\Local\Microsoft\Windows\Temporary Internet Files\Content.IE5\K86CLE5P\Proportional Flag Buttons\Bulgarien.pn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398593" y="4158316"/>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47" name="Picture 8" descr="C:\Users\08TJO\AppData\Local\Microsoft\Windows\Temporary Internet Files\Content.IE5\K86CLE5P\Proportional Flag Buttons\Kanada.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398593" y="4696001"/>
              <a:ext cx="421592" cy="4215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2" name="Group 181"/>
          <p:cNvGrpSpPr/>
          <p:nvPr>
            <p:custDataLst>
              <p:tags r:id="rId4"/>
            </p:custDataLst>
          </p:nvPr>
        </p:nvGrpSpPr>
        <p:grpSpPr>
          <a:xfrm>
            <a:off x="8854075" y="1501473"/>
            <a:ext cx="2812486" cy="3621542"/>
            <a:chOff x="8200111" y="1576778"/>
            <a:chExt cx="2749794" cy="3540815"/>
          </a:xfrm>
        </p:grpSpPr>
        <p:sp>
          <p:nvSpPr>
            <p:cNvPr id="206" name="Rektangel 94"/>
            <p:cNvSpPr/>
            <p:nvPr/>
          </p:nvSpPr>
          <p:spPr bwMode="auto">
            <a:xfrm>
              <a:off x="8797936" y="4710456"/>
              <a:ext cx="591253" cy="392683"/>
            </a:xfrm>
            <a:prstGeom prst="rect">
              <a:avLst/>
            </a:prstGeom>
            <a:blipFill dpi="0" rotWithShape="1">
              <a:blip r:embed="rId24" cstate="print"/>
              <a:srcRect/>
              <a:stretch>
                <a:fillRect l="-3000" r="-6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207" name="Text Box 54"/>
            <p:cNvSpPr txBox="1">
              <a:spLocks noChangeArrowheads="1"/>
            </p:cNvSpPr>
            <p:nvPr/>
          </p:nvSpPr>
          <p:spPr bwMode="auto">
            <a:xfrm>
              <a:off x="9445947" y="3146085"/>
              <a:ext cx="878788"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Ireland</a:t>
              </a:r>
            </a:p>
          </p:txBody>
        </p:sp>
        <p:sp>
          <p:nvSpPr>
            <p:cNvPr id="208" name="Text Box 55"/>
            <p:cNvSpPr txBox="1">
              <a:spLocks noChangeArrowheads="1"/>
            </p:cNvSpPr>
            <p:nvPr/>
          </p:nvSpPr>
          <p:spPr bwMode="auto">
            <a:xfrm>
              <a:off x="9445946" y="3643460"/>
              <a:ext cx="580629"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Italy</a:t>
              </a:r>
            </a:p>
          </p:txBody>
        </p:sp>
        <p:sp>
          <p:nvSpPr>
            <p:cNvPr id="209" name="Text Box 57"/>
            <p:cNvSpPr txBox="1">
              <a:spLocks noChangeArrowheads="1"/>
            </p:cNvSpPr>
            <p:nvPr/>
          </p:nvSpPr>
          <p:spPr bwMode="auto">
            <a:xfrm>
              <a:off x="9445946" y="4711605"/>
              <a:ext cx="1503959"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Luxembourg</a:t>
              </a:r>
            </a:p>
          </p:txBody>
        </p:sp>
        <p:sp>
          <p:nvSpPr>
            <p:cNvPr id="210" name="Text Box 56"/>
            <p:cNvSpPr txBox="1">
              <a:spLocks noChangeArrowheads="1"/>
            </p:cNvSpPr>
            <p:nvPr/>
          </p:nvSpPr>
          <p:spPr bwMode="auto">
            <a:xfrm>
              <a:off x="9445947" y="4173920"/>
              <a:ext cx="774592"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Japan</a:t>
              </a:r>
            </a:p>
          </p:txBody>
        </p:sp>
        <p:sp>
          <p:nvSpPr>
            <p:cNvPr id="211" name="Text Box 51"/>
            <p:cNvSpPr txBox="1">
              <a:spLocks noChangeArrowheads="1"/>
            </p:cNvSpPr>
            <p:nvPr/>
          </p:nvSpPr>
          <p:spPr bwMode="auto">
            <a:xfrm>
              <a:off x="9445947" y="2656320"/>
              <a:ext cx="647955"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India</a:t>
              </a:r>
            </a:p>
          </p:txBody>
        </p:sp>
        <p:sp>
          <p:nvSpPr>
            <p:cNvPr id="212" name="Text Box 53"/>
            <p:cNvSpPr txBox="1">
              <a:spLocks noChangeArrowheads="1"/>
            </p:cNvSpPr>
            <p:nvPr/>
          </p:nvSpPr>
          <p:spPr bwMode="auto">
            <a:xfrm>
              <a:off x="9445947" y="2121739"/>
              <a:ext cx="1045500"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Hungary</a:t>
              </a:r>
            </a:p>
          </p:txBody>
        </p:sp>
        <p:sp>
          <p:nvSpPr>
            <p:cNvPr id="213" name="Text Box 52"/>
            <p:cNvSpPr txBox="1">
              <a:spLocks noChangeArrowheads="1"/>
            </p:cNvSpPr>
            <p:nvPr/>
          </p:nvSpPr>
          <p:spPr bwMode="auto">
            <a:xfrm>
              <a:off x="9445947" y="1592382"/>
              <a:ext cx="894818"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Greece</a:t>
              </a:r>
            </a:p>
          </p:txBody>
        </p:sp>
        <p:sp>
          <p:nvSpPr>
            <p:cNvPr id="214" name="Rektangel 106"/>
            <p:cNvSpPr>
              <a:spLocks noChangeArrowheads="1"/>
            </p:cNvSpPr>
            <p:nvPr/>
          </p:nvSpPr>
          <p:spPr bwMode="auto">
            <a:xfrm>
              <a:off x="8797936" y="1591233"/>
              <a:ext cx="591253" cy="392683"/>
            </a:xfrm>
            <a:prstGeom prst="rect">
              <a:avLst/>
            </a:prstGeom>
            <a:blipFill dpi="0" rotWithShape="1">
              <a:blip r:embed="rId25"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215" name="Rektangel 115"/>
            <p:cNvSpPr/>
            <p:nvPr/>
          </p:nvSpPr>
          <p:spPr bwMode="auto">
            <a:xfrm>
              <a:off x="8797936" y="2120590"/>
              <a:ext cx="591253" cy="392683"/>
            </a:xfrm>
            <a:prstGeom prst="rect">
              <a:avLst/>
            </a:prstGeom>
            <a:blipFill dpi="0" rotWithShape="1">
              <a:blip r:embed="rId26" cstate="print"/>
              <a:srcRect/>
              <a:stretch>
                <a:fillRect r="-1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216" name="Rektangel 79"/>
            <p:cNvSpPr>
              <a:spLocks noChangeArrowheads="1"/>
            </p:cNvSpPr>
            <p:nvPr/>
          </p:nvSpPr>
          <p:spPr bwMode="auto">
            <a:xfrm>
              <a:off x="8797936" y="2655171"/>
              <a:ext cx="591253" cy="392683"/>
            </a:xfrm>
            <a:prstGeom prst="rect">
              <a:avLst/>
            </a:prstGeom>
            <a:blipFill dpi="0" rotWithShape="1">
              <a:blip r:embed="rId27"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217" name="Rektangel 94"/>
            <p:cNvSpPr/>
            <p:nvPr/>
          </p:nvSpPr>
          <p:spPr bwMode="auto">
            <a:xfrm>
              <a:off x="8797936" y="3144936"/>
              <a:ext cx="591253" cy="392683"/>
            </a:xfrm>
            <a:prstGeom prst="rect">
              <a:avLst/>
            </a:prstGeom>
            <a:blipFill dpi="0" rotWithShape="1">
              <a:blip r:embed="rId28" cstate="print"/>
              <a:srcRect/>
              <a:stretch>
                <a:fillRect l="-3000" r="-6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218" name="Rektangel 102"/>
            <p:cNvSpPr>
              <a:spLocks noChangeArrowheads="1"/>
            </p:cNvSpPr>
            <p:nvPr/>
          </p:nvSpPr>
          <p:spPr bwMode="auto">
            <a:xfrm>
              <a:off x="8797936" y="3642311"/>
              <a:ext cx="591253" cy="392683"/>
            </a:xfrm>
            <a:prstGeom prst="rect">
              <a:avLst/>
            </a:prstGeom>
            <a:blipFill dpi="0" rotWithShape="1">
              <a:blip r:embed="rId29"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219" name="Rektangel 112"/>
            <p:cNvSpPr>
              <a:spLocks noChangeArrowheads="1"/>
            </p:cNvSpPr>
            <p:nvPr/>
          </p:nvSpPr>
          <p:spPr bwMode="auto">
            <a:xfrm>
              <a:off x="8797936" y="4172771"/>
              <a:ext cx="591253" cy="392683"/>
            </a:xfrm>
            <a:prstGeom prst="rect">
              <a:avLst/>
            </a:prstGeom>
            <a:blipFill dpi="0" rotWithShape="1">
              <a:blip r:embed="rId30"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latin typeface="Calibri" charset="0"/>
              </a:endParaRPr>
            </a:p>
          </p:txBody>
        </p:sp>
        <p:pic>
          <p:nvPicPr>
            <p:cNvPr id="220" name="Picture 16" descr="C:\Users\08TJO\AppData\Local\Microsoft\Windows\Temporary Internet Files\Content.IE5\K86CLE5P\Proportional Flag Buttons\Griechenland.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200111" y="1576778"/>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21" name="Picture 18" descr="C:\Users\08TJO\AppData\Local\Microsoft\Windows\Temporary Internet Files\Content.IE5\K86CLE5P\Proportional Flag Buttons\Ungarn.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200111" y="2106135"/>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22" name="Picture 19" descr="C:\Users\08TJO\AppData\Local\Microsoft\Windows\Temporary Internet Files\Content.IE5\K86CLE5P\Proportional Flag Buttons\Italien.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8200111" y="3627856"/>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23" name="Picture 20" descr="C:\Users\08TJO\AppData\Local\Microsoft\Windows\Temporary Internet Files\Content.IE5\K86CLE5P\Proportional Flag Buttons\Irland.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8200111" y="3130481"/>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24" name="Picture 21" descr="C:\Users\08TJO\AppData\Local\Microsoft\Windows\Temporary Internet Files\Content.IE5\K86CLE5P\Proportional Flag Buttons\Indien.png"/>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8200111" y="2640716"/>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25" name="Picture 22" descr="C:\Users\08TJO\AppData\Local\Microsoft\Windows\Temporary Internet Files\Content.IE5\K86CLE5P\Proportional Flag Buttons\Japan.png"/>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8200111" y="4158316"/>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26" name="Picture 23" descr="C:\Users\08TJO\AppData\Local\Microsoft\Windows\Temporary Internet Files\Content.IE5\K86CLE5P\Proportional Flag Buttons\Luxemburg.pn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8200111" y="4696001"/>
              <a:ext cx="421592" cy="4215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3" name="Group 182"/>
          <p:cNvGrpSpPr/>
          <p:nvPr>
            <p:custDataLst>
              <p:tags r:id="rId5"/>
            </p:custDataLst>
          </p:nvPr>
        </p:nvGrpSpPr>
        <p:grpSpPr>
          <a:xfrm>
            <a:off x="5230720" y="1486689"/>
            <a:ext cx="3196568" cy="3621542"/>
            <a:chOff x="5074797" y="1576778"/>
            <a:chExt cx="3125314" cy="3540815"/>
          </a:xfrm>
        </p:grpSpPr>
        <p:sp>
          <p:nvSpPr>
            <p:cNvPr id="184" name="Text Box 47"/>
            <p:cNvSpPr txBox="1">
              <a:spLocks noChangeArrowheads="1"/>
            </p:cNvSpPr>
            <p:nvPr/>
          </p:nvSpPr>
          <p:spPr bwMode="auto">
            <a:xfrm>
              <a:off x="6361125" y="3146085"/>
              <a:ext cx="1838986" cy="390384"/>
            </a:xfrm>
            <a:prstGeom prst="rect">
              <a:avLst/>
            </a:prstGeom>
            <a:noFill/>
            <a:ln w="19050">
              <a:noFill/>
              <a:miter lim="800000"/>
              <a:headEnd/>
              <a:tailEnd/>
            </a:ln>
          </p:spPr>
          <p:txBody>
            <a:bodyPr wrap="none" lIns="45413" tIns="45413" rIns="45413" bIns="45413">
              <a:spAutoFit/>
            </a:bodyPr>
            <a:lstStyle/>
            <a:p>
              <a:pPr>
                <a:spcBef>
                  <a:spcPct val="45000"/>
                </a:spcBef>
              </a:pPr>
              <a:r>
                <a:rPr lang="en-GB" sz="1941" dirty="0"/>
                <a:t>Czech Republic</a:t>
              </a:r>
            </a:p>
          </p:txBody>
        </p:sp>
        <p:grpSp>
          <p:nvGrpSpPr>
            <p:cNvPr id="185" name="Group 184"/>
            <p:cNvGrpSpPr/>
            <p:nvPr>
              <p:custDataLst>
                <p:tags r:id="rId6"/>
              </p:custDataLst>
            </p:nvPr>
          </p:nvGrpSpPr>
          <p:grpSpPr>
            <a:xfrm>
              <a:off x="5074797" y="1576778"/>
              <a:ext cx="2455259" cy="3540815"/>
              <a:chOff x="5074797" y="1576778"/>
              <a:chExt cx="2455259" cy="3540815"/>
            </a:xfrm>
          </p:grpSpPr>
          <p:sp>
            <p:nvSpPr>
              <p:cNvPr id="186" name="Text Box 48"/>
              <p:cNvSpPr txBox="1">
                <a:spLocks noChangeArrowheads="1"/>
              </p:cNvSpPr>
              <p:nvPr/>
            </p:nvSpPr>
            <p:spPr bwMode="auto">
              <a:xfrm>
                <a:off x="6320633" y="3643460"/>
                <a:ext cx="981380"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Finland </a:t>
                </a:r>
              </a:p>
            </p:txBody>
          </p:sp>
          <p:sp>
            <p:nvSpPr>
              <p:cNvPr id="187" name="Text Box 50"/>
              <p:cNvSpPr txBox="1">
                <a:spLocks noChangeArrowheads="1"/>
              </p:cNvSpPr>
              <p:nvPr/>
            </p:nvSpPr>
            <p:spPr bwMode="auto">
              <a:xfrm>
                <a:off x="6320633" y="4711605"/>
                <a:ext cx="1108017"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Germany</a:t>
                </a:r>
              </a:p>
            </p:txBody>
          </p:sp>
          <p:sp>
            <p:nvSpPr>
              <p:cNvPr id="188" name="Text Box 49"/>
              <p:cNvSpPr txBox="1">
                <a:spLocks noChangeArrowheads="1"/>
              </p:cNvSpPr>
              <p:nvPr/>
            </p:nvSpPr>
            <p:spPr bwMode="auto">
              <a:xfrm>
                <a:off x="6320633" y="4173920"/>
                <a:ext cx="861154"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France</a:t>
                </a:r>
              </a:p>
            </p:txBody>
          </p:sp>
          <p:sp>
            <p:nvSpPr>
              <p:cNvPr id="189" name="Text Box 47"/>
              <p:cNvSpPr txBox="1">
                <a:spLocks noChangeArrowheads="1"/>
              </p:cNvSpPr>
              <p:nvPr/>
            </p:nvSpPr>
            <p:spPr bwMode="auto">
              <a:xfrm>
                <a:off x="6361125" y="2121739"/>
                <a:ext cx="737724"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China</a:t>
                </a:r>
              </a:p>
            </p:txBody>
          </p:sp>
          <p:sp>
            <p:nvSpPr>
              <p:cNvPr id="190" name="Text Box 77"/>
              <p:cNvSpPr txBox="1">
                <a:spLocks noChangeArrowheads="1"/>
              </p:cNvSpPr>
              <p:nvPr/>
            </p:nvSpPr>
            <p:spPr bwMode="auto">
              <a:xfrm>
                <a:off x="6361125" y="2656320"/>
                <a:ext cx="1168931" cy="390384"/>
              </a:xfrm>
              <a:prstGeom prst="rect">
                <a:avLst/>
              </a:prstGeom>
              <a:noFill/>
              <a:ln w="19050">
                <a:noFill/>
                <a:miter lim="800000"/>
                <a:headEnd/>
                <a:tailEnd/>
              </a:ln>
            </p:spPr>
            <p:txBody>
              <a:bodyPr wrap="none" lIns="45413" tIns="45413" rIns="45413" bIns="45413">
                <a:spAutoFit/>
              </a:bodyPr>
              <a:lstStyle>
                <a:defPPr>
                  <a:defRPr lang="en-US"/>
                </a:defPPr>
                <a:lvl1pPr>
                  <a:spcBef>
                    <a:spcPct val="45000"/>
                  </a:spcBef>
                  <a:defRPr sz="2000"/>
                </a:lvl1pPr>
              </a:lstStyle>
              <a:p>
                <a:r>
                  <a:rPr lang="en-GB" sz="1941" dirty="0"/>
                  <a:t>Denmark </a:t>
                </a:r>
              </a:p>
            </p:txBody>
          </p:sp>
          <p:sp>
            <p:nvSpPr>
              <p:cNvPr id="191" name="Text Box 131"/>
              <p:cNvSpPr txBox="1">
                <a:spLocks noChangeArrowheads="1"/>
              </p:cNvSpPr>
              <p:nvPr/>
            </p:nvSpPr>
            <p:spPr bwMode="auto">
              <a:xfrm>
                <a:off x="6361125" y="1592382"/>
                <a:ext cx="670398"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Chile</a:t>
                </a:r>
              </a:p>
            </p:txBody>
          </p:sp>
          <p:sp>
            <p:nvSpPr>
              <p:cNvPr id="192" name="Rektangel 115"/>
              <p:cNvSpPr/>
              <p:nvPr/>
            </p:nvSpPr>
            <p:spPr bwMode="auto">
              <a:xfrm>
                <a:off x="5693818" y="1591233"/>
                <a:ext cx="591253" cy="392683"/>
              </a:xfrm>
              <a:prstGeom prst="rect">
                <a:avLst/>
              </a:prstGeom>
              <a:blipFill dpi="0" rotWithShape="1">
                <a:blip r:embed="rId38" cstate="print"/>
                <a:srcRect/>
                <a:stretch>
                  <a:fillRect r="-1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93" name="Rektangel 118"/>
              <p:cNvSpPr>
                <a:spLocks noChangeArrowheads="1"/>
              </p:cNvSpPr>
              <p:nvPr/>
            </p:nvSpPr>
            <p:spPr bwMode="auto">
              <a:xfrm>
                <a:off x="5693818" y="2120590"/>
                <a:ext cx="591253" cy="392683"/>
              </a:xfrm>
              <a:prstGeom prst="rect">
                <a:avLst/>
              </a:prstGeom>
              <a:blipFill dpi="0" rotWithShape="1">
                <a:blip r:embed="rId39"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94" name="Rektangel 91"/>
              <p:cNvSpPr>
                <a:spLocks noChangeArrowheads="1"/>
              </p:cNvSpPr>
              <p:nvPr/>
            </p:nvSpPr>
            <p:spPr bwMode="auto">
              <a:xfrm>
                <a:off x="5693818" y="2655171"/>
                <a:ext cx="591253" cy="392683"/>
              </a:xfrm>
              <a:prstGeom prst="rect">
                <a:avLst/>
              </a:prstGeom>
              <a:blipFill dpi="0" rotWithShape="1">
                <a:blip r:embed="rId40"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95" name="Rektangel 109"/>
              <p:cNvSpPr/>
              <p:nvPr/>
            </p:nvSpPr>
            <p:spPr bwMode="auto">
              <a:xfrm>
                <a:off x="5672622" y="3642311"/>
                <a:ext cx="591253" cy="392683"/>
              </a:xfrm>
              <a:prstGeom prst="rect">
                <a:avLst/>
              </a:prstGeom>
              <a:blipFill dpi="0" rotWithShape="1">
                <a:blip r:embed="rId41" cstate="print"/>
                <a:srcRect/>
                <a:stretch>
                  <a:fillRect l="-3000" r="-6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96" name="Rektangel 112"/>
              <p:cNvSpPr>
                <a:spLocks noChangeArrowheads="1"/>
              </p:cNvSpPr>
              <p:nvPr/>
            </p:nvSpPr>
            <p:spPr bwMode="auto">
              <a:xfrm>
                <a:off x="5672622" y="4172771"/>
                <a:ext cx="591253" cy="392683"/>
              </a:xfrm>
              <a:prstGeom prst="rect">
                <a:avLst/>
              </a:prstGeom>
              <a:blipFill dpi="0" rotWithShape="1">
                <a:blip r:embed="rId42"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latin typeface="Calibri" charset="0"/>
                </a:endParaRPr>
              </a:p>
            </p:txBody>
          </p:sp>
          <p:sp>
            <p:nvSpPr>
              <p:cNvPr id="197" name="Rektangel 91"/>
              <p:cNvSpPr>
                <a:spLocks noChangeArrowheads="1"/>
              </p:cNvSpPr>
              <p:nvPr/>
            </p:nvSpPr>
            <p:spPr bwMode="auto">
              <a:xfrm>
                <a:off x="5672622" y="4710456"/>
                <a:ext cx="591253" cy="392683"/>
              </a:xfrm>
              <a:prstGeom prst="rect">
                <a:avLst/>
              </a:prstGeom>
              <a:blipFill dpi="0" rotWithShape="1">
                <a:blip r:embed="rId43"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pic>
            <p:nvPicPr>
              <p:cNvPr id="198" name="Picture 9" descr="C:\Users\08TJO\AppData\Local\Microsoft\Windows\Temporary Internet Files\Content.IE5\K86CLE5P\Proportional Flag Buttons\Chile.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5096156" y="1576778"/>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10" descr="C:\Users\08TJO\AppData\Local\Microsoft\Windows\Temporary Internet Files\Content.IE5\K86CLE5P\Proportional Flag Buttons\China.png"/>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5096156" y="2106135"/>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11" descr="C:\Users\08TJO\AppData\Local\Microsoft\Windows\Temporary Internet Files\Content.IE5\K86CLE5P\Proportional Flag Buttons\Dänemark.png"/>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5096156" y="2640716"/>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12" descr="C:\Users\08TJO\AppData\Local\Microsoft\Windows\Temporary Internet Files\Content.IE5\K86CLE5P\Proportional Flag Buttons\Finnland.png"/>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5074797" y="3668380"/>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14" descr="C:\Users\08TJO\AppData\Local\Microsoft\Windows\Temporary Internet Files\Content.IE5\K86CLE5P\Proportional Flag Buttons\Frankreich.png"/>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5074797" y="4158316"/>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15" descr="C:\Users\08TJO\AppData\Local\Microsoft\Windows\Temporary Internet Files\Content.IE5\K86CLE5P\Proportional Flag Buttons\Deutschland.png"/>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5074797" y="4696001"/>
                <a:ext cx="421592" cy="421592"/>
              </a:xfrm>
              <a:prstGeom prst="rect">
                <a:avLst/>
              </a:prstGeom>
              <a:noFill/>
              <a:extLst>
                <a:ext uri="{909E8E84-426E-40DD-AFC4-6F175D3DCCD1}">
                  <a14:hiddenFill xmlns:a14="http://schemas.microsoft.com/office/drawing/2010/main">
                    <a:solidFill>
                      <a:srgbClr val="FFFFFF"/>
                    </a:solidFill>
                  </a14:hiddenFill>
                </a:ext>
              </a:extLst>
            </p:spPr>
          </p:pic>
          <p:sp>
            <p:nvSpPr>
              <p:cNvPr id="204" name="Rektangel 85"/>
              <p:cNvSpPr>
                <a:spLocks noChangeArrowheads="1"/>
              </p:cNvSpPr>
              <p:nvPr/>
            </p:nvSpPr>
            <p:spPr bwMode="auto">
              <a:xfrm>
                <a:off x="5693818" y="3144936"/>
                <a:ext cx="591253" cy="392683"/>
              </a:xfrm>
              <a:prstGeom prst="rect">
                <a:avLst/>
              </a:prstGeom>
              <a:blipFill dpi="0" rotWithShape="1">
                <a:blip r:embed="rId50"/>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747">
                  <a:solidFill>
                    <a:srgbClr val="000000"/>
                  </a:solidFill>
                </a:endParaRPr>
              </a:p>
            </p:txBody>
          </p:sp>
          <p:pic>
            <p:nvPicPr>
              <p:cNvPr id="205" name="Picture 2" descr="C:\Users\08TJO\AppData\Local\Microsoft\Windows\Temporary Internet Files\Content.IE5\K86CLE5P\Proportional Flag Buttons\Tschechische Republik.pn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5096156" y="3130481"/>
                <a:ext cx="421592" cy="42159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74357171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nvPr>
        </p:nvGraphicFramePr>
        <p:xfrm>
          <a:off x="1701506" y="1541"/>
          <a:ext cx="1540" cy="1540"/>
        </p:xfrm>
        <a:graphic>
          <a:graphicData uri="http://schemas.openxmlformats.org/presentationml/2006/ole">
            <mc:AlternateContent xmlns:mc="http://schemas.openxmlformats.org/markup-compatibility/2006">
              <mc:Choice xmlns:v="urn:schemas-microsoft-com:vml" Requires="v">
                <p:oleObj spid="_x0000_s20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701506" y="1541"/>
                        <a:ext cx="1540" cy="1540"/>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smtClean="0"/>
              <a:t>Flags of the world (2/2)</a:t>
            </a:r>
            <a:endParaRPr lang="en-CA" dirty="0"/>
          </a:p>
        </p:txBody>
      </p:sp>
      <p:sp>
        <p:nvSpPr>
          <p:cNvPr id="44" name="BainBulletsConfiguration" hidden="1"/>
          <p:cNvSpPr txBox="1"/>
          <p:nvPr/>
        </p:nvSpPr>
        <p:spPr>
          <a:xfrm>
            <a:off x="1712288" y="12323"/>
            <a:ext cx="8626466" cy="107722"/>
          </a:xfrm>
          <a:prstGeom prst="rect">
            <a:avLst/>
          </a:prstGeom>
          <a:noFill/>
        </p:spPr>
        <p:txBody>
          <a:bodyPr vert="horz" wrap="square" lIns="44365" rIns="44365" rtlCol="0">
            <a:spAutoFit/>
          </a:bodyPr>
          <a:lstStyle/>
          <a:p>
            <a:endParaRPr lang="en-CA" sz="100" dirty="0">
              <a:solidFill>
                <a:srgbClr val="FFFFFF"/>
              </a:solidFill>
            </a:endParaRPr>
          </a:p>
        </p:txBody>
      </p:sp>
      <p:sp>
        <p:nvSpPr>
          <p:cNvPr id="26" name="Text Box 75"/>
          <p:cNvSpPr txBox="1">
            <a:spLocks noChangeArrowheads="1"/>
          </p:cNvSpPr>
          <p:nvPr/>
        </p:nvSpPr>
        <p:spPr bwMode="auto">
          <a:xfrm>
            <a:off x="6321486" y="4223775"/>
            <a:ext cx="1476708"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South Korea</a:t>
            </a:r>
          </a:p>
        </p:txBody>
      </p:sp>
      <p:sp>
        <p:nvSpPr>
          <p:cNvPr id="5" name="Text Box 64"/>
          <p:cNvSpPr txBox="1">
            <a:spLocks noChangeArrowheads="1"/>
          </p:cNvSpPr>
          <p:nvPr/>
        </p:nvSpPr>
        <p:spPr bwMode="auto">
          <a:xfrm>
            <a:off x="6397541" y="3091517"/>
            <a:ext cx="1051912"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Slovakia</a:t>
            </a:r>
          </a:p>
        </p:txBody>
      </p:sp>
      <p:sp>
        <p:nvSpPr>
          <p:cNvPr id="8" name="Text Box 65"/>
          <p:cNvSpPr txBox="1">
            <a:spLocks noChangeArrowheads="1"/>
          </p:cNvSpPr>
          <p:nvPr/>
        </p:nvSpPr>
        <p:spPr bwMode="auto">
          <a:xfrm>
            <a:off x="6397541" y="3624456"/>
            <a:ext cx="1500753"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South Africa</a:t>
            </a:r>
          </a:p>
        </p:txBody>
      </p:sp>
      <p:sp>
        <p:nvSpPr>
          <p:cNvPr id="11" name="Text Box 66"/>
          <p:cNvSpPr txBox="1">
            <a:spLocks noChangeArrowheads="1"/>
          </p:cNvSpPr>
          <p:nvPr/>
        </p:nvSpPr>
        <p:spPr bwMode="auto">
          <a:xfrm>
            <a:off x="6321486" y="4782429"/>
            <a:ext cx="728106"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Spain</a:t>
            </a:r>
          </a:p>
        </p:txBody>
      </p:sp>
      <p:sp>
        <p:nvSpPr>
          <p:cNvPr id="16" name="Text Box 71"/>
          <p:cNvSpPr txBox="1">
            <a:spLocks noChangeArrowheads="1"/>
          </p:cNvSpPr>
          <p:nvPr/>
        </p:nvSpPr>
        <p:spPr bwMode="auto">
          <a:xfrm>
            <a:off x="6321486" y="5303611"/>
            <a:ext cx="981380"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Sweden</a:t>
            </a:r>
          </a:p>
        </p:txBody>
      </p:sp>
      <p:sp>
        <p:nvSpPr>
          <p:cNvPr id="29" name="Text Box 76"/>
          <p:cNvSpPr txBox="1">
            <a:spLocks noChangeArrowheads="1"/>
          </p:cNvSpPr>
          <p:nvPr/>
        </p:nvSpPr>
        <p:spPr bwMode="auto">
          <a:xfrm>
            <a:off x="6397541" y="2558579"/>
            <a:ext cx="1241067"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Singapore</a:t>
            </a:r>
          </a:p>
        </p:txBody>
      </p:sp>
      <p:sp>
        <p:nvSpPr>
          <p:cNvPr id="37" name="Text Box 63"/>
          <p:cNvSpPr txBox="1">
            <a:spLocks noChangeArrowheads="1"/>
          </p:cNvSpPr>
          <p:nvPr/>
        </p:nvSpPr>
        <p:spPr bwMode="auto">
          <a:xfrm>
            <a:off x="6397541" y="2025642"/>
            <a:ext cx="817874"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Serbia</a:t>
            </a:r>
          </a:p>
        </p:txBody>
      </p:sp>
      <p:sp>
        <p:nvSpPr>
          <p:cNvPr id="43" name="Text Box 62"/>
          <p:cNvSpPr txBox="1">
            <a:spLocks noChangeArrowheads="1"/>
          </p:cNvSpPr>
          <p:nvPr/>
        </p:nvSpPr>
        <p:spPr bwMode="auto">
          <a:xfrm>
            <a:off x="6397541" y="1486333"/>
            <a:ext cx="1526401"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Saudi Arabia</a:t>
            </a:r>
          </a:p>
        </p:txBody>
      </p:sp>
      <p:sp>
        <p:nvSpPr>
          <p:cNvPr id="100" name="Rektangel 109"/>
          <p:cNvSpPr/>
          <p:nvPr/>
        </p:nvSpPr>
        <p:spPr bwMode="auto">
          <a:xfrm>
            <a:off x="5730232" y="1485184"/>
            <a:ext cx="591254" cy="392683"/>
          </a:xfrm>
          <a:prstGeom prst="rect">
            <a:avLst/>
          </a:prstGeom>
          <a:blipFill dpi="0" rotWithShape="1">
            <a:blip r:embed="rId6" cstate="print"/>
            <a:srcRect/>
            <a:stretch>
              <a:fillRect l="-3000" r="-6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01" name="Rektangel 115"/>
          <p:cNvSpPr/>
          <p:nvPr/>
        </p:nvSpPr>
        <p:spPr bwMode="auto">
          <a:xfrm>
            <a:off x="5730232" y="2024493"/>
            <a:ext cx="591254" cy="392683"/>
          </a:xfrm>
          <a:prstGeom prst="rect">
            <a:avLst/>
          </a:prstGeom>
          <a:blipFill dpi="0" rotWithShape="1">
            <a:blip r:embed="rId7" cstate="print"/>
            <a:srcRect/>
            <a:stretch>
              <a:fillRect r="-1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02" name="Rektangel 82"/>
          <p:cNvSpPr>
            <a:spLocks noChangeArrowheads="1"/>
          </p:cNvSpPr>
          <p:nvPr/>
        </p:nvSpPr>
        <p:spPr bwMode="auto">
          <a:xfrm>
            <a:off x="5730232" y="2557430"/>
            <a:ext cx="591254" cy="392683"/>
          </a:xfrm>
          <a:prstGeom prst="rect">
            <a:avLst/>
          </a:prstGeom>
          <a:blipFill dpi="0" rotWithShape="1">
            <a:blip r:embed="rId8"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03" name="Rektangel 85"/>
          <p:cNvSpPr>
            <a:spLocks noChangeArrowheads="1"/>
          </p:cNvSpPr>
          <p:nvPr/>
        </p:nvSpPr>
        <p:spPr bwMode="auto">
          <a:xfrm>
            <a:off x="5730232" y="3090368"/>
            <a:ext cx="591254" cy="392683"/>
          </a:xfrm>
          <a:prstGeom prst="rect">
            <a:avLst/>
          </a:prstGeom>
          <a:blipFill dpi="0" rotWithShape="1">
            <a:blip r:embed="rId9"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04" name="Rektangel 102"/>
          <p:cNvSpPr>
            <a:spLocks noChangeArrowheads="1"/>
          </p:cNvSpPr>
          <p:nvPr/>
        </p:nvSpPr>
        <p:spPr bwMode="auto">
          <a:xfrm>
            <a:off x="5730232" y="3623307"/>
            <a:ext cx="591254" cy="392683"/>
          </a:xfrm>
          <a:prstGeom prst="rect">
            <a:avLst/>
          </a:prstGeom>
          <a:blipFill dpi="0" rotWithShape="1">
            <a:blip r:embed="rId10"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05" name="Rektangel 109"/>
          <p:cNvSpPr/>
          <p:nvPr/>
        </p:nvSpPr>
        <p:spPr bwMode="auto">
          <a:xfrm>
            <a:off x="5673475" y="4781280"/>
            <a:ext cx="591254" cy="392683"/>
          </a:xfrm>
          <a:prstGeom prst="rect">
            <a:avLst/>
          </a:prstGeom>
          <a:blipFill dpi="0" rotWithShape="1">
            <a:blip r:embed="rId11" cstate="print"/>
            <a:srcRect/>
            <a:stretch>
              <a:fillRect l="-3000" r="-6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06" name="Rektangel 97"/>
          <p:cNvSpPr>
            <a:spLocks noChangeArrowheads="1"/>
          </p:cNvSpPr>
          <p:nvPr/>
        </p:nvSpPr>
        <p:spPr bwMode="auto">
          <a:xfrm>
            <a:off x="5673475" y="4222626"/>
            <a:ext cx="591254" cy="392683"/>
          </a:xfrm>
          <a:prstGeom prst="rect">
            <a:avLst/>
          </a:prstGeom>
          <a:blipFill dpi="0" rotWithShape="1">
            <a:blip r:embed="rId12"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latin typeface="Calibri" charset="0"/>
            </a:endParaRPr>
          </a:p>
        </p:txBody>
      </p:sp>
      <p:sp>
        <p:nvSpPr>
          <p:cNvPr id="107" name="Rektangel 85"/>
          <p:cNvSpPr>
            <a:spLocks noChangeArrowheads="1"/>
          </p:cNvSpPr>
          <p:nvPr/>
        </p:nvSpPr>
        <p:spPr bwMode="auto">
          <a:xfrm>
            <a:off x="5673475" y="5302462"/>
            <a:ext cx="591254" cy="392683"/>
          </a:xfrm>
          <a:prstGeom prst="rect">
            <a:avLst/>
          </a:prstGeom>
          <a:blipFill dpi="0" rotWithShape="1">
            <a:blip r:embed="rId13"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pic>
        <p:nvPicPr>
          <p:cNvPr id="5151" name="Picture 31" descr="C:\Users\08TJO\AppData\Local\Microsoft\Windows\Temporary Internet Files\Content.IE5\K86CLE5P\Proportional Flag Buttons\Saudi Arabien.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132572" y="1470729"/>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5153" name="Picture 33" descr="C:\Users\08TJO\AppData\Local\Microsoft\Windows\Temporary Internet Files\Content.IE5\K86CLE5P\Proportional Flag Buttons\Serbien.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132572" y="2010038"/>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5155" name="Picture 35" descr="C:\Users\08TJO\AppData\Local\Microsoft\Windows\Temporary Internet Files\Content.IE5\K86CLE5P\Proportional Flag Buttons\Schweden.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075650" y="5288007"/>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5156" name="Picture 36" descr="C:\Users\08TJO\AppData\Local\Microsoft\Windows\Temporary Internet Files\Content.IE5\K86CLE5P\Proportional Flag Buttons\Spanien.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075650" y="4706807"/>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5157" name="Picture 37" descr="C:\Users\08TJO\AppData\Local\Microsoft\Windows\Temporary Internet Files\Content.IE5\K86CLE5P\Proportional Flag Buttons\Singapur.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132572" y="2542975"/>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5158" name="Picture 38" descr="C:\Users\08TJO\AppData\Local\Microsoft\Windows\Temporary Internet Files\Content.IE5\K86CLE5P\Proportional Flag Buttons\Slowakei.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132572" y="3075913"/>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5159" name="Picture 39" descr="C:\Users\08TJO\AppData\Local\Microsoft\Windows\Temporary Internet Files\Content.IE5\K86CLE5P\Proportional Flag Buttons\Südkorea.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075650" y="4208171"/>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5160" name="Picture 40" descr="C:\Users\08TJO\AppData\Local\Microsoft\Windows\Temporary Internet Files\Content.IE5\K86CLE5P\Proportional Flag Buttons\Republik Südafrika.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132572" y="3608852"/>
            <a:ext cx="421592" cy="421592"/>
          </a:xfrm>
          <a:prstGeom prst="rect">
            <a:avLst/>
          </a:prstGeom>
          <a:noFill/>
          <a:extLst>
            <a:ext uri="{909E8E84-426E-40DD-AFC4-6F175D3DCCD1}">
              <a14:hiddenFill xmlns:a14="http://schemas.microsoft.com/office/drawing/2010/main">
                <a:solidFill>
                  <a:srgbClr val="FFFFFF"/>
                </a:solidFill>
              </a14:hiddenFill>
            </a:ext>
          </a:extLst>
        </p:spPr>
      </p:pic>
      <p:sp>
        <p:nvSpPr>
          <p:cNvPr id="14" name="Text Box 67"/>
          <p:cNvSpPr txBox="1">
            <a:spLocks noChangeArrowheads="1"/>
          </p:cNvSpPr>
          <p:nvPr/>
        </p:nvSpPr>
        <p:spPr bwMode="auto">
          <a:xfrm>
            <a:off x="9863892" y="4782429"/>
            <a:ext cx="582232"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USA</a:t>
            </a:r>
          </a:p>
        </p:txBody>
      </p:sp>
      <p:sp>
        <p:nvSpPr>
          <p:cNvPr id="20" name="Text Box 74"/>
          <p:cNvSpPr txBox="1">
            <a:spLocks noChangeArrowheads="1"/>
          </p:cNvSpPr>
          <p:nvPr/>
        </p:nvSpPr>
        <p:spPr bwMode="auto">
          <a:xfrm>
            <a:off x="9863892" y="3624456"/>
            <a:ext cx="566202" cy="390384"/>
          </a:xfrm>
          <a:prstGeom prst="rect">
            <a:avLst/>
          </a:prstGeom>
          <a:noFill/>
          <a:ln w="19050">
            <a:noFill/>
            <a:miter lim="800000"/>
            <a:headEnd/>
            <a:tailEnd/>
          </a:ln>
        </p:spPr>
        <p:txBody>
          <a:bodyPr wrap="none" lIns="45413" tIns="45413" rIns="45413" bIns="45413">
            <a:spAutoFit/>
          </a:bodyPr>
          <a:lstStyle/>
          <a:p>
            <a:pPr rtl="1">
              <a:spcBef>
                <a:spcPct val="45000"/>
              </a:spcBef>
            </a:pPr>
            <a:r>
              <a:rPr lang="en-GB" sz="1941" dirty="0"/>
              <a:t>UAE</a:t>
            </a:r>
          </a:p>
        </p:txBody>
      </p:sp>
      <p:sp>
        <p:nvSpPr>
          <p:cNvPr id="23" name="Text Box 73"/>
          <p:cNvSpPr txBox="1">
            <a:spLocks noChangeArrowheads="1"/>
          </p:cNvSpPr>
          <p:nvPr/>
        </p:nvSpPr>
        <p:spPr bwMode="auto">
          <a:xfrm>
            <a:off x="9863892" y="3091517"/>
            <a:ext cx="965350"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Ukraine</a:t>
            </a:r>
          </a:p>
        </p:txBody>
      </p:sp>
      <p:sp>
        <p:nvSpPr>
          <p:cNvPr id="31" name="Text Box 69"/>
          <p:cNvSpPr txBox="1">
            <a:spLocks noChangeArrowheads="1"/>
          </p:cNvSpPr>
          <p:nvPr/>
        </p:nvSpPr>
        <p:spPr bwMode="auto">
          <a:xfrm>
            <a:off x="9863892" y="2558579"/>
            <a:ext cx="885200"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Turkey</a:t>
            </a:r>
          </a:p>
        </p:txBody>
      </p:sp>
      <p:sp>
        <p:nvSpPr>
          <p:cNvPr id="33" name="Text Box 68"/>
          <p:cNvSpPr txBox="1">
            <a:spLocks noChangeArrowheads="1"/>
          </p:cNvSpPr>
          <p:nvPr/>
        </p:nvSpPr>
        <p:spPr bwMode="auto">
          <a:xfrm>
            <a:off x="9863892" y="4223775"/>
            <a:ext cx="415520"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UK</a:t>
            </a:r>
          </a:p>
        </p:txBody>
      </p:sp>
      <p:sp>
        <p:nvSpPr>
          <p:cNvPr id="40" name="Text Box 70"/>
          <p:cNvSpPr txBox="1">
            <a:spLocks noChangeArrowheads="1"/>
          </p:cNvSpPr>
          <p:nvPr/>
        </p:nvSpPr>
        <p:spPr bwMode="auto">
          <a:xfrm>
            <a:off x="9863892" y="1486333"/>
            <a:ext cx="1422205"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Switzerland</a:t>
            </a:r>
          </a:p>
        </p:txBody>
      </p:sp>
      <p:sp>
        <p:nvSpPr>
          <p:cNvPr id="108" name="Rektangel 91"/>
          <p:cNvSpPr>
            <a:spLocks noChangeArrowheads="1"/>
          </p:cNvSpPr>
          <p:nvPr/>
        </p:nvSpPr>
        <p:spPr bwMode="auto">
          <a:xfrm>
            <a:off x="9215881" y="1485184"/>
            <a:ext cx="591254" cy="392683"/>
          </a:xfrm>
          <a:prstGeom prst="rect">
            <a:avLst/>
          </a:prstGeom>
          <a:blipFill dpi="0" rotWithShape="1">
            <a:blip r:embed="rId22"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09" name="Rektangel 91"/>
          <p:cNvSpPr>
            <a:spLocks noChangeArrowheads="1"/>
          </p:cNvSpPr>
          <p:nvPr/>
        </p:nvSpPr>
        <p:spPr bwMode="auto">
          <a:xfrm>
            <a:off x="9215881" y="2557430"/>
            <a:ext cx="591254" cy="392683"/>
          </a:xfrm>
          <a:prstGeom prst="rect">
            <a:avLst/>
          </a:prstGeom>
          <a:blipFill dpi="0" rotWithShape="1">
            <a:blip r:embed="rId23"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10" name="Rektangel 109"/>
          <p:cNvSpPr/>
          <p:nvPr/>
        </p:nvSpPr>
        <p:spPr bwMode="auto">
          <a:xfrm>
            <a:off x="9215881" y="3090368"/>
            <a:ext cx="591254" cy="392683"/>
          </a:xfrm>
          <a:prstGeom prst="rect">
            <a:avLst/>
          </a:prstGeom>
          <a:blipFill dpi="0" rotWithShape="1">
            <a:blip r:embed="rId24" cstate="print"/>
            <a:srcRect/>
            <a:stretch>
              <a:fillRect l="-3000" r="-6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11" name="Rektangel 112"/>
          <p:cNvSpPr>
            <a:spLocks noChangeArrowheads="1"/>
          </p:cNvSpPr>
          <p:nvPr/>
        </p:nvSpPr>
        <p:spPr bwMode="auto">
          <a:xfrm>
            <a:off x="9215881" y="3623307"/>
            <a:ext cx="591254" cy="392683"/>
          </a:xfrm>
          <a:prstGeom prst="rect">
            <a:avLst/>
          </a:prstGeom>
          <a:blipFill dpi="0" rotWithShape="1">
            <a:blip r:embed="rId25"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latin typeface="Calibri" charset="0"/>
            </a:endParaRPr>
          </a:p>
        </p:txBody>
      </p:sp>
      <p:sp>
        <p:nvSpPr>
          <p:cNvPr id="112" name="Rektangel 115"/>
          <p:cNvSpPr/>
          <p:nvPr/>
        </p:nvSpPr>
        <p:spPr bwMode="auto">
          <a:xfrm>
            <a:off x="9215881" y="4222626"/>
            <a:ext cx="591254" cy="392683"/>
          </a:xfrm>
          <a:prstGeom prst="rect">
            <a:avLst/>
          </a:prstGeom>
          <a:blipFill dpi="0" rotWithShape="1">
            <a:blip r:embed="rId26" cstate="print"/>
            <a:srcRect/>
            <a:stretch>
              <a:fillRect r="-1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113" name="Rektangel 118"/>
          <p:cNvSpPr>
            <a:spLocks noChangeArrowheads="1"/>
          </p:cNvSpPr>
          <p:nvPr/>
        </p:nvSpPr>
        <p:spPr bwMode="auto">
          <a:xfrm>
            <a:off x="9215881" y="4781280"/>
            <a:ext cx="591254" cy="392683"/>
          </a:xfrm>
          <a:prstGeom prst="rect">
            <a:avLst/>
          </a:prstGeom>
          <a:blipFill dpi="0" rotWithShape="1">
            <a:blip r:embed="rId27"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pic>
        <p:nvPicPr>
          <p:cNvPr id="5154" name="Picture 34" descr="C:\Users\08TJO\AppData\Local\Microsoft\Windows\Temporary Internet Files\Content.IE5\K86CLE5P\Proportional Flag Buttons\Schweiz.png"/>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8618056" y="1470729"/>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5161" name="Picture 41" descr="C:\Users\08TJO\AppData\Local\Microsoft\Windows\Temporary Internet Files\Content.IE5\K86CLE5P\Proportional Flag Buttons\Türkei.png"/>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8618056" y="2542975"/>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5162" name="Picture 42" descr="C:\Users\08TJO\AppData\Local\Microsoft\Windows\Temporary Internet Files\Content.IE5\K86CLE5P\Proportional Flag Buttons\Ukraine.png"/>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8618056" y="3075913"/>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5163" name="Picture 43" descr="C:\Users\08TJO\AppData\Local\Microsoft\Windows\Temporary Internet Files\Content.IE5\K86CLE5P\Proportional Flag Buttons\Vereinigte Arabische Emirate.png"/>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618056" y="3608852"/>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5164" name="Picture 44" descr="C:\Users\08TJO\AppData\Local\Microsoft\Windows\Temporary Internet Files\Content.IE5\K86CLE5P\Proportional Flag Buttons\USA.png"/>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8618056" y="4766825"/>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5165" name="Picture 45" descr="C:\Users\08TJO\AppData\Local\Microsoft\Windows\Temporary Internet Files\Content.IE5\K86CLE5P\Proportional Flag Buttons\Großbritannien.png"/>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8618056" y="4208171"/>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5167" name="Picture 47" descr="C:\Users\08TJO\AppData\Local\Microsoft\Windows\Temporary Internet Files\Content.IE5\K86CLE5P\Proportional Flag Buttons\Thailand.pn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8618056" y="2010038"/>
            <a:ext cx="421592" cy="421592"/>
          </a:xfrm>
          <a:prstGeom prst="rect">
            <a:avLst/>
          </a:prstGeom>
          <a:noFill/>
          <a:extLst>
            <a:ext uri="{909E8E84-426E-40DD-AFC4-6F175D3DCCD1}">
              <a14:hiddenFill xmlns:a14="http://schemas.microsoft.com/office/drawing/2010/main">
                <a:solidFill>
                  <a:srgbClr val="FFFFFF"/>
                </a:solidFill>
              </a14:hiddenFill>
            </a:ext>
          </a:extLst>
        </p:spPr>
      </p:pic>
      <p:sp>
        <p:nvSpPr>
          <p:cNvPr id="132" name="Text Box 70"/>
          <p:cNvSpPr txBox="1">
            <a:spLocks noChangeArrowheads="1"/>
          </p:cNvSpPr>
          <p:nvPr/>
        </p:nvSpPr>
        <p:spPr bwMode="auto">
          <a:xfrm>
            <a:off x="9863892" y="2025642"/>
            <a:ext cx="1071148"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Thailand</a:t>
            </a:r>
          </a:p>
        </p:txBody>
      </p:sp>
      <p:sp>
        <p:nvSpPr>
          <p:cNvPr id="133" name="Rektangel 109"/>
          <p:cNvSpPr/>
          <p:nvPr/>
        </p:nvSpPr>
        <p:spPr bwMode="auto">
          <a:xfrm>
            <a:off x="9215881" y="2024493"/>
            <a:ext cx="591254" cy="392683"/>
          </a:xfrm>
          <a:prstGeom prst="rect">
            <a:avLst/>
          </a:prstGeom>
          <a:blipFill dpi="0" rotWithShape="1">
            <a:blip r:embed="rId35"/>
            <a:srcRect/>
            <a:stretch>
              <a:fillRect l="-3000" r="-6000"/>
            </a:stretch>
          </a:blipFill>
          <a:ln w="9525">
            <a:noFill/>
            <a:round/>
            <a:headEnd/>
            <a:tailEnd/>
          </a:ln>
          <a:effectLst>
            <a:outerShdw blurRad="50800" dist="25400" dir="2700000" algn="tl" rotWithShape="0">
              <a:prstClr val="black">
                <a:alpha val="40000"/>
              </a:prstClr>
            </a:outerShdw>
          </a:effectLst>
        </p:spPr>
        <p:txBody>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1" hangingPunct="1"/>
            <a:endParaRPr lang="en-US" sz="1747">
              <a:solidFill>
                <a:srgbClr val="000000"/>
              </a:solidFill>
            </a:endParaRPr>
          </a:p>
        </p:txBody>
      </p:sp>
      <p:sp>
        <p:nvSpPr>
          <p:cNvPr id="19" name="Text Box 61"/>
          <p:cNvSpPr txBox="1">
            <a:spLocks noChangeArrowheads="1"/>
          </p:cNvSpPr>
          <p:nvPr/>
        </p:nvSpPr>
        <p:spPr bwMode="auto">
          <a:xfrm>
            <a:off x="2820161" y="5303611"/>
            <a:ext cx="851536"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Russia</a:t>
            </a:r>
          </a:p>
        </p:txBody>
      </p:sp>
      <p:sp>
        <p:nvSpPr>
          <p:cNvPr id="99" name="Rektangel 115"/>
          <p:cNvSpPr/>
          <p:nvPr/>
        </p:nvSpPr>
        <p:spPr bwMode="auto">
          <a:xfrm>
            <a:off x="2152852" y="5302462"/>
            <a:ext cx="591254" cy="392683"/>
          </a:xfrm>
          <a:prstGeom prst="rect">
            <a:avLst/>
          </a:prstGeom>
          <a:blipFill dpi="0" rotWithShape="1">
            <a:blip r:embed="rId36" cstate="print"/>
            <a:srcRect/>
            <a:stretch>
              <a:fillRect r="-1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pic>
        <p:nvPicPr>
          <p:cNvPr id="5150" name="Picture 30" descr="C:\Users\08TJO\AppData\Local\Microsoft\Windows\Temporary Internet Files\Content.IE5\K86CLE5P\Proportional Flag Buttons\Russland.pn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1555192" y="5288007"/>
            <a:ext cx="421592" cy="421592"/>
          </a:xfrm>
          <a:prstGeom prst="rect">
            <a:avLst/>
          </a:prstGeom>
          <a:noFill/>
          <a:extLst>
            <a:ext uri="{909E8E84-426E-40DD-AFC4-6F175D3DCCD1}">
              <a14:hiddenFill xmlns:a14="http://schemas.microsoft.com/office/drawing/2010/main">
                <a:solidFill>
                  <a:srgbClr val="FFFFFF"/>
                </a:solidFill>
              </a14:hiddenFill>
            </a:ext>
          </a:extLst>
        </p:spPr>
      </p:pic>
      <p:sp>
        <p:nvSpPr>
          <p:cNvPr id="71" name="Text Box 72"/>
          <p:cNvSpPr txBox="1">
            <a:spLocks noChangeArrowheads="1"/>
          </p:cNvSpPr>
          <p:nvPr/>
        </p:nvSpPr>
        <p:spPr bwMode="auto">
          <a:xfrm>
            <a:off x="2803280" y="1486333"/>
            <a:ext cx="1098399"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Malaysia</a:t>
            </a:r>
          </a:p>
        </p:txBody>
      </p:sp>
      <p:sp>
        <p:nvSpPr>
          <p:cNvPr id="72" name="Rektangel 112"/>
          <p:cNvSpPr>
            <a:spLocks noChangeArrowheads="1"/>
          </p:cNvSpPr>
          <p:nvPr/>
        </p:nvSpPr>
        <p:spPr bwMode="auto">
          <a:xfrm>
            <a:off x="2155269" y="1485184"/>
            <a:ext cx="591253" cy="392683"/>
          </a:xfrm>
          <a:prstGeom prst="rect">
            <a:avLst/>
          </a:prstGeom>
          <a:blipFill dpi="0" rotWithShape="1">
            <a:blip r:embed="rId38"/>
            <a:srcRect/>
            <a:stretch>
              <a:fillRect/>
            </a:stretch>
          </a:blip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a:lstStyle/>
          <a:p>
            <a:endParaRPr lang="en-US" sz="1747">
              <a:solidFill>
                <a:srgbClr val="000000"/>
              </a:solidFill>
              <a:latin typeface="Calibri" charset="0"/>
            </a:endParaRPr>
          </a:p>
        </p:txBody>
      </p:sp>
      <p:pic>
        <p:nvPicPr>
          <p:cNvPr id="73" name="Picture 3" descr="C:\Users\08TJO\AppData\Local\Microsoft\Windows\Temporary Internet Files\Content.IE5\K86CLE5P\Proportional Flag Buttons\Maylasien.png"/>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557444" y="1470729"/>
            <a:ext cx="421592" cy="421592"/>
          </a:xfrm>
          <a:prstGeom prst="rect">
            <a:avLst/>
          </a:prstGeom>
          <a:noFill/>
          <a:extLst>
            <a:ext uri="{909E8E84-426E-40DD-AFC4-6F175D3DCCD1}">
              <a14:hiddenFill xmlns:a14="http://schemas.microsoft.com/office/drawing/2010/main">
                <a:solidFill>
                  <a:srgbClr val="FFFFFF"/>
                </a:solidFill>
              </a14:hiddenFill>
            </a:ext>
          </a:extLst>
        </p:spPr>
      </p:pic>
      <p:sp>
        <p:nvSpPr>
          <p:cNvPr id="74" name="Text Box 72"/>
          <p:cNvSpPr txBox="1">
            <a:spLocks noChangeArrowheads="1"/>
          </p:cNvSpPr>
          <p:nvPr/>
        </p:nvSpPr>
        <p:spPr bwMode="auto">
          <a:xfrm>
            <a:off x="2834295" y="2025642"/>
            <a:ext cx="912450"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Mexico</a:t>
            </a:r>
          </a:p>
        </p:txBody>
      </p:sp>
      <p:sp>
        <p:nvSpPr>
          <p:cNvPr id="75" name="Text Box 59"/>
          <p:cNvSpPr txBox="1">
            <a:spLocks noChangeArrowheads="1"/>
          </p:cNvSpPr>
          <p:nvPr/>
        </p:nvSpPr>
        <p:spPr bwMode="auto">
          <a:xfrm>
            <a:off x="2834295" y="4223775"/>
            <a:ext cx="873978"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Poland</a:t>
            </a:r>
          </a:p>
        </p:txBody>
      </p:sp>
      <p:sp>
        <p:nvSpPr>
          <p:cNvPr id="76" name="Text Box 60"/>
          <p:cNvSpPr txBox="1">
            <a:spLocks noChangeArrowheads="1"/>
          </p:cNvSpPr>
          <p:nvPr/>
        </p:nvSpPr>
        <p:spPr bwMode="auto">
          <a:xfrm>
            <a:off x="2834295" y="4782429"/>
            <a:ext cx="1056721"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Portugal</a:t>
            </a:r>
          </a:p>
        </p:txBody>
      </p:sp>
      <p:sp>
        <p:nvSpPr>
          <p:cNvPr id="77" name="Text Box 120"/>
          <p:cNvSpPr txBox="1">
            <a:spLocks noChangeArrowheads="1"/>
          </p:cNvSpPr>
          <p:nvPr/>
        </p:nvSpPr>
        <p:spPr bwMode="auto">
          <a:xfrm>
            <a:off x="2834295" y="3091517"/>
            <a:ext cx="1547240"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New Zealand</a:t>
            </a:r>
          </a:p>
        </p:txBody>
      </p:sp>
      <p:sp>
        <p:nvSpPr>
          <p:cNvPr id="78" name="Text Box 121"/>
          <p:cNvSpPr txBox="1">
            <a:spLocks noChangeArrowheads="1"/>
          </p:cNvSpPr>
          <p:nvPr/>
        </p:nvSpPr>
        <p:spPr bwMode="auto">
          <a:xfrm>
            <a:off x="2834295" y="3624456"/>
            <a:ext cx="941305"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Norway</a:t>
            </a:r>
          </a:p>
        </p:txBody>
      </p:sp>
      <p:sp>
        <p:nvSpPr>
          <p:cNvPr id="79" name="Text Box 58"/>
          <p:cNvSpPr txBox="1">
            <a:spLocks noChangeArrowheads="1"/>
          </p:cNvSpPr>
          <p:nvPr/>
        </p:nvSpPr>
        <p:spPr bwMode="auto">
          <a:xfrm>
            <a:off x="2834295" y="2558579"/>
            <a:ext cx="1468693" cy="390384"/>
          </a:xfrm>
          <a:prstGeom prst="rect">
            <a:avLst/>
          </a:prstGeom>
          <a:noFill/>
          <a:ln w="19050">
            <a:noFill/>
            <a:miter lim="800000"/>
            <a:headEnd/>
            <a:tailEnd/>
          </a:ln>
        </p:spPr>
        <p:txBody>
          <a:bodyPr wrap="none" lIns="45413" tIns="45413" rIns="45413" bIns="45413">
            <a:spAutoFit/>
          </a:bodyPr>
          <a:lstStyle/>
          <a:p>
            <a:pPr algn="l">
              <a:spcBef>
                <a:spcPct val="45000"/>
              </a:spcBef>
            </a:pPr>
            <a:r>
              <a:rPr lang="en-GB" sz="1941" dirty="0"/>
              <a:t>Netherlands</a:t>
            </a:r>
          </a:p>
        </p:txBody>
      </p:sp>
      <p:sp>
        <p:nvSpPr>
          <p:cNvPr id="80" name="Rektangel 106"/>
          <p:cNvSpPr>
            <a:spLocks noChangeArrowheads="1"/>
          </p:cNvSpPr>
          <p:nvPr/>
        </p:nvSpPr>
        <p:spPr bwMode="auto">
          <a:xfrm>
            <a:off x="2166986" y="2024493"/>
            <a:ext cx="591254" cy="392683"/>
          </a:xfrm>
          <a:prstGeom prst="rect">
            <a:avLst/>
          </a:prstGeom>
          <a:blipFill dpi="0" rotWithShape="1">
            <a:blip r:embed="rId40"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81" name="Rektangel 109"/>
          <p:cNvSpPr/>
          <p:nvPr/>
        </p:nvSpPr>
        <p:spPr bwMode="auto">
          <a:xfrm>
            <a:off x="2166986" y="2557430"/>
            <a:ext cx="591254" cy="392683"/>
          </a:xfrm>
          <a:prstGeom prst="rect">
            <a:avLst/>
          </a:prstGeom>
          <a:blipFill dpi="0" rotWithShape="1">
            <a:blip r:embed="rId41" cstate="print"/>
            <a:srcRect/>
            <a:stretch>
              <a:fillRect l="-3000" r="-6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82" name="Rektangel 118"/>
          <p:cNvSpPr>
            <a:spLocks noChangeArrowheads="1"/>
          </p:cNvSpPr>
          <p:nvPr/>
        </p:nvSpPr>
        <p:spPr bwMode="auto">
          <a:xfrm>
            <a:off x="2166986" y="3090368"/>
            <a:ext cx="591254" cy="392683"/>
          </a:xfrm>
          <a:prstGeom prst="rect">
            <a:avLst/>
          </a:prstGeom>
          <a:blipFill dpi="0" rotWithShape="1">
            <a:blip r:embed="rId42"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83" name="Rektangel 102"/>
          <p:cNvSpPr>
            <a:spLocks noChangeArrowheads="1"/>
          </p:cNvSpPr>
          <p:nvPr/>
        </p:nvSpPr>
        <p:spPr bwMode="auto">
          <a:xfrm>
            <a:off x="2166986" y="3623307"/>
            <a:ext cx="591254" cy="392683"/>
          </a:xfrm>
          <a:prstGeom prst="rect">
            <a:avLst/>
          </a:prstGeom>
          <a:blipFill dpi="0" rotWithShape="1">
            <a:blip r:embed="rId43"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84" name="Rektangel 94"/>
          <p:cNvSpPr/>
          <p:nvPr/>
        </p:nvSpPr>
        <p:spPr bwMode="auto">
          <a:xfrm>
            <a:off x="2166986" y="4222626"/>
            <a:ext cx="591254" cy="392683"/>
          </a:xfrm>
          <a:prstGeom prst="rect">
            <a:avLst/>
          </a:prstGeom>
          <a:blipFill dpi="0" rotWithShape="1">
            <a:blip r:embed="rId44" cstate="print"/>
            <a:srcRect/>
            <a:stretch>
              <a:fillRect l="-3000" r="-6000"/>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endParaRPr>
          </a:p>
        </p:txBody>
      </p:sp>
      <p:sp>
        <p:nvSpPr>
          <p:cNvPr id="85" name="Rektangel 97"/>
          <p:cNvSpPr>
            <a:spLocks noChangeArrowheads="1"/>
          </p:cNvSpPr>
          <p:nvPr/>
        </p:nvSpPr>
        <p:spPr bwMode="auto">
          <a:xfrm>
            <a:off x="2166986" y="4781280"/>
            <a:ext cx="591254" cy="392683"/>
          </a:xfrm>
          <a:prstGeom prst="rect">
            <a:avLst/>
          </a:prstGeom>
          <a:blipFill dpi="0" rotWithShape="1">
            <a:blip r:embed="rId45" cstate="print"/>
            <a:srcRect/>
            <a:stretch>
              <a:fillRect/>
            </a:stretch>
          </a:blipFill>
          <a:ln w="9525">
            <a:noFill/>
            <a:round/>
            <a:headEnd/>
            <a:tailEnd/>
          </a:ln>
          <a:effectLst>
            <a:outerShdw blurRad="50800" dist="12700" dir="2700000" algn="tl" rotWithShape="0">
              <a:prstClr val="black">
                <a:alpha val="40000"/>
              </a:prstClr>
            </a:outerShdw>
          </a:effectLst>
        </p:spPr>
        <p:txBody>
          <a:bodyPr/>
          <a:lstStyle/>
          <a:p>
            <a:endParaRPr lang="en-US" sz="1747">
              <a:solidFill>
                <a:srgbClr val="000000"/>
              </a:solidFill>
              <a:latin typeface="Calibri" charset="0"/>
            </a:endParaRPr>
          </a:p>
        </p:txBody>
      </p:sp>
      <p:pic>
        <p:nvPicPr>
          <p:cNvPr id="86" name="Picture 24" descr="C:\Users\08TJO\AppData\Local\Microsoft\Windows\Temporary Internet Files\Content.IE5\K86CLE5P\Proportional Flag Buttons\Mexiko.png"/>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1569326" y="2010038"/>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5" descr="C:\Users\08TJO\AppData\Local\Microsoft\Windows\Temporary Internet Files\Content.IE5\K86CLE5P\Proportional Flag Buttons\Niederlande.png"/>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1569326" y="2542975"/>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26" descr="C:\Users\08TJO\AppData\Local\Microsoft\Windows\Temporary Internet Files\Content.IE5\K86CLE5P\Proportional Flag Buttons\Neuseeland.png"/>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1569326" y="3075913"/>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7" descr="C:\Users\08TJO\AppData\Local\Microsoft\Windows\Temporary Internet Files\Content.IE5\K86CLE5P\Proportional Flag Buttons\Norwegen.png"/>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1569326" y="3608852"/>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28" descr="C:\Users\08TJO\AppData\Local\Microsoft\Windows\Temporary Internet Files\Content.IE5\K86CLE5P\Proportional Flag Buttons\Polen.png"/>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1569326" y="4208171"/>
            <a:ext cx="421592" cy="421592"/>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9" descr="C:\Users\08TJO\AppData\Local\Microsoft\Windows\Temporary Internet Files\Content.IE5\K86CLE5P\Proportional Flag Buttons\Portugal.png"/>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1569326" y="4766825"/>
            <a:ext cx="421592" cy="4215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870715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1" name="Table 150"/>
          <p:cNvGraphicFramePr>
            <a:graphicFrameLocks noGrp="1"/>
          </p:cNvGraphicFramePr>
          <p:nvPr>
            <p:extLst>
              <p:ext uri="{D42A27DB-BD31-4B8C-83A1-F6EECF244321}">
                <p14:modId xmlns:p14="http://schemas.microsoft.com/office/powerpoint/2010/main" val="2225958742"/>
              </p:ext>
            </p:extLst>
          </p:nvPr>
        </p:nvGraphicFramePr>
        <p:xfrm>
          <a:off x="355600" y="2132782"/>
          <a:ext cx="2765822" cy="3747972"/>
        </p:xfrm>
        <a:graphic>
          <a:graphicData uri="http://schemas.openxmlformats.org/drawingml/2006/table">
            <a:tbl>
              <a:tblPr firstRow="1" bandRow="1">
                <a:tableStyleId>{B301B821-A1FF-4177-AEE7-76D212191A09}</a:tableStyleId>
              </a:tblPr>
              <a:tblGrid>
                <a:gridCol w="2765822"/>
              </a:tblGrid>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b="0" dirty="0" smtClean="0">
                          <a:solidFill>
                            <a:srgbClr val="58595B"/>
                          </a:solidFill>
                          <a:latin typeface="+mj-lt"/>
                          <a:ea typeface="Open Sans Light" panose="020B0306030504020204" pitchFamily="34" charset="0"/>
                          <a:cs typeface="Open Sans Light" panose="020B0306030504020204" pitchFamily="34" charset="0"/>
                        </a:rPr>
                        <a:t>HEADING</a:t>
                      </a:r>
                      <a:endParaRPr lang="bg-BG" sz="1500" b="0" dirty="0">
                        <a:solidFill>
                          <a:srgbClr val="58595B"/>
                        </a:solidFill>
                        <a:latin typeface="+mj-lt"/>
                        <a:ea typeface="Open Sans Light" panose="020B0306030504020204" pitchFamily="34" charset="0"/>
                        <a:cs typeface="Open Sans Light" panose="020B0306030504020204" pitchFamily="34" charset="0"/>
                      </a:endParaRPr>
                    </a:p>
                  </a:txBody>
                  <a:tcPr marL="115540" marR="115540" marT="57785" marB="57785"/>
                </a:tc>
              </a:tr>
              <a:tr h="624662">
                <a:tc>
                  <a:txBody>
                    <a:bodyPr/>
                    <a:lstStyle/>
                    <a:p>
                      <a:pPr marL="0" marR="0" indent="0" algn="ctr" defTabSz="1828434" rtl="0" eaLnBrk="1" fontAlgn="auto" latinLnBrk="0" hangingPunct="1">
                        <a:lnSpc>
                          <a:spcPct val="150000"/>
                        </a:lnSpc>
                        <a:spcBef>
                          <a:spcPts val="0"/>
                        </a:spcBef>
                        <a:spcAft>
                          <a:spcPts val="0"/>
                        </a:spcAft>
                        <a:buClrTx/>
                        <a:buSzTx/>
                        <a:buFontTx/>
                        <a:buNone/>
                        <a:tabLst/>
                        <a:defRPr/>
                      </a:pPr>
                      <a:r>
                        <a:rPr lang="en-US" sz="1500" dirty="0" smtClean="0">
                          <a:solidFill>
                            <a:schemeClr val="accent6"/>
                          </a:solidFill>
                          <a:latin typeface="+mn-lt"/>
                          <a:cs typeface="Calibri Light"/>
                        </a:rPr>
                        <a:t>1 User</a:t>
                      </a:r>
                      <a:endParaRPr lang="bg-BG" sz="1500" b="0" dirty="0" smtClean="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algn="ctr">
                        <a:lnSpc>
                          <a:spcPct val="150000"/>
                        </a:lnSpc>
                      </a:pPr>
                      <a:r>
                        <a:rPr lang="en-US" sz="1500" dirty="0" smtClean="0">
                          <a:solidFill>
                            <a:schemeClr val="accent6"/>
                          </a:solidFill>
                          <a:latin typeface="+mn-lt"/>
                          <a:cs typeface="Calibri Light"/>
                        </a:rPr>
                        <a:t>500MB</a:t>
                      </a:r>
                      <a:endParaRPr lang="bg-BG" sz="1500" b="0" dirty="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dirty="0" smtClean="0">
                          <a:solidFill>
                            <a:schemeClr val="accent6"/>
                          </a:solidFill>
                          <a:latin typeface="+mn-lt"/>
                          <a:cs typeface="Calibri Light"/>
                        </a:rPr>
                        <a:t>Free</a:t>
                      </a:r>
                      <a:r>
                        <a:rPr lang="en-US" sz="1500" baseline="0" dirty="0" smtClean="0">
                          <a:solidFill>
                            <a:schemeClr val="accent6"/>
                          </a:solidFill>
                          <a:latin typeface="+mn-lt"/>
                          <a:cs typeface="Calibri Light"/>
                        </a:rPr>
                        <a:t> E-Mails</a:t>
                      </a:r>
                      <a:endParaRPr lang="bg-BG" sz="1500" b="0" dirty="0" smtClean="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baseline="0" dirty="0" smtClean="0">
                          <a:solidFill>
                            <a:schemeClr val="accent6"/>
                          </a:solidFill>
                          <a:latin typeface="+mn-lt"/>
                          <a:cs typeface="Calibri Light"/>
                        </a:rPr>
                        <a:t>1 PC</a:t>
                      </a:r>
                      <a:endParaRPr lang="bg-BG" sz="1500" b="0" dirty="0" smtClean="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baseline="0" dirty="0" smtClean="0">
                          <a:solidFill>
                            <a:schemeClr val="accent6"/>
                          </a:solidFill>
                          <a:latin typeface="+mn-lt"/>
                          <a:cs typeface="Calibri Light"/>
                        </a:rPr>
                        <a:t>1 Server</a:t>
                      </a:r>
                    </a:p>
                  </a:txBody>
                  <a:tcPr marL="115540" marR="115540" marT="57785" marB="57785"/>
                </a:tc>
              </a:tr>
            </a:tbl>
          </a:graphicData>
        </a:graphic>
      </p:graphicFrame>
      <p:sp>
        <p:nvSpPr>
          <p:cNvPr id="202" name="Round Same Side Corner Rectangle 201"/>
          <p:cNvSpPr/>
          <p:nvPr/>
        </p:nvSpPr>
        <p:spPr>
          <a:xfrm rot="10800000">
            <a:off x="4256331" y="4976914"/>
            <a:ext cx="2092687" cy="484739"/>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15551" tIns="57776" rIns="115551" bIns="57776" rtlCol="0" anchor="ctr"/>
          <a:lstStyle/>
          <a:p>
            <a:pPr algn="ctr"/>
            <a:endParaRPr lang="bg-BG" sz="948" dirty="0">
              <a:latin typeface="Calibri Light"/>
            </a:endParaRPr>
          </a:p>
        </p:txBody>
      </p:sp>
      <p:sp>
        <p:nvSpPr>
          <p:cNvPr id="4" name="Title 3"/>
          <p:cNvSpPr>
            <a:spLocks noGrp="1"/>
          </p:cNvSpPr>
          <p:nvPr>
            <p:ph type="title"/>
          </p:nvPr>
        </p:nvSpPr>
        <p:spPr/>
        <p:txBody>
          <a:bodyPr/>
          <a:lstStyle/>
          <a:p>
            <a:r>
              <a:rPr lang="en-US" dirty="0" smtClean="0"/>
              <a:t>4 TABLE CHART</a:t>
            </a:r>
            <a:endParaRPr lang="en-US" dirty="0"/>
          </a:p>
        </p:txBody>
      </p:sp>
      <p:sp>
        <p:nvSpPr>
          <p:cNvPr id="5" name="TextBox 4"/>
          <p:cNvSpPr txBox="1"/>
          <p:nvPr>
            <p:custDataLst>
              <p:tags r:id="rId1"/>
            </p:custDataLst>
          </p:nvPr>
        </p:nvSpPr>
        <p:spPr>
          <a:xfrm>
            <a:off x="355600" y="1449333"/>
            <a:ext cx="2765822" cy="366767"/>
          </a:xfrm>
          <a:prstGeom prst="rect">
            <a:avLst/>
          </a:prstGeom>
          <a:blipFill dpi="0" rotWithShape="1">
            <a:blip r:embed="rId6"/>
            <a:srcRect/>
            <a:tile tx="0" ty="0" sx="100000" sy="100000" flip="xy" algn="b"/>
          </a:blipFill>
        </p:spPr>
        <p:txBody>
          <a:bodyPr vert="horz" wrap="square" lIns="0" tIns="0" rIns="0" bIns="88900" rtlCol="0" anchor="b">
            <a:spAutoFit/>
          </a:bodyPr>
          <a:lstStyle/>
          <a:p>
            <a:pPr algn="ctr"/>
            <a:r>
              <a:rPr lang="en-US" b="1" cap="all" dirty="0" smtClean="0"/>
              <a:t>Text here</a:t>
            </a:r>
          </a:p>
        </p:txBody>
      </p:sp>
      <p:sp>
        <p:nvSpPr>
          <p:cNvPr id="6" name="TextBox 5"/>
          <p:cNvSpPr txBox="1"/>
          <p:nvPr>
            <p:custDataLst>
              <p:tags r:id="rId2"/>
            </p:custDataLst>
          </p:nvPr>
        </p:nvSpPr>
        <p:spPr>
          <a:xfrm>
            <a:off x="3477022" y="1449333"/>
            <a:ext cx="2765822" cy="366767"/>
          </a:xfrm>
          <a:prstGeom prst="rect">
            <a:avLst/>
          </a:prstGeom>
          <a:blipFill dpi="0" rotWithShape="1">
            <a:blip r:embed="rId6"/>
            <a:srcRect/>
            <a:tile tx="0" ty="0" sx="100000" sy="100000" flip="xy" algn="b"/>
          </a:blipFill>
        </p:spPr>
        <p:txBody>
          <a:bodyPr vert="horz" wrap="square" lIns="0" tIns="0" rIns="0" bIns="88900" rtlCol="0" anchor="b">
            <a:spAutoFit/>
          </a:bodyPr>
          <a:lstStyle/>
          <a:p>
            <a:pPr algn="ctr"/>
            <a:r>
              <a:rPr lang="en-US" b="1" cap="all" dirty="0" smtClean="0"/>
              <a:t>Text here</a:t>
            </a:r>
          </a:p>
        </p:txBody>
      </p:sp>
      <p:sp>
        <p:nvSpPr>
          <p:cNvPr id="7" name="TextBox 6"/>
          <p:cNvSpPr txBox="1"/>
          <p:nvPr>
            <p:custDataLst>
              <p:tags r:id="rId3"/>
            </p:custDataLst>
          </p:nvPr>
        </p:nvSpPr>
        <p:spPr>
          <a:xfrm>
            <a:off x="6598444" y="1449333"/>
            <a:ext cx="2765822" cy="366767"/>
          </a:xfrm>
          <a:prstGeom prst="rect">
            <a:avLst/>
          </a:prstGeom>
          <a:blipFill dpi="0" rotWithShape="1">
            <a:blip r:embed="rId6"/>
            <a:srcRect/>
            <a:tile tx="0" ty="0" sx="100000" sy="100000" flip="xy" algn="b"/>
          </a:blipFill>
        </p:spPr>
        <p:txBody>
          <a:bodyPr vert="horz" wrap="square" lIns="0" tIns="0" rIns="0" bIns="88900" rtlCol="0" anchor="b">
            <a:spAutoFit/>
          </a:bodyPr>
          <a:lstStyle/>
          <a:p>
            <a:pPr algn="ctr"/>
            <a:r>
              <a:rPr lang="en-US" b="1" cap="all" smtClean="0"/>
              <a:t>Text here</a:t>
            </a:r>
            <a:endParaRPr lang="en-US" b="1" cap="all" dirty="0" err="1" smtClean="0"/>
          </a:p>
        </p:txBody>
      </p:sp>
      <p:sp>
        <p:nvSpPr>
          <p:cNvPr id="8" name="TextBox 7"/>
          <p:cNvSpPr txBox="1"/>
          <p:nvPr>
            <p:custDataLst>
              <p:tags r:id="rId4"/>
            </p:custDataLst>
          </p:nvPr>
        </p:nvSpPr>
        <p:spPr>
          <a:xfrm>
            <a:off x="9719866" y="1449333"/>
            <a:ext cx="2765822" cy="366767"/>
          </a:xfrm>
          <a:prstGeom prst="rect">
            <a:avLst/>
          </a:prstGeom>
          <a:blipFill dpi="0" rotWithShape="1">
            <a:blip r:embed="rId6"/>
            <a:srcRect/>
            <a:tile tx="0" ty="0" sx="100000" sy="100000" flip="xy" algn="b"/>
          </a:blipFill>
        </p:spPr>
        <p:txBody>
          <a:bodyPr vert="horz" wrap="square" lIns="0" tIns="0" rIns="0" bIns="88900" rtlCol="0" anchor="b">
            <a:spAutoFit/>
          </a:bodyPr>
          <a:lstStyle/>
          <a:p>
            <a:pPr algn="ctr"/>
            <a:r>
              <a:rPr lang="en-US" b="1" cap="all" smtClean="0"/>
              <a:t>Text here</a:t>
            </a:r>
            <a:endParaRPr lang="en-US" b="1" cap="all" dirty="0" err="1" smtClean="0"/>
          </a:p>
        </p:txBody>
      </p:sp>
      <p:graphicFrame>
        <p:nvGraphicFramePr>
          <p:cNvPr id="36" name="Table 35"/>
          <p:cNvGraphicFramePr>
            <a:graphicFrameLocks noGrp="1"/>
          </p:cNvGraphicFramePr>
          <p:nvPr>
            <p:extLst>
              <p:ext uri="{D42A27DB-BD31-4B8C-83A1-F6EECF244321}">
                <p14:modId xmlns:p14="http://schemas.microsoft.com/office/powerpoint/2010/main" val="4092757586"/>
              </p:ext>
            </p:extLst>
          </p:nvPr>
        </p:nvGraphicFramePr>
        <p:xfrm>
          <a:off x="3477022" y="2132782"/>
          <a:ext cx="2765822" cy="3747972"/>
        </p:xfrm>
        <a:graphic>
          <a:graphicData uri="http://schemas.openxmlformats.org/drawingml/2006/table">
            <a:tbl>
              <a:tblPr firstRow="1" bandRow="1">
                <a:tableStyleId>{B301B821-A1FF-4177-AEE7-76D212191A09}</a:tableStyleId>
              </a:tblPr>
              <a:tblGrid>
                <a:gridCol w="2765822"/>
              </a:tblGrid>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b="0" dirty="0" smtClean="0">
                          <a:solidFill>
                            <a:srgbClr val="58595B"/>
                          </a:solidFill>
                          <a:latin typeface="+mj-lt"/>
                          <a:ea typeface="Open Sans Light" panose="020B0306030504020204" pitchFamily="34" charset="0"/>
                          <a:cs typeface="Open Sans Light" panose="020B0306030504020204" pitchFamily="34" charset="0"/>
                        </a:rPr>
                        <a:t>HEADING</a:t>
                      </a:r>
                      <a:endParaRPr lang="bg-BG" sz="1500" b="0" dirty="0">
                        <a:solidFill>
                          <a:srgbClr val="58595B"/>
                        </a:solidFill>
                        <a:latin typeface="+mj-lt"/>
                        <a:ea typeface="Open Sans Light" panose="020B0306030504020204" pitchFamily="34" charset="0"/>
                        <a:cs typeface="Open Sans Light" panose="020B0306030504020204" pitchFamily="34" charset="0"/>
                      </a:endParaRPr>
                    </a:p>
                  </a:txBody>
                  <a:tcPr marL="115540" marR="115540" marT="57785" marB="57785"/>
                </a:tc>
              </a:tr>
              <a:tr h="624662">
                <a:tc>
                  <a:txBody>
                    <a:bodyPr/>
                    <a:lstStyle/>
                    <a:p>
                      <a:pPr marL="0" marR="0" indent="0" algn="ctr" defTabSz="1828434" rtl="0" eaLnBrk="1" fontAlgn="auto" latinLnBrk="0" hangingPunct="1">
                        <a:lnSpc>
                          <a:spcPct val="150000"/>
                        </a:lnSpc>
                        <a:spcBef>
                          <a:spcPts val="0"/>
                        </a:spcBef>
                        <a:spcAft>
                          <a:spcPts val="0"/>
                        </a:spcAft>
                        <a:buClrTx/>
                        <a:buSzTx/>
                        <a:buFontTx/>
                        <a:buNone/>
                        <a:tabLst/>
                        <a:defRPr/>
                      </a:pPr>
                      <a:r>
                        <a:rPr lang="en-US" sz="1500" dirty="0" smtClean="0">
                          <a:solidFill>
                            <a:schemeClr val="accent6"/>
                          </a:solidFill>
                          <a:latin typeface="+mn-lt"/>
                          <a:cs typeface="Calibri Light"/>
                        </a:rPr>
                        <a:t>1 User</a:t>
                      </a:r>
                      <a:endParaRPr lang="bg-BG" sz="1500" b="0" dirty="0" smtClean="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algn="ctr">
                        <a:lnSpc>
                          <a:spcPct val="150000"/>
                        </a:lnSpc>
                      </a:pPr>
                      <a:r>
                        <a:rPr lang="en-US" sz="1500" dirty="0" smtClean="0">
                          <a:solidFill>
                            <a:schemeClr val="accent6"/>
                          </a:solidFill>
                          <a:latin typeface="+mn-lt"/>
                          <a:cs typeface="Calibri Light"/>
                        </a:rPr>
                        <a:t>500MB</a:t>
                      </a:r>
                      <a:endParaRPr lang="bg-BG" sz="1500" b="0" dirty="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dirty="0" smtClean="0">
                          <a:solidFill>
                            <a:schemeClr val="accent6"/>
                          </a:solidFill>
                          <a:latin typeface="+mn-lt"/>
                          <a:cs typeface="Calibri Light"/>
                        </a:rPr>
                        <a:t>Free</a:t>
                      </a:r>
                      <a:r>
                        <a:rPr lang="en-US" sz="1500" baseline="0" dirty="0" smtClean="0">
                          <a:solidFill>
                            <a:schemeClr val="accent6"/>
                          </a:solidFill>
                          <a:latin typeface="+mn-lt"/>
                          <a:cs typeface="Calibri Light"/>
                        </a:rPr>
                        <a:t> E-Mails</a:t>
                      </a:r>
                      <a:endParaRPr lang="bg-BG" sz="1500" b="0" dirty="0" smtClean="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baseline="0" dirty="0" smtClean="0">
                          <a:solidFill>
                            <a:schemeClr val="accent6"/>
                          </a:solidFill>
                          <a:latin typeface="+mn-lt"/>
                          <a:cs typeface="Calibri Light"/>
                        </a:rPr>
                        <a:t>1 PC</a:t>
                      </a:r>
                      <a:endParaRPr lang="bg-BG" sz="1500" b="0" dirty="0" smtClean="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baseline="0" dirty="0" smtClean="0">
                          <a:solidFill>
                            <a:schemeClr val="accent6"/>
                          </a:solidFill>
                          <a:latin typeface="+mn-lt"/>
                          <a:cs typeface="Calibri Light"/>
                        </a:rPr>
                        <a:t>1 Server</a:t>
                      </a:r>
                    </a:p>
                  </a:txBody>
                  <a:tcPr marL="115540" marR="115540" marT="57785" marB="57785"/>
                </a:tc>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965597680"/>
              </p:ext>
            </p:extLst>
          </p:nvPr>
        </p:nvGraphicFramePr>
        <p:xfrm>
          <a:off x="6598444" y="2132782"/>
          <a:ext cx="2765822" cy="3747972"/>
        </p:xfrm>
        <a:graphic>
          <a:graphicData uri="http://schemas.openxmlformats.org/drawingml/2006/table">
            <a:tbl>
              <a:tblPr firstRow="1" bandRow="1">
                <a:tableStyleId>{B301B821-A1FF-4177-AEE7-76D212191A09}</a:tableStyleId>
              </a:tblPr>
              <a:tblGrid>
                <a:gridCol w="2765822"/>
              </a:tblGrid>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b="0" dirty="0" smtClean="0">
                          <a:solidFill>
                            <a:srgbClr val="58595B"/>
                          </a:solidFill>
                          <a:latin typeface="+mj-lt"/>
                          <a:ea typeface="Open Sans Light" panose="020B0306030504020204" pitchFamily="34" charset="0"/>
                          <a:cs typeface="Open Sans Light" panose="020B0306030504020204" pitchFamily="34" charset="0"/>
                        </a:rPr>
                        <a:t>HEADING</a:t>
                      </a:r>
                      <a:endParaRPr lang="bg-BG" sz="1500" b="0" dirty="0">
                        <a:solidFill>
                          <a:srgbClr val="58595B"/>
                        </a:solidFill>
                        <a:latin typeface="+mj-lt"/>
                        <a:ea typeface="Open Sans Light" panose="020B0306030504020204" pitchFamily="34" charset="0"/>
                        <a:cs typeface="Open Sans Light" panose="020B0306030504020204" pitchFamily="34" charset="0"/>
                      </a:endParaRPr>
                    </a:p>
                  </a:txBody>
                  <a:tcPr marL="115540" marR="115540" marT="57785" marB="57785"/>
                </a:tc>
              </a:tr>
              <a:tr h="624662">
                <a:tc>
                  <a:txBody>
                    <a:bodyPr/>
                    <a:lstStyle/>
                    <a:p>
                      <a:pPr marL="0" marR="0" indent="0" algn="ctr" defTabSz="1828434" rtl="0" eaLnBrk="1" fontAlgn="auto" latinLnBrk="0" hangingPunct="1">
                        <a:lnSpc>
                          <a:spcPct val="150000"/>
                        </a:lnSpc>
                        <a:spcBef>
                          <a:spcPts val="0"/>
                        </a:spcBef>
                        <a:spcAft>
                          <a:spcPts val="0"/>
                        </a:spcAft>
                        <a:buClrTx/>
                        <a:buSzTx/>
                        <a:buFontTx/>
                        <a:buNone/>
                        <a:tabLst/>
                        <a:defRPr/>
                      </a:pPr>
                      <a:r>
                        <a:rPr lang="en-US" sz="1500" dirty="0" smtClean="0">
                          <a:solidFill>
                            <a:schemeClr val="accent6"/>
                          </a:solidFill>
                          <a:latin typeface="+mn-lt"/>
                          <a:cs typeface="Calibri Light"/>
                        </a:rPr>
                        <a:t>1 User</a:t>
                      </a:r>
                      <a:endParaRPr lang="bg-BG" sz="1500" b="0" dirty="0" smtClean="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algn="ctr">
                        <a:lnSpc>
                          <a:spcPct val="150000"/>
                        </a:lnSpc>
                      </a:pPr>
                      <a:r>
                        <a:rPr lang="en-US" sz="1500" dirty="0" smtClean="0">
                          <a:solidFill>
                            <a:schemeClr val="accent6"/>
                          </a:solidFill>
                          <a:latin typeface="+mn-lt"/>
                          <a:cs typeface="Calibri Light"/>
                        </a:rPr>
                        <a:t>500MB</a:t>
                      </a:r>
                      <a:endParaRPr lang="bg-BG" sz="1500" b="0" dirty="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dirty="0" smtClean="0">
                          <a:solidFill>
                            <a:schemeClr val="accent6"/>
                          </a:solidFill>
                          <a:latin typeface="+mn-lt"/>
                          <a:cs typeface="Calibri Light"/>
                        </a:rPr>
                        <a:t>Free</a:t>
                      </a:r>
                      <a:r>
                        <a:rPr lang="en-US" sz="1500" baseline="0" dirty="0" smtClean="0">
                          <a:solidFill>
                            <a:schemeClr val="accent6"/>
                          </a:solidFill>
                          <a:latin typeface="+mn-lt"/>
                          <a:cs typeface="Calibri Light"/>
                        </a:rPr>
                        <a:t> E-Mails</a:t>
                      </a:r>
                      <a:endParaRPr lang="bg-BG" sz="1500" b="0" dirty="0" smtClean="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baseline="0" dirty="0" smtClean="0">
                          <a:solidFill>
                            <a:schemeClr val="accent6"/>
                          </a:solidFill>
                          <a:latin typeface="+mn-lt"/>
                          <a:cs typeface="Calibri Light"/>
                        </a:rPr>
                        <a:t>1 PC</a:t>
                      </a:r>
                      <a:endParaRPr lang="bg-BG" sz="1500" b="0" dirty="0" smtClean="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baseline="0" dirty="0" smtClean="0">
                          <a:solidFill>
                            <a:schemeClr val="accent6"/>
                          </a:solidFill>
                          <a:latin typeface="+mn-lt"/>
                          <a:cs typeface="Calibri Light"/>
                        </a:rPr>
                        <a:t>1 Server</a:t>
                      </a:r>
                    </a:p>
                  </a:txBody>
                  <a:tcPr marL="115540" marR="115540" marT="57785" marB="57785"/>
                </a:tc>
              </a:tr>
            </a:tbl>
          </a:graphicData>
        </a:graphic>
      </p:graphicFrame>
      <p:graphicFrame>
        <p:nvGraphicFramePr>
          <p:cNvPr id="38" name="Table 37"/>
          <p:cNvGraphicFramePr>
            <a:graphicFrameLocks noGrp="1"/>
          </p:cNvGraphicFramePr>
          <p:nvPr>
            <p:extLst>
              <p:ext uri="{D42A27DB-BD31-4B8C-83A1-F6EECF244321}">
                <p14:modId xmlns:p14="http://schemas.microsoft.com/office/powerpoint/2010/main" val="965597680"/>
              </p:ext>
            </p:extLst>
          </p:nvPr>
        </p:nvGraphicFramePr>
        <p:xfrm>
          <a:off x="9719866" y="2132782"/>
          <a:ext cx="2765822" cy="3747972"/>
        </p:xfrm>
        <a:graphic>
          <a:graphicData uri="http://schemas.openxmlformats.org/drawingml/2006/table">
            <a:tbl>
              <a:tblPr firstRow="1" bandRow="1">
                <a:tableStyleId>{B301B821-A1FF-4177-AEE7-76D212191A09}</a:tableStyleId>
              </a:tblPr>
              <a:tblGrid>
                <a:gridCol w="2765822"/>
              </a:tblGrid>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b="0" dirty="0" smtClean="0">
                          <a:solidFill>
                            <a:srgbClr val="58595B"/>
                          </a:solidFill>
                          <a:latin typeface="+mj-lt"/>
                          <a:ea typeface="Open Sans Light" panose="020B0306030504020204" pitchFamily="34" charset="0"/>
                          <a:cs typeface="Open Sans Light" panose="020B0306030504020204" pitchFamily="34" charset="0"/>
                        </a:rPr>
                        <a:t>HEADING</a:t>
                      </a:r>
                      <a:endParaRPr lang="bg-BG" sz="1500" b="0" dirty="0">
                        <a:solidFill>
                          <a:srgbClr val="58595B"/>
                        </a:solidFill>
                        <a:latin typeface="+mj-lt"/>
                        <a:ea typeface="Open Sans Light" panose="020B0306030504020204" pitchFamily="34" charset="0"/>
                        <a:cs typeface="Open Sans Light" panose="020B0306030504020204" pitchFamily="34" charset="0"/>
                      </a:endParaRPr>
                    </a:p>
                  </a:txBody>
                  <a:tcPr marL="115540" marR="115540" marT="57785" marB="57785"/>
                </a:tc>
              </a:tr>
              <a:tr h="624662">
                <a:tc>
                  <a:txBody>
                    <a:bodyPr/>
                    <a:lstStyle/>
                    <a:p>
                      <a:pPr marL="0" marR="0" indent="0" algn="ctr" defTabSz="1828434" rtl="0" eaLnBrk="1" fontAlgn="auto" latinLnBrk="0" hangingPunct="1">
                        <a:lnSpc>
                          <a:spcPct val="150000"/>
                        </a:lnSpc>
                        <a:spcBef>
                          <a:spcPts val="0"/>
                        </a:spcBef>
                        <a:spcAft>
                          <a:spcPts val="0"/>
                        </a:spcAft>
                        <a:buClrTx/>
                        <a:buSzTx/>
                        <a:buFontTx/>
                        <a:buNone/>
                        <a:tabLst/>
                        <a:defRPr/>
                      </a:pPr>
                      <a:r>
                        <a:rPr lang="en-US" sz="1500" dirty="0" smtClean="0">
                          <a:solidFill>
                            <a:schemeClr val="accent6"/>
                          </a:solidFill>
                          <a:latin typeface="+mn-lt"/>
                          <a:cs typeface="Calibri Light"/>
                        </a:rPr>
                        <a:t>1 User</a:t>
                      </a:r>
                      <a:endParaRPr lang="bg-BG" sz="1500" b="0" dirty="0" smtClean="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algn="ctr">
                        <a:lnSpc>
                          <a:spcPct val="150000"/>
                        </a:lnSpc>
                      </a:pPr>
                      <a:r>
                        <a:rPr lang="en-US" sz="1500" dirty="0" smtClean="0">
                          <a:solidFill>
                            <a:schemeClr val="accent6"/>
                          </a:solidFill>
                          <a:latin typeface="+mn-lt"/>
                          <a:cs typeface="Calibri Light"/>
                        </a:rPr>
                        <a:t>500MB</a:t>
                      </a:r>
                      <a:endParaRPr lang="bg-BG" sz="1500" b="0" dirty="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dirty="0" smtClean="0">
                          <a:solidFill>
                            <a:schemeClr val="accent6"/>
                          </a:solidFill>
                          <a:latin typeface="+mn-lt"/>
                          <a:cs typeface="Calibri Light"/>
                        </a:rPr>
                        <a:t>Free</a:t>
                      </a:r>
                      <a:r>
                        <a:rPr lang="en-US" sz="1500" baseline="0" dirty="0" smtClean="0">
                          <a:solidFill>
                            <a:schemeClr val="accent6"/>
                          </a:solidFill>
                          <a:latin typeface="+mn-lt"/>
                          <a:cs typeface="Calibri Light"/>
                        </a:rPr>
                        <a:t> E-Mails</a:t>
                      </a:r>
                      <a:endParaRPr lang="bg-BG" sz="1500" b="0" dirty="0" smtClean="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baseline="0" dirty="0" smtClean="0">
                          <a:solidFill>
                            <a:schemeClr val="accent6"/>
                          </a:solidFill>
                          <a:latin typeface="+mn-lt"/>
                          <a:cs typeface="Calibri Light"/>
                        </a:rPr>
                        <a:t>1 PC</a:t>
                      </a:r>
                      <a:endParaRPr lang="bg-BG" sz="1500" b="0" dirty="0" smtClean="0">
                        <a:solidFill>
                          <a:schemeClr val="accent6"/>
                        </a:solidFill>
                        <a:latin typeface="+mn-lt"/>
                        <a:ea typeface="Open Sans Light" panose="020B0306030504020204" pitchFamily="34" charset="0"/>
                        <a:cs typeface="Calibri Light"/>
                      </a:endParaRPr>
                    </a:p>
                  </a:txBody>
                  <a:tcPr marL="115540" marR="115540" marT="57785" marB="57785"/>
                </a:tc>
              </a:tr>
              <a:tr h="624662">
                <a:tc>
                  <a:txBody>
                    <a:bodyPr/>
                    <a:lstStyle/>
                    <a:p>
                      <a:pPr marL="0" marR="0" indent="0" algn="ctr" defTabSz="914400" rtl="0" eaLnBrk="1" fontAlgn="auto" latinLnBrk="0" hangingPunct="1">
                        <a:lnSpc>
                          <a:spcPct val="150000"/>
                        </a:lnSpc>
                        <a:spcBef>
                          <a:spcPts val="0"/>
                        </a:spcBef>
                        <a:spcAft>
                          <a:spcPts val="0"/>
                        </a:spcAft>
                        <a:buClrTx/>
                        <a:buSzTx/>
                        <a:buFontTx/>
                        <a:buNone/>
                        <a:tabLst/>
                        <a:defRPr/>
                      </a:pPr>
                      <a:r>
                        <a:rPr lang="en-US" sz="1500" baseline="0" dirty="0" smtClean="0">
                          <a:solidFill>
                            <a:schemeClr val="accent6"/>
                          </a:solidFill>
                          <a:latin typeface="+mn-lt"/>
                          <a:cs typeface="Calibri Light"/>
                        </a:rPr>
                        <a:t>1 Server</a:t>
                      </a:r>
                    </a:p>
                  </a:txBody>
                  <a:tcPr marL="115540" marR="115540" marT="57785" marB="57785"/>
                </a:tc>
              </a:tr>
            </a:tbl>
          </a:graphicData>
        </a:graphic>
      </p:graphicFrame>
      <p:sp>
        <p:nvSpPr>
          <p:cNvPr id="10"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3918841463"/>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8230" y="222376"/>
            <a:ext cx="4844828" cy="800219"/>
          </a:xfrm>
        </p:spPr>
        <p:txBody>
          <a:bodyPr/>
          <a:lstStyle/>
          <a:p>
            <a:r>
              <a:rPr lang="en-US" dirty="0" smtClean="0"/>
              <a:t>Installing </a:t>
            </a:r>
            <a:r>
              <a:rPr lang="en-US" dirty="0"/>
              <a:t>the </a:t>
            </a:r>
            <a:r>
              <a:rPr lang="en-US" dirty="0" smtClean="0"/>
              <a:t>theme WILL BE VERY SIMPLE AND EASY</a:t>
            </a:r>
            <a:endParaRPr lang="en-US" dirty="0"/>
          </a:p>
        </p:txBody>
      </p:sp>
      <p:sp>
        <p:nvSpPr>
          <p:cNvPr id="3" name="Source"/>
          <p:cNvSpPr>
            <a:spLocks noGrp="1"/>
          </p:cNvSpPr>
          <p:nvPr>
            <p:custDataLst>
              <p:tags r:id="rId1"/>
            </p:custDataLst>
          </p:nvPr>
        </p:nvSpPr>
        <p:spPr bwMode="auto">
          <a:xfrm>
            <a:off x="580015" y="2934968"/>
            <a:ext cx="11681258" cy="2307037"/>
          </a:xfrm>
          <a:prstGeom prst="rect">
            <a:avLst/>
          </a:prstGeom>
          <a:noFill/>
          <a:ln w="9525">
            <a:noFill/>
            <a:miter lim="800000"/>
            <a:headEnd/>
            <a:tailEnd/>
          </a:ln>
          <a:effectLst/>
        </p:spPr>
        <p:txBody>
          <a:bodyPr vert="horz" wrap="square" lIns="45400" tIns="45400" rIns="45400" bIns="45400" numCol="1" anchor="t" anchorCtr="0" compatLnSpc="1">
            <a:prstTxWarp prst="textNoShape">
              <a:avLst/>
            </a:prstTxWarp>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marL="182563" indent="-182563">
              <a:spcBef>
                <a:spcPts val="1118"/>
              </a:spcBef>
              <a:spcAft>
                <a:spcPts val="0"/>
              </a:spcAft>
              <a:buClrTx/>
              <a:buSzPct val="100000"/>
            </a:pPr>
            <a:r>
              <a:rPr lang="en-US" sz="2329" b="1" dirty="0">
                <a:latin typeface="+mn-lt"/>
              </a:rPr>
              <a:t>Unzip Template folder to a NEW folder on your DESKTOP</a:t>
            </a:r>
          </a:p>
          <a:p>
            <a:pPr marL="182563" indent="-182563">
              <a:spcBef>
                <a:spcPts val="1118"/>
              </a:spcBef>
              <a:spcAft>
                <a:spcPts val="0"/>
              </a:spcAft>
              <a:buClrTx/>
              <a:buSzPct val="100000"/>
            </a:pPr>
            <a:endParaRPr lang="en-US" sz="2329" b="1" dirty="0">
              <a:latin typeface="+mn-lt"/>
            </a:endParaRPr>
          </a:p>
          <a:p>
            <a:pPr marL="182563" indent="-182563">
              <a:spcBef>
                <a:spcPts val="1118"/>
              </a:spcBef>
              <a:spcAft>
                <a:spcPts val="0"/>
              </a:spcAft>
              <a:buClrTx/>
              <a:buSzPct val="100000"/>
            </a:pPr>
            <a:r>
              <a:rPr lang="en-US" sz="2329" b="1" dirty="0">
                <a:latin typeface="+mn-lt"/>
              </a:rPr>
              <a:t>Double click </a:t>
            </a:r>
            <a:r>
              <a:rPr lang="en-US" sz="2329" dirty="0">
                <a:latin typeface="+mn-lt"/>
              </a:rPr>
              <a:t>on “</a:t>
            </a:r>
            <a:r>
              <a:rPr lang="en-US" sz="2329" b="1" dirty="0">
                <a:latin typeface="+mn-lt"/>
              </a:rPr>
              <a:t>InstallTheme.cmd” </a:t>
            </a:r>
            <a:r>
              <a:rPr lang="en-US" sz="2329" dirty="0">
                <a:latin typeface="+mn-lt"/>
              </a:rPr>
              <a:t>file within the attached zip folder to install the theme </a:t>
            </a:r>
          </a:p>
          <a:p>
            <a:pPr marL="0" indent="0">
              <a:spcBef>
                <a:spcPts val="1118"/>
              </a:spcBef>
              <a:spcAft>
                <a:spcPts val="0"/>
              </a:spcAft>
              <a:buClrTx/>
              <a:buSzPct val="100000"/>
              <a:buNone/>
            </a:pPr>
            <a:endParaRPr lang="en-US" sz="2329" dirty="0">
              <a:latin typeface="+mn-lt"/>
            </a:endParaRPr>
          </a:p>
        </p:txBody>
      </p:sp>
      <p:sp>
        <p:nvSpPr>
          <p:cNvPr id="4" name="BainBulletsConfiguration" hidden="1"/>
          <p:cNvSpPr txBox="1"/>
          <p:nvPr/>
        </p:nvSpPr>
        <p:spPr>
          <a:xfrm>
            <a:off x="1712288" y="12323"/>
            <a:ext cx="8626466" cy="107722"/>
          </a:xfrm>
          <a:prstGeom prst="rect">
            <a:avLst/>
          </a:prstGeom>
          <a:noFill/>
        </p:spPr>
        <p:txBody>
          <a:bodyPr vert="horz" wrap="square" lIns="44365" rIns="44365" rtlCol="0">
            <a:spAutoFit/>
          </a:bodyPr>
          <a:lstStyle/>
          <a:p>
            <a:r>
              <a:rPr lang="en-US" sz="100">
                <a:solidFill>
                  <a:srgbClr val="FFFFFF"/>
                </a:solidFill>
              </a:rPr>
              <a:t>3_85</a:t>
            </a:r>
            <a:endParaRPr lang="en-US" sz="100" dirty="0">
              <a:solidFill>
                <a:srgbClr val="FFFFFF"/>
              </a:solidFill>
            </a:endParaRPr>
          </a:p>
        </p:txBody>
      </p:sp>
      <p:sp>
        <p:nvSpPr>
          <p:cNvPr id="5" name="Rectangle 4"/>
          <p:cNvSpPr/>
          <p:nvPr/>
        </p:nvSpPr>
        <p:spPr>
          <a:xfrm>
            <a:off x="654627" y="2015836"/>
            <a:ext cx="3719946" cy="74814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en-US" sz="2000" i="1" dirty="0" smtClean="0">
                <a:solidFill>
                  <a:schemeClr val="tx1"/>
                </a:solidFill>
              </a:rPr>
              <a:t>Windows Instructions</a:t>
            </a:r>
          </a:p>
        </p:txBody>
      </p:sp>
    </p:spTree>
    <p:extLst>
      <p:ext uri="{BB962C8B-B14F-4D97-AF65-F5344CB8AC3E}">
        <p14:creationId xmlns:p14="http://schemas.microsoft.com/office/powerpoint/2010/main" val="304502801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Text arrows – 5 items</a:t>
            </a:r>
            <a:endParaRPr lang="en-CA" dirty="0"/>
          </a:p>
        </p:txBody>
      </p:sp>
      <p:sp>
        <p:nvSpPr>
          <p:cNvPr id="12" name="BainBulletsConfiguration" hidden="1"/>
          <p:cNvSpPr txBox="1"/>
          <p:nvPr/>
        </p:nvSpPr>
        <p:spPr>
          <a:xfrm>
            <a:off x="1712288" y="12323"/>
            <a:ext cx="8626466" cy="107722"/>
          </a:xfrm>
          <a:prstGeom prst="rect">
            <a:avLst/>
          </a:prstGeom>
          <a:noFill/>
        </p:spPr>
        <p:txBody>
          <a:bodyPr vert="horz" wrap="square" lIns="44365" rIns="44365" rtlCol="0">
            <a:spAutoFit/>
          </a:bodyPr>
          <a:lstStyle/>
          <a:p>
            <a:r>
              <a:rPr lang="en-CA" sz="100">
                <a:solidFill>
                  <a:srgbClr val="FFFFFF"/>
                </a:solidFill>
              </a:rPr>
              <a:t>13_85 17_85 18_85 19_85 20_85</a:t>
            </a:r>
            <a:endParaRPr lang="en-CA" sz="100" dirty="0">
              <a:solidFill>
                <a:srgbClr val="FFFFFF"/>
              </a:solidFill>
            </a:endParaRPr>
          </a:p>
        </p:txBody>
      </p:sp>
      <p:sp>
        <p:nvSpPr>
          <p:cNvPr id="8" name="Rectangle 7"/>
          <p:cNvSpPr/>
          <p:nvPr/>
        </p:nvSpPr>
        <p:spPr>
          <a:xfrm>
            <a:off x="2721316" y="5301030"/>
            <a:ext cx="9584984" cy="812100"/>
          </a:xfrm>
          <a:prstGeom prst="rect">
            <a:avLst/>
          </a:prstGeom>
          <a:solidFill>
            <a:srgbClr val="CCCCCC">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4365" tIns="44365" rIns="44365" bIns="44365" rtlCol="0" anchor="ctr"/>
          <a:lstStyle/>
          <a:p>
            <a:pPr algn="ctr"/>
            <a:endParaRPr lang="en-CA" sz="1941" dirty="0">
              <a:solidFill>
                <a:schemeClr val="tx1"/>
              </a:solidFill>
            </a:endParaRPr>
          </a:p>
        </p:txBody>
      </p:sp>
      <p:sp>
        <p:nvSpPr>
          <p:cNvPr id="4" name="Rectangle 3"/>
          <p:cNvSpPr/>
          <p:nvPr/>
        </p:nvSpPr>
        <p:spPr>
          <a:xfrm>
            <a:off x="2721316" y="1375884"/>
            <a:ext cx="9584984" cy="812100"/>
          </a:xfrm>
          <a:prstGeom prst="rect">
            <a:avLst/>
          </a:prstGeom>
          <a:solidFill>
            <a:srgbClr val="CCCCCC">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4365" tIns="44365" rIns="44365" bIns="44365" rtlCol="0" anchor="ctr"/>
          <a:lstStyle/>
          <a:p>
            <a:pPr algn="ctr"/>
            <a:endParaRPr lang="en-CA" sz="1941" dirty="0">
              <a:solidFill>
                <a:schemeClr val="tx1"/>
              </a:solidFill>
            </a:endParaRPr>
          </a:p>
        </p:txBody>
      </p:sp>
      <p:sp>
        <p:nvSpPr>
          <p:cNvPr id="5" name="Rectangle 4"/>
          <p:cNvSpPr/>
          <p:nvPr/>
        </p:nvSpPr>
        <p:spPr>
          <a:xfrm>
            <a:off x="2721316" y="2357171"/>
            <a:ext cx="9584984" cy="812100"/>
          </a:xfrm>
          <a:prstGeom prst="rect">
            <a:avLst/>
          </a:prstGeom>
          <a:solidFill>
            <a:srgbClr val="CCCCCC">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4365" tIns="44365" rIns="44365" bIns="44365" rtlCol="0" anchor="ctr"/>
          <a:lstStyle/>
          <a:p>
            <a:pPr algn="ctr"/>
            <a:endParaRPr lang="en-CA" sz="1941" dirty="0">
              <a:solidFill>
                <a:schemeClr val="tx1"/>
              </a:solidFill>
            </a:endParaRPr>
          </a:p>
        </p:txBody>
      </p:sp>
      <p:sp>
        <p:nvSpPr>
          <p:cNvPr id="6" name="Rectangle 5"/>
          <p:cNvSpPr/>
          <p:nvPr/>
        </p:nvSpPr>
        <p:spPr>
          <a:xfrm>
            <a:off x="2721316" y="3338457"/>
            <a:ext cx="9584984" cy="812100"/>
          </a:xfrm>
          <a:prstGeom prst="rect">
            <a:avLst/>
          </a:prstGeom>
          <a:solidFill>
            <a:srgbClr val="CCCCCC">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4365" tIns="44365" rIns="44365" bIns="44365" rtlCol="0" anchor="ctr"/>
          <a:lstStyle/>
          <a:p>
            <a:pPr algn="ctr"/>
            <a:endParaRPr lang="en-CA" sz="1941" dirty="0">
              <a:solidFill>
                <a:schemeClr val="tx1"/>
              </a:solidFill>
            </a:endParaRPr>
          </a:p>
        </p:txBody>
      </p:sp>
      <p:sp>
        <p:nvSpPr>
          <p:cNvPr id="7" name="Rectangle 6"/>
          <p:cNvSpPr/>
          <p:nvPr/>
        </p:nvSpPr>
        <p:spPr>
          <a:xfrm>
            <a:off x="2721316" y="4319743"/>
            <a:ext cx="9584984" cy="812100"/>
          </a:xfrm>
          <a:prstGeom prst="rect">
            <a:avLst/>
          </a:prstGeom>
          <a:solidFill>
            <a:srgbClr val="CCCCCC">
              <a:alpha val="50196"/>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4365" tIns="44365" rIns="44365" bIns="44365" rtlCol="0" anchor="ctr"/>
          <a:lstStyle/>
          <a:p>
            <a:pPr algn="ctr"/>
            <a:endParaRPr lang="en-CA" sz="1941" dirty="0">
              <a:solidFill>
                <a:schemeClr val="tx1"/>
              </a:solidFill>
            </a:endParaRPr>
          </a:p>
        </p:txBody>
      </p:sp>
      <p:sp>
        <p:nvSpPr>
          <p:cNvPr id="3" name="Pentagon 2"/>
          <p:cNvSpPr/>
          <p:nvPr/>
        </p:nvSpPr>
        <p:spPr>
          <a:xfrm>
            <a:off x="402702" y="1375884"/>
            <a:ext cx="3581431" cy="4737246"/>
          </a:xfrm>
          <a:prstGeom prst="homePlate">
            <a:avLst>
              <a:gd name="adj" fmla="val 27698"/>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44365" tIns="44365" rIns="44365" bIns="44365" rtlCol="0" anchor="ctr"/>
          <a:lstStyle/>
          <a:p>
            <a:pPr algn="ctr"/>
            <a:r>
              <a:rPr lang="en-CA" sz="1941" dirty="0">
                <a:solidFill>
                  <a:srgbClr val="FFFFFF"/>
                </a:solidFill>
              </a:rPr>
              <a:t>Text</a:t>
            </a:r>
          </a:p>
        </p:txBody>
      </p:sp>
      <p:sp>
        <p:nvSpPr>
          <p:cNvPr id="13" name="TextBox 12"/>
          <p:cNvSpPr txBox="1"/>
          <p:nvPr>
            <p:custDataLst>
              <p:tags r:id="rId1"/>
            </p:custDataLst>
          </p:nvPr>
        </p:nvSpPr>
        <p:spPr>
          <a:xfrm>
            <a:off x="3440988" y="1379017"/>
            <a:ext cx="8865312" cy="824649"/>
          </a:xfrm>
          <a:prstGeom prst="rect">
            <a:avLst/>
          </a:prstGeom>
          <a:noFill/>
        </p:spPr>
        <p:txBody>
          <a:bodyPr vert="horz" wrap="square" lIns="44365" rIns="44365" rtlCol="0">
            <a:spAutoFit/>
          </a:bodyPr>
          <a:lstStyle/>
          <a:p>
            <a:pPr marL="182563" indent="-182563">
              <a:spcBef>
                <a:spcPts val="745"/>
              </a:spcBef>
              <a:buSzPct val="100000"/>
              <a:buFont typeface="Verdana" panose="020B0604030504040204" pitchFamily="34" charset="0"/>
              <a:buChar char="•"/>
            </a:pPr>
            <a:r>
              <a:rPr lang="en-CA" sz="1553" dirty="0"/>
              <a:t>Type text here</a:t>
            </a:r>
          </a:p>
          <a:p>
            <a:pPr marL="449263" lvl="1" indent="-182563">
              <a:spcBef>
                <a:spcPts val="325"/>
              </a:spcBef>
              <a:buSzPct val="100000"/>
              <a:buFont typeface="Verdana" panose="020B0604030504040204" pitchFamily="34" charset="0"/>
              <a:buChar char="-"/>
            </a:pPr>
            <a:r>
              <a:rPr lang="en-CA" sz="1353" dirty="0"/>
              <a:t>Or here</a:t>
            </a:r>
          </a:p>
          <a:p>
            <a:pPr marL="801688" lvl="2" indent="-192088">
              <a:spcBef>
                <a:spcPts val="325"/>
              </a:spcBef>
              <a:buSzPct val="140000"/>
              <a:buFont typeface="Verdana" panose="020B0604030504040204" pitchFamily="34" charset="0"/>
              <a:buChar char="‣"/>
            </a:pPr>
            <a:r>
              <a:rPr lang="en-CA" sz="1353" dirty="0"/>
              <a:t>Or here</a:t>
            </a:r>
          </a:p>
        </p:txBody>
      </p:sp>
      <p:sp>
        <p:nvSpPr>
          <p:cNvPr id="17" name="TextBox 16"/>
          <p:cNvSpPr txBox="1"/>
          <p:nvPr>
            <p:custDataLst>
              <p:tags r:id="rId2"/>
            </p:custDataLst>
          </p:nvPr>
        </p:nvSpPr>
        <p:spPr>
          <a:xfrm>
            <a:off x="3694300" y="2357170"/>
            <a:ext cx="8612000" cy="824649"/>
          </a:xfrm>
          <a:prstGeom prst="rect">
            <a:avLst/>
          </a:prstGeom>
          <a:noFill/>
        </p:spPr>
        <p:txBody>
          <a:bodyPr vert="horz" wrap="square" lIns="44365" rIns="44365" rtlCol="0">
            <a:spAutoFit/>
          </a:bodyPr>
          <a:lstStyle/>
          <a:p>
            <a:pPr marL="182563" indent="-182563">
              <a:spcBef>
                <a:spcPts val="745"/>
              </a:spcBef>
              <a:buSzPct val="100000"/>
              <a:buFont typeface="Verdana" panose="020B0604030504040204" pitchFamily="34" charset="0"/>
              <a:buChar char="•"/>
            </a:pPr>
            <a:r>
              <a:rPr lang="en-CA" sz="1553" dirty="0"/>
              <a:t>Type text here</a:t>
            </a:r>
          </a:p>
          <a:p>
            <a:pPr marL="449263" lvl="1" indent="-182563">
              <a:spcBef>
                <a:spcPts val="325"/>
              </a:spcBef>
              <a:buSzPct val="100000"/>
              <a:buFont typeface="Verdana" panose="020B0604030504040204" pitchFamily="34" charset="0"/>
              <a:buChar char="-"/>
            </a:pPr>
            <a:r>
              <a:rPr lang="en-CA" sz="1353" dirty="0"/>
              <a:t>Or here</a:t>
            </a:r>
          </a:p>
          <a:p>
            <a:pPr marL="801688" lvl="2" indent="-192088">
              <a:spcBef>
                <a:spcPts val="325"/>
              </a:spcBef>
              <a:buSzPct val="140000"/>
              <a:buFont typeface="Verdana" panose="020B0604030504040204" pitchFamily="34" charset="0"/>
              <a:buChar char="‣"/>
            </a:pPr>
            <a:r>
              <a:rPr lang="en-CA" sz="1353" dirty="0"/>
              <a:t>Or here</a:t>
            </a:r>
          </a:p>
        </p:txBody>
      </p:sp>
      <p:sp>
        <p:nvSpPr>
          <p:cNvPr id="18" name="TextBox 17"/>
          <p:cNvSpPr txBox="1"/>
          <p:nvPr>
            <p:custDataLst>
              <p:tags r:id="rId3"/>
            </p:custDataLst>
          </p:nvPr>
        </p:nvSpPr>
        <p:spPr>
          <a:xfrm>
            <a:off x="3984131" y="3338457"/>
            <a:ext cx="8322167" cy="824649"/>
          </a:xfrm>
          <a:prstGeom prst="rect">
            <a:avLst/>
          </a:prstGeom>
          <a:noFill/>
        </p:spPr>
        <p:txBody>
          <a:bodyPr vert="horz" wrap="square" lIns="44365" rIns="44365" rtlCol="0">
            <a:spAutoFit/>
          </a:bodyPr>
          <a:lstStyle/>
          <a:p>
            <a:pPr marL="182563" indent="-182563">
              <a:spcBef>
                <a:spcPts val="745"/>
              </a:spcBef>
              <a:buSzPct val="100000"/>
              <a:buFont typeface="Verdana" panose="020B0604030504040204" pitchFamily="34" charset="0"/>
              <a:buChar char="•"/>
            </a:pPr>
            <a:r>
              <a:rPr lang="en-CA" sz="1553" dirty="0"/>
              <a:t>Type text here</a:t>
            </a:r>
          </a:p>
          <a:p>
            <a:pPr marL="449263" lvl="1" indent="-182563">
              <a:spcBef>
                <a:spcPts val="325"/>
              </a:spcBef>
              <a:buSzPct val="100000"/>
              <a:buFont typeface="Verdana" panose="020B0604030504040204" pitchFamily="34" charset="0"/>
              <a:buChar char="-"/>
            </a:pPr>
            <a:r>
              <a:rPr lang="en-CA" sz="1353" dirty="0"/>
              <a:t>Or here</a:t>
            </a:r>
          </a:p>
          <a:p>
            <a:pPr marL="801688" lvl="2" indent="-192088">
              <a:spcBef>
                <a:spcPts val="325"/>
              </a:spcBef>
              <a:buSzPct val="140000"/>
              <a:buFont typeface="Verdana" panose="020B0604030504040204" pitchFamily="34" charset="0"/>
              <a:buChar char="‣"/>
            </a:pPr>
            <a:r>
              <a:rPr lang="en-CA" sz="1353" dirty="0"/>
              <a:t>Or here</a:t>
            </a:r>
          </a:p>
        </p:txBody>
      </p:sp>
      <p:sp>
        <p:nvSpPr>
          <p:cNvPr id="19" name="TextBox 18"/>
          <p:cNvSpPr txBox="1"/>
          <p:nvPr>
            <p:custDataLst>
              <p:tags r:id="rId4"/>
            </p:custDataLst>
          </p:nvPr>
        </p:nvSpPr>
        <p:spPr>
          <a:xfrm>
            <a:off x="3694300" y="4319743"/>
            <a:ext cx="8612000" cy="824649"/>
          </a:xfrm>
          <a:prstGeom prst="rect">
            <a:avLst/>
          </a:prstGeom>
          <a:noFill/>
        </p:spPr>
        <p:txBody>
          <a:bodyPr vert="horz" wrap="square" lIns="44365" rIns="44365" rtlCol="0">
            <a:spAutoFit/>
          </a:bodyPr>
          <a:lstStyle/>
          <a:p>
            <a:pPr marL="182563" indent="-182563">
              <a:spcBef>
                <a:spcPts val="745"/>
              </a:spcBef>
              <a:buSzPct val="100000"/>
              <a:buFont typeface="Verdana" panose="020B0604030504040204" pitchFamily="34" charset="0"/>
              <a:buChar char="•"/>
            </a:pPr>
            <a:r>
              <a:rPr lang="en-CA" sz="1553" dirty="0"/>
              <a:t>Type text here</a:t>
            </a:r>
          </a:p>
          <a:p>
            <a:pPr marL="449263" lvl="1" indent="-182563">
              <a:spcBef>
                <a:spcPts val="325"/>
              </a:spcBef>
              <a:buSzPct val="100000"/>
              <a:buFont typeface="Verdana" panose="020B0604030504040204" pitchFamily="34" charset="0"/>
              <a:buChar char="-"/>
            </a:pPr>
            <a:r>
              <a:rPr lang="en-CA" sz="1353" dirty="0"/>
              <a:t>Or here</a:t>
            </a:r>
          </a:p>
          <a:p>
            <a:pPr marL="801688" lvl="2" indent="-192088">
              <a:spcBef>
                <a:spcPts val="325"/>
              </a:spcBef>
              <a:buSzPct val="140000"/>
              <a:buFont typeface="Verdana" panose="020B0604030504040204" pitchFamily="34" charset="0"/>
              <a:buChar char="‣"/>
            </a:pPr>
            <a:r>
              <a:rPr lang="en-CA" sz="1353" dirty="0"/>
              <a:t>Or here</a:t>
            </a:r>
          </a:p>
        </p:txBody>
      </p:sp>
      <p:sp>
        <p:nvSpPr>
          <p:cNvPr id="20" name="TextBox 19"/>
          <p:cNvSpPr txBox="1"/>
          <p:nvPr>
            <p:custDataLst>
              <p:tags r:id="rId5"/>
            </p:custDataLst>
          </p:nvPr>
        </p:nvSpPr>
        <p:spPr>
          <a:xfrm>
            <a:off x="3440988" y="5301030"/>
            <a:ext cx="8865312" cy="824649"/>
          </a:xfrm>
          <a:prstGeom prst="rect">
            <a:avLst/>
          </a:prstGeom>
          <a:noFill/>
        </p:spPr>
        <p:txBody>
          <a:bodyPr vert="horz" wrap="square" lIns="44365" rIns="44365" rtlCol="0">
            <a:spAutoFit/>
          </a:bodyPr>
          <a:lstStyle/>
          <a:p>
            <a:pPr marL="182563" indent="-182563">
              <a:spcBef>
                <a:spcPts val="745"/>
              </a:spcBef>
              <a:buSzPct val="100000"/>
              <a:buFont typeface="Verdana" panose="020B0604030504040204" pitchFamily="34" charset="0"/>
              <a:buChar char="•"/>
            </a:pPr>
            <a:r>
              <a:rPr lang="en-CA" sz="1553" dirty="0"/>
              <a:t>Type text here</a:t>
            </a:r>
          </a:p>
          <a:p>
            <a:pPr marL="449263" lvl="1" indent="-182563">
              <a:spcBef>
                <a:spcPts val="325"/>
              </a:spcBef>
              <a:buSzPct val="100000"/>
              <a:buFont typeface="Verdana" panose="020B0604030504040204" pitchFamily="34" charset="0"/>
              <a:buChar char="-"/>
            </a:pPr>
            <a:r>
              <a:rPr lang="en-CA" sz="1353" dirty="0"/>
              <a:t>Or here</a:t>
            </a:r>
          </a:p>
          <a:p>
            <a:pPr marL="801688" lvl="2" indent="-192088">
              <a:spcBef>
                <a:spcPts val="325"/>
              </a:spcBef>
              <a:buSzPct val="140000"/>
              <a:buFont typeface="Verdana" panose="020B0604030504040204" pitchFamily="34" charset="0"/>
              <a:buChar char="‣"/>
            </a:pPr>
            <a:r>
              <a:rPr lang="en-CA" sz="1353" dirty="0"/>
              <a:t>Or here</a:t>
            </a:r>
          </a:p>
        </p:txBody>
      </p:sp>
    </p:spTree>
    <p:extLst>
      <p:ext uri="{BB962C8B-B14F-4D97-AF65-F5344CB8AC3E}">
        <p14:creationId xmlns:p14="http://schemas.microsoft.com/office/powerpoint/2010/main" val="24495392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71" name="Line 12"/>
          <p:cNvSpPr>
            <a:spLocks noChangeShapeType="1"/>
          </p:cNvSpPr>
          <p:nvPr/>
        </p:nvSpPr>
        <p:spPr bwMode="gray">
          <a:xfrm flipV="1">
            <a:off x="792384" y="1595938"/>
            <a:ext cx="0" cy="1626184"/>
          </a:xfrm>
          <a:prstGeom prst="line">
            <a:avLst/>
          </a:prstGeom>
          <a:noFill/>
          <a:ln w="19050">
            <a:solidFill>
              <a:srgbClr val="808080"/>
            </a:solidFill>
            <a:prstDash val="sysDot"/>
            <a:round/>
            <a:headEnd/>
            <a:tailEnd/>
          </a:ln>
        </p:spPr>
        <p:txBody>
          <a:bodyPr lIns="95224" tIns="47612" rIns="95224" bIns="47612"/>
          <a:lstStyle/>
          <a:p>
            <a:endParaRPr lang="en-US" sz="1747" dirty="0">
              <a:latin typeface="+mj-lt"/>
            </a:endParaRPr>
          </a:p>
        </p:txBody>
      </p:sp>
      <p:sp>
        <p:nvSpPr>
          <p:cNvPr id="62472" name="Rectangle 13"/>
          <p:cNvSpPr>
            <a:spLocks noChangeArrowheads="1"/>
          </p:cNvSpPr>
          <p:nvPr/>
        </p:nvSpPr>
        <p:spPr bwMode="gray">
          <a:xfrm>
            <a:off x="845507" y="1387280"/>
            <a:ext cx="2866557" cy="1910356"/>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95224" tIns="47612" rIns="95224" bIns="47612" anchor="ctr"/>
          <a:lstStyle/>
          <a:p>
            <a:endParaRPr lang="en-US" sz="1747" noProof="1">
              <a:latin typeface="+mj-lt"/>
            </a:endParaRPr>
          </a:p>
        </p:txBody>
      </p:sp>
      <p:sp>
        <p:nvSpPr>
          <p:cNvPr id="62473" name="Line 14"/>
          <p:cNvSpPr>
            <a:spLocks noChangeShapeType="1"/>
          </p:cNvSpPr>
          <p:nvPr/>
        </p:nvSpPr>
        <p:spPr bwMode="gray">
          <a:xfrm flipV="1">
            <a:off x="5465098" y="1595938"/>
            <a:ext cx="0" cy="1626184"/>
          </a:xfrm>
          <a:prstGeom prst="line">
            <a:avLst/>
          </a:prstGeom>
          <a:noFill/>
          <a:ln w="19050">
            <a:solidFill>
              <a:srgbClr val="808080"/>
            </a:solidFill>
            <a:prstDash val="sysDot"/>
            <a:round/>
            <a:headEnd/>
            <a:tailEnd/>
          </a:ln>
        </p:spPr>
        <p:txBody>
          <a:bodyPr lIns="95224" tIns="47612" rIns="95224" bIns="47612"/>
          <a:lstStyle/>
          <a:p>
            <a:endParaRPr lang="en-US" sz="1747" dirty="0">
              <a:latin typeface="+mj-lt"/>
            </a:endParaRPr>
          </a:p>
        </p:txBody>
      </p:sp>
      <p:sp>
        <p:nvSpPr>
          <p:cNvPr id="62474" name="Line 15"/>
          <p:cNvSpPr>
            <a:spLocks noChangeShapeType="1"/>
          </p:cNvSpPr>
          <p:nvPr/>
        </p:nvSpPr>
        <p:spPr bwMode="gray">
          <a:xfrm flipV="1">
            <a:off x="11792775" y="1595937"/>
            <a:ext cx="0" cy="1626184"/>
          </a:xfrm>
          <a:prstGeom prst="line">
            <a:avLst/>
          </a:prstGeom>
          <a:noFill/>
          <a:ln w="19050">
            <a:solidFill>
              <a:srgbClr val="808080"/>
            </a:solidFill>
            <a:prstDash val="sysDot"/>
            <a:round/>
            <a:headEnd/>
            <a:tailEnd/>
          </a:ln>
        </p:spPr>
        <p:txBody>
          <a:bodyPr lIns="95224" tIns="47612" rIns="95224" bIns="47612"/>
          <a:lstStyle/>
          <a:p>
            <a:endParaRPr lang="en-US" sz="1747" dirty="0">
              <a:latin typeface="+mj-lt"/>
            </a:endParaRPr>
          </a:p>
        </p:txBody>
      </p:sp>
      <p:sp>
        <p:nvSpPr>
          <p:cNvPr id="62477" name="Rectangle 18"/>
          <p:cNvSpPr>
            <a:spLocks noChangeArrowheads="1"/>
          </p:cNvSpPr>
          <p:nvPr/>
        </p:nvSpPr>
        <p:spPr bwMode="gray">
          <a:xfrm>
            <a:off x="5512092" y="1387280"/>
            <a:ext cx="2868601" cy="1910356"/>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95224" tIns="47612" rIns="95224" bIns="47612" anchor="ctr"/>
          <a:lstStyle/>
          <a:p>
            <a:endParaRPr lang="en-CA" sz="1747" dirty="0">
              <a:latin typeface="+mj-lt"/>
            </a:endParaRPr>
          </a:p>
        </p:txBody>
      </p:sp>
      <p:sp>
        <p:nvSpPr>
          <p:cNvPr id="62478" name="Rectangle 19"/>
          <p:cNvSpPr>
            <a:spLocks noChangeArrowheads="1"/>
          </p:cNvSpPr>
          <p:nvPr/>
        </p:nvSpPr>
        <p:spPr bwMode="gray">
          <a:xfrm>
            <a:off x="8862879" y="1387280"/>
            <a:ext cx="2868601" cy="1910356"/>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95224" tIns="47612" rIns="95224" bIns="47612" anchor="ctr"/>
          <a:lstStyle/>
          <a:p>
            <a:endParaRPr lang="en-US" sz="1747" noProof="1"/>
          </a:p>
        </p:txBody>
      </p:sp>
      <p:sp>
        <p:nvSpPr>
          <p:cNvPr id="3" name="TextBox 2"/>
          <p:cNvSpPr txBox="1"/>
          <p:nvPr>
            <p:custDataLst>
              <p:tags r:id="rId1"/>
            </p:custDataLst>
          </p:nvPr>
        </p:nvSpPr>
        <p:spPr>
          <a:xfrm>
            <a:off x="845506" y="1387281"/>
            <a:ext cx="2866557" cy="939937"/>
          </a:xfrm>
          <a:prstGeom prst="rect">
            <a:avLst/>
          </a:prstGeom>
          <a:noFill/>
        </p:spPr>
        <p:txBody>
          <a:bodyPr vert="horz" wrap="square" lIns="44365" rIns="44365" rtlCol="0">
            <a:spAutoFit/>
          </a:bodyPr>
          <a:lstStyle/>
          <a:p>
            <a:pPr marL="182563" indent="-182563">
              <a:spcBef>
                <a:spcPts val="839"/>
              </a:spcBef>
              <a:buSzPct val="100000"/>
              <a:buFont typeface="Verdana" panose="020B0604030504040204" pitchFamily="34" charset="0"/>
              <a:buChar char="•"/>
            </a:pPr>
            <a:r>
              <a:rPr lang="en-CA" sz="1747" dirty="0"/>
              <a:t>Type text here</a:t>
            </a:r>
          </a:p>
          <a:p>
            <a:pPr marL="449263" lvl="1" indent="-182563">
              <a:spcBef>
                <a:spcPts val="371"/>
              </a:spcBef>
              <a:buSzPct val="100000"/>
              <a:buFont typeface="Verdana" panose="020B0604030504040204" pitchFamily="34" charset="0"/>
              <a:buChar char="-"/>
            </a:pPr>
            <a:r>
              <a:rPr lang="en-CA" sz="1547" dirty="0"/>
              <a:t>Or here</a:t>
            </a:r>
          </a:p>
          <a:p>
            <a:pPr marL="801688" lvl="2" indent="-192088">
              <a:spcBef>
                <a:spcPts val="371"/>
              </a:spcBef>
              <a:buSzPct val="140000"/>
              <a:buFont typeface="Verdana" panose="020B0604030504040204" pitchFamily="34" charset="0"/>
              <a:buChar char="‣"/>
            </a:pPr>
            <a:r>
              <a:rPr lang="en-CA" sz="1547" dirty="0"/>
              <a:t>Or here</a:t>
            </a:r>
          </a:p>
        </p:txBody>
      </p:sp>
      <p:sp>
        <p:nvSpPr>
          <p:cNvPr id="30" name="TextBox 29"/>
          <p:cNvSpPr txBox="1"/>
          <p:nvPr>
            <p:custDataLst>
              <p:tags r:id="rId2"/>
            </p:custDataLst>
          </p:nvPr>
        </p:nvSpPr>
        <p:spPr>
          <a:xfrm>
            <a:off x="5514136" y="1387281"/>
            <a:ext cx="2866557" cy="939937"/>
          </a:xfrm>
          <a:prstGeom prst="rect">
            <a:avLst/>
          </a:prstGeom>
          <a:noFill/>
        </p:spPr>
        <p:txBody>
          <a:bodyPr vert="horz" wrap="square" lIns="44365" rIns="44365" rtlCol="0">
            <a:spAutoFit/>
          </a:bodyPr>
          <a:lstStyle/>
          <a:p>
            <a:pPr marL="182563" indent="-182563">
              <a:spcBef>
                <a:spcPts val="839"/>
              </a:spcBef>
              <a:buSzPct val="100000"/>
              <a:buFont typeface="Verdana" panose="020B0604030504040204" pitchFamily="34" charset="0"/>
              <a:buChar char="•"/>
            </a:pPr>
            <a:r>
              <a:rPr lang="en-CA" sz="1747" dirty="0"/>
              <a:t>Type text here</a:t>
            </a:r>
          </a:p>
          <a:p>
            <a:pPr marL="449263" lvl="1" indent="-182563">
              <a:spcBef>
                <a:spcPts val="371"/>
              </a:spcBef>
              <a:buSzPct val="100000"/>
              <a:buFont typeface="Verdana" panose="020B0604030504040204" pitchFamily="34" charset="0"/>
              <a:buChar char="-"/>
            </a:pPr>
            <a:r>
              <a:rPr lang="en-CA" sz="1547" dirty="0"/>
              <a:t>Or here</a:t>
            </a:r>
          </a:p>
          <a:p>
            <a:pPr marL="801688" lvl="2" indent="-192088">
              <a:spcBef>
                <a:spcPts val="371"/>
              </a:spcBef>
              <a:buSzPct val="140000"/>
              <a:buFont typeface="Verdana" panose="020B0604030504040204" pitchFamily="34" charset="0"/>
              <a:buChar char="‣"/>
            </a:pPr>
            <a:r>
              <a:rPr lang="en-CA" sz="1547" dirty="0"/>
              <a:t>Or here</a:t>
            </a:r>
          </a:p>
        </p:txBody>
      </p:sp>
      <p:sp>
        <p:nvSpPr>
          <p:cNvPr id="33" name="TextBox 32"/>
          <p:cNvSpPr txBox="1"/>
          <p:nvPr>
            <p:custDataLst>
              <p:tags r:id="rId3"/>
            </p:custDataLst>
          </p:nvPr>
        </p:nvSpPr>
        <p:spPr>
          <a:xfrm>
            <a:off x="8864923" y="1387281"/>
            <a:ext cx="2866557" cy="939937"/>
          </a:xfrm>
          <a:prstGeom prst="rect">
            <a:avLst/>
          </a:prstGeom>
          <a:noFill/>
        </p:spPr>
        <p:txBody>
          <a:bodyPr vert="horz" wrap="square" lIns="44365" rIns="44365" rtlCol="0">
            <a:spAutoFit/>
          </a:bodyPr>
          <a:lstStyle/>
          <a:p>
            <a:pPr marL="182563" indent="-182563">
              <a:spcBef>
                <a:spcPts val="839"/>
              </a:spcBef>
              <a:buSzPct val="100000"/>
              <a:buFont typeface="Verdana" panose="020B0604030504040204" pitchFamily="34" charset="0"/>
              <a:buChar char="•"/>
            </a:pPr>
            <a:r>
              <a:rPr lang="en-CA" sz="1747" dirty="0"/>
              <a:t>Type text here</a:t>
            </a:r>
          </a:p>
          <a:p>
            <a:pPr marL="449263" lvl="1" indent="-182563">
              <a:spcBef>
                <a:spcPts val="371"/>
              </a:spcBef>
              <a:buSzPct val="100000"/>
              <a:buFont typeface="Verdana" panose="020B0604030504040204" pitchFamily="34" charset="0"/>
              <a:buChar char="-"/>
            </a:pPr>
            <a:r>
              <a:rPr lang="en-CA" sz="1547" dirty="0"/>
              <a:t>Or here</a:t>
            </a:r>
          </a:p>
          <a:p>
            <a:pPr marL="801688" lvl="2" indent="-192088">
              <a:spcBef>
                <a:spcPts val="371"/>
              </a:spcBef>
              <a:buSzPct val="140000"/>
              <a:buFont typeface="Verdana" panose="020B0604030504040204" pitchFamily="34" charset="0"/>
              <a:buChar char="‣"/>
            </a:pPr>
            <a:r>
              <a:rPr lang="en-CA" sz="1547" dirty="0"/>
              <a:t>Or here</a:t>
            </a:r>
          </a:p>
        </p:txBody>
      </p:sp>
      <p:sp>
        <p:nvSpPr>
          <p:cNvPr id="62485" name="Title 32"/>
          <p:cNvSpPr>
            <a:spLocks noGrp="1"/>
          </p:cNvSpPr>
          <p:nvPr>
            <p:ph type="title"/>
          </p:nvPr>
        </p:nvSpPr>
        <p:spPr bwMode="gray"/>
        <p:txBody>
          <a:bodyPr/>
          <a:lstStyle/>
          <a:p>
            <a:r>
              <a:rPr lang="en-CA" smtClean="0"/>
              <a:t>Timeline </a:t>
            </a:r>
          </a:p>
        </p:txBody>
      </p:sp>
      <p:sp>
        <p:nvSpPr>
          <p:cNvPr id="2" name="BainBulletsConfiguration" hidden="1"/>
          <p:cNvSpPr txBox="1"/>
          <p:nvPr/>
        </p:nvSpPr>
        <p:spPr>
          <a:xfrm>
            <a:off x="1712288" y="12323"/>
            <a:ext cx="8626466" cy="107722"/>
          </a:xfrm>
          <a:prstGeom prst="rect">
            <a:avLst/>
          </a:prstGeom>
          <a:noFill/>
        </p:spPr>
        <p:txBody>
          <a:bodyPr vert="horz" wrap="square" lIns="44365" rIns="44365" rtlCol="0">
            <a:spAutoFit/>
          </a:bodyPr>
          <a:lstStyle/>
          <a:p>
            <a:r>
              <a:rPr lang="en-CA" sz="100">
                <a:solidFill>
                  <a:srgbClr val="FFFFFF"/>
                </a:solidFill>
              </a:rPr>
              <a:t>3_85 30_85 33_85 34_85 38_85</a:t>
            </a:r>
            <a:endParaRPr lang="en-CA" sz="100" dirty="0">
              <a:solidFill>
                <a:srgbClr val="FFFFFF"/>
              </a:solidFill>
            </a:endParaRPr>
          </a:p>
        </p:txBody>
      </p:sp>
      <p:sp>
        <p:nvSpPr>
          <p:cNvPr id="974852" name="Rectangle 4"/>
          <p:cNvSpPr>
            <a:spLocks noChangeArrowheads="1"/>
          </p:cNvSpPr>
          <p:nvPr/>
        </p:nvSpPr>
        <p:spPr bwMode="gray">
          <a:xfrm>
            <a:off x="494083" y="3342670"/>
            <a:ext cx="2327163" cy="504660"/>
          </a:xfrm>
          <a:prstGeom prst="rect">
            <a:avLst/>
          </a:prstGeom>
          <a:solidFill>
            <a:srgbClr val="A3A3A3"/>
          </a:solidFill>
          <a:ln w="19050">
            <a:solidFill>
              <a:schemeClr val="tx2"/>
            </a:solidFill>
            <a:miter lim="800000"/>
            <a:headEnd/>
            <a:tailEnd/>
          </a:ln>
          <a:effectLst/>
        </p:spPr>
        <p:txBody>
          <a:bodyPr wrap="none" lIns="91440" tIns="9144" rIns="9144" bIns="9144" anchor="ctr"/>
          <a:lstStyle/>
          <a:p>
            <a:pPr>
              <a:defRPr/>
            </a:pPr>
            <a:r>
              <a:rPr lang="en-CA" sz="1650" b="1" noProof="1" smtClean="0">
                <a:solidFill>
                  <a:srgbClr val="FFFFFF"/>
                </a:solidFill>
                <a:latin typeface="+mj-lt"/>
              </a:rPr>
              <a:t>2012</a:t>
            </a:r>
            <a:endParaRPr lang="en-CA" sz="1650" b="1" noProof="1">
              <a:solidFill>
                <a:srgbClr val="FFFFFF"/>
              </a:solidFill>
              <a:latin typeface="+mj-lt"/>
            </a:endParaRPr>
          </a:p>
        </p:txBody>
      </p:sp>
      <p:sp>
        <p:nvSpPr>
          <p:cNvPr id="974853" name="Rectangle 5"/>
          <p:cNvSpPr>
            <a:spLocks noChangeArrowheads="1"/>
          </p:cNvSpPr>
          <p:nvPr/>
        </p:nvSpPr>
        <p:spPr bwMode="gray">
          <a:xfrm>
            <a:off x="2821246" y="3342670"/>
            <a:ext cx="2327163" cy="504660"/>
          </a:xfrm>
          <a:prstGeom prst="rect">
            <a:avLst/>
          </a:prstGeom>
          <a:solidFill>
            <a:srgbClr val="A3A3A3"/>
          </a:solidFill>
          <a:ln w="19050">
            <a:solidFill>
              <a:schemeClr val="tx2"/>
            </a:solidFill>
            <a:miter lim="800000"/>
            <a:headEnd/>
            <a:tailEnd/>
          </a:ln>
          <a:effectLst/>
        </p:spPr>
        <p:txBody>
          <a:bodyPr wrap="none" lIns="91440" tIns="9144" rIns="9144" bIns="9144" anchor="ctr"/>
          <a:lstStyle/>
          <a:p>
            <a:pPr>
              <a:defRPr/>
            </a:pPr>
            <a:r>
              <a:rPr lang="en-CA" sz="1650" b="1" noProof="1" smtClean="0">
                <a:solidFill>
                  <a:srgbClr val="FFFFFF"/>
                </a:solidFill>
                <a:latin typeface="+mj-lt"/>
              </a:rPr>
              <a:t>2013</a:t>
            </a:r>
            <a:endParaRPr lang="en-CA" sz="1650" b="1" noProof="1">
              <a:solidFill>
                <a:srgbClr val="FFFFFF"/>
              </a:solidFill>
              <a:latin typeface="+mj-lt"/>
            </a:endParaRPr>
          </a:p>
        </p:txBody>
      </p:sp>
      <p:sp>
        <p:nvSpPr>
          <p:cNvPr id="974854" name="Rectangle 6"/>
          <p:cNvSpPr>
            <a:spLocks noChangeArrowheads="1"/>
          </p:cNvSpPr>
          <p:nvPr/>
        </p:nvSpPr>
        <p:spPr bwMode="gray">
          <a:xfrm>
            <a:off x="5148409" y="3342670"/>
            <a:ext cx="2327163" cy="504660"/>
          </a:xfrm>
          <a:prstGeom prst="rect">
            <a:avLst/>
          </a:prstGeom>
          <a:solidFill>
            <a:srgbClr val="A3A3A3"/>
          </a:solidFill>
          <a:ln w="19050">
            <a:solidFill>
              <a:schemeClr val="tx2"/>
            </a:solidFill>
            <a:miter lim="800000"/>
            <a:headEnd/>
            <a:tailEnd/>
          </a:ln>
          <a:effectLst/>
        </p:spPr>
        <p:txBody>
          <a:bodyPr wrap="none" lIns="91440" tIns="9144" rIns="9144" bIns="9144" anchor="ctr"/>
          <a:lstStyle/>
          <a:p>
            <a:pPr>
              <a:defRPr/>
            </a:pPr>
            <a:r>
              <a:rPr lang="en-CA" sz="1650" b="1" noProof="1" smtClean="0">
                <a:solidFill>
                  <a:srgbClr val="FFFFFF"/>
                </a:solidFill>
                <a:latin typeface="+mj-lt"/>
              </a:rPr>
              <a:t>2014</a:t>
            </a:r>
            <a:endParaRPr lang="en-CA" sz="1650" b="1" noProof="1">
              <a:solidFill>
                <a:srgbClr val="FFFFFF"/>
              </a:solidFill>
              <a:latin typeface="+mj-lt"/>
            </a:endParaRPr>
          </a:p>
        </p:txBody>
      </p:sp>
      <p:sp>
        <p:nvSpPr>
          <p:cNvPr id="974855" name="Rectangle 7"/>
          <p:cNvSpPr>
            <a:spLocks noChangeArrowheads="1"/>
          </p:cNvSpPr>
          <p:nvPr/>
        </p:nvSpPr>
        <p:spPr bwMode="gray">
          <a:xfrm>
            <a:off x="7475572" y="3342670"/>
            <a:ext cx="2327163" cy="504660"/>
          </a:xfrm>
          <a:prstGeom prst="rect">
            <a:avLst/>
          </a:prstGeom>
          <a:solidFill>
            <a:srgbClr val="A3A3A3"/>
          </a:solidFill>
          <a:ln w="19050">
            <a:solidFill>
              <a:schemeClr val="tx2"/>
            </a:solidFill>
            <a:miter lim="800000"/>
            <a:headEnd/>
            <a:tailEnd/>
          </a:ln>
          <a:effectLst/>
        </p:spPr>
        <p:txBody>
          <a:bodyPr wrap="none" lIns="91440" tIns="9144" rIns="9144" bIns="9144" anchor="ctr"/>
          <a:lstStyle/>
          <a:p>
            <a:pPr>
              <a:defRPr/>
            </a:pPr>
            <a:r>
              <a:rPr lang="en-CA" sz="1650" b="1" noProof="1" smtClean="0">
                <a:solidFill>
                  <a:srgbClr val="FFFFFF"/>
                </a:solidFill>
                <a:latin typeface="+mj-lt"/>
              </a:rPr>
              <a:t>2015</a:t>
            </a:r>
            <a:endParaRPr lang="en-CA" sz="1650" b="1" noProof="1">
              <a:solidFill>
                <a:srgbClr val="FFFFFF"/>
              </a:solidFill>
              <a:latin typeface="+mj-lt"/>
            </a:endParaRPr>
          </a:p>
        </p:txBody>
      </p:sp>
      <p:sp>
        <p:nvSpPr>
          <p:cNvPr id="974856" name="Rectangle 8"/>
          <p:cNvSpPr>
            <a:spLocks noChangeArrowheads="1"/>
          </p:cNvSpPr>
          <p:nvPr/>
        </p:nvSpPr>
        <p:spPr bwMode="gray">
          <a:xfrm>
            <a:off x="9802734" y="3342670"/>
            <a:ext cx="2327163" cy="504660"/>
          </a:xfrm>
          <a:prstGeom prst="rect">
            <a:avLst/>
          </a:prstGeom>
          <a:solidFill>
            <a:schemeClr val="accent3"/>
          </a:solidFill>
          <a:ln w="19050">
            <a:solidFill>
              <a:schemeClr val="tx2"/>
            </a:solidFill>
            <a:miter lim="800000"/>
            <a:headEnd/>
            <a:tailEnd/>
          </a:ln>
          <a:effectLst/>
        </p:spPr>
        <p:txBody>
          <a:bodyPr wrap="none" lIns="91440" tIns="9144" rIns="9144" bIns="9144" anchor="ctr"/>
          <a:lstStyle/>
          <a:p>
            <a:pPr>
              <a:defRPr/>
            </a:pPr>
            <a:r>
              <a:rPr lang="en-CA" sz="1650" b="1" noProof="1" smtClean="0">
                <a:solidFill>
                  <a:srgbClr val="FFFFFF"/>
                </a:solidFill>
                <a:latin typeface="+mj-lt"/>
              </a:rPr>
              <a:t>2016</a:t>
            </a:r>
            <a:endParaRPr lang="en-CA" sz="1650" b="1" noProof="1">
              <a:solidFill>
                <a:srgbClr val="FFFFFF"/>
              </a:solidFill>
              <a:latin typeface="+mj-lt"/>
            </a:endParaRPr>
          </a:p>
        </p:txBody>
      </p:sp>
      <p:sp>
        <p:nvSpPr>
          <p:cNvPr id="62470" name="Oval 11"/>
          <p:cNvSpPr>
            <a:spLocks noChangeArrowheads="1"/>
          </p:cNvSpPr>
          <p:nvPr/>
        </p:nvSpPr>
        <p:spPr bwMode="gray">
          <a:xfrm>
            <a:off x="671838" y="3222122"/>
            <a:ext cx="243137" cy="247224"/>
          </a:xfrm>
          <a:prstGeom prst="ellipse">
            <a:avLst/>
          </a:prstGeom>
          <a:solidFill>
            <a:schemeClr val="accent6"/>
          </a:solidFill>
          <a:ln w="12700">
            <a:solidFill>
              <a:srgbClr val="EAEAEA"/>
            </a:solidFill>
            <a:round/>
            <a:headEnd/>
            <a:tailEnd/>
          </a:ln>
        </p:spPr>
        <p:txBody>
          <a:bodyPr wrap="none" lIns="95224" tIns="47612" rIns="95224" bIns="47612" anchor="ctr"/>
          <a:lstStyle/>
          <a:p>
            <a:endParaRPr lang="en-CA" sz="1747" dirty="0">
              <a:latin typeface="+mj-lt"/>
            </a:endParaRPr>
          </a:p>
        </p:txBody>
      </p:sp>
      <p:sp>
        <p:nvSpPr>
          <p:cNvPr id="62475" name="Line 16"/>
          <p:cNvSpPr>
            <a:spLocks noChangeShapeType="1"/>
          </p:cNvSpPr>
          <p:nvPr/>
        </p:nvSpPr>
        <p:spPr bwMode="gray">
          <a:xfrm flipV="1">
            <a:off x="3170627" y="3957661"/>
            <a:ext cx="10216" cy="1626184"/>
          </a:xfrm>
          <a:prstGeom prst="line">
            <a:avLst/>
          </a:prstGeom>
          <a:noFill/>
          <a:ln w="19050">
            <a:solidFill>
              <a:srgbClr val="808080"/>
            </a:solidFill>
            <a:prstDash val="sysDot"/>
            <a:round/>
            <a:headEnd/>
            <a:tailEnd/>
          </a:ln>
        </p:spPr>
        <p:txBody>
          <a:bodyPr lIns="95224" tIns="47612" rIns="95224" bIns="47612"/>
          <a:lstStyle/>
          <a:p>
            <a:endParaRPr lang="en-US" sz="1747" dirty="0">
              <a:latin typeface="+mj-lt"/>
            </a:endParaRPr>
          </a:p>
        </p:txBody>
      </p:sp>
      <p:sp>
        <p:nvSpPr>
          <p:cNvPr id="62476" name="Line 17"/>
          <p:cNvSpPr>
            <a:spLocks noChangeShapeType="1"/>
          </p:cNvSpPr>
          <p:nvPr/>
        </p:nvSpPr>
        <p:spPr bwMode="gray">
          <a:xfrm flipV="1">
            <a:off x="7845383" y="3957661"/>
            <a:ext cx="0" cy="1626184"/>
          </a:xfrm>
          <a:prstGeom prst="line">
            <a:avLst/>
          </a:prstGeom>
          <a:noFill/>
          <a:ln w="19050">
            <a:solidFill>
              <a:srgbClr val="808080"/>
            </a:solidFill>
            <a:prstDash val="sysDot"/>
            <a:round/>
            <a:headEnd/>
            <a:tailEnd/>
          </a:ln>
        </p:spPr>
        <p:txBody>
          <a:bodyPr lIns="95224" tIns="47612" rIns="95224" bIns="47612"/>
          <a:lstStyle/>
          <a:p>
            <a:endParaRPr lang="en-US" sz="1747" dirty="0">
              <a:latin typeface="+mj-lt"/>
            </a:endParaRPr>
          </a:p>
        </p:txBody>
      </p:sp>
      <p:sp>
        <p:nvSpPr>
          <p:cNvPr id="62479" name="Rectangle 20"/>
          <p:cNvSpPr>
            <a:spLocks noChangeArrowheads="1"/>
          </p:cNvSpPr>
          <p:nvPr/>
        </p:nvSpPr>
        <p:spPr bwMode="gray">
          <a:xfrm>
            <a:off x="3231921" y="4313088"/>
            <a:ext cx="2868601" cy="1910358"/>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95224" tIns="47612" rIns="95224" bIns="47612" anchor="ctr"/>
          <a:lstStyle/>
          <a:p>
            <a:endParaRPr lang="en-CA" sz="1747" dirty="0"/>
          </a:p>
        </p:txBody>
      </p:sp>
      <p:sp>
        <p:nvSpPr>
          <p:cNvPr id="62480" name="Rectangle 21"/>
          <p:cNvSpPr>
            <a:spLocks noChangeArrowheads="1"/>
          </p:cNvSpPr>
          <p:nvPr/>
        </p:nvSpPr>
        <p:spPr bwMode="gray">
          <a:xfrm>
            <a:off x="7908722" y="4313088"/>
            <a:ext cx="2866558" cy="1910358"/>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lIns="95224" tIns="47612" rIns="95224" bIns="47612" anchor="ctr"/>
          <a:lstStyle/>
          <a:p>
            <a:endParaRPr lang="en-CA" sz="1747" dirty="0">
              <a:latin typeface="+mj-lt"/>
            </a:endParaRPr>
          </a:p>
        </p:txBody>
      </p:sp>
      <p:sp>
        <p:nvSpPr>
          <p:cNvPr id="62481" name="Oval 22"/>
          <p:cNvSpPr>
            <a:spLocks noChangeArrowheads="1"/>
          </p:cNvSpPr>
          <p:nvPr/>
        </p:nvSpPr>
        <p:spPr bwMode="gray">
          <a:xfrm>
            <a:off x="5342509" y="3222122"/>
            <a:ext cx="243137" cy="247224"/>
          </a:xfrm>
          <a:prstGeom prst="ellipse">
            <a:avLst/>
          </a:prstGeom>
          <a:solidFill>
            <a:schemeClr val="accent6"/>
          </a:solidFill>
          <a:ln w="12700">
            <a:solidFill>
              <a:srgbClr val="EAEAEA"/>
            </a:solidFill>
            <a:round/>
            <a:headEnd/>
            <a:tailEnd/>
          </a:ln>
        </p:spPr>
        <p:txBody>
          <a:bodyPr wrap="none" lIns="95224" tIns="47612" rIns="95224" bIns="47612" anchor="ctr"/>
          <a:lstStyle/>
          <a:p>
            <a:endParaRPr lang="en-CA" sz="1747" dirty="0">
              <a:latin typeface="+mj-lt"/>
            </a:endParaRPr>
          </a:p>
        </p:txBody>
      </p:sp>
      <p:sp>
        <p:nvSpPr>
          <p:cNvPr id="62482" name="Oval 23"/>
          <p:cNvSpPr>
            <a:spLocks noChangeArrowheads="1"/>
          </p:cNvSpPr>
          <p:nvPr/>
        </p:nvSpPr>
        <p:spPr bwMode="gray">
          <a:xfrm>
            <a:off x="11674272" y="3222122"/>
            <a:ext cx="243136" cy="247224"/>
          </a:xfrm>
          <a:prstGeom prst="ellipse">
            <a:avLst/>
          </a:prstGeom>
          <a:solidFill>
            <a:schemeClr val="accent6"/>
          </a:solidFill>
          <a:ln w="12700">
            <a:solidFill>
              <a:srgbClr val="EAEAEA"/>
            </a:solidFill>
            <a:round/>
            <a:headEnd/>
            <a:tailEnd/>
          </a:ln>
        </p:spPr>
        <p:txBody>
          <a:bodyPr wrap="none" lIns="95224" tIns="47612" rIns="95224" bIns="47612" anchor="ctr"/>
          <a:lstStyle/>
          <a:p>
            <a:endParaRPr lang="en-CA" sz="1747" dirty="0">
              <a:latin typeface="+mj-lt"/>
            </a:endParaRPr>
          </a:p>
        </p:txBody>
      </p:sp>
      <p:sp>
        <p:nvSpPr>
          <p:cNvPr id="62483" name="Oval 24"/>
          <p:cNvSpPr>
            <a:spLocks noChangeArrowheads="1"/>
          </p:cNvSpPr>
          <p:nvPr/>
        </p:nvSpPr>
        <p:spPr bwMode="gray">
          <a:xfrm>
            <a:off x="7720750" y="3698181"/>
            <a:ext cx="245180" cy="249266"/>
          </a:xfrm>
          <a:prstGeom prst="ellipse">
            <a:avLst/>
          </a:prstGeom>
          <a:solidFill>
            <a:schemeClr val="accent6"/>
          </a:solidFill>
          <a:ln w="12700">
            <a:solidFill>
              <a:srgbClr val="EAEAEA"/>
            </a:solidFill>
            <a:round/>
            <a:headEnd/>
            <a:tailEnd/>
          </a:ln>
        </p:spPr>
        <p:txBody>
          <a:bodyPr wrap="none" lIns="95224" tIns="47612" rIns="95224" bIns="47612" anchor="ctr"/>
          <a:lstStyle/>
          <a:p>
            <a:endParaRPr lang="en-CA" sz="1747" dirty="0">
              <a:latin typeface="+mj-lt"/>
            </a:endParaRPr>
          </a:p>
        </p:txBody>
      </p:sp>
      <p:sp>
        <p:nvSpPr>
          <p:cNvPr id="62484" name="Oval 25"/>
          <p:cNvSpPr>
            <a:spLocks noChangeArrowheads="1"/>
          </p:cNvSpPr>
          <p:nvPr/>
        </p:nvSpPr>
        <p:spPr bwMode="gray">
          <a:xfrm>
            <a:off x="3056209" y="3698181"/>
            <a:ext cx="243136" cy="249266"/>
          </a:xfrm>
          <a:prstGeom prst="ellipse">
            <a:avLst/>
          </a:prstGeom>
          <a:solidFill>
            <a:schemeClr val="accent6"/>
          </a:solidFill>
          <a:ln w="12700">
            <a:solidFill>
              <a:srgbClr val="EAEAEA"/>
            </a:solidFill>
            <a:round/>
            <a:headEnd/>
            <a:tailEnd/>
          </a:ln>
        </p:spPr>
        <p:txBody>
          <a:bodyPr wrap="none" lIns="95224" tIns="47612" rIns="95224" bIns="47612" anchor="ctr"/>
          <a:lstStyle/>
          <a:p>
            <a:endParaRPr lang="en-CA" sz="1747" dirty="0">
              <a:latin typeface="+mj-lt"/>
            </a:endParaRPr>
          </a:p>
        </p:txBody>
      </p:sp>
      <p:sp>
        <p:nvSpPr>
          <p:cNvPr id="34" name="TextBox 33"/>
          <p:cNvSpPr txBox="1"/>
          <p:nvPr>
            <p:custDataLst>
              <p:tags r:id="rId4"/>
            </p:custDataLst>
          </p:nvPr>
        </p:nvSpPr>
        <p:spPr>
          <a:xfrm>
            <a:off x="7908722" y="4313088"/>
            <a:ext cx="2866557" cy="939937"/>
          </a:xfrm>
          <a:prstGeom prst="rect">
            <a:avLst/>
          </a:prstGeom>
          <a:noFill/>
        </p:spPr>
        <p:txBody>
          <a:bodyPr vert="horz" wrap="square" lIns="44365" rIns="44365" rtlCol="0">
            <a:spAutoFit/>
          </a:bodyPr>
          <a:lstStyle/>
          <a:p>
            <a:pPr marL="182563" indent="-182563">
              <a:spcBef>
                <a:spcPts val="839"/>
              </a:spcBef>
              <a:buSzPct val="100000"/>
              <a:buFont typeface="Verdana" panose="020B0604030504040204" pitchFamily="34" charset="0"/>
              <a:buChar char="•"/>
            </a:pPr>
            <a:r>
              <a:rPr lang="en-CA" sz="1747" dirty="0"/>
              <a:t>Type text here</a:t>
            </a:r>
          </a:p>
          <a:p>
            <a:pPr marL="449263" lvl="1" indent="-182563">
              <a:spcBef>
                <a:spcPts val="371"/>
              </a:spcBef>
              <a:buSzPct val="100000"/>
              <a:buFont typeface="Verdana" panose="020B0604030504040204" pitchFamily="34" charset="0"/>
              <a:buChar char="-"/>
            </a:pPr>
            <a:r>
              <a:rPr lang="en-CA" sz="1547" dirty="0"/>
              <a:t>Or here</a:t>
            </a:r>
          </a:p>
          <a:p>
            <a:pPr marL="801688" lvl="2" indent="-192088">
              <a:spcBef>
                <a:spcPts val="371"/>
              </a:spcBef>
              <a:buSzPct val="140000"/>
              <a:buFont typeface="Verdana" panose="020B0604030504040204" pitchFamily="34" charset="0"/>
              <a:buChar char="‣"/>
            </a:pPr>
            <a:r>
              <a:rPr lang="en-CA" sz="1547" dirty="0"/>
              <a:t>Or here</a:t>
            </a:r>
          </a:p>
        </p:txBody>
      </p:sp>
      <p:sp>
        <p:nvSpPr>
          <p:cNvPr id="38" name="TextBox 37"/>
          <p:cNvSpPr txBox="1"/>
          <p:nvPr>
            <p:custDataLst>
              <p:tags r:id="rId5"/>
            </p:custDataLst>
          </p:nvPr>
        </p:nvSpPr>
        <p:spPr>
          <a:xfrm>
            <a:off x="3231921" y="4313088"/>
            <a:ext cx="2866557" cy="939937"/>
          </a:xfrm>
          <a:prstGeom prst="rect">
            <a:avLst/>
          </a:prstGeom>
          <a:noFill/>
        </p:spPr>
        <p:txBody>
          <a:bodyPr vert="horz" wrap="square" lIns="44365" rIns="44365" rtlCol="0">
            <a:spAutoFit/>
          </a:bodyPr>
          <a:lstStyle/>
          <a:p>
            <a:pPr marL="182563" indent="-182563">
              <a:spcBef>
                <a:spcPts val="839"/>
              </a:spcBef>
              <a:buSzPct val="100000"/>
              <a:buFont typeface="Verdana" panose="020B0604030504040204" pitchFamily="34" charset="0"/>
              <a:buChar char="•"/>
            </a:pPr>
            <a:r>
              <a:rPr lang="en-CA" sz="1747" dirty="0"/>
              <a:t>Type text here</a:t>
            </a:r>
          </a:p>
          <a:p>
            <a:pPr marL="449263" lvl="1" indent="-182563">
              <a:spcBef>
                <a:spcPts val="371"/>
              </a:spcBef>
              <a:buSzPct val="100000"/>
              <a:buFont typeface="Verdana" panose="020B0604030504040204" pitchFamily="34" charset="0"/>
              <a:buChar char="-"/>
            </a:pPr>
            <a:r>
              <a:rPr lang="en-CA" sz="1547" dirty="0"/>
              <a:t>Or here</a:t>
            </a:r>
          </a:p>
          <a:p>
            <a:pPr marL="801688" lvl="2" indent="-192088">
              <a:spcBef>
                <a:spcPts val="371"/>
              </a:spcBef>
              <a:buSzPct val="140000"/>
              <a:buFont typeface="Verdana" panose="020B0604030504040204" pitchFamily="34" charset="0"/>
              <a:buChar char="‣"/>
            </a:pPr>
            <a:r>
              <a:rPr lang="en-CA" sz="1547" dirty="0"/>
              <a:t>Or here</a:t>
            </a:r>
          </a:p>
        </p:txBody>
      </p:sp>
    </p:spTree>
    <p:extLst>
      <p:ext uri="{BB962C8B-B14F-4D97-AF65-F5344CB8AC3E}">
        <p14:creationId xmlns:p14="http://schemas.microsoft.com/office/powerpoint/2010/main" val="4215977449"/>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p:cNvSpPr>
          <p:nvPr>
            <p:ph type="title"/>
          </p:nvPr>
        </p:nvSpPr>
        <p:spPr bwMode="gray"/>
        <p:txBody>
          <a:bodyPr/>
          <a:lstStyle/>
          <a:p>
            <a:r>
              <a:rPr lang="en-US" smtClean="0"/>
              <a:t>Circular arrows - six </a:t>
            </a:r>
          </a:p>
        </p:txBody>
      </p:sp>
      <p:sp>
        <p:nvSpPr>
          <p:cNvPr id="18434" name="Freeform 5"/>
          <p:cNvSpPr>
            <a:spLocks/>
          </p:cNvSpPr>
          <p:nvPr/>
        </p:nvSpPr>
        <p:spPr bwMode="gray">
          <a:xfrm>
            <a:off x="3379577" y="4206431"/>
            <a:ext cx="2085756" cy="1973305"/>
          </a:xfrm>
          <a:custGeom>
            <a:avLst/>
            <a:gdLst>
              <a:gd name="T0" fmla="*/ 1427 w 1427"/>
              <a:gd name="T1" fmla="*/ 327 h 1364"/>
              <a:gd name="T2" fmla="*/ 1012 w 1427"/>
              <a:gd name="T3" fmla="*/ 312 h 1364"/>
              <a:gd name="T4" fmla="*/ 804 w 1427"/>
              <a:gd name="T5" fmla="*/ 0 h 1364"/>
              <a:gd name="T6" fmla="*/ 248 w 1427"/>
              <a:gd name="T7" fmla="*/ 488 h 1364"/>
              <a:gd name="T8" fmla="*/ 240 w 1427"/>
              <a:gd name="T9" fmla="*/ 336 h 1364"/>
              <a:gd name="T10" fmla="*/ 0 w 1427"/>
              <a:gd name="T11" fmla="*/ 876 h 1364"/>
              <a:gd name="T12" fmla="*/ 296 w 1427"/>
              <a:gd name="T13" fmla="*/ 1364 h 1364"/>
              <a:gd name="T14" fmla="*/ 292 w 1427"/>
              <a:gd name="T15" fmla="*/ 1212 h 1364"/>
              <a:gd name="T16" fmla="*/ 1427 w 1427"/>
              <a:gd name="T17" fmla="*/ 327 h 13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7"/>
              <a:gd name="T28" fmla="*/ 0 h 1364"/>
              <a:gd name="T29" fmla="*/ 1427 w 1427"/>
              <a:gd name="T30" fmla="*/ 1364 h 13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7" h="1364">
                <a:moveTo>
                  <a:pt x="1427" y="327"/>
                </a:moveTo>
                <a:lnTo>
                  <a:pt x="1012" y="312"/>
                </a:lnTo>
                <a:lnTo>
                  <a:pt x="804" y="0"/>
                </a:lnTo>
                <a:cubicBezTo>
                  <a:pt x="669" y="251"/>
                  <a:pt x="518" y="399"/>
                  <a:pt x="248" y="488"/>
                </a:cubicBezTo>
                <a:lnTo>
                  <a:pt x="240" y="336"/>
                </a:lnTo>
                <a:lnTo>
                  <a:pt x="0" y="876"/>
                </a:lnTo>
                <a:lnTo>
                  <a:pt x="296" y="1364"/>
                </a:lnTo>
                <a:lnTo>
                  <a:pt x="292" y="1212"/>
                </a:lnTo>
                <a:cubicBezTo>
                  <a:pt x="382" y="1164"/>
                  <a:pt x="993" y="1174"/>
                  <a:pt x="1427" y="327"/>
                </a:cubicBezTo>
                <a:close/>
              </a:path>
            </a:pathLst>
          </a:custGeom>
          <a:solidFill>
            <a:srgbClr val="777777"/>
          </a:solidFill>
          <a:ln w="12700" cap="flat" cmpd="sng">
            <a:solidFill>
              <a:srgbClr val="FFFFFF"/>
            </a:solidFill>
            <a:prstDash val="solid"/>
            <a:round/>
            <a:headEnd type="none" w="sm" len="sm"/>
            <a:tailEnd type="none" w="sm" len="sm"/>
          </a:ln>
        </p:spPr>
        <p:txBody>
          <a:bodyPr lIns="82234" tIns="41117" rIns="82234" bIns="41117" anchor="ctr"/>
          <a:lstStyle/>
          <a:p>
            <a:endParaRPr lang="en-US" sz="1747" dirty="0">
              <a:solidFill>
                <a:srgbClr val="FFFFFF"/>
              </a:solidFill>
            </a:endParaRPr>
          </a:p>
        </p:txBody>
      </p:sp>
      <p:sp>
        <p:nvSpPr>
          <p:cNvPr id="18435" name="Text Box 6"/>
          <p:cNvSpPr txBox="1">
            <a:spLocks noChangeArrowheads="1"/>
          </p:cNvSpPr>
          <p:nvPr/>
        </p:nvSpPr>
        <p:spPr bwMode="gray">
          <a:xfrm>
            <a:off x="3581374" y="4941689"/>
            <a:ext cx="1592815" cy="351825"/>
          </a:xfrm>
          <a:prstGeom prst="rect">
            <a:avLst/>
          </a:prstGeom>
          <a:noFill/>
          <a:ln w="9525">
            <a:noFill/>
            <a:miter lim="800000"/>
            <a:headEnd/>
            <a:tailEnd/>
          </a:ln>
        </p:spPr>
        <p:txBody>
          <a:bodyPr lIns="82234" tIns="41117" rIns="82234" bIns="41117" anchor="ctr">
            <a:spAutoFit/>
          </a:bodyPr>
          <a:lstStyle/>
          <a:p>
            <a:pPr algn="ctr" defTabSz="854984"/>
            <a:r>
              <a:rPr lang="en-US" sz="1747" dirty="0">
                <a:solidFill>
                  <a:schemeClr val="tx2"/>
                </a:solidFill>
              </a:rPr>
              <a:t>Arrow 3</a:t>
            </a:r>
          </a:p>
        </p:txBody>
      </p:sp>
      <p:sp>
        <p:nvSpPr>
          <p:cNvPr id="18436" name="Freeform 8"/>
          <p:cNvSpPr>
            <a:spLocks/>
          </p:cNvSpPr>
          <p:nvPr/>
        </p:nvSpPr>
        <p:spPr bwMode="gray">
          <a:xfrm>
            <a:off x="1401651" y="4519141"/>
            <a:ext cx="2193587" cy="1585113"/>
          </a:xfrm>
          <a:custGeom>
            <a:avLst/>
            <a:gdLst>
              <a:gd name="T0" fmla="*/ 1473 w 1473"/>
              <a:gd name="T1" fmla="*/ 989 h 1075"/>
              <a:gd name="T2" fmla="*/ 1261 w 1473"/>
              <a:gd name="T3" fmla="*/ 635 h 1075"/>
              <a:gd name="T4" fmla="*/ 1402 w 1473"/>
              <a:gd name="T5" fmla="*/ 306 h 1075"/>
              <a:gd name="T6" fmla="*/ 728 w 1473"/>
              <a:gd name="T7" fmla="*/ 78 h 1075"/>
              <a:gd name="T8" fmla="*/ 867 w 1473"/>
              <a:gd name="T9" fmla="*/ 0 h 1075"/>
              <a:gd name="T10" fmla="*/ 285 w 1473"/>
              <a:gd name="T11" fmla="*/ 57 h 1075"/>
              <a:gd name="T12" fmla="*/ 0 w 1473"/>
              <a:gd name="T13" fmla="*/ 553 h 1075"/>
              <a:gd name="T14" fmla="*/ 127 w 1473"/>
              <a:gd name="T15" fmla="*/ 463 h 1075"/>
              <a:gd name="T16" fmla="*/ 1473 w 1473"/>
              <a:gd name="T17" fmla="*/ 989 h 10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73"/>
              <a:gd name="T28" fmla="*/ 0 h 1075"/>
              <a:gd name="T29" fmla="*/ 1473 w 1473"/>
              <a:gd name="T30" fmla="*/ 1075 h 10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73" h="1075">
                <a:moveTo>
                  <a:pt x="1473" y="989"/>
                </a:moveTo>
                <a:lnTo>
                  <a:pt x="1261" y="635"/>
                </a:lnTo>
                <a:lnTo>
                  <a:pt x="1402" y="306"/>
                </a:lnTo>
                <a:cubicBezTo>
                  <a:pt x="1124" y="326"/>
                  <a:pt x="943" y="255"/>
                  <a:pt x="728" y="78"/>
                </a:cubicBezTo>
                <a:lnTo>
                  <a:pt x="867" y="0"/>
                </a:lnTo>
                <a:lnTo>
                  <a:pt x="285" y="57"/>
                </a:lnTo>
                <a:lnTo>
                  <a:pt x="0" y="553"/>
                </a:lnTo>
                <a:lnTo>
                  <a:pt x="127" y="463"/>
                </a:lnTo>
                <a:cubicBezTo>
                  <a:pt x="215" y="512"/>
                  <a:pt x="543" y="1075"/>
                  <a:pt x="1473" y="989"/>
                </a:cubicBezTo>
                <a:close/>
              </a:path>
            </a:pathLst>
          </a:custGeom>
          <a:solidFill>
            <a:srgbClr val="777777"/>
          </a:solidFill>
          <a:ln w="12700" cap="flat" cmpd="sng">
            <a:solidFill>
              <a:srgbClr val="FFFFFF"/>
            </a:solidFill>
            <a:prstDash val="solid"/>
            <a:round/>
            <a:headEnd type="none" w="sm" len="sm"/>
            <a:tailEnd type="none" w="sm" len="sm"/>
          </a:ln>
        </p:spPr>
        <p:txBody>
          <a:bodyPr lIns="82234" tIns="41117" rIns="82234" bIns="41117" anchor="ctr"/>
          <a:lstStyle/>
          <a:p>
            <a:endParaRPr lang="en-US" sz="1747" dirty="0">
              <a:solidFill>
                <a:srgbClr val="FFFFFF"/>
              </a:solidFill>
            </a:endParaRPr>
          </a:p>
        </p:txBody>
      </p:sp>
      <p:sp>
        <p:nvSpPr>
          <p:cNvPr id="18437" name="Text Box 9"/>
          <p:cNvSpPr txBox="1">
            <a:spLocks noChangeArrowheads="1"/>
          </p:cNvSpPr>
          <p:nvPr/>
        </p:nvSpPr>
        <p:spPr bwMode="gray">
          <a:xfrm>
            <a:off x="1882269" y="5070316"/>
            <a:ext cx="1340183" cy="351825"/>
          </a:xfrm>
          <a:prstGeom prst="rect">
            <a:avLst/>
          </a:prstGeom>
          <a:noFill/>
          <a:ln w="9525">
            <a:noFill/>
            <a:miter lim="800000"/>
            <a:headEnd/>
            <a:tailEnd/>
          </a:ln>
        </p:spPr>
        <p:txBody>
          <a:bodyPr lIns="82234" tIns="41117" rIns="82234" bIns="41117" anchor="ctr">
            <a:spAutoFit/>
          </a:bodyPr>
          <a:lstStyle/>
          <a:p>
            <a:pPr algn="ctr" defTabSz="854984"/>
            <a:r>
              <a:rPr lang="en-US" sz="1747" dirty="0">
                <a:solidFill>
                  <a:schemeClr val="tx2"/>
                </a:solidFill>
              </a:rPr>
              <a:t>Arrow 4</a:t>
            </a:r>
          </a:p>
        </p:txBody>
      </p:sp>
      <p:sp>
        <p:nvSpPr>
          <p:cNvPr id="18438" name="Freeform 12"/>
          <p:cNvSpPr>
            <a:spLocks/>
          </p:cNvSpPr>
          <p:nvPr/>
        </p:nvSpPr>
        <p:spPr bwMode="gray">
          <a:xfrm>
            <a:off x="694588" y="2824657"/>
            <a:ext cx="1632867" cy="2219774"/>
          </a:xfrm>
          <a:custGeom>
            <a:avLst/>
            <a:gdLst>
              <a:gd name="T0" fmla="*/ 538 w 1118"/>
              <a:gd name="T1" fmla="*/ 1536 h 1536"/>
              <a:gd name="T2" fmla="*/ 740 w 1118"/>
              <a:gd name="T3" fmla="*/ 1180 h 1536"/>
              <a:gd name="T4" fmla="*/ 1118 w 1118"/>
              <a:gd name="T5" fmla="*/ 1140 h 1536"/>
              <a:gd name="T6" fmla="*/ 960 w 1118"/>
              <a:gd name="T7" fmla="*/ 424 h 1536"/>
              <a:gd name="T8" fmla="*/ 1096 w 1118"/>
              <a:gd name="T9" fmla="*/ 496 h 1536"/>
              <a:gd name="T10" fmla="*/ 760 w 1118"/>
              <a:gd name="T11" fmla="*/ 12 h 1536"/>
              <a:gd name="T12" fmla="*/ 160 w 1118"/>
              <a:gd name="T13" fmla="*/ 0 h 1536"/>
              <a:gd name="T14" fmla="*/ 316 w 1118"/>
              <a:gd name="T15" fmla="*/ 80 h 1536"/>
              <a:gd name="T16" fmla="*/ 538 w 1118"/>
              <a:gd name="T17" fmla="*/ 1536 h 15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18"/>
              <a:gd name="T28" fmla="*/ 0 h 1536"/>
              <a:gd name="T29" fmla="*/ 1118 w 1118"/>
              <a:gd name="T30" fmla="*/ 1536 h 1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18" h="1536">
                <a:moveTo>
                  <a:pt x="538" y="1536"/>
                </a:moveTo>
                <a:lnTo>
                  <a:pt x="740" y="1180"/>
                </a:lnTo>
                <a:lnTo>
                  <a:pt x="1118" y="1140"/>
                </a:lnTo>
                <a:cubicBezTo>
                  <a:pt x="962" y="902"/>
                  <a:pt x="910" y="704"/>
                  <a:pt x="960" y="424"/>
                </a:cubicBezTo>
                <a:lnTo>
                  <a:pt x="1096" y="496"/>
                </a:lnTo>
                <a:lnTo>
                  <a:pt x="760" y="12"/>
                </a:lnTo>
                <a:lnTo>
                  <a:pt x="160" y="0"/>
                </a:lnTo>
                <a:lnTo>
                  <a:pt x="316" y="80"/>
                </a:lnTo>
                <a:cubicBezTo>
                  <a:pt x="316" y="182"/>
                  <a:pt x="0" y="751"/>
                  <a:pt x="538" y="1536"/>
                </a:cubicBezTo>
                <a:close/>
              </a:path>
            </a:pathLst>
          </a:custGeom>
          <a:solidFill>
            <a:srgbClr val="777777"/>
          </a:solidFill>
          <a:ln w="12700" cap="flat" cmpd="sng">
            <a:solidFill>
              <a:srgbClr val="FFFFFF"/>
            </a:solidFill>
            <a:prstDash val="solid"/>
            <a:round/>
            <a:headEnd type="none" w="sm" len="sm"/>
            <a:tailEnd type="none" w="sm" len="sm"/>
          </a:ln>
        </p:spPr>
        <p:txBody>
          <a:bodyPr lIns="82234" tIns="41117" rIns="82234" bIns="41117" anchor="ctr"/>
          <a:lstStyle/>
          <a:p>
            <a:endParaRPr lang="en-US" sz="1747" dirty="0">
              <a:solidFill>
                <a:srgbClr val="FFFFFF"/>
              </a:solidFill>
            </a:endParaRPr>
          </a:p>
        </p:txBody>
      </p:sp>
      <p:sp>
        <p:nvSpPr>
          <p:cNvPr id="18439" name="Text Box 13"/>
          <p:cNvSpPr txBox="1">
            <a:spLocks noChangeArrowheads="1"/>
          </p:cNvSpPr>
          <p:nvPr/>
        </p:nvSpPr>
        <p:spPr bwMode="gray">
          <a:xfrm>
            <a:off x="910250" y="3717809"/>
            <a:ext cx="1340183" cy="351825"/>
          </a:xfrm>
          <a:prstGeom prst="rect">
            <a:avLst/>
          </a:prstGeom>
          <a:noFill/>
          <a:ln w="9525">
            <a:noFill/>
            <a:miter lim="800000"/>
            <a:headEnd/>
            <a:tailEnd/>
          </a:ln>
        </p:spPr>
        <p:txBody>
          <a:bodyPr lIns="82234" tIns="41117" rIns="82234" bIns="41117" anchor="ctr">
            <a:spAutoFit/>
          </a:bodyPr>
          <a:lstStyle/>
          <a:p>
            <a:pPr algn="ctr" defTabSz="854984"/>
            <a:r>
              <a:rPr lang="en-US" sz="1747" dirty="0">
                <a:solidFill>
                  <a:schemeClr val="tx2"/>
                </a:solidFill>
              </a:rPr>
              <a:t>Arrow 5</a:t>
            </a:r>
          </a:p>
        </p:txBody>
      </p:sp>
      <p:sp>
        <p:nvSpPr>
          <p:cNvPr id="18440" name="Freeform 15"/>
          <p:cNvSpPr>
            <a:spLocks/>
          </p:cNvSpPr>
          <p:nvPr/>
        </p:nvSpPr>
        <p:spPr bwMode="gray">
          <a:xfrm>
            <a:off x="1259931" y="1233381"/>
            <a:ext cx="2067271" cy="1982547"/>
          </a:xfrm>
          <a:custGeom>
            <a:avLst/>
            <a:gdLst>
              <a:gd name="T0" fmla="*/ 0 w 1388"/>
              <a:gd name="T1" fmla="*/ 1015 h 1345"/>
              <a:gd name="T2" fmla="*/ 402 w 1388"/>
              <a:gd name="T3" fmla="*/ 1033 h 1345"/>
              <a:gd name="T4" fmla="*/ 612 w 1388"/>
              <a:gd name="T5" fmla="*/ 1345 h 1345"/>
              <a:gd name="T6" fmla="*/ 1145 w 1388"/>
              <a:gd name="T7" fmla="*/ 848 h 1345"/>
              <a:gd name="T8" fmla="*/ 1163 w 1388"/>
              <a:gd name="T9" fmla="*/ 1008 h 1345"/>
              <a:gd name="T10" fmla="*/ 1388 w 1388"/>
              <a:gd name="T11" fmla="*/ 483 h 1345"/>
              <a:gd name="T12" fmla="*/ 1108 w 1388"/>
              <a:gd name="T13" fmla="*/ 0 h 1345"/>
              <a:gd name="T14" fmla="*/ 1105 w 1388"/>
              <a:gd name="T15" fmla="*/ 126 h 1345"/>
              <a:gd name="T16" fmla="*/ 0 w 1388"/>
              <a:gd name="T17" fmla="*/ 1015 h 13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88"/>
              <a:gd name="T28" fmla="*/ 0 h 1345"/>
              <a:gd name="T29" fmla="*/ 1388 w 1388"/>
              <a:gd name="T30" fmla="*/ 1345 h 13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88" h="1345">
                <a:moveTo>
                  <a:pt x="0" y="1015"/>
                </a:moveTo>
                <a:lnTo>
                  <a:pt x="402" y="1033"/>
                </a:lnTo>
                <a:lnTo>
                  <a:pt x="612" y="1345"/>
                </a:lnTo>
                <a:cubicBezTo>
                  <a:pt x="745" y="1099"/>
                  <a:pt x="880" y="935"/>
                  <a:pt x="1145" y="848"/>
                </a:cubicBezTo>
                <a:lnTo>
                  <a:pt x="1163" y="1008"/>
                </a:lnTo>
                <a:lnTo>
                  <a:pt x="1388" y="483"/>
                </a:lnTo>
                <a:lnTo>
                  <a:pt x="1108" y="0"/>
                </a:lnTo>
                <a:lnTo>
                  <a:pt x="1105" y="126"/>
                </a:lnTo>
                <a:cubicBezTo>
                  <a:pt x="1017" y="173"/>
                  <a:pt x="426" y="184"/>
                  <a:pt x="0" y="1015"/>
                </a:cubicBezTo>
                <a:close/>
              </a:path>
            </a:pathLst>
          </a:custGeom>
          <a:solidFill>
            <a:schemeClr val="accent3"/>
          </a:solidFill>
          <a:ln w="12700" cap="flat" cmpd="sng">
            <a:solidFill>
              <a:srgbClr val="FFFFFF"/>
            </a:solidFill>
            <a:prstDash val="solid"/>
            <a:round/>
            <a:headEnd type="none" w="sm" len="sm"/>
            <a:tailEnd type="none" w="sm" len="sm"/>
          </a:ln>
        </p:spPr>
        <p:txBody>
          <a:bodyPr lIns="82234" tIns="41117" rIns="82234" bIns="41117" anchor="ctr"/>
          <a:lstStyle/>
          <a:p>
            <a:endParaRPr lang="en-US" sz="1747" dirty="0">
              <a:solidFill>
                <a:srgbClr val="FFFFFF"/>
              </a:solidFill>
              <a:latin typeface="Verdana" pitchFamily="34" charset="0"/>
            </a:endParaRPr>
          </a:p>
        </p:txBody>
      </p:sp>
      <p:sp>
        <p:nvSpPr>
          <p:cNvPr id="18441" name="Text Box 16"/>
          <p:cNvSpPr txBox="1">
            <a:spLocks noChangeArrowheads="1"/>
          </p:cNvSpPr>
          <p:nvPr/>
        </p:nvSpPr>
        <p:spPr bwMode="gray">
          <a:xfrm>
            <a:off x="1808327" y="2060295"/>
            <a:ext cx="1101414" cy="351825"/>
          </a:xfrm>
          <a:prstGeom prst="rect">
            <a:avLst/>
          </a:prstGeom>
          <a:noFill/>
          <a:ln w="9525">
            <a:noFill/>
            <a:miter lim="800000"/>
            <a:headEnd/>
            <a:tailEnd/>
          </a:ln>
        </p:spPr>
        <p:txBody>
          <a:bodyPr lIns="82234" tIns="41117" rIns="82234" bIns="41117" anchor="ctr">
            <a:spAutoFit/>
          </a:bodyPr>
          <a:lstStyle/>
          <a:p>
            <a:pPr algn="ctr" defTabSz="854984"/>
            <a:r>
              <a:rPr lang="en-US" sz="1747" dirty="0">
                <a:solidFill>
                  <a:schemeClr val="tx2"/>
                </a:solidFill>
              </a:rPr>
              <a:t>Arrow 6</a:t>
            </a:r>
          </a:p>
        </p:txBody>
      </p:sp>
      <p:sp>
        <p:nvSpPr>
          <p:cNvPr id="18442" name="Freeform 19"/>
          <p:cNvSpPr>
            <a:spLocks/>
          </p:cNvSpPr>
          <p:nvPr/>
        </p:nvSpPr>
        <p:spPr bwMode="gray">
          <a:xfrm>
            <a:off x="3116161" y="1262650"/>
            <a:ext cx="2204371" cy="1631326"/>
          </a:xfrm>
          <a:custGeom>
            <a:avLst/>
            <a:gdLst>
              <a:gd name="T0" fmla="*/ 0 w 1508"/>
              <a:gd name="T1" fmla="*/ 88 h 1128"/>
              <a:gd name="T2" fmla="*/ 224 w 1508"/>
              <a:gd name="T3" fmla="*/ 480 h 1128"/>
              <a:gd name="T4" fmla="*/ 80 w 1508"/>
              <a:gd name="T5" fmla="*/ 796 h 1128"/>
              <a:gd name="T6" fmla="*/ 772 w 1508"/>
              <a:gd name="T7" fmla="*/ 1036 h 1128"/>
              <a:gd name="T8" fmla="*/ 624 w 1508"/>
              <a:gd name="T9" fmla="*/ 1128 h 1128"/>
              <a:gd name="T10" fmla="*/ 1217 w 1508"/>
              <a:gd name="T11" fmla="*/ 1070 h 1128"/>
              <a:gd name="T12" fmla="*/ 1508 w 1508"/>
              <a:gd name="T13" fmla="*/ 564 h 1128"/>
              <a:gd name="T14" fmla="*/ 1388 w 1508"/>
              <a:gd name="T15" fmla="*/ 648 h 1128"/>
              <a:gd name="T16" fmla="*/ 0 w 1508"/>
              <a:gd name="T17" fmla="*/ 88 h 11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08"/>
              <a:gd name="T28" fmla="*/ 0 h 1128"/>
              <a:gd name="T29" fmla="*/ 1508 w 1508"/>
              <a:gd name="T30" fmla="*/ 1128 h 11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08" h="1128">
                <a:moveTo>
                  <a:pt x="0" y="88"/>
                </a:moveTo>
                <a:lnTo>
                  <a:pt x="224" y="480"/>
                </a:lnTo>
                <a:lnTo>
                  <a:pt x="80" y="796"/>
                </a:lnTo>
                <a:cubicBezTo>
                  <a:pt x="364" y="776"/>
                  <a:pt x="552" y="856"/>
                  <a:pt x="772" y="1036"/>
                </a:cubicBezTo>
                <a:lnTo>
                  <a:pt x="624" y="1128"/>
                </a:lnTo>
                <a:lnTo>
                  <a:pt x="1217" y="1070"/>
                </a:lnTo>
                <a:lnTo>
                  <a:pt x="1508" y="564"/>
                </a:lnTo>
                <a:lnTo>
                  <a:pt x="1388" y="648"/>
                </a:lnTo>
                <a:cubicBezTo>
                  <a:pt x="1299" y="598"/>
                  <a:pt x="948" y="0"/>
                  <a:pt x="0" y="88"/>
                </a:cubicBezTo>
                <a:close/>
              </a:path>
            </a:pathLst>
          </a:custGeom>
          <a:solidFill>
            <a:srgbClr val="777777"/>
          </a:solidFill>
          <a:ln w="12700" cap="flat" cmpd="sng">
            <a:solidFill>
              <a:srgbClr val="FFFFFF"/>
            </a:solidFill>
            <a:prstDash val="solid"/>
            <a:round/>
            <a:headEnd type="none" w="sm" len="sm"/>
            <a:tailEnd type="none" w="sm" len="sm"/>
          </a:ln>
        </p:spPr>
        <p:txBody>
          <a:bodyPr lIns="82234" tIns="41117" rIns="82234" bIns="41117" anchor="ctr"/>
          <a:lstStyle/>
          <a:p>
            <a:endParaRPr lang="en-US" sz="1747" dirty="0">
              <a:solidFill>
                <a:srgbClr val="FFFFFF"/>
              </a:solidFill>
              <a:latin typeface="Verdana" pitchFamily="34" charset="0"/>
            </a:endParaRPr>
          </a:p>
        </p:txBody>
      </p:sp>
      <p:sp>
        <p:nvSpPr>
          <p:cNvPr id="18443" name="Freeform 21"/>
          <p:cNvSpPr>
            <a:spLocks/>
          </p:cNvSpPr>
          <p:nvPr/>
        </p:nvSpPr>
        <p:spPr bwMode="gray">
          <a:xfrm>
            <a:off x="4405510" y="2354822"/>
            <a:ext cx="1642109" cy="2233639"/>
          </a:xfrm>
          <a:custGeom>
            <a:avLst/>
            <a:gdLst>
              <a:gd name="T0" fmla="*/ 574 w 1102"/>
              <a:gd name="T1" fmla="*/ 0 h 1514"/>
              <a:gd name="T2" fmla="*/ 372 w 1102"/>
              <a:gd name="T3" fmla="*/ 374 h 1514"/>
              <a:gd name="T4" fmla="*/ 0 w 1102"/>
              <a:gd name="T5" fmla="*/ 392 h 1514"/>
              <a:gd name="T6" fmla="*/ 146 w 1102"/>
              <a:gd name="T7" fmla="*/ 1098 h 1514"/>
              <a:gd name="T8" fmla="*/ 13 w 1102"/>
              <a:gd name="T9" fmla="*/ 1028 h 1514"/>
              <a:gd name="T10" fmla="*/ 342 w 1102"/>
              <a:gd name="T11" fmla="*/ 1502 h 1514"/>
              <a:gd name="T12" fmla="*/ 931 w 1102"/>
              <a:gd name="T13" fmla="*/ 1514 h 1514"/>
              <a:gd name="T14" fmla="*/ 778 w 1102"/>
              <a:gd name="T15" fmla="*/ 1436 h 1514"/>
              <a:gd name="T16" fmla="*/ 574 w 1102"/>
              <a:gd name="T17" fmla="*/ 0 h 15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2"/>
              <a:gd name="T28" fmla="*/ 0 h 1514"/>
              <a:gd name="T29" fmla="*/ 1102 w 1102"/>
              <a:gd name="T30" fmla="*/ 1514 h 15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2" h="1514">
                <a:moveTo>
                  <a:pt x="574" y="0"/>
                </a:moveTo>
                <a:lnTo>
                  <a:pt x="372" y="374"/>
                </a:lnTo>
                <a:lnTo>
                  <a:pt x="0" y="392"/>
                </a:lnTo>
                <a:cubicBezTo>
                  <a:pt x="153" y="626"/>
                  <a:pt x="195" y="824"/>
                  <a:pt x="146" y="1098"/>
                </a:cubicBezTo>
                <a:lnTo>
                  <a:pt x="13" y="1028"/>
                </a:lnTo>
                <a:lnTo>
                  <a:pt x="342" y="1502"/>
                </a:lnTo>
                <a:lnTo>
                  <a:pt x="931" y="1514"/>
                </a:lnTo>
                <a:lnTo>
                  <a:pt x="778" y="1436"/>
                </a:lnTo>
                <a:cubicBezTo>
                  <a:pt x="778" y="1336"/>
                  <a:pt x="1102" y="770"/>
                  <a:pt x="574" y="0"/>
                </a:cubicBezTo>
                <a:close/>
              </a:path>
            </a:pathLst>
          </a:custGeom>
          <a:solidFill>
            <a:srgbClr val="777777"/>
          </a:solidFill>
          <a:ln w="12700" cap="flat" cmpd="sng">
            <a:solidFill>
              <a:srgbClr val="FFFFFF"/>
            </a:solidFill>
            <a:prstDash val="solid"/>
            <a:round/>
            <a:headEnd type="none" w="sm" len="sm"/>
            <a:tailEnd type="none" w="sm" len="sm"/>
          </a:ln>
        </p:spPr>
        <p:txBody>
          <a:bodyPr lIns="82234" tIns="41117" rIns="82234" bIns="41117" anchor="ctr"/>
          <a:lstStyle/>
          <a:p>
            <a:endParaRPr lang="en-US" sz="1747" dirty="0">
              <a:solidFill>
                <a:srgbClr val="FFFFFF"/>
              </a:solidFill>
            </a:endParaRPr>
          </a:p>
        </p:txBody>
      </p:sp>
      <p:sp>
        <p:nvSpPr>
          <p:cNvPr id="18444" name="Text Box 22"/>
          <p:cNvSpPr txBox="1">
            <a:spLocks noChangeArrowheads="1"/>
          </p:cNvSpPr>
          <p:nvPr/>
        </p:nvSpPr>
        <p:spPr bwMode="gray">
          <a:xfrm>
            <a:off x="4519503" y="3332699"/>
            <a:ext cx="1297051" cy="351825"/>
          </a:xfrm>
          <a:prstGeom prst="rect">
            <a:avLst/>
          </a:prstGeom>
          <a:noFill/>
          <a:ln w="9525">
            <a:noFill/>
            <a:miter lim="800000"/>
            <a:headEnd/>
            <a:tailEnd/>
          </a:ln>
        </p:spPr>
        <p:txBody>
          <a:bodyPr lIns="82234" tIns="41117" rIns="82234" bIns="41117" anchor="ctr">
            <a:spAutoFit/>
          </a:bodyPr>
          <a:lstStyle/>
          <a:p>
            <a:pPr algn="ctr" defTabSz="854984"/>
            <a:r>
              <a:rPr lang="en-US" sz="1747" dirty="0">
                <a:solidFill>
                  <a:schemeClr val="tx2"/>
                </a:solidFill>
              </a:rPr>
              <a:t>Arrow 2</a:t>
            </a:r>
          </a:p>
        </p:txBody>
      </p:sp>
      <p:sp>
        <p:nvSpPr>
          <p:cNvPr id="18445" name="Text Box 23"/>
          <p:cNvSpPr txBox="1">
            <a:spLocks noChangeArrowheads="1"/>
          </p:cNvSpPr>
          <p:nvPr/>
        </p:nvSpPr>
        <p:spPr bwMode="gray">
          <a:xfrm>
            <a:off x="3626047" y="1837668"/>
            <a:ext cx="1027473" cy="351893"/>
          </a:xfrm>
          <a:prstGeom prst="rect">
            <a:avLst/>
          </a:prstGeom>
          <a:noFill/>
          <a:ln w="9525">
            <a:noFill/>
            <a:miter lim="800000"/>
            <a:headEnd/>
            <a:tailEnd/>
          </a:ln>
        </p:spPr>
        <p:txBody>
          <a:bodyPr lIns="82234" tIns="41117" rIns="82234" bIns="41117" anchor="ctr">
            <a:spAutoFit/>
          </a:bodyPr>
          <a:lstStyle/>
          <a:p>
            <a:pPr algn="ctr" defTabSz="854984"/>
            <a:r>
              <a:rPr lang="en-US" sz="1747" dirty="0">
                <a:solidFill>
                  <a:schemeClr val="tx2"/>
                </a:solidFill>
              </a:rPr>
              <a:t>Arrow 1</a:t>
            </a:r>
          </a:p>
        </p:txBody>
      </p:sp>
      <p:sp>
        <p:nvSpPr>
          <p:cNvPr id="2" name="BainBulletsConfiguration" hidden="1"/>
          <p:cNvSpPr txBox="1"/>
          <p:nvPr/>
        </p:nvSpPr>
        <p:spPr>
          <a:xfrm>
            <a:off x="1712288" y="12323"/>
            <a:ext cx="8626466" cy="107722"/>
          </a:xfrm>
          <a:prstGeom prst="rect">
            <a:avLst/>
          </a:prstGeom>
          <a:noFill/>
        </p:spPr>
        <p:txBody>
          <a:bodyPr vert="horz" wrap="square" lIns="44365" rIns="44365" rtlCol="0">
            <a:spAutoFit/>
          </a:bodyPr>
          <a:lstStyle/>
          <a:p>
            <a:endParaRPr lang="en-CA" sz="100" dirty="0">
              <a:solidFill>
                <a:srgbClr val="FFFFFF"/>
              </a:solidFill>
            </a:endParaRP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43388" y="1527873"/>
            <a:ext cx="4140201" cy="4167379"/>
          </a:xfrm>
          <a:prstGeom prst="rect">
            <a:avLst/>
          </a:prstGeom>
        </p:spPr>
      </p:pic>
    </p:spTree>
    <p:extLst>
      <p:ext uri="{BB962C8B-B14F-4D97-AF65-F5344CB8AC3E}">
        <p14:creationId xmlns:p14="http://schemas.microsoft.com/office/powerpoint/2010/main" val="888165791"/>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053" name="Picture 3"/>
          <p:cNvPicPr>
            <a:picLocks noChangeAspect="1" noChangeArrowheads="1"/>
          </p:cNvPicPr>
          <p:nvPr/>
        </p:nvPicPr>
        <p:blipFill>
          <a:blip r:embed="rId11" cstate="print">
            <a:lum bright="60000"/>
          </a:blip>
          <a:srcRect/>
          <a:stretch>
            <a:fillRect/>
          </a:stretch>
        </p:blipFill>
        <p:spPr bwMode="gray">
          <a:xfrm>
            <a:off x="4022035" y="4969146"/>
            <a:ext cx="1560447" cy="411317"/>
          </a:xfrm>
          <a:prstGeom prst="rect">
            <a:avLst/>
          </a:prstGeom>
          <a:noFill/>
          <a:ln w="9525" algn="ctr">
            <a:noFill/>
            <a:miter lim="800000"/>
            <a:headEnd/>
            <a:tailEnd/>
          </a:ln>
        </p:spPr>
      </p:pic>
      <p:pic>
        <p:nvPicPr>
          <p:cNvPr id="130054" name="Picture 4"/>
          <p:cNvPicPr>
            <a:picLocks noChangeAspect="1" noChangeArrowheads="1"/>
          </p:cNvPicPr>
          <p:nvPr/>
        </p:nvPicPr>
        <p:blipFill>
          <a:blip r:embed="rId11" cstate="print">
            <a:lum bright="60000"/>
          </a:blip>
          <a:srcRect/>
          <a:stretch>
            <a:fillRect/>
          </a:stretch>
        </p:blipFill>
        <p:spPr bwMode="gray">
          <a:xfrm>
            <a:off x="7222177" y="4969146"/>
            <a:ext cx="1560447" cy="411317"/>
          </a:xfrm>
          <a:prstGeom prst="rect">
            <a:avLst/>
          </a:prstGeom>
          <a:noFill/>
          <a:ln w="9525" algn="ctr">
            <a:noFill/>
            <a:miter lim="800000"/>
            <a:headEnd/>
            <a:tailEnd/>
          </a:ln>
        </p:spPr>
      </p:pic>
      <p:pic>
        <p:nvPicPr>
          <p:cNvPr id="130055" name="Picture 5"/>
          <p:cNvPicPr>
            <a:picLocks noChangeAspect="1" noChangeArrowheads="1"/>
          </p:cNvPicPr>
          <p:nvPr/>
        </p:nvPicPr>
        <p:blipFill>
          <a:blip r:embed="rId11" cstate="print">
            <a:lum bright="30000"/>
          </a:blip>
          <a:srcRect/>
          <a:stretch>
            <a:fillRect/>
          </a:stretch>
        </p:blipFill>
        <p:spPr bwMode="gray">
          <a:xfrm>
            <a:off x="5010996" y="5393292"/>
            <a:ext cx="1560447" cy="411317"/>
          </a:xfrm>
          <a:prstGeom prst="rect">
            <a:avLst/>
          </a:prstGeom>
          <a:noFill/>
          <a:ln w="9525" algn="ctr">
            <a:noFill/>
            <a:miter lim="800000"/>
            <a:headEnd/>
            <a:tailEnd/>
          </a:ln>
        </p:spPr>
      </p:pic>
      <p:pic>
        <p:nvPicPr>
          <p:cNvPr id="130056" name="Picture 6"/>
          <p:cNvPicPr>
            <a:picLocks noChangeAspect="1" noChangeArrowheads="1"/>
          </p:cNvPicPr>
          <p:nvPr/>
        </p:nvPicPr>
        <p:blipFill>
          <a:blip r:embed="rId11" cstate="print">
            <a:lum bright="30000"/>
          </a:blip>
          <a:srcRect/>
          <a:stretch>
            <a:fillRect/>
          </a:stretch>
        </p:blipFill>
        <p:spPr bwMode="gray">
          <a:xfrm>
            <a:off x="6309183" y="5393292"/>
            <a:ext cx="1560447" cy="411317"/>
          </a:xfrm>
          <a:prstGeom prst="rect">
            <a:avLst/>
          </a:prstGeom>
          <a:noFill/>
          <a:ln w="9525" algn="ctr">
            <a:noFill/>
            <a:miter lim="800000"/>
            <a:headEnd/>
            <a:tailEnd/>
          </a:ln>
        </p:spPr>
      </p:pic>
      <p:sp>
        <p:nvSpPr>
          <p:cNvPr id="130058" name="Rectangle 8"/>
          <p:cNvSpPr>
            <a:spLocks noGrp="1" noChangeArrowheads="1"/>
          </p:cNvSpPr>
          <p:nvPr>
            <p:ph type="title"/>
          </p:nvPr>
        </p:nvSpPr>
        <p:spPr/>
        <p:txBody>
          <a:bodyPr/>
          <a:lstStyle/>
          <a:p>
            <a:r>
              <a:rPr lang="en-CA" noProof="1" smtClean="0"/>
              <a:t>Radial diagrams – 7 segments</a:t>
            </a:r>
          </a:p>
        </p:txBody>
      </p:sp>
      <p:sp>
        <p:nvSpPr>
          <p:cNvPr id="130059" name="Oval 10"/>
          <p:cNvSpPr>
            <a:spLocks noChangeArrowheads="1"/>
          </p:cNvSpPr>
          <p:nvPr/>
        </p:nvSpPr>
        <p:spPr bwMode="gray">
          <a:xfrm>
            <a:off x="5716766" y="2743687"/>
            <a:ext cx="1485048" cy="1514850"/>
          </a:xfrm>
          <a:prstGeom prst="ellipse">
            <a:avLst/>
          </a:prstGeom>
          <a:gradFill rotWithShape="1">
            <a:gsLst>
              <a:gs pos="0">
                <a:srgbClr val="FDFDFD"/>
              </a:gs>
              <a:gs pos="100000">
                <a:srgbClr val="C6C7C8"/>
              </a:gs>
            </a:gsLst>
            <a:path path="shape">
              <a:fillToRect l="50000" t="50000" r="50000" b="50000"/>
            </a:path>
          </a:gradFill>
          <a:ln w="19050" algn="ctr">
            <a:solidFill>
              <a:srgbClr val="DDDDDD"/>
            </a:solidFill>
            <a:round/>
            <a:headEnd/>
            <a:tailEnd/>
          </a:ln>
        </p:spPr>
        <p:txBody>
          <a:bodyPr lIns="95224" tIns="47612" rIns="95224" bIns="47612"/>
          <a:lstStyle/>
          <a:p>
            <a:endParaRPr lang="en-CA" sz="1747" noProof="1">
              <a:latin typeface="Verdana" pitchFamily="34" charset="0"/>
            </a:endParaRPr>
          </a:p>
        </p:txBody>
      </p:sp>
      <p:sp>
        <p:nvSpPr>
          <p:cNvPr id="130067" name="Freeform 18"/>
          <p:cNvSpPr>
            <a:spLocks/>
          </p:cNvSpPr>
          <p:nvPr/>
        </p:nvSpPr>
        <p:spPr bwMode="gray">
          <a:xfrm>
            <a:off x="6873043" y="2076551"/>
            <a:ext cx="349134" cy="160514"/>
          </a:xfrm>
          <a:custGeom>
            <a:avLst/>
            <a:gdLst>
              <a:gd name="T0" fmla="*/ 0 w 105"/>
              <a:gd name="T1" fmla="*/ 0 h 47"/>
              <a:gd name="T2" fmla="*/ 105 w 105"/>
              <a:gd name="T3" fmla="*/ 47 h 47"/>
              <a:gd name="T4" fmla="*/ 0 60000 65536"/>
              <a:gd name="T5" fmla="*/ 0 60000 65536"/>
              <a:gd name="T6" fmla="*/ 0 w 105"/>
              <a:gd name="T7" fmla="*/ 0 h 47"/>
              <a:gd name="T8" fmla="*/ 105 w 105"/>
              <a:gd name="T9" fmla="*/ 47 h 47"/>
            </a:gdLst>
            <a:ahLst/>
            <a:cxnLst>
              <a:cxn ang="T4">
                <a:pos x="T0" y="T1"/>
              </a:cxn>
              <a:cxn ang="T5">
                <a:pos x="T2" y="T3"/>
              </a:cxn>
            </a:cxnLst>
            <a:rect l="T6" t="T7" r="T8" b="T9"/>
            <a:pathLst>
              <a:path w="105" h="47">
                <a:moveTo>
                  <a:pt x="0" y="0"/>
                </a:moveTo>
                <a:cubicBezTo>
                  <a:pt x="0" y="0"/>
                  <a:pt x="54" y="14"/>
                  <a:pt x="105" y="47"/>
                </a:cubicBezTo>
              </a:path>
            </a:pathLst>
          </a:custGeom>
          <a:noFill/>
          <a:ln w="31750">
            <a:solidFill>
              <a:srgbClr val="808080"/>
            </a:solidFill>
            <a:miter lim="800000"/>
            <a:headEnd/>
            <a:tailEnd type="triangle" w="lg" len="med"/>
          </a:ln>
        </p:spPr>
        <p:txBody>
          <a:bodyPr lIns="95224" tIns="47612" rIns="95224" bIns="47612"/>
          <a:lstStyle/>
          <a:p>
            <a:endParaRPr lang="en-CA" sz="1747" noProof="1">
              <a:latin typeface="Verdana" pitchFamily="34" charset="0"/>
            </a:endParaRPr>
          </a:p>
        </p:txBody>
      </p:sp>
      <p:sp>
        <p:nvSpPr>
          <p:cNvPr id="130068" name="Freeform 19"/>
          <p:cNvSpPr>
            <a:spLocks/>
          </p:cNvSpPr>
          <p:nvPr/>
        </p:nvSpPr>
        <p:spPr bwMode="gray">
          <a:xfrm rot="3029079">
            <a:off x="7680104" y="3067147"/>
            <a:ext cx="354468" cy="158996"/>
          </a:xfrm>
          <a:custGeom>
            <a:avLst/>
            <a:gdLst>
              <a:gd name="T0" fmla="*/ 0 w 105"/>
              <a:gd name="T1" fmla="*/ 0 h 47"/>
              <a:gd name="T2" fmla="*/ 105 w 105"/>
              <a:gd name="T3" fmla="*/ 47 h 47"/>
              <a:gd name="T4" fmla="*/ 0 60000 65536"/>
              <a:gd name="T5" fmla="*/ 0 60000 65536"/>
              <a:gd name="T6" fmla="*/ 0 w 105"/>
              <a:gd name="T7" fmla="*/ 0 h 47"/>
              <a:gd name="T8" fmla="*/ 105 w 105"/>
              <a:gd name="T9" fmla="*/ 47 h 47"/>
            </a:gdLst>
            <a:ahLst/>
            <a:cxnLst>
              <a:cxn ang="T4">
                <a:pos x="T0" y="T1"/>
              </a:cxn>
              <a:cxn ang="T5">
                <a:pos x="T2" y="T3"/>
              </a:cxn>
            </a:cxnLst>
            <a:rect l="T6" t="T7" r="T8" b="T9"/>
            <a:pathLst>
              <a:path w="105" h="47">
                <a:moveTo>
                  <a:pt x="0" y="0"/>
                </a:moveTo>
                <a:cubicBezTo>
                  <a:pt x="0" y="0"/>
                  <a:pt x="54" y="14"/>
                  <a:pt x="105" y="47"/>
                </a:cubicBezTo>
              </a:path>
            </a:pathLst>
          </a:custGeom>
          <a:noFill/>
          <a:ln w="31750">
            <a:solidFill>
              <a:srgbClr val="808080"/>
            </a:solidFill>
            <a:miter lim="800000"/>
            <a:headEnd/>
            <a:tailEnd type="triangle" w="lg" len="med"/>
          </a:ln>
        </p:spPr>
        <p:txBody>
          <a:bodyPr lIns="95224" tIns="47612" rIns="95224" bIns="47612"/>
          <a:lstStyle/>
          <a:p>
            <a:endParaRPr lang="en-CA" sz="1747" noProof="1">
              <a:latin typeface="Verdana" pitchFamily="34" charset="0"/>
            </a:endParaRPr>
          </a:p>
        </p:txBody>
      </p:sp>
      <p:sp>
        <p:nvSpPr>
          <p:cNvPr id="130069" name="Freeform 20"/>
          <p:cNvSpPr>
            <a:spLocks/>
          </p:cNvSpPr>
          <p:nvPr/>
        </p:nvSpPr>
        <p:spPr bwMode="gray">
          <a:xfrm rot="6232775">
            <a:off x="7406305" y="4324572"/>
            <a:ext cx="361156" cy="165551"/>
          </a:xfrm>
          <a:custGeom>
            <a:avLst/>
            <a:gdLst>
              <a:gd name="T0" fmla="*/ 0 w 105"/>
              <a:gd name="T1" fmla="*/ 0 h 47"/>
              <a:gd name="T2" fmla="*/ 105 w 105"/>
              <a:gd name="T3" fmla="*/ 47 h 47"/>
              <a:gd name="T4" fmla="*/ 0 60000 65536"/>
              <a:gd name="T5" fmla="*/ 0 60000 65536"/>
              <a:gd name="T6" fmla="*/ 0 w 105"/>
              <a:gd name="T7" fmla="*/ 0 h 47"/>
              <a:gd name="T8" fmla="*/ 105 w 105"/>
              <a:gd name="T9" fmla="*/ 47 h 47"/>
            </a:gdLst>
            <a:ahLst/>
            <a:cxnLst>
              <a:cxn ang="T4">
                <a:pos x="T0" y="T1"/>
              </a:cxn>
              <a:cxn ang="T5">
                <a:pos x="T2" y="T3"/>
              </a:cxn>
            </a:cxnLst>
            <a:rect l="T6" t="T7" r="T8" b="T9"/>
            <a:pathLst>
              <a:path w="105" h="47">
                <a:moveTo>
                  <a:pt x="0" y="0"/>
                </a:moveTo>
                <a:cubicBezTo>
                  <a:pt x="0" y="0"/>
                  <a:pt x="54" y="14"/>
                  <a:pt x="105" y="47"/>
                </a:cubicBezTo>
              </a:path>
            </a:pathLst>
          </a:custGeom>
          <a:noFill/>
          <a:ln w="31750">
            <a:solidFill>
              <a:srgbClr val="808080"/>
            </a:solidFill>
            <a:miter lim="800000"/>
            <a:headEnd/>
            <a:tailEnd type="triangle" w="lg" len="med"/>
          </a:ln>
        </p:spPr>
        <p:txBody>
          <a:bodyPr lIns="95224" tIns="47612" rIns="95224" bIns="47612"/>
          <a:lstStyle/>
          <a:p>
            <a:endParaRPr lang="en-CA" sz="1747" noProof="1">
              <a:latin typeface="Verdana" pitchFamily="34" charset="0"/>
            </a:endParaRPr>
          </a:p>
        </p:txBody>
      </p:sp>
      <p:sp>
        <p:nvSpPr>
          <p:cNvPr id="130070" name="Freeform 21"/>
          <p:cNvSpPr>
            <a:spLocks/>
          </p:cNvSpPr>
          <p:nvPr/>
        </p:nvSpPr>
        <p:spPr bwMode="gray">
          <a:xfrm rot="9288830">
            <a:off x="6255093" y="4888889"/>
            <a:ext cx="354051" cy="167202"/>
          </a:xfrm>
          <a:custGeom>
            <a:avLst/>
            <a:gdLst>
              <a:gd name="T0" fmla="*/ 0 w 105"/>
              <a:gd name="T1" fmla="*/ 0 h 47"/>
              <a:gd name="T2" fmla="*/ 105 w 105"/>
              <a:gd name="T3" fmla="*/ 47 h 47"/>
              <a:gd name="T4" fmla="*/ 0 60000 65536"/>
              <a:gd name="T5" fmla="*/ 0 60000 65536"/>
              <a:gd name="T6" fmla="*/ 0 w 105"/>
              <a:gd name="T7" fmla="*/ 0 h 47"/>
              <a:gd name="T8" fmla="*/ 105 w 105"/>
              <a:gd name="T9" fmla="*/ 47 h 47"/>
            </a:gdLst>
            <a:ahLst/>
            <a:cxnLst>
              <a:cxn ang="T4">
                <a:pos x="T0" y="T1"/>
              </a:cxn>
              <a:cxn ang="T5">
                <a:pos x="T2" y="T3"/>
              </a:cxn>
            </a:cxnLst>
            <a:rect l="T6" t="T7" r="T8" b="T9"/>
            <a:pathLst>
              <a:path w="105" h="47">
                <a:moveTo>
                  <a:pt x="0" y="0"/>
                </a:moveTo>
                <a:cubicBezTo>
                  <a:pt x="0" y="0"/>
                  <a:pt x="54" y="14"/>
                  <a:pt x="105" y="47"/>
                </a:cubicBezTo>
              </a:path>
            </a:pathLst>
          </a:custGeom>
          <a:noFill/>
          <a:ln w="31750">
            <a:solidFill>
              <a:srgbClr val="808080"/>
            </a:solidFill>
            <a:miter lim="800000"/>
            <a:headEnd/>
            <a:tailEnd type="triangle" w="lg" len="med"/>
          </a:ln>
        </p:spPr>
        <p:txBody>
          <a:bodyPr lIns="95224" tIns="47612" rIns="95224" bIns="47612"/>
          <a:lstStyle/>
          <a:p>
            <a:endParaRPr lang="en-CA" sz="1747" noProof="1">
              <a:latin typeface="Verdana" pitchFamily="34" charset="0"/>
            </a:endParaRPr>
          </a:p>
        </p:txBody>
      </p:sp>
      <p:sp>
        <p:nvSpPr>
          <p:cNvPr id="130071" name="Freeform 22"/>
          <p:cNvSpPr>
            <a:spLocks/>
          </p:cNvSpPr>
          <p:nvPr/>
        </p:nvSpPr>
        <p:spPr bwMode="gray">
          <a:xfrm rot="-9328096">
            <a:off x="5099510" y="4350498"/>
            <a:ext cx="358969" cy="167202"/>
          </a:xfrm>
          <a:custGeom>
            <a:avLst/>
            <a:gdLst>
              <a:gd name="T0" fmla="*/ 0 w 105"/>
              <a:gd name="T1" fmla="*/ 0 h 47"/>
              <a:gd name="T2" fmla="*/ 105 w 105"/>
              <a:gd name="T3" fmla="*/ 47 h 47"/>
              <a:gd name="T4" fmla="*/ 0 60000 65536"/>
              <a:gd name="T5" fmla="*/ 0 60000 65536"/>
              <a:gd name="T6" fmla="*/ 0 w 105"/>
              <a:gd name="T7" fmla="*/ 0 h 47"/>
              <a:gd name="T8" fmla="*/ 105 w 105"/>
              <a:gd name="T9" fmla="*/ 47 h 47"/>
            </a:gdLst>
            <a:ahLst/>
            <a:cxnLst>
              <a:cxn ang="T4">
                <a:pos x="T0" y="T1"/>
              </a:cxn>
              <a:cxn ang="T5">
                <a:pos x="T2" y="T3"/>
              </a:cxn>
            </a:cxnLst>
            <a:rect l="T6" t="T7" r="T8" b="T9"/>
            <a:pathLst>
              <a:path w="105" h="47">
                <a:moveTo>
                  <a:pt x="0" y="0"/>
                </a:moveTo>
                <a:cubicBezTo>
                  <a:pt x="0" y="0"/>
                  <a:pt x="54" y="14"/>
                  <a:pt x="105" y="47"/>
                </a:cubicBezTo>
              </a:path>
            </a:pathLst>
          </a:custGeom>
          <a:noFill/>
          <a:ln w="31750">
            <a:solidFill>
              <a:srgbClr val="808080"/>
            </a:solidFill>
            <a:miter lim="800000"/>
            <a:headEnd/>
            <a:tailEnd type="triangle" w="lg" len="med"/>
          </a:ln>
        </p:spPr>
        <p:txBody>
          <a:bodyPr lIns="95224" tIns="47612" rIns="95224" bIns="47612"/>
          <a:lstStyle/>
          <a:p>
            <a:endParaRPr lang="en-CA" sz="1747" noProof="1">
              <a:latin typeface="Verdana" pitchFamily="34" charset="0"/>
            </a:endParaRPr>
          </a:p>
        </p:txBody>
      </p:sp>
      <p:sp>
        <p:nvSpPr>
          <p:cNvPr id="130072" name="Freeform 23"/>
          <p:cNvSpPr>
            <a:spLocks/>
          </p:cNvSpPr>
          <p:nvPr/>
        </p:nvSpPr>
        <p:spPr bwMode="gray">
          <a:xfrm rot="-6164275">
            <a:off x="4787720" y="3099816"/>
            <a:ext cx="369516" cy="165552"/>
          </a:xfrm>
          <a:custGeom>
            <a:avLst/>
            <a:gdLst>
              <a:gd name="T0" fmla="*/ 0 w 105"/>
              <a:gd name="T1" fmla="*/ 0 h 47"/>
              <a:gd name="T2" fmla="*/ 105 w 105"/>
              <a:gd name="T3" fmla="*/ 47 h 47"/>
              <a:gd name="T4" fmla="*/ 0 60000 65536"/>
              <a:gd name="T5" fmla="*/ 0 60000 65536"/>
              <a:gd name="T6" fmla="*/ 0 w 105"/>
              <a:gd name="T7" fmla="*/ 0 h 47"/>
              <a:gd name="T8" fmla="*/ 105 w 105"/>
              <a:gd name="T9" fmla="*/ 47 h 47"/>
            </a:gdLst>
            <a:ahLst/>
            <a:cxnLst>
              <a:cxn ang="T4">
                <a:pos x="T0" y="T1"/>
              </a:cxn>
              <a:cxn ang="T5">
                <a:pos x="T2" y="T3"/>
              </a:cxn>
            </a:cxnLst>
            <a:rect l="T6" t="T7" r="T8" b="T9"/>
            <a:pathLst>
              <a:path w="105" h="47">
                <a:moveTo>
                  <a:pt x="0" y="0"/>
                </a:moveTo>
                <a:cubicBezTo>
                  <a:pt x="0" y="0"/>
                  <a:pt x="54" y="14"/>
                  <a:pt x="105" y="47"/>
                </a:cubicBezTo>
              </a:path>
            </a:pathLst>
          </a:custGeom>
          <a:noFill/>
          <a:ln w="31750">
            <a:solidFill>
              <a:srgbClr val="808080"/>
            </a:solidFill>
            <a:miter lim="800000"/>
            <a:headEnd/>
            <a:tailEnd type="triangle" w="lg" len="med"/>
          </a:ln>
        </p:spPr>
        <p:txBody>
          <a:bodyPr lIns="95224" tIns="47612" rIns="95224" bIns="47612"/>
          <a:lstStyle/>
          <a:p>
            <a:endParaRPr lang="en-CA" sz="1747" noProof="1">
              <a:latin typeface="Verdana" pitchFamily="34" charset="0"/>
            </a:endParaRPr>
          </a:p>
        </p:txBody>
      </p:sp>
      <p:sp>
        <p:nvSpPr>
          <p:cNvPr id="130073" name="Freeform 24"/>
          <p:cNvSpPr>
            <a:spLocks/>
          </p:cNvSpPr>
          <p:nvPr/>
        </p:nvSpPr>
        <p:spPr bwMode="gray">
          <a:xfrm rot="-2972893">
            <a:off x="5594972" y="2080754"/>
            <a:ext cx="371188" cy="168830"/>
          </a:xfrm>
          <a:custGeom>
            <a:avLst/>
            <a:gdLst>
              <a:gd name="T0" fmla="*/ 0 w 105"/>
              <a:gd name="T1" fmla="*/ 0 h 47"/>
              <a:gd name="T2" fmla="*/ 105 w 105"/>
              <a:gd name="T3" fmla="*/ 47 h 47"/>
              <a:gd name="T4" fmla="*/ 0 60000 65536"/>
              <a:gd name="T5" fmla="*/ 0 60000 65536"/>
              <a:gd name="T6" fmla="*/ 0 w 105"/>
              <a:gd name="T7" fmla="*/ 0 h 47"/>
              <a:gd name="T8" fmla="*/ 105 w 105"/>
              <a:gd name="T9" fmla="*/ 47 h 47"/>
            </a:gdLst>
            <a:ahLst/>
            <a:cxnLst>
              <a:cxn ang="T4">
                <a:pos x="T0" y="T1"/>
              </a:cxn>
              <a:cxn ang="T5">
                <a:pos x="T2" y="T3"/>
              </a:cxn>
            </a:cxnLst>
            <a:rect l="T6" t="T7" r="T8" b="T9"/>
            <a:pathLst>
              <a:path w="105" h="47">
                <a:moveTo>
                  <a:pt x="0" y="0"/>
                </a:moveTo>
                <a:cubicBezTo>
                  <a:pt x="0" y="0"/>
                  <a:pt x="54" y="14"/>
                  <a:pt x="105" y="47"/>
                </a:cubicBezTo>
              </a:path>
            </a:pathLst>
          </a:custGeom>
          <a:noFill/>
          <a:ln w="31750">
            <a:solidFill>
              <a:srgbClr val="808080"/>
            </a:solidFill>
            <a:miter lim="800000"/>
            <a:headEnd/>
            <a:tailEnd type="triangle" w="lg" len="med"/>
          </a:ln>
        </p:spPr>
        <p:txBody>
          <a:bodyPr lIns="95224" tIns="47612" rIns="95224" bIns="47612"/>
          <a:lstStyle/>
          <a:p>
            <a:endParaRPr lang="en-CA" sz="1747" noProof="1">
              <a:latin typeface="Verdana" pitchFamily="34" charset="0"/>
            </a:endParaRPr>
          </a:p>
        </p:txBody>
      </p:sp>
      <p:sp>
        <p:nvSpPr>
          <p:cNvPr id="130102" name="Line 45"/>
          <p:cNvSpPr>
            <a:spLocks noChangeShapeType="1"/>
          </p:cNvSpPr>
          <p:nvPr/>
        </p:nvSpPr>
        <p:spPr bwMode="gray">
          <a:xfrm>
            <a:off x="8081078" y="2315650"/>
            <a:ext cx="2742256" cy="0"/>
          </a:xfrm>
          <a:prstGeom prst="line">
            <a:avLst/>
          </a:prstGeom>
          <a:noFill/>
          <a:ln w="19050">
            <a:solidFill>
              <a:srgbClr val="868282"/>
            </a:solidFill>
            <a:prstDash val="sysDot"/>
            <a:round/>
            <a:headEnd/>
            <a:tailEnd/>
          </a:ln>
        </p:spPr>
        <p:txBody>
          <a:bodyPr lIns="95224" tIns="47612" rIns="95224" bIns="47612"/>
          <a:lstStyle/>
          <a:p>
            <a:endParaRPr lang="en-CA" sz="1747" dirty="0">
              <a:latin typeface="Verdana" pitchFamily="34" charset="0"/>
            </a:endParaRPr>
          </a:p>
        </p:txBody>
      </p:sp>
      <p:sp>
        <p:nvSpPr>
          <p:cNvPr id="130103" name="Line 49"/>
          <p:cNvSpPr>
            <a:spLocks noChangeShapeType="1"/>
          </p:cNvSpPr>
          <p:nvPr/>
        </p:nvSpPr>
        <p:spPr bwMode="gray">
          <a:xfrm>
            <a:off x="8405625" y="3708443"/>
            <a:ext cx="2417708" cy="0"/>
          </a:xfrm>
          <a:prstGeom prst="line">
            <a:avLst/>
          </a:prstGeom>
          <a:noFill/>
          <a:ln w="19050">
            <a:solidFill>
              <a:srgbClr val="868282"/>
            </a:solidFill>
            <a:prstDash val="sysDot"/>
            <a:round/>
            <a:headEnd/>
            <a:tailEnd/>
          </a:ln>
        </p:spPr>
        <p:txBody>
          <a:bodyPr lIns="95224" tIns="47612" rIns="95224" bIns="47612"/>
          <a:lstStyle/>
          <a:p>
            <a:endParaRPr lang="en-CA" sz="1747" dirty="0">
              <a:latin typeface="Verdana" pitchFamily="34" charset="0"/>
            </a:endParaRPr>
          </a:p>
        </p:txBody>
      </p:sp>
      <p:sp>
        <p:nvSpPr>
          <p:cNvPr id="130104" name="Line 50"/>
          <p:cNvSpPr>
            <a:spLocks noChangeShapeType="1"/>
          </p:cNvSpPr>
          <p:nvPr/>
        </p:nvSpPr>
        <p:spPr bwMode="gray">
          <a:xfrm>
            <a:off x="2047460" y="3723491"/>
            <a:ext cx="2411154" cy="0"/>
          </a:xfrm>
          <a:prstGeom prst="line">
            <a:avLst/>
          </a:prstGeom>
          <a:noFill/>
          <a:ln w="19050">
            <a:solidFill>
              <a:srgbClr val="868282"/>
            </a:solidFill>
            <a:prstDash val="sysDot"/>
            <a:round/>
            <a:headEnd/>
            <a:tailEnd/>
          </a:ln>
        </p:spPr>
        <p:txBody>
          <a:bodyPr lIns="95224" tIns="47612" rIns="95224" bIns="47612"/>
          <a:lstStyle/>
          <a:p>
            <a:endParaRPr lang="en-CA" sz="1747" dirty="0">
              <a:latin typeface="Verdana" pitchFamily="34" charset="0"/>
            </a:endParaRPr>
          </a:p>
        </p:txBody>
      </p:sp>
      <p:sp>
        <p:nvSpPr>
          <p:cNvPr id="130105" name="Line 51"/>
          <p:cNvSpPr>
            <a:spLocks noChangeShapeType="1"/>
          </p:cNvSpPr>
          <p:nvPr/>
        </p:nvSpPr>
        <p:spPr bwMode="gray">
          <a:xfrm>
            <a:off x="2047458" y="2315650"/>
            <a:ext cx="2694722" cy="0"/>
          </a:xfrm>
          <a:prstGeom prst="line">
            <a:avLst/>
          </a:prstGeom>
          <a:noFill/>
          <a:ln w="19050">
            <a:solidFill>
              <a:srgbClr val="868282"/>
            </a:solidFill>
            <a:prstDash val="sysDot"/>
            <a:round/>
            <a:headEnd/>
            <a:tailEnd/>
          </a:ln>
        </p:spPr>
        <p:txBody>
          <a:bodyPr lIns="95224" tIns="47612" rIns="95224" bIns="47612"/>
          <a:lstStyle/>
          <a:p>
            <a:endParaRPr lang="en-CA" sz="1747" dirty="0">
              <a:latin typeface="Verdana" pitchFamily="34" charset="0"/>
            </a:endParaRPr>
          </a:p>
        </p:txBody>
      </p:sp>
      <p:sp>
        <p:nvSpPr>
          <p:cNvPr id="130110" name="Line 50"/>
          <p:cNvSpPr>
            <a:spLocks noChangeShapeType="1"/>
          </p:cNvSpPr>
          <p:nvPr/>
        </p:nvSpPr>
        <p:spPr bwMode="gray">
          <a:xfrm>
            <a:off x="2047459" y="5051074"/>
            <a:ext cx="3253663" cy="0"/>
          </a:xfrm>
          <a:prstGeom prst="line">
            <a:avLst/>
          </a:prstGeom>
          <a:noFill/>
          <a:ln w="19050">
            <a:solidFill>
              <a:srgbClr val="868282"/>
            </a:solidFill>
            <a:prstDash val="sysDot"/>
            <a:round/>
            <a:headEnd/>
            <a:tailEnd/>
          </a:ln>
        </p:spPr>
        <p:txBody>
          <a:bodyPr lIns="95224" tIns="47612" rIns="95224" bIns="47612"/>
          <a:lstStyle/>
          <a:p>
            <a:endParaRPr lang="en-CA" sz="1747" dirty="0">
              <a:latin typeface="Verdana" pitchFamily="34" charset="0"/>
            </a:endParaRPr>
          </a:p>
        </p:txBody>
      </p:sp>
      <p:sp>
        <p:nvSpPr>
          <p:cNvPr id="130114" name="Line 50"/>
          <p:cNvSpPr>
            <a:spLocks noChangeShapeType="1"/>
          </p:cNvSpPr>
          <p:nvPr/>
        </p:nvSpPr>
        <p:spPr bwMode="gray">
          <a:xfrm>
            <a:off x="7569672" y="5051074"/>
            <a:ext cx="3253662" cy="0"/>
          </a:xfrm>
          <a:prstGeom prst="line">
            <a:avLst/>
          </a:prstGeom>
          <a:noFill/>
          <a:ln w="19050">
            <a:solidFill>
              <a:srgbClr val="868282"/>
            </a:solidFill>
            <a:prstDash val="sysDot"/>
            <a:round/>
            <a:headEnd/>
            <a:tailEnd/>
          </a:ln>
        </p:spPr>
        <p:txBody>
          <a:bodyPr lIns="95224" tIns="47612" rIns="95224" bIns="47612"/>
          <a:lstStyle/>
          <a:p>
            <a:endParaRPr lang="en-CA" sz="1747" dirty="0">
              <a:latin typeface="Verdana" pitchFamily="34" charset="0"/>
            </a:endParaRPr>
          </a:p>
        </p:txBody>
      </p:sp>
      <p:sp>
        <p:nvSpPr>
          <p:cNvPr id="130116" name="Text Box 68"/>
          <p:cNvSpPr txBox="1">
            <a:spLocks noChangeArrowheads="1"/>
          </p:cNvSpPr>
          <p:nvPr/>
        </p:nvSpPr>
        <p:spPr bwMode="gray">
          <a:xfrm>
            <a:off x="5831740" y="3214113"/>
            <a:ext cx="1255099" cy="574105"/>
          </a:xfrm>
          <a:prstGeom prst="rect">
            <a:avLst/>
          </a:prstGeom>
          <a:noFill/>
          <a:ln w="9525" algn="ctr">
            <a:noFill/>
            <a:miter lim="800000"/>
            <a:headEnd/>
            <a:tailEnd/>
          </a:ln>
        </p:spPr>
        <p:txBody>
          <a:bodyPr wrap="none" lIns="95224" tIns="47612" rIns="95224" bIns="47612">
            <a:spAutoFit/>
          </a:bodyPr>
          <a:lstStyle/>
          <a:p>
            <a:pPr algn="ctr"/>
            <a:r>
              <a:rPr lang="en-CA" sz="1553" b="1" noProof="1"/>
              <a:t>Placeholder</a:t>
            </a:r>
            <a:br>
              <a:rPr lang="en-CA" sz="1553" b="1" noProof="1"/>
            </a:br>
            <a:r>
              <a:rPr lang="en-CA" sz="1553" b="1" noProof="1"/>
              <a:t>text</a:t>
            </a:r>
          </a:p>
        </p:txBody>
      </p:sp>
      <p:sp>
        <p:nvSpPr>
          <p:cNvPr id="7" name="BainBulletsConfiguration" hidden="1"/>
          <p:cNvSpPr txBox="1"/>
          <p:nvPr/>
        </p:nvSpPr>
        <p:spPr>
          <a:xfrm>
            <a:off x="1712288" y="12323"/>
            <a:ext cx="8626466" cy="107722"/>
          </a:xfrm>
          <a:prstGeom prst="rect">
            <a:avLst/>
          </a:prstGeom>
          <a:noFill/>
        </p:spPr>
        <p:txBody>
          <a:bodyPr vert="horz" wrap="square" lIns="44365" rIns="44365" rtlCol="0">
            <a:spAutoFit/>
          </a:bodyPr>
          <a:lstStyle/>
          <a:p>
            <a:r>
              <a:rPr lang="en-CA" sz="100">
                <a:solidFill>
                  <a:srgbClr val="FFFFFF"/>
                </a:solidFill>
              </a:rPr>
              <a:t>8_85 51_85 52_85 53_85 54_85 55_85 56_85 57_85</a:t>
            </a:r>
            <a:endParaRPr lang="en-CA" sz="100" dirty="0">
              <a:solidFill>
                <a:srgbClr val="FFFFFF"/>
              </a:solidFill>
            </a:endParaRPr>
          </a:p>
        </p:txBody>
      </p:sp>
      <p:sp>
        <p:nvSpPr>
          <p:cNvPr id="8" name="TextBox 7"/>
          <p:cNvSpPr txBox="1"/>
          <p:nvPr>
            <p:custDataLst>
              <p:tags r:id="rId1"/>
            </p:custDataLst>
          </p:nvPr>
        </p:nvSpPr>
        <p:spPr>
          <a:xfrm>
            <a:off x="2046250" y="1339836"/>
            <a:ext cx="2735262" cy="735201"/>
          </a:xfrm>
          <a:prstGeom prst="rect">
            <a:avLst/>
          </a:prstGeom>
          <a:noFill/>
        </p:spPr>
        <p:txBody>
          <a:bodyPr vert="horz" wrap="square" lIns="44365" rIns="44365" rtlCol="0">
            <a:spAutoFit/>
          </a:bodyPr>
          <a:lstStyle/>
          <a:p>
            <a:pPr marL="182563" indent="-182563">
              <a:spcBef>
                <a:spcPts val="652"/>
              </a:spcBef>
              <a:buSzPct val="100000"/>
              <a:buFont typeface="Verdana" panose="020B0604030504040204" pitchFamily="34" charset="0"/>
              <a:buChar char="•"/>
            </a:pPr>
            <a:r>
              <a:rPr lang="en-CA" sz="1359" dirty="0"/>
              <a:t>Type text here</a:t>
            </a:r>
          </a:p>
          <a:p>
            <a:pPr marL="449263" lvl="1" indent="-182563">
              <a:spcBef>
                <a:spcPts val="278"/>
              </a:spcBef>
              <a:buSzPct val="100000"/>
              <a:buFont typeface="Verdana" panose="020B0604030504040204" pitchFamily="34" charset="0"/>
              <a:buChar char="-"/>
            </a:pPr>
            <a:r>
              <a:rPr lang="en-CA" sz="1159" dirty="0"/>
              <a:t>Or here</a:t>
            </a:r>
          </a:p>
          <a:p>
            <a:pPr marL="801688" lvl="2" indent="-192088">
              <a:spcBef>
                <a:spcPts val="278"/>
              </a:spcBef>
              <a:buSzPct val="140000"/>
              <a:buFont typeface="Verdana" panose="020B0604030504040204" pitchFamily="34" charset="0"/>
              <a:buChar char="‣"/>
            </a:pPr>
            <a:r>
              <a:rPr lang="en-CA" sz="1159" dirty="0"/>
              <a:t>Or here</a:t>
            </a:r>
          </a:p>
        </p:txBody>
      </p:sp>
      <p:sp>
        <p:nvSpPr>
          <p:cNvPr id="51" name="TextBox 50"/>
          <p:cNvSpPr txBox="1"/>
          <p:nvPr>
            <p:custDataLst>
              <p:tags r:id="rId2"/>
            </p:custDataLst>
          </p:nvPr>
        </p:nvSpPr>
        <p:spPr>
          <a:xfrm>
            <a:off x="2046250" y="2431326"/>
            <a:ext cx="2735262" cy="735201"/>
          </a:xfrm>
          <a:prstGeom prst="rect">
            <a:avLst/>
          </a:prstGeom>
          <a:noFill/>
        </p:spPr>
        <p:txBody>
          <a:bodyPr vert="horz" wrap="square" lIns="44365" rIns="44365" rtlCol="0">
            <a:spAutoFit/>
          </a:bodyPr>
          <a:lstStyle/>
          <a:p>
            <a:pPr marL="182563" indent="-182563">
              <a:spcBef>
                <a:spcPts val="652"/>
              </a:spcBef>
              <a:buSzPct val="100000"/>
              <a:buFont typeface="Verdana" panose="020B0604030504040204" pitchFamily="34" charset="0"/>
              <a:buChar char="•"/>
            </a:pPr>
            <a:r>
              <a:rPr lang="en-CA" sz="1359" dirty="0"/>
              <a:t>Type text here</a:t>
            </a:r>
          </a:p>
          <a:p>
            <a:pPr marL="449263" lvl="1" indent="-182563">
              <a:spcBef>
                <a:spcPts val="278"/>
              </a:spcBef>
              <a:buSzPct val="100000"/>
              <a:buFont typeface="Verdana" panose="020B0604030504040204" pitchFamily="34" charset="0"/>
              <a:buChar char="-"/>
            </a:pPr>
            <a:r>
              <a:rPr lang="en-CA" sz="1159" dirty="0"/>
              <a:t>Or here</a:t>
            </a:r>
          </a:p>
          <a:p>
            <a:pPr marL="801688" lvl="2" indent="-192088">
              <a:spcBef>
                <a:spcPts val="278"/>
              </a:spcBef>
              <a:buSzPct val="140000"/>
              <a:buFont typeface="Verdana" panose="020B0604030504040204" pitchFamily="34" charset="0"/>
              <a:buChar char="‣"/>
            </a:pPr>
            <a:r>
              <a:rPr lang="en-CA" sz="1159" dirty="0"/>
              <a:t>Or here</a:t>
            </a:r>
          </a:p>
        </p:txBody>
      </p:sp>
      <p:sp>
        <p:nvSpPr>
          <p:cNvPr id="52" name="TextBox 51"/>
          <p:cNvSpPr txBox="1"/>
          <p:nvPr>
            <p:custDataLst>
              <p:tags r:id="rId3"/>
            </p:custDataLst>
          </p:nvPr>
        </p:nvSpPr>
        <p:spPr>
          <a:xfrm>
            <a:off x="2046250" y="3833615"/>
            <a:ext cx="2735262" cy="735201"/>
          </a:xfrm>
          <a:prstGeom prst="rect">
            <a:avLst/>
          </a:prstGeom>
          <a:noFill/>
        </p:spPr>
        <p:txBody>
          <a:bodyPr vert="horz" wrap="square" lIns="44365" rIns="44365" rtlCol="0">
            <a:spAutoFit/>
          </a:bodyPr>
          <a:lstStyle/>
          <a:p>
            <a:pPr marL="182563" indent="-182563">
              <a:spcBef>
                <a:spcPts val="652"/>
              </a:spcBef>
              <a:buSzPct val="100000"/>
              <a:buFont typeface="Verdana" panose="020B0604030504040204" pitchFamily="34" charset="0"/>
              <a:buChar char="•"/>
            </a:pPr>
            <a:r>
              <a:rPr lang="en-CA" sz="1359" dirty="0"/>
              <a:t>Type text here</a:t>
            </a:r>
          </a:p>
          <a:p>
            <a:pPr marL="449263" lvl="1" indent="-182563">
              <a:spcBef>
                <a:spcPts val="278"/>
              </a:spcBef>
              <a:buSzPct val="100000"/>
              <a:buFont typeface="Verdana" panose="020B0604030504040204" pitchFamily="34" charset="0"/>
              <a:buChar char="-"/>
            </a:pPr>
            <a:r>
              <a:rPr lang="en-CA" sz="1159" dirty="0"/>
              <a:t>Or here</a:t>
            </a:r>
          </a:p>
          <a:p>
            <a:pPr marL="801688" lvl="2" indent="-192088">
              <a:spcBef>
                <a:spcPts val="278"/>
              </a:spcBef>
              <a:buSzPct val="140000"/>
              <a:buFont typeface="Verdana" panose="020B0604030504040204" pitchFamily="34" charset="0"/>
              <a:buChar char="‣"/>
            </a:pPr>
            <a:r>
              <a:rPr lang="en-CA" sz="1159" dirty="0"/>
              <a:t>Or here</a:t>
            </a:r>
          </a:p>
        </p:txBody>
      </p:sp>
      <p:sp>
        <p:nvSpPr>
          <p:cNvPr id="53" name="TextBox 52"/>
          <p:cNvSpPr txBox="1"/>
          <p:nvPr>
            <p:custDataLst>
              <p:tags r:id="rId4"/>
            </p:custDataLst>
          </p:nvPr>
        </p:nvSpPr>
        <p:spPr>
          <a:xfrm>
            <a:off x="2046250" y="5156934"/>
            <a:ext cx="2735262" cy="735201"/>
          </a:xfrm>
          <a:prstGeom prst="rect">
            <a:avLst/>
          </a:prstGeom>
          <a:noFill/>
        </p:spPr>
        <p:txBody>
          <a:bodyPr vert="horz" wrap="square" lIns="44365" rIns="44365" rtlCol="0">
            <a:spAutoFit/>
          </a:bodyPr>
          <a:lstStyle/>
          <a:p>
            <a:pPr marL="182563" indent="-182563">
              <a:spcBef>
                <a:spcPts val="652"/>
              </a:spcBef>
              <a:buSzPct val="100000"/>
              <a:buFont typeface="Verdana" panose="020B0604030504040204" pitchFamily="34" charset="0"/>
              <a:buChar char="•"/>
            </a:pPr>
            <a:r>
              <a:rPr lang="en-CA" sz="1359" dirty="0"/>
              <a:t>Type text here</a:t>
            </a:r>
          </a:p>
          <a:p>
            <a:pPr marL="449263" lvl="1" indent="-182563">
              <a:spcBef>
                <a:spcPts val="278"/>
              </a:spcBef>
              <a:buSzPct val="100000"/>
              <a:buFont typeface="Verdana" panose="020B0604030504040204" pitchFamily="34" charset="0"/>
              <a:buChar char="-"/>
            </a:pPr>
            <a:r>
              <a:rPr lang="en-CA" sz="1159" dirty="0"/>
              <a:t>Or here</a:t>
            </a:r>
          </a:p>
          <a:p>
            <a:pPr marL="801688" lvl="2" indent="-192088">
              <a:spcBef>
                <a:spcPts val="278"/>
              </a:spcBef>
              <a:buSzPct val="140000"/>
              <a:buFont typeface="Verdana" panose="020B0604030504040204" pitchFamily="34" charset="0"/>
              <a:buChar char="‣"/>
            </a:pPr>
            <a:r>
              <a:rPr lang="en-CA" sz="1159" dirty="0"/>
              <a:t>Or here</a:t>
            </a:r>
          </a:p>
        </p:txBody>
      </p:sp>
      <p:sp>
        <p:nvSpPr>
          <p:cNvPr id="54" name="TextBox 53"/>
          <p:cNvSpPr txBox="1"/>
          <p:nvPr>
            <p:custDataLst>
              <p:tags r:id="rId5"/>
            </p:custDataLst>
          </p:nvPr>
        </p:nvSpPr>
        <p:spPr>
          <a:xfrm>
            <a:off x="8406062" y="1339836"/>
            <a:ext cx="2735262" cy="735201"/>
          </a:xfrm>
          <a:prstGeom prst="rect">
            <a:avLst/>
          </a:prstGeom>
          <a:noFill/>
        </p:spPr>
        <p:txBody>
          <a:bodyPr vert="horz" wrap="square" lIns="44365" rIns="44365" rtlCol="0">
            <a:spAutoFit/>
          </a:bodyPr>
          <a:lstStyle/>
          <a:p>
            <a:pPr marL="182563" indent="-182563">
              <a:spcBef>
                <a:spcPts val="652"/>
              </a:spcBef>
              <a:buSzPct val="100000"/>
              <a:buFont typeface="Verdana" panose="020B0604030504040204" pitchFamily="34" charset="0"/>
              <a:buChar char="•"/>
            </a:pPr>
            <a:r>
              <a:rPr lang="en-CA" sz="1359" dirty="0"/>
              <a:t>Type text here</a:t>
            </a:r>
          </a:p>
          <a:p>
            <a:pPr marL="449263" lvl="1" indent="-182563">
              <a:spcBef>
                <a:spcPts val="278"/>
              </a:spcBef>
              <a:buSzPct val="100000"/>
              <a:buFont typeface="Verdana" panose="020B0604030504040204" pitchFamily="34" charset="0"/>
              <a:buChar char="-"/>
            </a:pPr>
            <a:r>
              <a:rPr lang="en-CA" sz="1159" dirty="0"/>
              <a:t>Or here</a:t>
            </a:r>
          </a:p>
          <a:p>
            <a:pPr marL="801688" lvl="2" indent="-192088">
              <a:spcBef>
                <a:spcPts val="278"/>
              </a:spcBef>
              <a:buSzPct val="140000"/>
              <a:buFont typeface="Verdana" panose="020B0604030504040204" pitchFamily="34" charset="0"/>
              <a:buChar char="‣"/>
            </a:pPr>
            <a:r>
              <a:rPr lang="en-CA" sz="1159" dirty="0"/>
              <a:t>Or here</a:t>
            </a:r>
          </a:p>
        </p:txBody>
      </p:sp>
      <p:sp>
        <p:nvSpPr>
          <p:cNvPr id="55" name="TextBox 54"/>
          <p:cNvSpPr txBox="1"/>
          <p:nvPr>
            <p:custDataLst>
              <p:tags r:id="rId6"/>
            </p:custDataLst>
          </p:nvPr>
        </p:nvSpPr>
        <p:spPr>
          <a:xfrm>
            <a:off x="8406062" y="2431326"/>
            <a:ext cx="2735262" cy="735201"/>
          </a:xfrm>
          <a:prstGeom prst="rect">
            <a:avLst/>
          </a:prstGeom>
          <a:noFill/>
        </p:spPr>
        <p:txBody>
          <a:bodyPr vert="horz" wrap="square" lIns="44365" rIns="44365" rtlCol="0">
            <a:spAutoFit/>
          </a:bodyPr>
          <a:lstStyle/>
          <a:p>
            <a:pPr marL="182563" indent="-182563">
              <a:spcBef>
                <a:spcPts val="652"/>
              </a:spcBef>
              <a:buSzPct val="100000"/>
              <a:buFont typeface="Verdana" panose="020B0604030504040204" pitchFamily="34" charset="0"/>
              <a:buChar char="•"/>
            </a:pPr>
            <a:r>
              <a:rPr lang="en-CA" sz="1359" dirty="0"/>
              <a:t>Type text here</a:t>
            </a:r>
          </a:p>
          <a:p>
            <a:pPr marL="449263" lvl="1" indent="-182563">
              <a:spcBef>
                <a:spcPts val="278"/>
              </a:spcBef>
              <a:buSzPct val="100000"/>
              <a:buFont typeface="Verdana" panose="020B0604030504040204" pitchFamily="34" charset="0"/>
              <a:buChar char="-"/>
            </a:pPr>
            <a:r>
              <a:rPr lang="en-CA" sz="1159" dirty="0"/>
              <a:t>Or here</a:t>
            </a:r>
          </a:p>
          <a:p>
            <a:pPr marL="801688" lvl="2" indent="-192088">
              <a:spcBef>
                <a:spcPts val="278"/>
              </a:spcBef>
              <a:buSzPct val="140000"/>
              <a:buFont typeface="Verdana" panose="020B0604030504040204" pitchFamily="34" charset="0"/>
              <a:buChar char="‣"/>
            </a:pPr>
            <a:r>
              <a:rPr lang="en-CA" sz="1159" dirty="0"/>
              <a:t>Or here</a:t>
            </a:r>
          </a:p>
        </p:txBody>
      </p:sp>
      <p:sp>
        <p:nvSpPr>
          <p:cNvPr id="56" name="TextBox 55"/>
          <p:cNvSpPr txBox="1"/>
          <p:nvPr>
            <p:custDataLst>
              <p:tags r:id="rId7"/>
            </p:custDataLst>
          </p:nvPr>
        </p:nvSpPr>
        <p:spPr>
          <a:xfrm>
            <a:off x="8406062" y="3833615"/>
            <a:ext cx="2735262" cy="735201"/>
          </a:xfrm>
          <a:prstGeom prst="rect">
            <a:avLst/>
          </a:prstGeom>
          <a:noFill/>
        </p:spPr>
        <p:txBody>
          <a:bodyPr vert="horz" wrap="square" lIns="44365" rIns="44365" rtlCol="0">
            <a:spAutoFit/>
          </a:bodyPr>
          <a:lstStyle/>
          <a:p>
            <a:pPr marL="182563" indent="-182563">
              <a:spcBef>
                <a:spcPts val="652"/>
              </a:spcBef>
              <a:buSzPct val="100000"/>
              <a:buFont typeface="Verdana" panose="020B0604030504040204" pitchFamily="34" charset="0"/>
              <a:buChar char="•"/>
            </a:pPr>
            <a:r>
              <a:rPr lang="en-CA" sz="1359" dirty="0"/>
              <a:t>Type text here</a:t>
            </a:r>
          </a:p>
          <a:p>
            <a:pPr marL="449263" lvl="1" indent="-182563">
              <a:spcBef>
                <a:spcPts val="278"/>
              </a:spcBef>
              <a:buSzPct val="100000"/>
              <a:buFont typeface="Verdana" panose="020B0604030504040204" pitchFamily="34" charset="0"/>
              <a:buChar char="-"/>
            </a:pPr>
            <a:r>
              <a:rPr lang="en-CA" sz="1159" dirty="0"/>
              <a:t>Or here</a:t>
            </a:r>
          </a:p>
          <a:p>
            <a:pPr marL="801688" lvl="2" indent="-192088">
              <a:spcBef>
                <a:spcPts val="278"/>
              </a:spcBef>
              <a:buSzPct val="140000"/>
              <a:buFont typeface="Verdana" panose="020B0604030504040204" pitchFamily="34" charset="0"/>
              <a:buChar char="‣"/>
            </a:pPr>
            <a:r>
              <a:rPr lang="en-CA" sz="1159" dirty="0"/>
              <a:t>Or here</a:t>
            </a:r>
          </a:p>
        </p:txBody>
      </p:sp>
      <p:sp>
        <p:nvSpPr>
          <p:cNvPr id="57" name="TextBox 56"/>
          <p:cNvSpPr txBox="1"/>
          <p:nvPr>
            <p:custDataLst>
              <p:tags r:id="rId8"/>
            </p:custDataLst>
          </p:nvPr>
        </p:nvSpPr>
        <p:spPr>
          <a:xfrm>
            <a:off x="8406062" y="5156934"/>
            <a:ext cx="2735262" cy="735201"/>
          </a:xfrm>
          <a:prstGeom prst="rect">
            <a:avLst/>
          </a:prstGeom>
          <a:noFill/>
        </p:spPr>
        <p:txBody>
          <a:bodyPr vert="horz" wrap="square" lIns="44365" rIns="44365" rtlCol="0">
            <a:spAutoFit/>
          </a:bodyPr>
          <a:lstStyle/>
          <a:p>
            <a:pPr marL="182563" indent="-182563">
              <a:spcBef>
                <a:spcPts val="652"/>
              </a:spcBef>
              <a:buSzPct val="100000"/>
              <a:buFont typeface="Verdana" panose="020B0604030504040204" pitchFamily="34" charset="0"/>
              <a:buChar char="•"/>
            </a:pPr>
            <a:r>
              <a:rPr lang="en-CA" sz="1359" dirty="0"/>
              <a:t>Type text here</a:t>
            </a:r>
          </a:p>
          <a:p>
            <a:pPr marL="449263" lvl="1" indent="-182563">
              <a:spcBef>
                <a:spcPts val="278"/>
              </a:spcBef>
              <a:buSzPct val="100000"/>
              <a:buFont typeface="Verdana" panose="020B0604030504040204" pitchFamily="34" charset="0"/>
              <a:buChar char="-"/>
            </a:pPr>
            <a:r>
              <a:rPr lang="en-CA" sz="1159" dirty="0"/>
              <a:t>Or here</a:t>
            </a:r>
          </a:p>
          <a:p>
            <a:pPr marL="801688" lvl="2" indent="-192088">
              <a:spcBef>
                <a:spcPts val="278"/>
              </a:spcBef>
              <a:buSzPct val="140000"/>
              <a:buFont typeface="Verdana" panose="020B0604030504040204" pitchFamily="34" charset="0"/>
              <a:buChar char="‣"/>
            </a:pPr>
            <a:r>
              <a:rPr lang="en-CA" sz="1159" dirty="0"/>
              <a:t>Or here</a:t>
            </a:r>
          </a:p>
        </p:txBody>
      </p:sp>
      <p:sp>
        <p:nvSpPr>
          <p:cNvPr id="50" name="Oval 5"/>
          <p:cNvSpPr>
            <a:spLocks noChangeArrowheads="1"/>
          </p:cNvSpPr>
          <p:nvPr/>
        </p:nvSpPr>
        <p:spPr bwMode="gray">
          <a:xfrm>
            <a:off x="5963328" y="1159021"/>
            <a:ext cx="914631" cy="932987"/>
          </a:xfrm>
          <a:prstGeom prst="ellipse">
            <a:avLst/>
          </a:prstGeom>
          <a:solidFill>
            <a:schemeClr val="accent3"/>
          </a:solidFill>
          <a:ln w="6350">
            <a:solidFill>
              <a:schemeClr val="bg1"/>
            </a:solidFill>
            <a:round/>
            <a:headEnd/>
            <a:tailEnd/>
          </a:ln>
          <a:scene3d>
            <a:camera prst="orthographicFront"/>
            <a:lightRig rig="threePt" dir="t"/>
          </a:scene3d>
          <a:sp3d>
            <a:bevelT w="425450" h="393700"/>
          </a:sp3d>
        </p:spPr>
        <p:txBody>
          <a:bodyPr wrap="none" lIns="87332" tIns="87332" rIns="69866" bIns="87332" anchor="ctr"/>
          <a:lstStyle/>
          <a:p>
            <a:endParaRPr lang="en-CA" sz="1747" noProof="1">
              <a:latin typeface="Verdana" pitchFamily="34" charset="0"/>
            </a:endParaRPr>
          </a:p>
        </p:txBody>
      </p:sp>
      <p:sp>
        <p:nvSpPr>
          <p:cNvPr id="58" name="Oval 5"/>
          <p:cNvSpPr>
            <a:spLocks noChangeArrowheads="1"/>
          </p:cNvSpPr>
          <p:nvPr/>
        </p:nvSpPr>
        <p:spPr bwMode="gray">
          <a:xfrm>
            <a:off x="7328469" y="1920487"/>
            <a:ext cx="914631" cy="932987"/>
          </a:xfrm>
          <a:prstGeom prst="ellipse">
            <a:avLst/>
          </a:prstGeom>
          <a:solidFill>
            <a:schemeClr val="accent3"/>
          </a:solidFill>
          <a:ln w="6350">
            <a:solidFill>
              <a:schemeClr val="bg1"/>
            </a:solidFill>
            <a:round/>
            <a:headEnd/>
            <a:tailEnd/>
          </a:ln>
          <a:scene3d>
            <a:camera prst="orthographicFront"/>
            <a:lightRig rig="threePt" dir="t"/>
          </a:scene3d>
          <a:sp3d>
            <a:bevelT w="425450" h="393700"/>
          </a:sp3d>
        </p:spPr>
        <p:txBody>
          <a:bodyPr wrap="none" lIns="87332" tIns="87332" rIns="69866" bIns="87332" anchor="ctr"/>
          <a:lstStyle/>
          <a:p>
            <a:endParaRPr lang="en-CA" sz="1747" noProof="1">
              <a:latin typeface="Verdana" pitchFamily="34" charset="0"/>
            </a:endParaRPr>
          </a:p>
        </p:txBody>
      </p:sp>
      <p:sp>
        <p:nvSpPr>
          <p:cNvPr id="59" name="Oval 5"/>
          <p:cNvSpPr>
            <a:spLocks noChangeArrowheads="1"/>
          </p:cNvSpPr>
          <p:nvPr/>
        </p:nvSpPr>
        <p:spPr bwMode="gray">
          <a:xfrm>
            <a:off x="7623762" y="3418649"/>
            <a:ext cx="914631" cy="932987"/>
          </a:xfrm>
          <a:prstGeom prst="ellipse">
            <a:avLst/>
          </a:prstGeom>
          <a:solidFill>
            <a:schemeClr val="accent3"/>
          </a:solidFill>
          <a:ln w="6350">
            <a:solidFill>
              <a:schemeClr val="bg1"/>
            </a:solidFill>
            <a:round/>
            <a:headEnd/>
            <a:tailEnd/>
          </a:ln>
          <a:scene3d>
            <a:camera prst="orthographicFront"/>
            <a:lightRig rig="threePt" dir="t"/>
          </a:scene3d>
          <a:sp3d>
            <a:bevelT w="425450" h="393700"/>
          </a:sp3d>
        </p:spPr>
        <p:txBody>
          <a:bodyPr wrap="none" lIns="87332" tIns="87332" rIns="69866" bIns="87332" anchor="ctr"/>
          <a:lstStyle/>
          <a:p>
            <a:endParaRPr lang="en-CA" sz="1747" noProof="1">
              <a:latin typeface="Verdana" pitchFamily="34" charset="0"/>
            </a:endParaRPr>
          </a:p>
        </p:txBody>
      </p:sp>
      <p:sp>
        <p:nvSpPr>
          <p:cNvPr id="60" name="Oval 5"/>
          <p:cNvSpPr>
            <a:spLocks noChangeArrowheads="1"/>
          </p:cNvSpPr>
          <p:nvPr/>
        </p:nvSpPr>
        <p:spPr bwMode="gray">
          <a:xfrm>
            <a:off x="6709131" y="4521044"/>
            <a:ext cx="914631" cy="932987"/>
          </a:xfrm>
          <a:prstGeom prst="ellipse">
            <a:avLst/>
          </a:prstGeom>
          <a:solidFill>
            <a:schemeClr val="accent3"/>
          </a:solidFill>
          <a:ln w="6350">
            <a:solidFill>
              <a:schemeClr val="bg1"/>
            </a:solidFill>
            <a:round/>
            <a:headEnd/>
            <a:tailEnd/>
          </a:ln>
          <a:scene3d>
            <a:camera prst="orthographicFront"/>
            <a:lightRig rig="threePt" dir="t"/>
          </a:scene3d>
          <a:sp3d>
            <a:bevelT w="425450" h="393700"/>
          </a:sp3d>
        </p:spPr>
        <p:txBody>
          <a:bodyPr wrap="none" lIns="87332" tIns="87332" rIns="69866" bIns="87332" anchor="ctr"/>
          <a:lstStyle/>
          <a:p>
            <a:endParaRPr lang="en-CA" sz="1747" noProof="1">
              <a:latin typeface="Verdana" pitchFamily="34" charset="0"/>
            </a:endParaRPr>
          </a:p>
        </p:txBody>
      </p:sp>
      <p:sp>
        <p:nvSpPr>
          <p:cNvPr id="61" name="Oval 5"/>
          <p:cNvSpPr>
            <a:spLocks noChangeArrowheads="1"/>
          </p:cNvSpPr>
          <p:nvPr/>
        </p:nvSpPr>
        <p:spPr bwMode="gray">
          <a:xfrm>
            <a:off x="5231780" y="4521044"/>
            <a:ext cx="914631" cy="932987"/>
          </a:xfrm>
          <a:prstGeom prst="ellipse">
            <a:avLst/>
          </a:prstGeom>
          <a:solidFill>
            <a:schemeClr val="accent3"/>
          </a:solidFill>
          <a:ln w="6350">
            <a:solidFill>
              <a:schemeClr val="bg1"/>
            </a:solidFill>
            <a:round/>
            <a:headEnd/>
            <a:tailEnd/>
          </a:ln>
          <a:scene3d>
            <a:camera prst="orthographicFront"/>
            <a:lightRig rig="threePt" dir="t"/>
          </a:scene3d>
          <a:sp3d>
            <a:bevelT w="425450" h="393700"/>
          </a:sp3d>
        </p:spPr>
        <p:txBody>
          <a:bodyPr wrap="none" lIns="87332" tIns="87332" rIns="69866" bIns="87332" anchor="ctr"/>
          <a:lstStyle/>
          <a:p>
            <a:endParaRPr lang="en-CA" sz="1747" noProof="1">
              <a:latin typeface="Verdana" pitchFamily="34" charset="0"/>
            </a:endParaRPr>
          </a:p>
        </p:txBody>
      </p:sp>
      <p:sp>
        <p:nvSpPr>
          <p:cNvPr id="63" name="Oval 5"/>
          <p:cNvSpPr>
            <a:spLocks noChangeArrowheads="1"/>
          </p:cNvSpPr>
          <p:nvPr/>
        </p:nvSpPr>
        <p:spPr bwMode="gray">
          <a:xfrm>
            <a:off x="4607926" y="1920487"/>
            <a:ext cx="914631" cy="932987"/>
          </a:xfrm>
          <a:prstGeom prst="ellipse">
            <a:avLst/>
          </a:prstGeom>
          <a:solidFill>
            <a:schemeClr val="accent3"/>
          </a:solidFill>
          <a:ln w="6350">
            <a:solidFill>
              <a:schemeClr val="bg1"/>
            </a:solidFill>
            <a:round/>
            <a:headEnd/>
            <a:tailEnd/>
          </a:ln>
          <a:scene3d>
            <a:camera prst="orthographicFront"/>
            <a:lightRig rig="threePt" dir="t"/>
          </a:scene3d>
          <a:sp3d>
            <a:bevelT w="425450" h="393700"/>
          </a:sp3d>
        </p:spPr>
        <p:txBody>
          <a:bodyPr wrap="none" lIns="87332" tIns="87332" rIns="69866" bIns="87332" anchor="ctr"/>
          <a:lstStyle/>
          <a:p>
            <a:endParaRPr lang="en-CA" sz="1747" noProof="1">
              <a:latin typeface="Verdana" pitchFamily="34" charset="0"/>
            </a:endParaRPr>
          </a:p>
        </p:txBody>
      </p:sp>
      <p:sp>
        <p:nvSpPr>
          <p:cNvPr id="64" name="Oval 5"/>
          <p:cNvSpPr>
            <a:spLocks noChangeArrowheads="1"/>
          </p:cNvSpPr>
          <p:nvPr/>
        </p:nvSpPr>
        <p:spPr bwMode="gray">
          <a:xfrm>
            <a:off x="4310161" y="3418649"/>
            <a:ext cx="914631" cy="932987"/>
          </a:xfrm>
          <a:prstGeom prst="ellipse">
            <a:avLst/>
          </a:prstGeom>
          <a:solidFill>
            <a:schemeClr val="accent3"/>
          </a:solidFill>
          <a:ln w="6350">
            <a:solidFill>
              <a:schemeClr val="bg1"/>
            </a:solidFill>
            <a:round/>
            <a:headEnd/>
            <a:tailEnd/>
          </a:ln>
          <a:scene3d>
            <a:camera prst="orthographicFront"/>
            <a:lightRig rig="threePt" dir="t"/>
          </a:scene3d>
          <a:sp3d>
            <a:bevelT w="425450" h="393700"/>
          </a:sp3d>
        </p:spPr>
        <p:txBody>
          <a:bodyPr wrap="none" lIns="87332" tIns="87332" rIns="69866" bIns="87332" anchor="ctr"/>
          <a:lstStyle/>
          <a:p>
            <a:endParaRPr lang="en-CA" sz="1747" noProof="1">
              <a:latin typeface="Verdana" pitchFamily="34" charset="0"/>
            </a:endParaRPr>
          </a:p>
        </p:txBody>
      </p:sp>
    </p:spTree>
    <p:extLst>
      <p:ext uri="{BB962C8B-B14F-4D97-AF65-F5344CB8AC3E}">
        <p14:creationId xmlns:p14="http://schemas.microsoft.com/office/powerpoint/2010/main" val="4022066685"/>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3" name="Title1"/>
          <p:cNvSpPr>
            <a:spLocks noGrp="1" noChangeArrowheads="1"/>
          </p:cNvSpPr>
          <p:nvPr>
            <p:ph type="title"/>
            <p:custDataLst>
              <p:tags r:id="rId2"/>
            </p:custDataLst>
          </p:nvPr>
        </p:nvSpPr>
        <p:spPr bwMode="gray"/>
        <p:txBody>
          <a:bodyPr/>
          <a:lstStyle/>
          <a:p>
            <a:r>
              <a:rPr lang="en-US" dirty="0" smtClean="0"/>
              <a:t>Center sphere</a:t>
            </a:r>
          </a:p>
        </p:txBody>
      </p:sp>
      <p:sp>
        <p:nvSpPr>
          <p:cNvPr id="146435" name="Freeform 4"/>
          <p:cNvSpPr>
            <a:spLocks/>
          </p:cNvSpPr>
          <p:nvPr/>
        </p:nvSpPr>
        <p:spPr bwMode="gray">
          <a:xfrm>
            <a:off x="1266296" y="1193800"/>
            <a:ext cx="5079028" cy="663937"/>
          </a:xfrm>
          <a:custGeom>
            <a:avLst/>
            <a:gdLst>
              <a:gd name="T0" fmla="*/ 0 w 2730"/>
              <a:gd name="T1" fmla="*/ 0 h 357"/>
              <a:gd name="T2" fmla="*/ 0 w 2730"/>
              <a:gd name="T3" fmla="*/ 357 h 357"/>
              <a:gd name="T4" fmla="*/ 2730 w 2730"/>
              <a:gd name="T5" fmla="*/ 357 h 357"/>
              <a:gd name="T6" fmla="*/ 2730 w 2730"/>
              <a:gd name="T7" fmla="*/ 0 h 357"/>
              <a:gd name="T8" fmla="*/ 0 w 2730"/>
              <a:gd name="T9" fmla="*/ 0 h 357"/>
              <a:gd name="T10" fmla="*/ 0 w 2730"/>
              <a:gd name="T11" fmla="*/ 0 h 357"/>
              <a:gd name="T12" fmla="*/ 0 60000 65536"/>
              <a:gd name="T13" fmla="*/ 0 60000 65536"/>
              <a:gd name="T14" fmla="*/ 0 60000 65536"/>
              <a:gd name="T15" fmla="*/ 0 60000 65536"/>
              <a:gd name="T16" fmla="*/ 0 60000 65536"/>
              <a:gd name="T17" fmla="*/ 0 60000 65536"/>
              <a:gd name="T18" fmla="*/ 0 w 2730"/>
              <a:gd name="T19" fmla="*/ 0 h 357"/>
              <a:gd name="T20" fmla="*/ 2730 w 2730"/>
              <a:gd name="T21" fmla="*/ 357 h 357"/>
            </a:gdLst>
            <a:ahLst/>
            <a:cxnLst>
              <a:cxn ang="T12">
                <a:pos x="T0" y="T1"/>
              </a:cxn>
              <a:cxn ang="T13">
                <a:pos x="T2" y="T3"/>
              </a:cxn>
              <a:cxn ang="T14">
                <a:pos x="T4" y="T5"/>
              </a:cxn>
              <a:cxn ang="T15">
                <a:pos x="T6" y="T7"/>
              </a:cxn>
              <a:cxn ang="T16">
                <a:pos x="T8" y="T9"/>
              </a:cxn>
              <a:cxn ang="T17">
                <a:pos x="T10" y="T11"/>
              </a:cxn>
            </a:cxnLst>
            <a:rect l="T18" t="T19" r="T20" b="T21"/>
            <a:pathLst>
              <a:path w="2730" h="357">
                <a:moveTo>
                  <a:pt x="0" y="0"/>
                </a:moveTo>
                <a:lnTo>
                  <a:pt x="0" y="357"/>
                </a:lnTo>
                <a:lnTo>
                  <a:pt x="2730" y="357"/>
                </a:lnTo>
                <a:lnTo>
                  <a:pt x="2730" y="0"/>
                </a:lnTo>
                <a:lnTo>
                  <a:pt x="0" y="0"/>
                </a:lnTo>
                <a:close/>
              </a:path>
            </a:pathLst>
          </a:custGeom>
          <a:solidFill>
            <a:schemeClr val="bg1">
              <a:lumMod val="50000"/>
            </a:schemeClr>
          </a:solidFill>
          <a:ln w="19050">
            <a:solidFill>
              <a:schemeClr val="accent4"/>
            </a:solidFill>
            <a:round/>
            <a:headEnd/>
            <a:tailEnd/>
          </a:ln>
        </p:spPr>
        <p:txBody>
          <a:bodyPr lIns="88756" tIns="44378" rIns="88756" bIns="44378" anchor="ctr"/>
          <a:lstStyle/>
          <a:p>
            <a:pPr algn="ctr"/>
            <a:r>
              <a:rPr lang="en-CA" sz="1941" dirty="0">
                <a:solidFill>
                  <a:srgbClr val="FFFFFF"/>
                </a:solidFill>
                <a:latin typeface="+mj-lt"/>
              </a:rPr>
              <a:t>Text</a:t>
            </a:r>
          </a:p>
        </p:txBody>
      </p:sp>
      <p:sp>
        <p:nvSpPr>
          <p:cNvPr id="146436" name="Freeform 5"/>
          <p:cNvSpPr>
            <a:spLocks/>
          </p:cNvSpPr>
          <p:nvPr/>
        </p:nvSpPr>
        <p:spPr bwMode="gray">
          <a:xfrm>
            <a:off x="6495965" y="1193800"/>
            <a:ext cx="5079028" cy="663937"/>
          </a:xfrm>
          <a:custGeom>
            <a:avLst/>
            <a:gdLst>
              <a:gd name="T0" fmla="*/ 0 w 2730"/>
              <a:gd name="T1" fmla="*/ 0 h 357"/>
              <a:gd name="T2" fmla="*/ 0 w 2730"/>
              <a:gd name="T3" fmla="*/ 357 h 357"/>
              <a:gd name="T4" fmla="*/ 2730 w 2730"/>
              <a:gd name="T5" fmla="*/ 357 h 357"/>
              <a:gd name="T6" fmla="*/ 2730 w 2730"/>
              <a:gd name="T7" fmla="*/ 0 h 357"/>
              <a:gd name="T8" fmla="*/ 0 w 2730"/>
              <a:gd name="T9" fmla="*/ 0 h 357"/>
              <a:gd name="T10" fmla="*/ 0 w 2730"/>
              <a:gd name="T11" fmla="*/ 0 h 357"/>
              <a:gd name="T12" fmla="*/ 0 60000 65536"/>
              <a:gd name="T13" fmla="*/ 0 60000 65536"/>
              <a:gd name="T14" fmla="*/ 0 60000 65536"/>
              <a:gd name="T15" fmla="*/ 0 60000 65536"/>
              <a:gd name="T16" fmla="*/ 0 60000 65536"/>
              <a:gd name="T17" fmla="*/ 0 60000 65536"/>
              <a:gd name="T18" fmla="*/ 0 w 2730"/>
              <a:gd name="T19" fmla="*/ 0 h 357"/>
              <a:gd name="T20" fmla="*/ 2730 w 2730"/>
              <a:gd name="T21" fmla="*/ 357 h 357"/>
            </a:gdLst>
            <a:ahLst/>
            <a:cxnLst>
              <a:cxn ang="T12">
                <a:pos x="T0" y="T1"/>
              </a:cxn>
              <a:cxn ang="T13">
                <a:pos x="T2" y="T3"/>
              </a:cxn>
              <a:cxn ang="T14">
                <a:pos x="T4" y="T5"/>
              </a:cxn>
              <a:cxn ang="T15">
                <a:pos x="T6" y="T7"/>
              </a:cxn>
              <a:cxn ang="T16">
                <a:pos x="T8" y="T9"/>
              </a:cxn>
              <a:cxn ang="T17">
                <a:pos x="T10" y="T11"/>
              </a:cxn>
            </a:cxnLst>
            <a:rect l="T18" t="T19" r="T20" b="T21"/>
            <a:pathLst>
              <a:path w="2730" h="357">
                <a:moveTo>
                  <a:pt x="0" y="0"/>
                </a:moveTo>
                <a:lnTo>
                  <a:pt x="0" y="357"/>
                </a:lnTo>
                <a:lnTo>
                  <a:pt x="2730" y="357"/>
                </a:lnTo>
                <a:lnTo>
                  <a:pt x="2730" y="0"/>
                </a:lnTo>
                <a:lnTo>
                  <a:pt x="0" y="0"/>
                </a:lnTo>
                <a:close/>
              </a:path>
            </a:pathLst>
          </a:custGeom>
          <a:solidFill>
            <a:schemeClr val="bg1">
              <a:lumMod val="50000"/>
            </a:schemeClr>
          </a:solidFill>
          <a:ln w="19050">
            <a:solidFill>
              <a:schemeClr val="accent4"/>
            </a:solidFill>
            <a:round/>
            <a:headEnd/>
            <a:tailEnd/>
          </a:ln>
        </p:spPr>
        <p:txBody>
          <a:bodyPr lIns="88756" tIns="44378" rIns="88756" bIns="44378" anchor="ctr"/>
          <a:lstStyle/>
          <a:p>
            <a:pPr algn="ctr"/>
            <a:r>
              <a:rPr lang="en-CA" sz="1941" dirty="0">
                <a:solidFill>
                  <a:srgbClr val="FFFFFF"/>
                </a:solidFill>
                <a:latin typeface="+mj-lt"/>
              </a:rPr>
              <a:t>Text</a:t>
            </a:r>
          </a:p>
        </p:txBody>
      </p:sp>
      <p:sp>
        <p:nvSpPr>
          <p:cNvPr id="146437" name="Freeform 6"/>
          <p:cNvSpPr>
            <a:spLocks/>
          </p:cNvSpPr>
          <p:nvPr/>
        </p:nvSpPr>
        <p:spPr bwMode="gray">
          <a:xfrm>
            <a:off x="1266296" y="1857737"/>
            <a:ext cx="5079028" cy="1831872"/>
          </a:xfrm>
          <a:custGeom>
            <a:avLst/>
            <a:gdLst>
              <a:gd name="T0" fmla="*/ 0 w 1361"/>
              <a:gd name="T1" fmla="*/ 491 h 491"/>
              <a:gd name="T2" fmla="*/ 969 w 1361"/>
              <a:gd name="T3" fmla="*/ 491 h 491"/>
              <a:gd name="T4" fmla="*/ 1361 w 1361"/>
              <a:gd name="T5" fmla="*/ 99 h 491"/>
              <a:gd name="T6" fmla="*/ 1361 w 1361"/>
              <a:gd name="T7" fmla="*/ 0 h 491"/>
              <a:gd name="T8" fmla="*/ 0 w 1361"/>
              <a:gd name="T9" fmla="*/ 0 h 491"/>
              <a:gd name="T10" fmla="*/ 0 w 1361"/>
              <a:gd name="T11" fmla="*/ 491 h 491"/>
              <a:gd name="T12" fmla="*/ 0 60000 65536"/>
              <a:gd name="T13" fmla="*/ 0 60000 65536"/>
              <a:gd name="T14" fmla="*/ 0 60000 65536"/>
              <a:gd name="T15" fmla="*/ 0 60000 65536"/>
              <a:gd name="T16" fmla="*/ 0 60000 65536"/>
              <a:gd name="T17" fmla="*/ 0 60000 65536"/>
              <a:gd name="T18" fmla="*/ 0 w 1361"/>
              <a:gd name="T19" fmla="*/ 0 h 491"/>
              <a:gd name="T20" fmla="*/ 1361 w 1361"/>
              <a:gd name="T21" fmla="*/ 491 h 491"/>
            </a:gdLst>
            <a:ahLst/>
            <a:cxnLst>
              <a:cxn ang="T12">
                <a:pos x="T0" y="T1"/>
              </a:cxn>
              <a:cxn ang="T13">
                <a:pos x="T2" y="T3"/>
              </a:cxn>
              <a:cxn ang="T14">
                <a:pos x="T4" y="T5"/>
              </a:cxn>
              <a:cxn ang="T15">
                <a:pos x="T6" y="T7"/>
              </a:cxn>
              <a:cxn ang="T16">
                <a:pos x="T8" y="T9"/>
              </a:cxn>
              <a:cxn ang="T17">
                <a:pos x="T10" y="T11"/>
              </a:cxn>
            </a:cxnLst>
            <a:rect l="T18" t="T19" r="T20" b="T21"/>
            <a:pathLst>
              <a:path w="1361" h="491">
                <a:moveTo>
                  <a:pt x="0" y="491"/>
                </a:moveTo>
                <a:cubicBezTo>
                  <a:pt x="969" y="491"/>
                  <a:pt x="969" y="491"/>
                  <a:pt x="969" y="491"/>
                </a:cubicBezTo>
                <a:cubicBezTo>
                  <a:pt x="979" y="279"/>
                  <a:pt x="1149" y="109"/>
                  <a:pt x="1361" y="99"/>
                </a:cubicBezTo>
                <a:cubicBezTo>
                  <a:pt x="1361" y="0"/>
                  <a:pt x="1361" y="0"/>
                  <a:pt x="1361" y="0"/>
                </a:cubicBezTo>
                <a:cubicBezTo>
                  <a:pt x="0" y="0"/>
                  <a:pt x="0" y="0"/>
                  <a:pt x="0" y="0"/>
                </a:cubicBezTo>
                <a:lnTo>
                  <a:pt x="0" y="491"/>
                </a:lnTo>
                <a:close/>
              </a:path>
            </a:pathLst>
          </a:custGeom>
          <a:solidFill>
            <a:srgbClr val="CCCCCC">
              <a:alpha val="50196"/>
            </a:srgbClr>
          </a:solidFill>
          <a:ln w="19050" cmpd="sng">
            <a:noFill/>
            <a:round/>
            <a:headEnd/>
            <a:tailEnd/>
          </a:ln>
        </p:spPr>
        <p:txBody>
          <a:bodyPr lIns="88756" tIns="44378" rIns="88756" bIns="44378"/>
          <a:lstStyle/>
          <a:p>
            <a:endParaRPr lang="en-US" sz="1747" dirty="0">
              <a:latin typeface="+mj-lt"/>
            </a:endParaRPr>
          </a:p>
        </p:txBody>
      </p:sp>
      <p:sp>
        <p:nvSpPr>
          <p:cNvPr id="146438" name="Freeform 7"/>
          <p:cNvSpPr>
            <a:spLocks/>
          </p:cNvSpPr>
          <p:nvPr/>
        </p:nvSpPr>
        <p:spPr bwMode="gray">
          <a:xfrm>
            <a:off x="1266296" y="4498608"/>
            <a:ext cx="5079028" cy="1833731"/>
          </a:xfrm>
          <a:custGeom>
            <a:avLst/>
            <a:gdLst>
              <a:gd name="T0" fmla="*/ 1019 w 1361"/>
              <a:gd name="T1" fmla="*/ 0 h 491"/>
              <a:gd name="T2" fmla="*/ 0 w 1361"/>
              <a:gd name="T3" fmla="*/ 0 h 491"/>
              <a:gd name="T4" fmla="*/ 0 w 1361"/>
              <a:gd name="T5" fmla="*/ 491 h 491"/>
              <a:gd name="T6" fmla="*/ 1361 w 1361"/>
              <a:gd name="T7" fmla="*/ 491 h 491"/>
              <a:gd name="T8" fmla="*/ 1361 w 1361"/>
              <a:gd name="T9" fmla="*/ 214 h 491"/>
              <a:gd name="T10" fmla="*/ 1019 w 1361"/>
              <a:gd name="T11" fmla="*/ 0 h 491"/>
              <a:gd name="T12" fmla="*/ 0 60000 65536"/>
              <a:gd name="T13" fmla="*/ 0 60000 65536"/>
              <a:gd name="T14" fmla="*/ 0 60000 65536"/>
              <a:gd name="T15" fmla="*/ 0 60000 65536"/>
              <a:gd name="T16" fmla="*/ 0 60000 65536"/>
              <a:gd name="T17" fmla="*/ 0 60000 65536"/>
              <a:gd name="T18" fmla="*/ 0 w 1361"/>
              <a:gd name="T19" fmla="*/ 0 h 491"/>
              <a:gd name="T20" fmla="*/ 1361 w 1361"/>
              <a:gd name="T21" fmla="*/ 491 h 491"/>
            </a:gdLst>
            <a:ahLst/>
            <a:cxnLst>
              <a:cxn ang="T12">
                <a:pos x="T0" y="T1"/>
              </a:cxn>
              <a:cxn ang="T13">
                <a:pos x="T2" y="T3"/>
              </a:cxn>
              <a:cxn ang="T14">
                <a:pos x="T4" y="T5"/>
              </a:cxn>
              <a:cxn ang="T15">
                <a:pos x="T6" y="T7"/>
              </a:cxn>
              <a:cxn ang="T16">
                <a:pos x="T8" y="T9"/>
              </a:cxn>
              <a:cxn ang="T17">
                <a:pos x="T10" y="T11"/>
              </a:cxn>
            </a:cxnLst>
            <a:rect l="T18" t="T19" r="T20" b="T21"/>
            <a:pathLst>
              <a:path w="1361" h="491">
                <a:moveTo>
                  <a:pt x="1019" y="0"/>
                </a:moveTo>
                <a:cubicBezTo>
                  <a:pt x="0" y="0"/>
                  <a:pt x="0" y="0"/>
                  <a:pt x="0" y="0"/>
                </a:cubicBezTo>
                <a:cubicBezTo>
                  <a:pt x="0" y="491"/>
                  <a:pt x="0" y="491"/>
                  <a:pt x="0" y="491"/>
                </a:cubicBezTo>
                <a:cubicBezTo>
                  <a:pt x="1361" y="491"/>
                  <a:pt x="1361" y="491"/>
                  <a:pt x="1361" y="491"/>
                </a:cubicBezTo>
                <a:cubicBezTo>
                  <a:pt x="1361" y="214"/>
                  <a:pt x="1361" y="214"/>
                  <a:pt x="1361" y="214"/>
                </a:cubicBezTo>
                <a:cubicBezTo>
                  <a:pt x="1213" y="207"/>
                  <a:pt x="1086" y="122"/>
                  <a:pt x="1019" y="0"/>
                </a:cubicBezTo>
                <a:close/>
              </a:path>
            </a:pathLst>
          </a:custGeom>
          <a:solidFill>
            <a:srgbClr val="CCCCCC">
              <a:alpha val="50196"/>
            </a:srgbClr>
          </a:solidFill>
          <a:ln w="19050" cmpd="sng">
            <a:noFill/>
            <a:round/>
            <a:headEnd/>
            <a:tailEnd/>
          </a:ln>
        </p:spPr>
        <p:txBody>
          <a:bodyPr lIns="88756" tIns="44378" rIns="88756" bIns="44378"/>
          <a:lstStyle/>
          <a:p>
            <a:endParaRPr lang="en-US" sz="1747" dirty="0">
              <a:latin typeface="+mj-lt"/>
            </a:endParaRPr>
          </a:p>
        </p:txBody>
      </p:sp>
      <p:sp>
        <p:nvSpPr>
          <p:cNvPr id="146439" name="Freeform 8"/>
          <p:cNvSpPr>
            <a:spLocks/>
          </p:cNvSpPr>
          <p:nvPr/>
        </p:nvSpPr>
        <p:spPr bwMode="gray">
          <a:xfrm>
            <a:off x="6495965" y="1857737"/>
            <a:ext cx="5079028" cy="1831872"/>
          </a:xfrm>
          <a:custGeom>
            <a:avLst/>
            <a:gdLst>
              <a:gd name="T0" fmla="*/ 0 w 1361"/>
              <a:gd name="T1" fmla="*/ 0 h 491"/>
              <a:gd name="T2" fmla="*/ 0 w 1361"/>
              <a:gd name="T3" fmla="*/ 99 h 491"/>
              <a:gd name="T4" fmla="*/ 391 w 1361"/>
              <a:gd name="T5" fmla="*/ 491 h 491"/>
              <a:gd name="T6" fmla="*/ 1361 w 1361"/>
              <a:gd name="T7" fmla="*/ 491 h 491"/>
              <a:gd name="T8" fmla="*/ 1361 w 1361"/>
              <a:gd name="T9" fmla="*/ 0 h 491"/>
              <a:gd name="T10" fmla="*/ 0 w 1361"/>
              <a:gd name="T11" fmla="*/ 0 h 491"/>
              <a:gd name="T12" fmla="*/ 0 60000 65536"/>
              <a:gd name="T13" fmla="*/ 0 60000 65536"/>
              <a:gd name="T14" fmla="*/ 0 60000 65536"/>
              <a:gd name="T15" fmla="*/ 0 60000 65536"/>
              <a:gd name="T16" fmla="*/ 0 60000 65536"/>
              <a:gd name="T17" fmla="*/ 0 60000 65536"/>
              <a:gd name="T18" fmla="*/ 0 w 1361"/>
              <a:gd name="T19" fmla="*/ 0 h 491"/>
              <a:gd name="T20" fmla="*/ 1361 w 1361"/>
              <a:gd name="T21" fmla="*/ 491 h 491"/>
            </a:gdLst>
            <a:ahLst/>
            <a:cxnLst>
              <a:cxn ang="T12">
                <a:pos x="T0" y="T1"/>
              </a:cxn>
              <a:cxn ang="T13">
                <a:pos x="T2" y="T3"/>
              </a:cxn>
              <a:cxn ang="T14">
                <a:pos x="T4" y="T5"/>
              </a:cxn>
              <a:cxn ang="T15">
                <a:pos x="T6" y="T7"/>
              </a:cxn>
              <a:cxn ang="T16">
                <a:pos x="T8" y="T9"/>
              </a:cxn>
              <a:cxn ang="T17">
                <a:pos x="T10" y="T11"/>
              </a:cxn>
            </a:cxnLst>
            <a:rect l="T18" t="T19" r="T20" b="T21"/>
            <a:pathLst>
              <a:path w="1361" h="491">
                <a:moveTo>
                  <a:pt x="0" y="0"/>
                </a:moveTo>
                <a:cubicBezTo>
                  <a:pt x="0" y="99"/>
                  <a:pt x="0" y="99"/>
                  <a:pt x="0" y="99"/>
                </a:cubicBezTo>
                <a:cubicBezTo>
                  <a:pt x="211" y="110"/>
                  <a:pt x="381" y="279"/>
                  <a:pt x="391" y="491"/>
                </a:cubicBezTo>
                <a:cubicBezTo>
                  <a:pt x="1361" y="491"/>
                  <a:pt x="1361" y="491"/>
                  <a:pt x="1361" y="491"/>
                </a:cubicBezTo>
                <a:cubicBezTo>
                  <a:pt x="1361" y="0"/>
                  <a:pt x="1361" y="0"/>
                  <a:pt x="1361" y="0"/>
                </a:cubicBezTo>
                <a:lnTo>
                  <a:pt x="0" y="0"/>
                </a:lnTo>
                <a:close/>
              </a:path>
            </a:pathLst>
          </a:custGeom>
          <a:solidFill>
            <a:srgbClr val="CCCCCC">
              <a:alpha val="50196"/>
            </a:srgbClr>
          </a:solidFill>
          <a:ln w="19050" cmpd="sng">
            <a:noFill/>
            <a:round/>
            <a:headEnd/>
            <a:tailEnd/>
          </a:ln>
        </p:spPr>
        <p:txBody>
          <a:bodyPr lIns="88756" tIns="44378" rIns="88756" bIns="44378"/>
          <a:lstStyle/>
          <a:p>
            <a:endParaRPr lang="en-US" sz="1747" dirty="0">
              <a:latin typeface="+mj-lt"/>
            </a:endParaRPr>
          </a:p>
        </p:txBody>
      </p:sp>
      <p:sp>
        <p:nvSpPr>
          <p:cNvPr id="146440" name="Freeform 9"/>
          <p:cNvSpPr>
            <a:spLocks/>
          </p:cNvSpPr>
          <p:nvPr/>
        </p:nvSpPr>
        <p:spPr bwMode="gray">
          <a:xfrm>
            <a:off x="6495965" y="4498608"/>
            <a:ext cx="5079028" cy="1833731"/>
          </a:xfrm>
          <a:custGeom>
            <a:avLst/>
            <a:gdLst>
              <a:gd name="T0" fmla="*/ 0 w 1361"/>
              <a:gd name="T1" fmla="*/ 214 h 491"/>
              <a:gd name="T2" fmla="*/ 0 w 1361"/>
              <a:gd name="T3" fmla="*/ 491 h 491"/>
              <a:gd name="T4" fmla="*/ 1361 w 1361"/>
              <a:gd name="T5" fmla="*/ 491 h 491"/>
              <a:gd name="T6" fmla="*/ 1361 w 1361"/>
              <a:gd name="T7" fmla="*/ 0 h 491"/>
              <a:gd name="T8" fmla="*/ 341 w 1361"/>
              <a:gd name="T9" fmla="*/ 0 h 491"/>
              <a:gd name="T10" fmla="*/ 0 w 1361"/>
              <a:gd name="T11" fmla="*/ 214 h 491"/>
              <a:gd name="T12" fmla="*/ 0 60000 65536"/>
              <a:gd name="T13" fmla="*/ 0 60000 65536"/>
              <a:gd name="T14" fmla="*/ 0 60000 65536"/>
              <a:gd name="T15" fmla="*/ 0 60000 65536"/>
              <a:gd name="T16" fmla="*/ 0 60000 65536"/>
              <a:gd name="T17" fmla="*/ 0 60000 65536"/>
              <a:gd name="T18" fmla="*/ 0 w 1361"/>
              <a:gd name="T19" fmla="*/ 0 h 491"/>
              <a:gd name="T20" fmla="*/ 1361 w 1361"/>
              <a:gd name="T21" fmla="*/ 491 h 491"/>
            </a:gdLst>
            <a:ahLst/>
            <a:cxnLst>
              <a:cxn ang="T12">
                <a:pos x="T0" y="T1"/>
              </a:cxn>
              <a:cxn ang="T13">
                <a:pos x="T2" y="T3"/>
              </a:cxn>
              <a:cxn ang="T14">
                <a:pos x="T4" y="T5"/>
              </a:cxn>
              <a:cxn ang="T15">
                <a:pos x="T6" y="T7"/>
              </a:cxn>
              <a:cxn ang="T16">
                <a:pos x="T8" y="T9"/>
              </a:cxn>
              <a:cxn ang="T17">
                <a:pos x="T10" y="T11"/>
              </a:cxn>
            </a:cxnLst>
            <a:rect l="T18" t="T19" r="T20" b="T21"/>
            <a:pathLst>
              <a:path w="1361" h="491">
                <a:moveTo>
                  <a:pt x="0" y="214"/>
                </a:moveTo>
                <a:cubicBezTo>
                  <a:pt x="0" y="491"/>
                  <a:pt x="0" y="491"/>
                  <a:pt x="0" y="491"/>
                </a:cubicBezTo>
                <a:cubicBezTo>
                  <a:pt x="1361" y="491"/>
                  <a:pt x="1361" y="491"/>
                  <a:pt x="1361" y="491"/>
                </a:cubicBezTo>
                <a:cubicBezTo>
                  <a:pt x="1361" y="0"/>
                  <a:pt x="1361" y="0"/>
                  <a:pt x="1361" y="0"/>
                </a:cubicBezTo>
                <a:cubicBezTo>
                  <a:pt x="341" y="0"/>
                  <a:pt x="341" y="0"/>
                  <a:pt x="341" y="0"/>
                </a:cubicBezTo>
                <a:cubicBezTo>
                  <a:pt x="274" y="122"/>
                  <a:pt x="147" y="206"/>
                  <a:pt x="0" y="214"/>
                </a:cubicBezTo>
                <a:close/>
              </a:path>
            </a:pathLst>
          </a:custGeom>
          <a:solidFill>
            <a:srgbClr val="CCCCCC">
              <a:alpha val="50196"/>
            </a:srgbClr>
          </a:solidFill>
          <a:ln w="19050" cmpd="sng">
            <a:noFill/>
            <a:round/>
            <a:headEnd/>
            <a:tailEnd/>
          </a:ln>
        </p:spPr>
        <p:txBody>
          <a:bodyPr lIns="88756" tIns="44378" rIns="88756" bIns="44378"/>
          <a:lstStyle/>
          <a:p>
            <a:endParaRPr lang="en-US" sz="1747" dirty="0">
              <a:latin typeface="+mj-lt"/>
            </a:endParaRPr>
          </a:p>
        </p:txBody>
      </p:sp>
      <p:sp>
        <p:nvSpPr>
          <p:cNvPr id="211978" name="Oval 10"/>
          <p:cNvSpPr>
            <a:spLocks noChangeArrowheads="1"/>
          </p:cNvSpPr>
          <p:nvPr/>
        </p:nvSpPr>
        <p:spPr bwMode="gray">
          <a:xfrm>
            <a:off x="5069082" y="2413518"/>
            <a:ext cx="2699405" cy="2697814"/>
          </a:xfrm>
          <a:prstGeom prst="ellipse">
            <a:avLst/>
          </a:prstGeom>
          <a:solidFill>
            <a:schemeClr val="accent3"/>
          </a:solidFill>
          <a:ln w="19050">
            <a:noFill/>
            <a:round/>
            <a:headEnd/>
            <a:tailEnd/>
          </a:ln>
          <a:effectLst>
            <a:outerShdw blurRad="63500" sx="102000" sy="102000" algn="ctr" rotWithShape="0">
              <a:prstClr val="black">
                <a:alpha val="40000"/>
              </a:prstClr>
            </a:outerShdw>
          </a:effectLst>
        </p:spPr>
        <p:txBody>
          <a:bodyPr lIns="88756" tIns="44378" rIns="88756" bIns="44378" anchor="ctr"/>
          <a:lstStyle/>
          <a:p>
            <a:pPr algn="ctr">
              <a:defRPr/>
            </a:pPr>
            <a:r>
              <a:rPr lang="en-US" sz="1941" dirty="0">
                <a:solidFill>
                  <a:srgbClr val="FFFFFF"/>
                </a:solidFill>
                <a:latin typeface="+mj-lt"/>
              </a:rPr>
              <a:t>Text</a:t>
            </a:r>
          </a:p>
        </p:txBody>
      </p:sp>
      <p:sp>
        <p:nvSpPr>
          <p:cNvPr id="146444" name="Freeform 11"/>
          <p:cNvSpPr>
            <a:spLocks/>
          </p:cNvSpPr>
          <p:nvPr/>
        </p:nvSpPr>
        <p:spPr bwMode="gray">
          <a:xfrm>
            <a:off x="1266296" y="3834671"/>
            <a:ext cx="3803227" cy="663937"/>
          </a:xfrm>
          <a:custGeom>
            <a:avLst/>
            <a:gdLst>
              <a:gd name="T0" fmla="*/ 0 w 1019"/>
              <a:gd name="T1" fmla="*/ 0 h 178"/>
              <a:gd name="T2" fmla="*/ 0 w 1019"/>
              <a:gd name="T3" fmla="*/ 178 h 178"/>
              <a:gd name="T4" fmla="*/ 1019 w 1019"/>
              <a:gd name="T5" fmla="*/ 178 h 178"/>
              <a:gd name="T6" fmla="*/ 969 w 1019"/>
              <a:gd name="T7" fmla="*/ 0 h 178"/>
              <a:gd name="T8" fmla="*/ 0 w 1019"/>
              <a:gd name="T9" fmla="*/ 0 h 178"/>
              <a:gd name="T10" fmla="*/ 0 60000 65536"/>
              <a:gd name="T11" fmla="*/ 0 60000 65536"/>
              <a:gd name="T12" fmla="*/ 0 60000 65536"/>
              <a:gd name="T13" fmla="*/ 0 60000 65536"/>
              <a:gd name="T14" fmla="*/ 0 60000 65536"/>
              <a:gd name="T15" fmla="*/ 0 w 1019"/>
              <a:gd name="T16" fmla="*/ 0 h 178"/>
              <a:gd name="T17" fmla="*/ 1019 w 1019"/>
              <a:gd name="T18" fmla="*/ 178 h 178"/>
            </a:gdLst>
            <a:ahLst/>
            <a:cxnLst>
              <a:cxn ang="T10">
                <a:pos x="T0" y="T1"/>
              </a:cxn>
              <a:cxn ang="T11">
                <a:pos x="T2" y="T3"/>
              </a:cxn>
              <a:cxn ang="T12">
                <a:pos x="T4" y="T5"/>
              </a:cxn>
              <a:cxn ang="T13">
                <a:pos x="T6" y="T7"/>
              </a:cxn>
              <a:cxn ang="T14">
                <a:pos x="T8" y="T9"/>
              </a:cxn>
            </a:cxnLst>
            <a:rect l="T15" t="T16" r="T17" b="T18"/>
            <a:pathLst>
              <a:path w="1019" h="178">
                <a:moveTo>
                  <a:pt x="0" y="0"/>
                </a:moveTo>
                <a:cubicBezTo>
                  <a:pt x="0" y="178"/>
                  <a:pt x="0" y="178"/>
                  <a:pt x="0" y="178"/>
                </a:cubicBezTo>
                <a:cubicBezTo>
                  <a:pt x="1019" y="178"/>
                  <a:pt x="1019" y="178"/>
                  <a:pt x="1019" y="178"/>
                </a:cubicBezTo>
                <a:cubicBezTo>
                  <a:pt x="990" y="125"/>
                  <a:pt x="972" y="65"/>
                  <a:pt x="969" y="0"/>
                </a:cubicBezTo>
                <a:lnTo>
                  <a:pt x="0" y="0"/>
                </a:lnTo>
                <a:close/>
              </a:path>
            </a:pathLst>
          </a:custGeom>
          <a:solidFill>
            <a:schemeClr val="bg1">
              <a:lumMod val="50000"/>
            </a:schemeClr>
          </a:solidFill>
          <a:ln w="19050">
            <a:solidFill>
              <a:schemeClr val="accent4"/>
            </a:solidFill>
            <a:round/>
            <a:headEnd/>
            <a:tailEnd/>
          </a:ln>
        </p:spPr>
        <p:txBody>
          <a:bodyPr lIns="88756" tIns="44378" rIns="88756" bIns="44378" anchor="ctr"/>
          <a:lstStyle/>
          <a:p>
            <a:pPr algn="ctr"/>
            <a:r>
              <a:rPr lang="en-CA" sz="1941" dirty="0">
                <a:solidFill>
                  <a:srgbClr val="FFFFFF"/>
                </a:solidFill>
                <a:latin typeface="+mj-lt"/>
              </a:rPr>
              <a:t>Text</a:t>
            </a:r>
          </a:p>
        </p:txBody>
      </p:sp>
      <p:sp>
        <p:nvSpPr>
          <p:cNvPr id="146445" name="Freeform 12"/>
          <p:cNvSpPr>
            <a:spLocks/>
          </p:cNvSpPr>
          <p:nvPr/>
        </p:nvSpPr>
        <p:spPr bwMode="gray">
          <a:xfrm>
            <a:off x="7768047" y="3834671"/>
            <a:ext cx="3806946" cy="663937"/>
          </a:xfrm>
          <a:custGeom>
            <a:avLst/>
            <a:gdLst>
              <a:gd name="T0" fmla="*/ 50 w 1020"/>
              <a:gd name="T1" fmla="*/ 0 h 178"/>
              <a:gd name="T2" fmla="*/ 0 w 1020"/>
              <a:gd name="T3" fmla="*/ 178 h 178"/>
              <a:gd name="T4" fmla="*/ 1020 w 1020"/>
              <a:gd name="T5" fmla="*/ 178 h 178"/>
              <a:gd name="T6" fmla="*/ 1020 w 1020"/>
              <a:gd name="T7" fmla="*/ 0 h 178"/>
              <a:gd name="T8" fmla="*/ 50 w 1020"/>
              <a:gd name="T9" fmla="*/ 0 h 178"/>
              <a:gd name="T10" fmla="*/ 0 60000 65536"/>
              <a:gd name="T11" fmla="*/ 0 60000 65536"/>
              <a:gd name="T12" fmla="*/ 0 60000 65536"/>
              <a:gd name="T13" fmla="*/ 0 60000 65536"/>
              <a:gd name="T14" fmla="*/ 0 60000 65536"/>
              <a:gd name="T15" fmla="*/ 0 w 1020"/>
              <a:gd name="T16" fmla="*/ 0 h 178"/>
              <a:gd name="T17" fmla="*/ 1020 w 1020"/>
              <a:gd name="T18" fmla="*/ 178 h 178"/>
            </a:gdLst>
            <a:ahLst/>
            <a:cxnLst>
              <a:cxn ang="T10">
                <a:pos x="T0" y="T1"/>
              </a:cxn>
              <a:cxn ang="T11">
                <a:pos x="T2" y="T3"/>
              </a:cxn>
              <a:cxn ang="T12">
                <a:pos x="T4" y="T5"/>
              </a:cxn>
              <a:cxn ang="T13">
                <a:pos x="T6" y="T7"/>
              </a:cxn>
              <a:cxn ang="T14">
                <a:pos x="T8" y="T9"/>
              </a:cxn>
            </a:cxnLst>
            <a:rect l="T15" t="T16" r="T17" b="T18"/>
            <a:pathLst>
              <a:path w="1020" h="178">
                <a:moveTo>
                  <a:pt x="50" y="0"/>
                </a:moveTo>
                <a:cubicBezTo>
                  <a:pt x="47" y="65"/>
                  <a:pt x="29" y="125"/>
                  <a:pt x="0" y="178"/>
                </a:cubicBezTo>
                <a:cubicBezTo>
                  <a:pt x="1020" y="178"/>
                  <a:pt x="1020" y="178"/>
                  <a:pt x="1020" y="178"/>
                </a:cubicBezTo>
                <a:cubicBezTo>
                  <a:pt x="1020" y="0"/>
                  <a:pt x="1020" y="0"/>
                  <a:pt x="1020" y="0"/>
                </a:cubicBezTo>
                <a:lnTo>
                  <a:pt x="50" y="0"/>
                </a:lnTo>
                <a:close/>
              </a:path>
            </a:pathLst>
          </a:custGeom>
          <a:solidFill>
            <a:schemeClr val="bg1">
              <a:lumMod val="50000"/>
            </a:schemeClr>
          </a:solidFill>
          <a:ln w="19050">
            <a:solidFill>
              <a:schemeClr val="accent4"/>
            </a:solidFill>
            <a:round/>
            <a:headEnd/>
            <a:tailEnd/>
          </a:ln>
        </p:spPr>
        <p:txBody>
          <a:bodyPr lIns="88756" tIns="44378" rIns="88756" bIns="44378" anchor="ctr"/>
          <a:lstStyle/>
          <a:p>
            <a:pPr algn="ctr"/>
            <a:r>
              <a:rPr lang="en-CA" sz="1941" dirty="0">
                <a:solidFill>
                  <a:srgbClr val="FFFFFF"/>
                </a:solidFill>
                <a:latin typeface="+mj-lt"/>
              </a:rPr>
              <a:t>Text</a:t>
            </a:r>
          </a:p>
        </p:txBody>
      </p:sp>
      <p:sp>
        <p:nvSpPr>
          <p:cNvPr id="2" name="BainBulletsConfiguration" hidden="1"/>
          <p:cNvSpPr txBox="1"/>
          <p:nvPr/>
        </p:nvSpPr>
        <p:spPr>
          <a:xfrm>
            <a:off x="1712288" y="12323"/>
            <a:ext cx="8626466" cy="107722"/>
          </a:xfrm>
          <a:prstGeom prst="rect">
            <a:avLst/>
          </a:prstGeom>
          <a:noFill/>
        </p:spPr>
        <p:txBody>
          <a:bodyPr vert="horz" wrap="square" lIns="44365" rIns="44365" rtlCol="0">
            <a:spAutoFit/>
          </a:bodyPr>
          <a:lstStyle/>
          <a:p>
            <a:endParaRPr lang="en-CA" sz="100" dirty="0">
              <a:solidFill>
                <a:srgbClr val="FFFFFF"/>
              </a:solidFill>
            </a:endParaRPr>
          </a:p>
        </p:txBody>
      </p:sp>
    </p:spTree>
    <p:custDataLst>
      <p:tags r:id="rId1"/>
    </p:custDataLst>
    <p:extLst>
      <p:ext uri="{BB962C8B-B14F-4D97-AF65-F5344CB8AC3E}">
        <p14:creationId xmlns:p14="http://schemas.microsoft.com/office/powerpoint/2010/main" val="295810278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7" name="Title 1"/>
          <p:cNvSpPr>
            <a:spLocks noGrp="1"/>
          </p:cNvSpPr>
          <p:nvPr>
            <p:ph type="title"/>
          </p:nvPr>
        </p:nvSpPr>
        <p:spPr bwMode="gray"/>
        <p:txBody>
          <a:bodyPr/>
          <a:lstStyle/>
          <a:p>
            <a:r>
              <a:rPr lang="en-US" smtClean="0"/>
              <a:t>Org chart (5 boxes)</a:t>
            </a:r>
          </a:p>
        </p:txBody>
      </p:sp>
      <p:sp>
        <p:nvSpPr>
          <p:cNvPr id="2" name="BainBulletsConfiguration" hidden="1"/>
          <p:cNvSpPr txBox="1"/>
          <p:nvPr/>
        </p:nvSpPr>
        <p:spPr>
          <a:xfrm>
            <a:off x="1712288" y="12323"/>
            <a:ext cx="8626466" cy="107722"/>
          </a:xfrm>
          <a:prstGeom prst="rect">
            <a:avLst/>
          </a:prstGeom>
          <a:noFill/>
        </p:spPr>
        <p:txBody>
          <a:bodyPr vert="horz" wrap="square" lIns="44365" rIns="44365" rtlCol="0">
            <a:spAutoFit/>
          </a:bodyPr>
          <a:lstStyle/>
          <a:p>
            <a:r>
              <a:rPr lang="en-CA" sz="100">
                <a:solidFill>
                  <a:srgbClr val="FFFFFF"/>
                </a:solidFill>
              </a:rPr>
              <a:t>3_85 42_85 44_85 46_85 48_85</a:t>
            </a:r>
            <a:endParaRPr lang="en-CA" sz="100" dirty="0">
              <a:solidFill>
                <a:srgbClr val="FFFFFF"/>
              </a:solidFill>
            </a:endParaRPr>
          </a:p>
        </p:txBody>
      </p:sp>
      <p:sp>
        <p:nvSpPr>
          <p:cNvPr id="244738" name="KMA1D1FEAF"/>
          <p:cNvSpPr>
            <a:spLocks noChangeArrowheads="1"/>
          </p:cNvSpPr>
          <p:nvPr>
            <p:custDataLst>
              <p:tags r:id="rId1"/>
            </p:custDataLst>
          </p:nvPr>
        </p:nvSpPr>
        <p:spPr bwMode="gray">
          <a:xfrm>
            <a:off x="386688" y="3020804"/>
            <a:ext cx="1422104" cy="325830"/>
          </a:xfrm>
          <a:prstGeom prst="rect">
            <a:avLst/>
          </a:prstGeom>
          <a:noFill/>
          <a:ln w="9525">
            <a:noFill/>
            <a:miter lim="800000"/>
            <a:headEnd/>
            <a:tailEnd/>
          </a:ln>
        </p:spPr>
        <p:txBody>
          <a:bodyPr wrap="none" lIns="42710" tIns="43007" rIns="42710" bIns="43007">
            <a:spAutoFit/>
          </a:bodyPr>
          <a:lstStyle/>
          <a:p>
            <a:pPr defTabSz="854984">
              <a:spcBef>
                <a:spcPct val="20000"/>
              </a:spcBef>
              <a:buClr>
                <a:schemeClr val="tx1"/>
              </a:buClr>
            </a:pPr>
            <a:r>
              <a:rPr lang="en-US" sz="1553" dirty="0">
                <a:latin typeface="Verdana" pitchFamily="34" charset="0"/>
              </a:rPr>
              <a:t>Side title:</a:t>
            </a:r>
          </a:p>
        </p:txBody>
      </p:sp>
      <p:sp>
        <p:nvSpPr>
          <p:cNvPr id="244739" name="Rectangle 3"/>
          <p:cNvSpPr>
            <a:spLocks noChangeArrowheads="1"/>
          </p:cNvSpPr>
          <p:nvPr/>
        </p:nvSpPr>
        <p:spPr bwMode="gray">
          <a:xfrm>
            <a:off x="386688" y="4225427"/>
            <a:ext cx="1422104" cy="325830"/>
          </a:xfrm>
          <a:prstGeom prst="rect">
            <a:avLst/>
          </a:prstGeom>
          <a:noFill/>
          <a:ln w="9525">
            <a:noFill/>
            <a:miter lim="800000"/>
            <a:headEnd/>
            <a:tailEnd/>
          </a:ln>
        </p:spPr>
        <p:txBody>
          <a:bodyPr wrap="none" lIns="42710" tIns="43007" rIns="42710" bIns="43007">
            <a:spAutoFit/>
          </a:bodyPr>
          <a:lstStyle/>
          <a:p>
            <a:pPr defTabSz="854984">
              <a:spcBef>
                <a:spcPct val="20000"/>
              </a:spcBef>
              <a:buClr>
                <a:schemeClr val="tx1"/>
              </a:buClr>
            </a:pPr>
            <a:r>
              <a:rPr lang="en-US" sz="1553" dirty="0">
                <a:latin typeface="Verdana" pitchFamily="34" charset="0"/>
              </a:rPr>
              <a:t>Side title:</a:t>
            </a:r>
          </a:p>
        </p:txBody>
      </p:sp>
      <p:sp>
        <p:nvSpPr>
          <p:cNvPr id="244740" name="Rectangle 4"/>
          <p:cNvSpPr>
            <a:spLocks noChangeArrowheads="1"/>
          </p:cNvSpPr>
          <p:nvPr/>
        </p:nvSpPr>
        <p:spPr bwMode="gray">
          <a:xfrm>
            <a:off x="2722377" y="4245453"/>
            <a:ext cx="417807" cy="282103"/>
          </a:xfrm>
          <a:prstGeom prst="rect">
            <a:avLst/>
          </a:prstGeom>
          <a:noFill/>
          <a:ln w="9525">
            <a:noFill/>
            <a:miter lim="800000"/>
            <a:headEnd/>
            <a:tailEnd/>
          </a:ln>
        </p:spPr>
        <p:txBody>
          <a:bodyPr wrap="none" lIns="0" tIns="42710" rIns="0" bIns="0">
            <a:spAutoFit/>
          </a:bodyPr>
          <a:lstStyle/>
          <a:p>
            <a:pPr algn="ctr" defTabSz="854984">
              <a:spcBef>
                <a:spcPct val="50000"/>
              </a:spcBef>
              <a:buClr>
                <a:schemeClr val="tx1"/>
              </a:buClr>
            </a:pPr>
            <a:r>
              <a:rPr lang="en-US" sz="1553" dirty="0">
                <a:latin typeface="Verdana" pitchFamily="34" charset="0"/>
              </a:rPr>
              <a:t>Text</a:t>
            </a:r>
          </a:p>
        </p:txBody>
      </p:sp>
      <p:sp>
        <p:nvSpPr>
          <p:cNvPr id="244741" name="Rectangle 5"/>
          <p:cNvSpPr>
            <a:spLocks noChangeArrowheads="1"/>
          </p:cNvSpPr>
          <p:nvPr/>
        </p:nvSpPr>
        <p:spPr bwMode="gray">
          <a:xfrm>
            <a:off x="6967480" y="4245453"/>
            <a:ext cx="417807" cy="282103"/>
          </a:xfrm>
          <a:prstGeom prst="rect">
            <a:avLst/>
          </a:prstGeom>
          <a:noFill/>
          <a:ln w="9525">
            <a:noFill/>
            <a:miter lim="800000"/>
            <a:headEnd/>
            <a:tailEnd/>
          </a:ln>
        </p:spPr>
        <p:txBody>
          <a:bodyPr wrap="none" lIns="0" tIns="42710" rIns="0" bIns="0">
            <a:spAutoFit/>
          </a:bodyPr>
          <a:lstStyle/>
          <a:p>
            <a:pPr algn="ctr" defTabSz="854984">
              <a:spcBef>
                <a:spcPct val="50000"/>
              </a:spcBef>
              <a:buClr>
                <a:schemeClr val="tx1"/>
              </a:buClr>
            </a:pPr>
            <a:r>
              <a:rPr lang="en-US" sz="1553" dirty="0">
                <a:latin typeface="Verdana" pitchFamily="34" charset="0"/>
              </a:rPr>
              <a:t>Text</a:t>
            </a:r>
          </a:p>
        </p:txBody>
      </p:sp>
      <p:sp>
        <p:nvSpPr>
          <p:cNvPr id="244742" name="Rectangle 6"/>
          <p:cNvSpPr>
            <a:spLocks noChangeArrowheads="1"/>
          </p:cNvSpPr>
          <p:nvPr/>
        </p:nvSpPr>
        <p:spPr bwMode="gray">
          <a:xfrm>
            <a:off x="2701411" y="5659577"/>
            <a:ext cx="493725" cy="282103"/>
          </a:xfrm>
          <a:prstGeom prst="rect">
            <a:avLst/>
          </a:prstGeom>
          <a:noFill/>
          <a:ln w="9525">
            <a:noFill/>
            <a:miter lim="800000"/>
            <a:headEnd/>
            <a:tailEnd/>
          </a:ln>
        </p:spPr>
        <p:txBody>
          <a:bodyPr wrap="none" lIns="0" tIns="42710" rIns="0" bIns="0">
            <a:spAutoFit/>
          </a:bodyPr>
          <a:lstStyle/>
          <a:p>
            <a:pPr algn="ctr" defTabSz="854984">
              <a:spcBef>
                <a:spcPct val="50000"/>
              </a:spcBef>
            </a:pPr>
            <a:r>
              <a:rPr lang="en-US" sz="1553" b="1" dirty="0">
                <a:solidFill>
                  <a:schemeClr val="accent3"/>
                </a:solidFill>
                <a:latin typeface="Verdana" pitchFamily="34" charset="0"/>
              </a:rPr>
              <a:t>Text</a:t>
            </a:r>
          </a:p>
        </p:txBody>
      </p:sp>
      <p:sp>
        <p:nvSpPr>
          <p:cNvPr id="244743" name="Rectangle 7"/>
          <p:cNvSpPr>
            <a:spLocks noChangeArrowheads="1"/>
          </p:cNvSpPr>
          <p:nvPr/>
        </p:nvSpPr>
        <p:spPr bwMode="gray">
          <a:xfrm>
            <a:off x="6948573" y="5659577"/>
            <a:ext cx="493725" cy="282103"/>
          </a:xfrm>
          <a:prstGeom prst="rect">
            <a:avLst/>
          </a:prstGeom>
          <a:noFill/>
          <a:ln w="9525">
            <a:noFill/>
            <a:miter lim="800000"/>
            <a:headEnd/>
            <a:tailEnd/>
          </a:ln>
        </p:spPr>
        <p:txBody>
          <a:bodyPr wrap="none" lIns="0" tIns="42710" rIns="0" bIns="0">
            <a:spAutoFit/>
          </a:bodyPr>
          <a:lstStyle/>
          <a:p>
            <a:pPr algn="ctr" defTabSz="854984">
              <a:spcBef>
                <a:spcPct val="50000"/>
              </a:spcBef>
            </a:pPr>
            <a:r>
              <a:rPr lang="en-US" sz="1553" b="1" dirty="0">
                <a:solidFill>
                  <a:schemeClr val="accent3"/>
                </a:solidFill>
                <a:latin typeface="Verdana" pitchFamily="34" charset="0"/>
              </a:rPr>
              <a:t>Text</a:t>
            </a:r>
          </a:p>
        </p:txBody>
      </p:sp>
      <p:sp>
        <p:nvSpPr>
          <p:cNvPr id="244744" name="AutoShape 11"/>
          <p:cNvSpPr>
            <a:spLocks noChangeArrowheads="1"/>
          </p:cNvSpPr>
          <p:nvPr>
            <p:custDataLst>
              <p:tags r:id="rId2"/>
            </p:custDataLst>
          </p:nvPr>
        </p:nvSpPr>
        <p:spPr bwMode="gray">
          <a:xfrm>
            <a:off x="2379540" y="4969460"/>
            <a:ext cx="1128184" cy="397434"/>
          </a:xfrm>
          <a:prstGeom prst="downArrow">
            <a:avLst>
              <a:gd name="adj1" fmla="val 50000"/>
              <a:gd name="adj2" fmla="val 50014"/>
            </a:avLst>
          </a:prstGeom>
          <a:solidFill>
            <a:schemeClr val="accent3"/>
          </a:solidFill>
          <a:ln w="12700">
            <a:noFill/>
            <a:miter lim="800000"/>
            <a:headEnd/>
            <a:tailEnd/>
          </a:ln>
        </p:spPr>
        <p:txBody>
          <a:bodyPr wrap="none" lIns="85410" tIns="42705" rIns="85410" bIns="42705" anchor="ctr"/>
          <a:lstStyle/>
          <a:p>
            <a:pPr algn="ctr" defTabSz="854984"/>
            <a:endParaRPr lang="en-US" sz="1553" noProof="1">
              <a:latin typeface="Verdana" pitchFamily="34" charset="0"/>
            </a:endParaRPr>
          </a:p>
        </p:txBody>
      </p:sp>
      <p:sp>
        <p:nvSpPr>
          <p:cNvPr id="244745" name="AutoShape 12"/>
          <p:cNvSpPr>
            <a:spLocks noChangeArrowheads="1"/>
          </p:cNvSpPr>
          <p:nvPr>
            <p:custDataLst>
              <p:tags r:id="rId3"/>
            </p:custDataLst>
          </p:nvPr>
        </p:nvSpPr>
        <p:spPr bwMode="gray">
          <a:xfrm>
            <a:off x="6626702" y="4969460"/>
            <a:ext cx="1126124" cy="397434"/>
          </a:xfrm>
          <a:prstGeom prst="downArrow">
            <a:avLst>
              <a:gd name="adj1" fmla="val 50000"/>
              <a:gd name="adj2" fmla="val 50014"/>
            </a:avLst>
          </a:prstGeom>
          <a:solidFill>
            <a:schemeClr val="accent3"/>
          </a:solidFill>
          <a:ln w="12700">
            <a:noFill/>
            <a:miter lim="800000"/>
            <a:headEnd/>
            <a:tailEnd/>
          </a:ln>
        </p:spPr>
        <p:txBody>
          <a:bodyPr wrap="none" lIns="85410" tIns="42705" rIns="85410" bIns="42705" anchor="ctr"/>
          <a:lstStyle/>
          <a:p>
            <a:pPr algn="ctr" defTabSz="854984"/>
            <a:endParaRPr lang="en-US" sz="1553" noProof="1">
              <a:latin typeface="Verdana" pitchFamily="34" charset="0"/>
            </a:endParaRPr>
          </a:p>
        </p:txBody>
      </p:sp>
      <p:sp>
        <p:nvSpPr>
          <p:cNvPr id="244746" name="Rectangle 13"/>
          <p:cNvSpPr>
            <a:spLocks noChangeArrowheads="1"/>
          </p:cNvSpPr>
          <p:nvPr/>
        </p:nvSpPr>
        <p:spPr bwMode="gray">
          <a:xfrm>
            <a:off x="4842869" y="4245453"/>
            <a:ext cx="417807" cy="282103"/>
          </a:xfrm>
          <a:prstGeom prst="rect">
            <a:avLst/>
          </a:prstGeom>
          <a:noFill/>
          <a:ln w="9525">
            <a:noFill/>
            <a:miter lim="800000"/>
            <a:headEnd/>
            <a:tailEnd/>
          </a:ln>
        </p:spPr>
        <p:txBody>
          <a:bodyPr wrap="none" lIns="0" tIns="42710" rIns="0" bIns="0">
            <a:spAutoFit/>
          </a:bodyPr>
          <a:lstStyle/>
          <a:p>
            <a:pPr algn="ctr" defTabSz="854984">
              <a:spcBef>
                <a:spcPct val="50000"/>
              </a:spcBef>
              <a:buClr>
                <a:schemeClr val="tx1"/>
              </a:buClr>
            </a:pPr>
            <a:r>
              <a:rPr lang="en-US" sz="1553" dirty="0">
                <a:latin typeface="Verdana" pitchFamily="34" charset="0"/>
              </a:rPr>
              <a:t>Text</a:t>
            </a:r>
          </a:p>
        </p:txBody>
      </p:sp>
      <p:sp>
        <p:nvSpPr>
          <p:cNvPr id="244747" name="Rectangle 14"/>
          <p:cNvSpPr>
            <a:spLocks noChangeArrowheads="1"/>
          </p:cNvSpPr>
          <p:nvPr/>
        </p:nvSpPr>
        <p:spPr bwMode="gray">
          <a:xfrm>
            <a:off x="4823962" y="5659577"/>
            <a:ext cx="493725" cy="282103"/>
          </a:xfrm>
          <a:prstGeom prst="rect">
            <a:avLst/>
          </a:prstGeom>
          <a:noFill/>
          <a:ln w="9525">
            <a:noFill/>
            <a:miter lim="800000"/>
            <a:headEnd/>
            <a:tailEnd/>
          </a:ln>
        </p:spPr>
        <p:txBody>
          <a:bodyPr wrap="none" lIns="0" tIns="42710" rIns="0" bIns="0">
            <a:spAutoFit/>
          </a:bodyPr>
          <a:lstStyle/>
          <a:p>
            <a:pPr algn="ctr" defTabSz="854984">
              <a:spcBef>
                <a:spcPct val="50000"/>
              </a:spcBef>
            </a:pPr>
            <a:r>
              <a:rPr lang="en-US" sz="1553" b="1" dirty="0">
                <a:solidFill>
                  <a:schemeClr val="accent3"/>
                </a:solidFill>
                <a:latin typeface="Verdana" pitchFamily="34" charset="0"/>
              </a:rPr>
              <a:t>Text</a:t>
            </a:r>
          </a:p>
        </p:txBody>
      </p:sp>
      <p:sp>
        <p:nvSpPr>
          <p:cNvPr id="244748" name="AutoShape 15"/>
          <p:cNvSpPr>
            <a:spLocks noChangeArrowheads="1"/>
          </p:cNvSpPr>
          <p:nvPr>
            <p:custDataLst>
              <p:tags r:id="rId4"/>
            </p:custDataLst>
          </p:nvPr>
        </p:nvSpPr>
        <p:spPr bwMode="gray">
          <a:xfrm>
            <a:off x="4502092" y="4969460"/>
            <a:ext cx="1126124" cy="397434"/>
          </a:xfrm>
          <a:prstGeom prst="downArrow">
            <a:avLst>
              <a:gd name="adj1" fmla="val 50000"/>
              <a:gd name="adj2" fmla="val 50014"/>
            </a:avLst>
          </a:prstGeom>
          <a:solidFill>
            <a:schemeClr val="accent3"/>
          </a:solidFill>
          <a:ln w="12700">
            <a:noFill/>
            <a:miter lim="800000"/>
            <a:headEnd/>
            <a:tailEnd/>
          </a:ln>
        </p:spPr>
        <p:txBody>
          <a:bodyPr wrap="none" lIns="85410" tIns="42705" rIns="85410" bIns="42705" anchor="ctr"/>
          <a:lstStyle/>
          <a:p>
            <a:pPr algn="ctr" defTabSz="854984"/>
            <a:endParaRPr lang="en-US" sz="1553" noProof="1">
              <a:latin typeface="Verdana" pitchFamily="34" charset="0"/>
            </a:endParaRPr>
          </a:p>
        </p:txBody>
      </p:sp>
      <p:sp>
        <p:nvSpPr>
          <p:cNvPr id="244749" name="Rectangle 18"/>
          <p:cNvSpPr>
            <a:spLocks noChangeArrowheads="1"/>
          </p:cNvSpPr>
          <p:nvPr/>
        </p:nvSpPr>
        <p:spPr bwMode="gray">
          <a:xfrm>
            <a:off x="9092089" y="4245453"/>
            <a:ext cx="417807" cy="282103"/>
          </a:xfrm>
          <a:prstGeom prst="rect">
            <a:avLst/>
          </a:prstGeom>
          <a:noFill/>
          <a:ln w="9525">
            <a:noFill/>
            <a:miter lim="800000"/>
            <a:headEnd/>
            <a:tailEnd/>
          </a:ln>
        </p:spPr>
        <p:txBody>
          <a:bodyPr wrap="none" lIns="0" tIns="42710" rIns="0" bIns="0">
            <a:spAutoFit/>
          </a:bodyPr>
          <a:lstStyle/>
          <a:p>
            <a:pPr algn="ctr" defTabSz="854984">
              <a:spcBef>
                <a:spcPct val="50000"/>
              </a:spcBef>
              <a:buClr>
                <a:schemeClr val="tx1"/>
              </a:buClr>
            </a:pPr>
            <a:r>
              <a:rPr lang="en-US" sz="1553" dirty="0">
                <a:latin typeface="Verdana" pitchFamily="34" charset="0"/>
              </a:rPr>
              <a:t>Text</a:t>
            </a:r>
          </a:p>
        </p:txBody>
      </p:sp>
      <p:sp>
        <p:nvSpPr>
          <p:cNvPr id="244750" name="Rectangle 19"/>
          <p:cNvSpPr>
            <a:spLocks noChangeArrowheads="1"/>
          </p:cNvSpPr>
          <p:nvPr/>
        </p:nvSpPr>
        <p:spPr bwMode="gray">
          <a:xfrm>
            <a:off x="9073182" y="5659577"/>
            <a:ext cx="493725" cy="282103"/>
          </a:xfrm>
          <a:prstGeom prst="rect">
            <a:avLst/>
          </a:prstGeom>
          <a:noFill/>
          <a:ln w="9525">
            <a:noFill/>
            <a:miter lim="800000"/>
            <a:headEnd/>
            <a:tailEnd/>
          </a:ln>
        </p:spPr>
        <p:txBody>
          <a:bodyPr wrap="none" lIns="0" tIns="42710" rIns="0" bIns="0">
            <a:spAutoFit/>
          </a:bodyPr>
          <a:lstStyle/>
          <a:p>
            <a:pPr algn="ctr" defTabSz="854984">
              <a:spcBef>
                <a:spcPct val="50000"/>
              </a:spcBef>
            </a:pPr>
            <a:r>
              <a:rPr lang="en-US" sz="1553" b="1" dirty="0">
                <a:solidFill>
                  <a:schemeClr val="accent3"/>
                </a:solidFill>
                <a:latin typeface="Verdana" pitchFamily="34" charset="0"/>
              </a:rPr>
              <a:t>Text</a:t>
            </a:r>
          </a:p>
        </p:txBody>
      </p:sp>
      <p:sp>
        <p:nvSpPr>
          <p:cNvPr id="244751" name="AutoShape 20"/>
          <p:cNvSpPr>
            <a:spLocks noChangeArrowheads="1"/>
          </p:cNvSpPr>
          <p:nvPr>
            <p:custDataLst>
              <p:tags r:id="rId5"/>
            </p:custDataLst>
          </p:nvPr>
        </p:nvSpPr>
        <p:spPr bwMode="gray">
          <a:xfrm>
            <a:off x="8751312" y="4969460"/>
            <a:ext cx="1126124" cy="397434"/>
          </a:xfrm>
          <a:prstGeom prst="downArrow">
            <a:avLst>
              <a:gd name="adj1" fmla="val 50000"/>
              <a:gd name="adj2" fmla="val 50014"/>
            </a:avLst>
          </a:prstGeom>
          <a:solidFill>
            <a:schemeClr val="accent3"/>
          </a:solidFill>
          <a:ln w="12700">
            <a:noFill/>
            <a:miter lim="800000"/>
            <a:headEnd/>
            <a:tailEnd/>
          </a:ln>
        </p:spPr>
        <p:txBody>
          <a:bodyPr wrap="none" lIns="85410" tIns="42705" rIns="85410" bIns="42705" anchor="ctr"/>
          <a:lstStyle/>
          <a:p>
            <a:pPr algn="ctr" defTabSz="854984"/>
            <a:endParaRPr lang="en-US" sz="1553" noProof="1">
              <a:latin typeface="Verdana" pitchFamily="34" charset="0"/>
            </a:endParaRPr>
          </a:p>
        </p:txBody>
      </p:sp>
      <p:sp>
        <p:nvSpPr>
          <p:cNvPr id="244761" name="Rectangle 22"/>
          <p:cNvSpPr>
            <a:spLocks noChangeArrowheads="1"/>
          </p:cNvSpPr>
          <p:nvPr/>
        </p:nvSpPr>
        <p:spPr bwMode="gray">
          <a:xfrm>
            <a:off x="5185089" y="1039697"/>
            <a:ext cx="4011410" cy="861783"/>
          </a:xfrm>
          <a:prstGeom prst="rect">
            <a:avLst/>
          </a:prstGeom>
          <a:solidFill>
            <a:schemeClr val="accent1"/>
          </a:solidFill>
          <a:ln w="19050">
            <a:noFill/>
            <a:miter lim="800000"/>
            <a:headEnd/>
            <a:tailEnd/>
          </a:ln>
        </p:spPr>
        <p:txBody>
          <a:bodyPr lIns="14714" tIns="0" rIns="14714" bIns="0" anchor="ctr"/>
          <a:lstStyle/>
          <a:p>
            <a:pPr algn="ctr" defTabSz="426722"/>
            <a:endParaRPr lang="en-US" sz="1553" b="1" noProof="1">
              <a:solidFill>
                <a:schemeClr val="bg2"/>
              </a:solidFill>
              <a:latin typeface="Verdana" pitchFamily="34" charset="0"/>
            </a:endParaRPr>
          </a:p>
        </p:txBody>
      </p:sp>
      <p:sp>
        <p:nvSpPr>
          <p:cNvPr id="244762" name="Rectangle 23"/>
          <p:cNvSpPr>
            <a:spLocks noChangeArrowheads="1"/>
          </p:cNvSpPr>
          <p:nvPr/>
        </p:nvSpPr>
        <p:spPr bwMode="gray">
          <a:xfrm>
            <a:off x="1973970" y="2169904"/>
            <a:ext cx="1939014" cy="679910"/>
          </a:xfrm>
          <a:prstGeom prst="rect">
            <a:avLst/>
          </a:prstGeom>
          <a:solidFill>
            <a:schemeClr val="accent1"/>
          </a:solidFill>
          <a:ln w="19050">
            <a:noFill/>
            <a:miter lim="800000"/>
            <a:headEnd/>
            <a:tailEnd/>
          </a:ln>
        </p:spPr>
        <p:txBody>
          <a:bodyPr lIns="14714" tIns="0" rIns="14714" bIns="0" anchor="ctr"/>
          <a:lstStyle/>
          <a:p>
            <a:pPr algn="ctr" defTabSz="426722"/>
            <a:endParaRPr lang="en-US" sz="1553" noProof="1">
              <a:solidFill>
                <a:schemeClr val="bg2"/>
              </a:solidFill>
              <a:latin typeface="Verdana" pitchFamily="34" charset="0"/>
            </a:endParaRPr>
          </a:p>
        </p:txBody>
      </p:sp>
      <p:sp>
        <p:nvSpPr>
          <p:cNvPr id="244763" name="Rectangle 24"/>
          <p:cNvSpPr>
            <a:spLocks noChangeArrowheads="1"/>
          </p:cNvSpPr>
          <p:nvPr/>
        </p:nvSpPr>
        <p:spPr bwMode="gray">
          <a:xfrm>
            <a:off x="10468603" y="2169904"/>
            <a:ext cx="1939014" cy="679910"/>
          </a:xfrm>
          <a:prstGeom prst="rect">
            <a:avLst/>
          </a:prstGeom>
          <a:solidFill>
            <a:schemeClr val="accent1"/>
          </a:solidFill>
          <a:ln w="19050">
            <a:noFill/>
            <a:miter lim="800000"/>
            <a:headEnd/>
            <a:tailEnd/>
          </a:ln>
        </p:spPr>
        <p:txBody>
          <a:bodyPr lIns="14714" tIns="0" rIns="14714" bIns="0" anchor="ctr"/>
          <a:lstStyle/>
          <a:p>
            <a:pPr algn="ctr" defTabSz="426722"/>
            <a:endParaRPr lang="en-US" sz="1553" noProof="1">
              <a:solidFill>
                <a:schemeClr val="bg2"/>
              </a:solidFill>
              <a:latin typeface="Verdana" pitchFamily="34" charset="0"/>
            </a:endParaRPr>
          </a:p>
        </p:txBody>
      </p:sp>
      <p:sp>
        <p:nvSpPr>
          <p:cNvPr id="244766" name="Rectangle 27"/>
          <p:cNvSpPr>
            <a:spLocks noChangeArrowheads="1"/>
          </p:cNvSpPr>
          <p:nvPr/>
        </p:nvSpPr>
        <p:spPr bwMode="gray">
          <a:xfrm>
            <a:off x="6220291" y="2169904"/>
            <a:ext cx="1939014" cy="679910"/>
          </a:xfrm>
          <a:prstGeom prst="rect">
            <a:avLst/>
          </a:prstGeom>
          <a:solidFill>
            <a:schemeClr val="accent1"/>
          </a:solidFill>
          <a:ln w="19050">
            <a:noFill/>
            <a:miter lim="800000"/>
            <a:headEnd/>
            <a:tailEnd/>
          </a:ln>
        </p:spPr>
        <p:txBody>
          <a:bodyPr lIns="14714" tIns="0" rIns="14714" bIns="0" anchor="ctr"/>
          <a:lstStyle/>
          <a:p>
            <a:pPr algn="ctr" defTabSz="426722"/>
            <a:endParaRPr lang="en-US" sz="1553" noProof="1">
              <a:solidFill>
                <a:schemeClr val="bg2"/>
              </a:solidFill>
              <a:latin typeface="Verdana" pitchFamily="34" charset="0"/>
            </a:endParaRPr>
          </a:p>
        </p:txBody>
      </p:sp>
      <p:sp>
        <p:nvSpPr>
          <p:cNvPr id="244768" name="Rectangle 29"/>
          <p:cNvSpPr>
            <a:spLocks noChangeArrowheads="1"/>
          </p:cNvSpPr>
          <p:nvPr/>
        </p:nvSpPr>
        <p:spPr bwMode="gray">
          <a:xfrm>
            <a:off x="4096135" y="2169904"/>
            <a:ext cx="1939014" cy="679910"/>
          </a:xfrm>
          <a:prstGeom prst="rect">
            <a:avLst/>
          </a:prstGeom>
          <a:solidFill>
            <a:schemeClr val="accent1"/>
          </a:solidFill>
          <a:ln w="19050">
            <a:noFill/>
            <a:miter lim="800000"/>
            <a:headEnd/>
            <a:tailEnd/>
          </a:ln>
        </p:spPr>
        <p:txBody>
          <a:bodyPr lIns="14714" tIns="0" rIns="14714" bIns="0" anchor="ctr"/>
          <a:lstStyle/>
          <a:p>
            <a:pPr algn="ctr" defTabSz="426722"/>
            <a:endParaRPr lang="en-US" sz="1553" noProof="1">
              <a:solidFill>
                <a:schemeClr val="bg2"/>
              </a:solidFill>
              <a:latin typeface="Verdana" pitchFamily="34" charset="0"/>
            </a:endParaRPr>
          </a:p>
        </p:txBody>
      </p:sp>
      <p:sp>
        <p:nvSpPr>
          <p:cNvPr id="244770" name="Rectangle 31"/>
          <p:cNvSpPr>
            <a:spLocks noChangeArrowheads="1"/>
          </p:cNvSpPr>
          <p:nvPr/>
        </p:nvSpPr>
        <p:spPr bwMode="gray">
          <a:xfrm>
            <a:off x="8344446" y="2169904"/>
            <a:ext cx="1939014" cy="679910"/>
          </a:xfrm>
          <a:prstGeom prst="rect">
            <a:avLst/>
          </a:prstGeom>
          <a:solidFill>
            <a:schemeClr val="accent1"/>
          </a:solidFill>
          <a:ln w="19050">
            <a:noFill/>
            <a:miter lim="800000"/>
            <a:headEnd/>
            <a:tailEnd/>
          </a:ln>
        </p:spPr>
        <p:txBody>
          <a:bodyPr lIns="14714" tIns="0" rIns="14714" bIns="0" anchor="ctr"/>
          <a:lstStyle/>
          <a:p>
            <a:pPr algn="ctr" defTabSz="426722"/>
            <a:endParaRPr lang="en-US" sz="1553" noProof="1">
              <a:solidFill>
                <a:schemeClr val="bg2"/>
              </a:solidFill>
              <a:latin typeface="Verdana" pitchFamily="34" charset="0"/>
            </a:endParaRPr>
          </a:p>
        </p:txBody>
      </p:sp>
      <p:sp>
        <p:nvSpPr>
          <p:cNvPr id="244753" name="Rectangle 33"/>
          <p:cNvSpPr>
            <a:spLocks noChangeArrowheads="1"/>
          </p:cNvSpPr>
          <p:nvPr/>
        </p:nvSpPr>
        <p:spPr bwMode="gray">
          <a:xfrm>
            <a:off x="11171407" y="4245453"/>
            <a:ext cx="417807" cy="282103"/>
          </a:xfrm>
          <a:prstGeom prst="rect">
            <a:avLst/>
          </a:prstGeom>
          <a:noFill/>
          <a:ln w="9525">
            <a:noFill/>
            <a:miter lim="800000"/>
            <a:headEnd/>
            <a:tailEnd/>
          </a:ln>
        </p:spPr>
        <p:txBody>
          <a:bodyPr wrap="none" lIns="0" tIns="42710" rIns="0" bIns="0">
            <a:spAutoFit/>
          </a:bodyPr>
          <a:lstStyle/>
          <a:p>
            <a:pPr algn="ctr" defTabSz="854984">
              <a:spcBef>
                <a:spcPct val="50000"/>
              </a:spcBef>
              <a:buClr>
                <a:schemeClr val="tx1"/>
              </a:buClr>
            </a:pPr>
            <a:r>
              <a:rPr lang="en-US" sz="1553" dirty="0">
                <a:latin typeface="Verdana" pitchFamily="34" charset="0"/>
              </a:rPr>
              <a:t>Text</a:t>
            </a:r>
          </a:p>
        </p:txBody>
      </p:sp>
      <p:sp>
        <p:nvSpPr>
          <p:cNvPr id="244754" name="Rectangle 34"/>
          <p:cNvSpPr>
            <a:spLocks noChangeArrowheads="1"/>
          </p:cNvSpPr>
          <p:nvPr/>
        </p:nvSpPr>
        <p:spPr bwMode="gray">
          <a:xfrm>
            <a:off x="11150441" y="5659577"/>
            <a:ext cx="493725" cy="282103"/>
          </a:xfrm>
          <a:prstGeom prst="rect">
            <a:avLst/>
          </a:prstGeom>
          <a:noFill/>
          <a:ln w="9525">
            <a:noFill/>
            <a:miter lim="800000"/>
            <a:headEnd/>
            <a:tailEnd/>
          </a:ln>
        </p:spPr>
        <p:txBody>
          <a:bodyPr wrap="none" lIns="0" tIns="42710" rIns="0" bIns="0">
            <a:spAutoFit/>
          </a:bodyPr>
          <a:lstStyle/>
          <a:p>
            <a:pPr algn="ctr" defTabSz="854984">
              <a:spcBef>
                <a:spcPct val="50000"/>
              </a:spcBef>
            </a:pPr>
            <a:r>
              <a:rPr lang="en-US" sz="1553" b="1" dirty="0">
                <a:solidFill>
                  <a:schemeClr val="accent3"/>
                </a:solidFill>
                <a:latin typeface="Verdana" pitchFamily="34" charset="0"/>
              </a:rPr>
              <a:t>Text</a:t>
            </a:r>
          </a:p>
        </p:txBody>
      </p:sp>
      <p:sp>
        <p:nvSpPr>
          <p:cNvPr id="244755" name="AutoShape 35"/>
          <p:cNvSpPr>
            <a:spLocks noChangeArrowheads="1"/>
          </p:cNvSpPr>
          <p:nvPr>
            <p:custDataLst>
              <p:tags r:id="rId6"/>
            </p:custDataLst>
          </p:nvPr>
        </p:nvSpPr>
        <p:spPr bwMode="gray">
          <a:xfrm>
            <a:off x="10828571" y="4969460"/>
            <a:ext cx="1128184" cy="397434"/>
          </a:xfrm>
          <a:prstGeom prst="downArrow">
            <a:avLst>
              <a:gd name="adj1" fmla="val 50000"/>
              <a:gd name="adj2" fmla="val 50014"/>
            </a:avLst>
          </a:prstGeom>
          <a:solidFill>
            <a:schemeClr val="accent3"/>
          </a:solidFill>
          <a:ln w="12700">
            <a:noFill/>
            <a:miter lim="800000"/>
            <a:headEnd/>
            <a:tailEnd/>
          </a:ln>
        </p:spPr>
        <p:txBody>
          <a:bodyPr wrap="none" lIns="85410" tIns="42705" rIns="85410" bIns="42705" anchor="ctr"/>
          <a:lstStyle/>
          <a:p>
            <a:pPr algn="ctr" defTabSz="854984"/>
            <a:endParaRPr lang="en-US" sz="1553" noProof="1">
              <a:latin typeface="Verdana" pitchFamily="34" charset="0"/>
            </a:endParaRPr>
          </a:p>
        </p:txBody>
      </p:sp>
      <p:cxnSp>
        <p:nvCxnSpPr>
          <p:cNvPr id="41" name="Elbow Connector 40"/>
          <p:cNvCxnSpPr>
            <a:stCxn id="244761" idx="2"/>
            <a:endCxn id="244766" idx="0"/>
          </p:cNvCxnSpPr>
          <p:nvPr/>
        </p:nvCxnSpPr>
        <p:spPr>
          <a:xfrm rot="5400000">
            <a:off x="7056084" y="2035194"/>
            <a:ext cx="268424" cy="996"/>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244761" idx="2"/>
            <a:endCxn id="244768" idx="0"/>
          </p:cNvCxnSpPr>
          <p:nvPr/>
        </p:nvCxnSpPr>
        <p:spPr>
          <a:xfrm rot="5400000">
            <a:off x="5994006" y="973116"/>
            <a:ext cx="268424" cy="2125152"/>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244761" idx="2"/>
            <a:endCxn id="244762" idx="0"/>
          </p:cNvCxnSpPr>
          <p:nvPr/>
        </p:nvCxnSpPr>
        <p:spPr>
          <a:xfrm rot="5400000">
            <a:off x="4932924" y="-87966"/>
            <a:ext cx="268424" cy="4247317"/>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244761" idx="2"/>
            <a:endCxn id="244770" idx="0"/>
          </p:cNvCxnSpPr>
          <p:nvPr/>
        </p:nvCxnSpPr>
        <p:spPr>
          <a:xfrm rot="16200000" flipH="1">
            <a:off x="8118161" y="974112"/>
            <a:ext cx="268424" cy="2123159"/>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cxnSp>
        <p:nvCxnSpPr>
          <p:cNvPr id="49" name="Elbow Connector 48"/>
          <p:cNvCxnSpPr>
            <a:stCxn id="244761" idx="2"/>
            <a:endCxn id="244763" idx="0"/>
          </p:cNvCxnSpPr>
          <p:nvPr/>
        </p:nvCxnSpPr>
        <p:spPr>
          <a:xfrm rot="16200000" flipH="1">
            <a:off x="9180240" y="-87966"/>
            <a:ext cx="268424" cy="4247316"/>
          </a:xfrm>
          <a:prstGeom prst="bentConnector3">
            <a:avLst>
              <a:gd name="adj1" fmla="val 50000"/>
            </a:avLst>
          </a:prstGeom>
          <a:ln w="19050">
            <a:solidFill>
              <a:srgbClr val="080808"/>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custDataLst>
              <p:tags r:id="rId7"/>
            </p:custDataLst>
          </p:nvPr>
        </p:nvSpPr>
        <p:spPr>
          <a:xfrm>
            <a:off x="1973970" y="3020804"/>
            <a:ext cx="2015497" cy="577979"/>
          </a:xfrm>
          <a:prstGeom prst="rect">
            <a:avLst/>
          </a:prstGeom>
          <a:noFill/>
        </p:spPr>
        <p:txBody>
          <a:bodyPr vert="horz" wrap="square" lIns="44365" rIns="44365" rtlCol="0">
            <a:spAutoFit/>
          </a:bodyPr>
          <a:lstStyle/>
          <a:p>
            <a:pPr marL="182563" indent="-182563">
              <a:spcBef>
                <a:spcPts val="745"/>
              </a:spcBef>
              <a:buSzPct val="100000"/>
              <a:buFont typeface="Verdana" panose="020B0604030504040204" pitchFamily="34" charset="0"/>
              <a:buChar char="•"/>
            </a:pPr>
            <a:r>
              <a:rPr lang="en-CA" sz="1553" dirty="0"/>
              <a:t>Type text here</a:t>
            </a:r>
          </a:p>
          <a:p>
            <a:pPr marL="449263" lvl="1" indent="-182563">
              <a:spcBef>
                <a:spcPts val="325"/>
              </a:spcBef>
              <a:buSzPct val="100000"/>
              <a:buFont typeface="Verdana" panose="020B0604030504040204" pitchFamily="34" charset="0"/>
              <a:buChar char="-"/>
            </a:pPr>
            <a:r>
              <a:rPr lang="en-CA" sz="1353" dirty="0"/>
              <a:t>Or here</a:t>
            </a:r>
          </a:p>
        </p:txBody>
      </p:sp>
      <p:sp>
        <p:nvSpPr>
          <p:cNvPr id="42" name="TextBox 41"/>
          <p:cNvSpPr txBox="1"/>
          <p:nvPr>
            <p:custDataLst>
              <p:tags r:id="rId8"/>
            </p:custDataLst>
          </p:nvPr>
        </p:nvSpPr>
        <p:spPr>
          <a:xfrm>
            <a:off x="4096135" y="3020804"/>
            <a:ext cx="2015497" cy="577979"/>
          </a:xfrm>
          <a:prstGeom prst="rect">
            <a:avLst/>
          </a:prstGeom>
          <a:noFill/>
        </p:spPr>
        <p:txBody>
          <a:bodyPr vert="horz" wrap="square" lIns="44365" rIns="44365" rtlCol="0">
            <a:spAutoFit/>
          </a:bodyPr>
          <a:lstStyle/>
          <a:p>
            <a:pPr marL="182563" indent="-182563">
              <a:spcBef>
                <a:spcPts val="745"/>
              </a:spcBef>
              <a:buSzPct val="100000"/>
              <a:buFont typeface="Verdana" panose="020B0604030504040204" pitchFamily="34" charset="0"/>
              <a:buChar char="•"/>
            </a:pPr>
            <a:r>
              <a:rPr lang="en-CA" sz="1553" dirty="0"/>
              <a:t>Type text here</a:t>
            </a:r>
          </a:p>
          <a:p>
            <a:pPr marL="449263" lvl="1" indent="-182563">
              <a:spcBef>
                <a:spcPts val="325"/>
              </a:spcBef>
              <a:buSzPct val="100000"/>
              <a:buFont typeface="Verdana" panose="020B0604030504040204" pitchFamily="34" charset="0"/>
              <a:buChar char="-"/>
            </a:pPr>
            <a:r>
              <a:rPr lang="en-CA" sz="1353" dirty="0"/>
              <a:t>Or here</a:t>
            </a:r>
          </a:p>
        </p:txBody>
      </p:sp>
      <p:sp>
        <p:nvSpPr>
          <p:cNvPr id="44" name="TextBox 43"/>
          <p:cNvSpPr txBox="1"/>
          <p:nvPr>
            <p:custDataLst>
              <p:tags r:id="rId9"/>
            </p:custDataLst>
          </p:nvPr>
        </p:nvSpPr>
        <p:spPr>
          <a:xfrm>
            <a:off x="6220291" y="3020804"/>
            <a:ext cx="2015497" cy="577979"/>
          </a:xfrm>
          <a:prstGeom prst="rect">
            <a:avLst/>
          </a:prstGeom>
          <a:noFill/>
        </p:spPr>
        <p:txBody>
          <a:bodyPr vert="horz" wrap="square" lIns="44365" rIns="44365" rtlCol="0">
            <a:spAutoFit/>
          </a:bodyPr>
          <a:lstStyle/>
          <a:p>
            <a:pPr marL="182563" indent="-182563">
              <a:spcBef>
                <a:spcPts val="745"/>
              </a:spcBef>
              <a:buSzPct val="100000"/>
              <a:buFont typeface="Verdana" panose="020B0604030504040204" pitchFamily="34" charset="0"/>
              <a:buChar char="•"/>
            </a:pPr>
            <a:r>
              <a:rPr lang="en-CA" sz="1553" dirty="0"/>
              <a:t>Type text here</a:t>
            </a:r>
          </a:p>
          <a:p>
            <a:pPr marL="449263" lvl="1" indent="-182563">
              <a:spcBef>
                <a:spcPts val="325"/>
              </a:spcBef>
              <a:buSzPct val="100000"/>
              <a:buFont typeface="Verdana" panose="020B0604030504040204" pitchFamily="34" charset="0"/>
              <a:buChar char="-"/>
            </a:pPr>
            <a:r>
              <a:rPr lang="en-CA" sz="1353" dirty="0"/>
              <a:t>Or here</a:t>
            </a:r>
          </a:p>
        </p:txBody>
      </p:sp>
      <p:sp>
        <p:nvSpPr>
          <p:cNvPr id="46" name="TextBox 45"/>
          <p:cNvSpPr txBox="1"/>
          <p:nvPr>
            <p:custDataLst>
              <p:tags r:id="rId10"/>
            </p:custDataLst>
          </p:nvPr>
        </p:nvSpPr>
        <p:spPr>
          <a:xfrm>
            <a:off x="8344446" y="3020804"/>
            <a:ext cx="2015497" cy="577979"/>
          </a:xfrm>
          <a:prstGeom prst="rect">
            <a:avLst/>
          </a:prstGeom>
          <a:noFill/>
        </p:spPr>
        <p:txBody>
          <a:bodyPr vert="horz" wrap="square" lIns="44365" rIns="44365" rtlCol="0">
            <a:spAutoFit/>
          </a:bodyPr>
          <a:lstStyle/>
          <a:p>
            <a:pPr marL="182563" indent="-182563">
              <a:spcBef>
                <a:spcPts val="745"/>
              </a:spcBef>
              <a:buSzPct val="100000"/>
              <a:buFont typeface="Verdana" panose="020B0604030504040204" pitchFamily="34" charset="0"/>
              <a:buChar char="•"/>
            </a:pPr>
            <a:r>
              <a:rPr lang="en-CA" sz="1553" dirty="0"/>
              <a:t>Type text here</a:t>
            </a:r>
          </a:p>
          <a:p>
            <a:pPr marL="449263" lvl="1" indent="-182563">
              <a:spcBef>
                <a:spcPts val="325"/>
              </a:spcBef>
              <a:buSzPct val="100000"/>
              <a:buFont typeface="Verdana" panose="020B0604030504040204" pitchFamily="34" charset="0"/>
              <a:buChar char="-"/>
            </a:pPr>
            <a:r>
              <a:rPr lang="en-CA" sz="1353" dirty="0"/>
              <a:t>Or here</a:t>
            </a:r>
          </a:p>
        </p:txBody>
      </p:sp>
      <p:sp>
        <p:nvSpPr>
          <p:cNvPr id="48" name="TextBox 47"/>
          <p:cNvSpPr txBox="1"/>
          <p:nvPr>
            <p:custDataLst>
              <p:tags r:id="rId11"/>
            </p:custDataLst>
          </p:nvPr>
        </p:nvSpPr>
        <p:spPr>
          <a:xfrm>
            <a:off x="10468603" y="3020804"/>
            <a:ext cx="2015497" cy="577979"/>
          </a:xfrm>
          <a:prstGeom prst="rect">
            <a:avLst/>
          </a:prstGeom>
          <a:noFill/>
        </p:spPr>
        <p:txBody>
          <a:bodyPr vert="horz" wrap="square" lIns="44365" rIns="44365" rtlCol="0">
            <a:spAutoFit/>
          </a:bodyPr>
          <a:lstStyle/>
          <a:p>
            <a:pPr marL="182563" indent="-182563">
              <a:spcBef>
                <a:spcPts val="745"/>
              </a:spcBef>
              <a:buSzPct val="100000"/>
              <a:buFont typeface="Verdana" panose="020B0604030504040204" pitchFamily="34" charset="0"/>
              <a:buChar char="•"/>
            </a:pPr>
            <a:r>
              <a:rPr lang="en-CA" sz="1553" dirty="0"/>
              <a:t>Type text here</a:t>
            </a:r>
          </a:p>
          <a:p>
            <a:pPr marL="449263" lvl="1" indent="-182563">
              <a:spcBef>
                <a:spcPts val="325"/>
              </a:spcBef>
              <a:buSzPct val="100000"/>
              <a:buFont typeface="Verdana" panose="020B0604030504040204" pitchFamily="34" charset="0"/>
              <a:buChar char="-"/>
            </a:pPr>
            <a:r>
              <a:rPr lang="en-CA" sz="1353" dirty="0"/>
              <a:t>Or here</a:t>
            </a:r>
          </a:p>
        </p:txBody>
      </p:sp>
    </p:spTree>
    <p:extLst>
      <p:ext uri="{BB962C8B-B14F-4D97-AF65-F5344CB8AC3E}">
        <p14:creationId xmlns:p14="http://schemas.microsoft.com/office/powerpoint/2010/main" val="3091940288"/>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Newspaper cut-out, torn edges</a:t>
            </a:r>
            <a:endParaRPr lang="en-CA" dirty="0"/>
          </a:p>
        </p:txBody>
      </p:sp>
      <p:pic>
        <p:nvPicPr>
          <p:cNvPr id="17411" name="Picture 3"/>
          <p:cNvPicPr>
            <a:picLocks noChangeAspect="1" noChangeArrowheads="1"/>
          </p:cNvPicPr>
          <p:nvPr/>
        </p:nvPicPr>
        <p:blipFill>
          <a:blip r:embed="rId2" cstate="print"/>
          <a:srcRect/>
          <a:stretch>
            <a:fillRect/>
          </a:stretch>
        </p:blipFill>
        <p:spPr bwMode="auto">
          <a:xfrm>
            <a:off x="647700" y="3957189"/>
            <a:ext cx="5502519" cy="2390422"/>
          </a:xfrm>
          <a:prstGeom prst="rect">
            <a:avLst/>
          </a:prstGeom>
          <a:noFill/>
          <a:ln w="9525">
            <a:noFill/>
            <a:miter lim="800000"/>
            <a:headEnd/>
            <a:tailEnd/>
          </a:ln>
        </p:spPr>
      </p:pic>
      <p:pic>
        <p:nvPicPr>
          <p:cNvPr id="17412" name="Picture 4"/>
          <p:cNvPicPr>
            <a:picLocks noChangeAspect="1" noChangeArrowheads="1"/>
          </p:cNvPicPr>
          <p:nvPr/>
        </p:nvPicPr>
        <p:blipFill>
          <a:blip r:embed="rId3" cstate="print"/>
          <a:srcRect/>
          <a:stretch>
            <a:fillRect/>
          </a:stretch>
        </p:blipFill>
        <p:spPr bwMode="auto">
          <a:xfrm>
            <a:off x="647700" y="972409"/>
            <a:ext cx="5502519" cy="2791133"/>
          </a:xfrm>
          <a:prstGeom prst="rect">
            <a:avLst/>
          </a:prstGeom>
          <a:noFill/>
          <a:ln w="9525">
            <a:noFill/>
            <a:miter lim="800000"/>
            <a:headEnd/>
            <a:tailEnd/>
          </a:ln>
        </p:spPr>
      </p:pic>
      <p:pic>
        <p:nvPicPr>
          <p:cNvPr id="17413" name="Picture 5"/>
          <p:cNvPicPr>
            <a:picLocks noChangeAspect="1" noChangeArrowheads="1"/>
          </p:cNvPicPr>
          <p:nvPr/>
        </p:nvPicPr>
        <p:blipFill>
          <a:blip r:embed="rId4" cstate="print"/>
          <a:srcRect/>
          <a:stretch>
            <a:fillRect/>
          </a:stretch>
        </p:blipFill>
        <p:spPr bwMode="auto">
          <a:xfrm>
            <a:off x="6766318" y="914684"/>
            <a:ext cx="5867076" cy="2791133"/>
          </a:xfrm>
          <a:prstGeom prst="rect">
            <a:avLst/>
          </a:prstGeom>
          <a:noFill/>
          <a:ln w="9525">
            <a:noFill/>
            <a:miter lim="800000"/>
            <a:headEnd/>
            <a:tailEnd/>
          </a:ln>
        </p:spPr>
      </p:pic>
      <p:pic>
        <p:nvPicPr>
          <p:cNvPr id="17415" name="Picture 7"/>
          <p:cNvPicPr>
            <a:picLocks noChangeAspect="1" noChangeArrowheads="1"/>
          </p:cNvPicPr>
          <p:nvPr/>
        </p:nvPicPr>
        <p:blipFill>
          <a:blip r:embed="rId5" cstate="print"/>
          <a:srcRect/>
          <a:stretch>
            <a:fillRect/>
          </a:stretch>
        </p:blipFill>
        <p:spPr bwMode="auto">
          <a:xfrm>
            <a:off x="6601219" y="3896209"/>
            <a:ext cx="5582265" cy="2791133"/>
          </a:xfrm>
          <a:prstGeom prst="rect">
            <a:avLst/>
          </a:prstGeom>
          <a:noFill/>
          <a:ln w="9525">
            <a:noFill/>
            <a:miter lim="800000"/>
            <a:headEnd/>
            <a:tailEnd/>
          </a:ln>
        </p:spPr>
      </p:pic>
      <p:sp>
        <p:nvSpPr>
          <p:cNvPr id="3" name="BainBulletsConfiguration" hidden="1"/>
          <p:cNvSpPr txBox="1"/>
          <p:nvPr/>
        </p:nvSpPr>
        <p:spPr>
          <a:xfrm>
            <a:off x="1712288" y="12323"/>
            <a:ext cx="8626466" cy="107722"/>
          </a:xfrm>
          <a:prstGeom prst="rect">
            <a:avLst/>
          </a:prstGeom>
          <a:noFill/>
        </p:spPr>
        <p:txBody>
          <a:bodyPr vert="horz" wrap="square" lIns="44365" rIns="44365" rtlCol="0">
            <a:spAutoFit/>
          </a:bodyPr>
          <a:lstStyle/>
          <a:p>
            <a:endParaRPr lang="en-CA" sz="100" dirty="0">
              <a:solidFill>
                <a:srgbClr val="FFFFFF"/>
              </a:solidFill>
            </a:endParaRPr>
          </a:p>
        </p:txBody>
      </p:sp>
      <p:pic>
        <p:nvPicPr>
          <p:cNvPr id="4" name="Picture 3"/>
          <p:cNvPicPr>
            <a:picLocks noChangeAspect="1"/>
          </p:cNvPicPr>
          <p:nvPr/>
        </p:nvPicPr>
        <p:blipFill>
          <a:blip r:embed="rId6"/>
          <a:stretch>
            <a:fillRect/>
          </a:stretch>
        </p:blipFill>
        <p:spPr>
          <a:xfrm>
            <a:off x="850901" y="4312575"/>
            <a:ext cx="5114328" cy="1486003"/>
          </a:xfrm>
          <a:prstGeom prst="rect">
            <a:avLst/>
          </a:prstGeom>
        </p:spPr>
      </p:pic>
    </p:spTree>
    <p:extLst>
      <p:ext uri="{BB962C8B-B14F-4D97-AF65-F5344CB8AC3E}">
        <p14:creationId xmlns:p14="http://schemas.microsoft.com/office/powerpoint/2010/main" val="16367572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46"/>
        <p:cNvGrpSpPr/>
        <p:nvPr/>
      </p:nvGrpSpPr>
      <p:grpSpPr>
        <a:xfrm>
          <a:off x="0" y="0"/>
          <a:ext cx="0" cy="0"/>
          <a:chOff x="0" y="0"/>
          <a:chExt cx="0" cy="0"/>
        </a:xfrm>
      </p:grpSpPr>
      <p:sp>
        <p:nvSpPr>
          <p:cNvPr id="148" name="Shape 148"/>
          <p:cNvSpPr txBox="1">
            <a:spLocks noGrp="1"/>
          </p:cNvSpPr>
          <p:nvPr>
            <p:ph type="title"/>
          </p:nvPr>
        </p:nvSpPr>
        <p:spPr/>
        <p:txBody>
          <a:bodyPr/>
          <a:lstStyle/>
          <a:p>
            <a:r>
              <a:rPr lang="en" dirty="0" smtClean="0"/>
              <a:t>TEAM</a:t>
            </a:r>
            <a:endParaRPr lang="en" dirty="0"/>
          </a:p>
        </p:txBody>
      </p:sp>
      <p:sp>
        <p:nvSpPr>
          <p:cNvPr id="2"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22_84 25_84 28_84 31_84</a:t>
            </a:r>
            <a:endParaRPr lang="en-US" sz="100" dirty="0" err="1" smtClean="0">
              <a:solidFill>
                <a:srgbClr val="FFFFFF"/>
              </a:solidFill>
            </a:endParaRPr>
          </a:p>
        </p:txBody>
      </p:sp>
      <p:sp>
        <p:nvSpPr>
          <p:cNvPr id="10" name="Oval 9"/>
          <p:cNvSpPr/>
          <p:nvPr/>
        </p:nvSpPr>
        <p:spPr>
          <a:xfrm>
            <a:off x="10157595" y="1440813"/>
            <a:ext cx="1890364" cy="1890362"/>
          </a:xfrm>
          <a:prstGeom prst="ellipse">
            <a:avLst/>
          </a:prstGeom>
          <a:blipFill>
            <a:blip r:embed="rId7"/>
            <a:stretch>
              <a:fillRect/>
            </a:stretch>
          </a:blip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a:endParaRPr lang="en-US" sz="2800" dirty="0">
              <a:solidFill>
                <a:schemeClr val="tx1"/>
              </a:solidFill>
              <a:latin typeface="+mj-lt"/>
            </a:endParaRPr>
          </a:p>
        </p:txBody>
      </p:sp>
      <p:sp>
        <p:nvSpPr>
          <p:cNvPr id="9" name="Oval 8"/>
          <p:cNvSpPr/>
          <p:nvPr/>
        </p:nvSpPr>
        <p:spPr>
          <a:xfrm>
            <a:off x="7036173" y="1440813"/>
            <a:ext cx="1890364" cy="1890362"/>
          </a:xfrm>
          <a:prstGeom prst="ellipse">
            <a:avLst/>
          </a:prstGeom>
          <a:blipFill>
            <a:blip r:embed="rId7"/>
            <a:stretch>
              <a:fillRect/>
            </a:stretch>
          </a:blip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800" dirty="0">
              <a:solidFill>
                <a:schemeClr val="tx1"/>
              </a:solidFill>
              <a:latin typeface="+mj-lt"/>
            </a:endParaRPr>
          </a:p>
        </p:txBody>
      </p:sp>
      <p:sp>
        <p:nvSpPr>
          <p:cNvPr id="8" name="Oval 7"/>
          <p:cNvSpPr/>
          <p:nvPr/>
        </p:nvSpPr>
        <p:spPr>
          <a:xfrm>
            <a:off x="3914751" y="1440813"/>
            <a:ext cx="1890364" cy="1890362"/>
          </a:xfrm>
          <a:prstGeom prst="ellipse">
            <a:avLst/>
          </a:prstGeom>
          <a:blipFill>
            <a:blip r:embed="rId7"/>
            <a:stretch>
              <a:fillRect/>
            </a:stretch>
          </a:blip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800" dirty="0">
              <a:solidFill>
                <a:schemeClr val="tx1"/>
              </a:solidFill>
              <a:latin typeface="+mj-lt"/>
            </a:endParaRPr>
          </a:p>
        </p:txBody>
      </p:sp>
      <p:sp>
        <p:nvSpPr>
          <p:cNvPr id="7" name="Oval 6"/>
          <p:cNvSpPr/>
          <p:nvPr/>
        </p:nvSpPr>
        <p:spPr>
          <a:xfrm>
            <a:off x="793329" y="1440813"/>
            <a:ext cx="1890364" cy="1890362"/>
          </a:xfrm>
          <a:prstGeom prst="ellipse">
            <a:avLst/>
          </a:prstGeom>
          <a:blipFill>
            <a:blip r:embed="rId7"/>
            <a:stretch>
              <a:fillRect/>
            </a:stretch>
          </a:blip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800" dirty="0" smtClean="0">
              <a:solidFill>
                <a:schemeClr val="tx1"/>
              </a:solidFill>
              <a:latin typeface="+mj-lt"/>
            </a:endParaRPr>
          </a:p>
        </p:txBody>
      </p:sp>
      <p:grpSp>
        <p:nvGrpSpPr>
          <p:cNvPr id="22" name="Group 21"/>
          <p:cNvGrpSpPr/>
          <p:nvPr>
            <p:custDataLst>
              <p:tags r:id="rId1"/>
            </p:custDataLst>
          </p:nvPr>
        </p:nvGrpSpPr>
        <p:grpSpPr>
          <a:xfrm>
            <a:off x="355600" y="3407784"/>
            <a:ext cx="2765822" cy="681185"/>
            <a:chOff x="990600" y="3042850"/>
            <a:chExt cx="1295400" cy="391812"/>
          </a:xfrm>
        </p:grpSpPr>
        <p:sp>
          <p:nvSpPr>
            <p:cNvPr id="23" name="TextBox 22"/>
            <p:cNvSpPr txBox="1"/>
            <p:nvPr/>
          </p:nvSpPr>
          <p:spPr>
            <a:xfrm>
              <a:off x="990600" y="3042850"/>
              <a:ext cx="1295400" cy="230140"/>
            </a:xfrm>
            <a:prstGeom prst="rect">
              <a:avLst/>
            </a:prstGeom>
            <a:noFill/>
          </p:spPr>
          <p:txBody>
            <a:bodyPr wrap="square" rtlCol="0">
              <a:spAutoFit/>
            </a:bodyPr>
            <a:lstStyle/>
            <a:p>
              <a:pPr algn="ctr"/>
              <a:r>
                <a:rPr lang="en-US" sz="2000" dirty="0" smtClean="0">
                  <a:solidFill>
                    <a:srgbClr val="58595B"/>
                  </a:solidFill>
                  <a:cs typeface="Lato Regular"/>
                </a:rPr>
                <a:t>Robert </a:t>
              </a:r>
              <a:r>
                <a:rPr lang="en-US" sz="2000" dirty="0">
                  <a:solidFill>
                    <a:srgbClr val="58595B"/>
                  </a:solidFill>
                  <a:cs typeface="Lato Regular"/>
                </a:rPr>
                <a:t>Bond</a:t>
              </a:r>
            </a:p>
          </p:txBody>
        </p:sp>
        <p:sp>
          <p:nvSpPr>
            <p:cNvPr id="24" name="TextBox 23"/>
            <p:cNvSpPr txBox="1"/>
            <p:nvPr/>
          </p:nvSpPr>
          <p:spPr>
            <a:xfrm>
              <a:off x="990600" y="3239929"/>
              <a:ext cx="1295400" cy="194733"/>
            </a:xfrm>
            <a:prstGeom prst="rect">
              <a:avLst/>
            </a:prstGeom>
            <a:noFill/>
          </p:spPr>
          <p:txBody>
            <a:bodyPr wrap="square" rtlCol="0">
              <a:spAutoFit/>
            </a:bodyPr>
            <a:lstStyle/>
            <a:p>
              <a:pPr algn="ctr"/>
              <a:r>
                <a:rPr lang="en-US" sz="1600" dirty="0">
                  <a:solidFill>
                    <a:srgbClr val="58595B"/>
                  </a:solidFill>
                  <a:cs typeface="Lato Regular"/>
                </a:rPr>
                <a:t>CEO &amp; Founder</a:t>
              </a:r>
            </a:p>
          </p:txBody>
        </p:sp>
      </p:grpSp>
      <p:grpSp>
        <p:nvGrpSpPr>
          <p:cNvPr id="25" name="Group 24"/>
          <p:cNvGrpSpPr/>
          <p:nvPr>
            <p:custDataLst>
              <p:tags r:id="rId2"/>
            </p:custDataLst>
          </p:nvPr>
        </p:nvGrpSpPr>
        <p:grpSpPr>
          <a:xfrm>
            <a:off x="3477022" y="3407784"/>
            <a:ext cx="2765822" cy="681185"/>
            <a:chOff x="990600" y="3042850"/>
            <a:chExt cx="1295400" cy="391812"/>
          </a:xfrm>
        </p:grpSpPr>
        <p:sp>
          <p:nvSpPr>
            <p:cNvPr id="26" name="TextBox 25"/>
            <p:cNvSpPr txBox="1"/>
            <p:nvPr/>
          </p:nvSpPr>
          <p:spPr>
            <a:xfrm>
              <a:off x="990600" y="3042850"/>
              <a:ext cx="1295400" cy="230140"/>
            </a:xfrm>
            <a:prstGeom prst="rect">
              <a:avLst/>
            </a:prstGeom>
            <a:noFill/>
          </p:spPr>
          <p:txBody>
            <a:bodyPr wrap="square" rtlCol="0">
              <a:spAutoFit/>
            </a:bodyPr>
            <a:lstStyle/>
            <a:p>
              <a:pPr algn="ctr"/>
              <a:r>
                <a:rPr lang="en-US" sz="2000" dirty="0" smtClean="0">
                  <a:solidFill>
                    <a:srgbClr val="58595B"/>
                  </a:solidFill>
                  <a:cs typeface="Lato Regular"/>
                </a:rPr>
                <a:t>Sandra </a:t>
              </a:r>
              <a:r>
                <a:rPr lang="en-US" sz="2000" dirty="0">
                  <a:solidFill>
                    <a:srgbClr val="58595B"/>
                  </a:solidFill>
                  <a:cs typeface="Lato Regular"/>
                </a:rPr>
                <a:t>Bold</a:t>
              </a:r>
            </a:p>
          </p:txBody>
        </p:sp>
        <p:sp>
          <p:nvSpPr>
            <p:cNvPr id="27" name="TextBox 26"/>
            <p:cNvSpPr txBox="1"/>
            <p:nvPr/>
          </p:nvSpPr>
          <p:spPr>
            <a:xfrm>
              <a:off x="990600" y="3239929"/>
              <a:ext cx="1295400" cy="194733"/>
            </a:xfrm>
            <a:prstGeom prst="rect">
              <a:avLst/>
            </a:prstGeom>
            <a:noFill/>
          </p:spPr>
          <p:txBody>
            <a:bodyPr wrap="square" rtlCol="0">
              <a:spAutoFit/>
            </a:bodyPr>
            <a:lstStyle/>
            <a:p>
              <a:pPr algn="ctr"/>
              <a:r>
                <a:rPr lang="en-US" sz="1600" dirty="0">
                  <a:solidFill>
                    <a:srgbClr val="58595B"/>
                  </a:solidFill>
                  <a:cs typeface="Lato Regular"/>
                </a:rPr>
                <a:t>CEO &amp; Founder</a:t>
              </a:r>
            </a:p>
          </p:txBody>
        </p:sp>
      </p:grpSp>
      <p:grpSp>
        <p:nvGrpSpPr>
          <p:cNvPr id="28" name="Group 27"/>
          <p:cNvGrpSpPr/>
          <p:nvPr>
            <p:custDataLst>
              <p:tags r:id="rId3"/>
            </p:custDataLst>
          </p:nvPr>
        </p:nvGrpSpPr>
        <p:grpSpPr>
          <a:xfrm>
            <a:off x="6598444" y="3407784"/>
            <a:ext cx="2765822" cy="681185"/>
            <a:chOff x="990600" y="3042850"/>
            <a:chExt cx="1295400" cy="391812"/>
          </a:xfrm>
        </p:grpSpPr>
        <p:sp>
          <p:nvSpPr>
            <p:cNvPr id="29" name="TextBox 28"/>
            <p:cNvSpPr txBox="1"/>
            <p:nvPr/>
          </p:nvSpPr>
          <p:spPr>
            <a:xfrm>
              <a:off x="990600" y="3042850"/>
              <a:ext cx="1295400" cy="230140"/>
            </a:xfrm>
            <a:prstGeom prst="rect">
              <a:avLst/>
            </a:prstGeom>
            <a:noFill/>
          </p:spPr>
          <p:txBody>
            <a:bodyPr wrap="square" rtlCol="0">
              <a:spAutoFit/>
            </a:bodyPr>
            <a:lstStyle/>
            <a:p>
              <a:pPr algn="ctr"/>
              <a:r>
                <a:rPr lang="en-US" sz="2000" dirty="0">
                  <a:solidFill>
                    <a:srgbClr val="58595B"/>
                  </a:solidFill>
                  <a:cs typeface="Lato Regular"/>
                </a:rPr>
                <a:t>James Bond</a:t>
              </a:r>
            </a:p>
          </p:txBody>
        </p:sp>
        <p:sp>
          <p:nvSpPr>
            <p:cNvPr id="30" name="TextBox 29"/>
            <p:cNvSpPr txBox="1"/>
            <p:nvPr/>
          </p:nvSpPr>
          <p:spPr>
            <a:xfrm>
              <a:off x="990600" y="3239929"/>
              <a:ext cx="1295400" cy="194733"/>
            </a:xfrm>
            <a:prstGeom prst="rect">
              <a:avLst/>
            </a:prstGeom>
            <a:noFill/>
          </p:spPr>
          <p:txBody>
            <a:bodyPr wrap="square" rtlCol="0">
              <a:spAutoFit/>
            </a:bodyPr>
            <a:lstStyle/>
            <a:p>
              <a:pPr algn="ctr"/>
              <a:r>
                <a:rPr lang="en-US" sz="1600" dirty="0">
                  <a:solidFill>
                    <a:srgbClr val="58595B"/>
                  </a:solidFill>
                  <a:cs typeface="Lato Regular"/>
                </a:rPr>
                <a:t>CEO &amp; Founder</a:t>
              </a:r>
            </a:p>
          </p:txBody>
        </p:sp>
      </p:grpSp>
      <p:grpSp>
        <p:nvGrpSpPr>
          <p:cNvPr id="31" name="Group 30"/>
          <p:cNvGrpSpPr/>
          <p:nvPr>
            <p:custDataLst>
              <p:tags r:id="rId4"/>
            </p:custDataLst>
          </p:nvPr>
        </p:nvGrpSpPr>
        <p:grpSpPr>
          <a:xfrm>
            <a:off x="9719866" y="3407784"/>
            <a:ext cx="2765822" cy="681185"/>
            <a:chOff x="990600" y="3042850"/>
            <a:chExt cx="1295400" cy="391812"/>
          </a:xfrm>
        </p:grpSpPr>
        <p:sp>
          <p:nvSpPr>
            <p:cNvPr id="32" name="TextBox 31"/>
            <p:cNvSpPr txBox="1"/>
            <p:nvPr/>
          </p:nvSpPr>
          <p:spPr>
            <a:xfrm>
              <a:off x="990600" y="3042850"/>
              <a:ext cx="1295400" cy="230140"/>
            </a:xfrm>
            <a:prstGeom prst="rect">
              <a:avLst/>
            </a:prstGeom>
            <a:noFill/>
          </p:spPr>
          <p:txBody>
            <a:bodyPr wrap="square" rtlCol="0">
              <a:spAutoFit/>
            </a:bodyPr>
            <a:lstStyle/>
            <a:p>
              <a:pPr algn="ctr"/>
              <a:r>
                <a:rPr lang="en-US" sz="2000" dirty="0">
                  <a:solidFill>
                    <a:srgbClr val="58595B"/>
                  </a:solidFill>
                  <a:cs typeface="Lato Regular"/>
                </a:rPr>
                <a:t>Mario Lopez</a:t>
              </a:r>
            </a:p>
          </p:txBody>
        </p:sp>
        <p:sp>
          <p:nvSpPr>
            <p:cNvPr id="33" name="TextBox 32"/>
            <p:cNvSpPr txBox="1"/>
            <p:nvPr/>
          </p:nvSpPr>
          <p:spPr>
            <a:xfrm>
              <a:off x="990600" y="3239929"/>
              <a:ext cx="1295400" cy="194733"/>
            </a:xfrm>
            <a:prstGeom prst="rect">
              <a:avLst/>
            </a:prstGeom>
            <a:noFill/>
          </p:spPr>
          <p:txBody>
            <a:bodyPr wrap="square" rtlCol="0">
              <a:spAutoFit/>
            </a:bodyPr>
            <a:lstStyle/>
            <a:p>
              <a:pPr algn="ctr"/>
              <a:r>
                <a:rPr lang="en-US" sz="1600" dirty="0">
                  <a:solidFill>
                    <a:srgbClr val="58595B"/>
                  </a:solidFill>
                  <a:cs typeface="Lato Regular"/>
                </a:rPr>
                <a:t>CEO &amp; Founder</a:t>
              </a:r>
            </a:p>
          </p:txBody>
        </p:sp>
      </p:grpSp>
      <p:sp>
        <p:nvSpPr>
          <p:cNvPr id="64" name="TextBox 63"/>
          <p:cNvSpPr txBox="1"/>
          <p:nvPr/>
        </p:nvSpPr>
        <p:spPr>
          <a:xfrm>
            <a:off x="355600" y="4284084"/>
            <a:ext cx="2765822" cy="1323439"/>
          </a:xfrm>
          <a:prstGeom prst="rect">
            <a:avLst/>
          </a:prstGeom>
          <a:noFill/>
        </p:spPr>
        <p:txBody>
          <a:bodyPr wrap="square" rtlCol="0">
            <a:spAutoFit/>
          </a:bodyPr>
          <a:lstStyle/>
          <a:p>
            <a:pPr algn="ctr"/>
            <a:r>
              <a:rPr lang="en-US" sz="1600" dirty="0" err="1">
                <a:solidFill>
                  <a:srgbClr val="58595B"/>
                </a:solidFill>
                <a:latin typeface="Roboto Regular" pitchFamily="2" charset="0"/>
                <a:ea typeface="Roboto Regular" pitchFamily="2" charset="0"/>
                <a:cs typeface="Lato Regular"/>
              </a:rPr>
              <a:t>Ut</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bibendum</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venenatis</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lectus</a:t>
            </a:r>
            <a:r>
              <a:rPr lang="en-US" sz="1600" dirty="0">
                <a:solidFill>
                  <a:srgbClr val="58595B"/>
                </a:solidFill>
                <a:latin typeface="Roboto Regular" pitchFamily="2" charset="0"/>
                <a:ea typeface="Roboto Regular" pitchFamily="2" charset="0"/>
                <a:cs typeface="Lato Regular"/>
              </a:rPr>
              <a:t> ac tempus. </a:t>
            </a:r>
            <a:r>
              <a:rPr lang="en-US" sz="1600" dirty="0" err="1">
                <a:solidFill>
                  <a:srgbClr val="58595B"/>
                </a:solidFill>
                <a:latin typeface="Roboto Regular" pitchFamily="2" charset="0"/>
                <a:ea typeface="Roboto Regular" pitchFamily="2" charset="0"/>
                <a:cs typeface="Lato Regular"/>
              </a:rPr>
              <a:t>Aenean</a:t>
            </a:r>
            <a:r>
              <a:rPr lang="en-US" sz="1600" dirty="0">
                <a:solidFill>
                  <a:srgbClr val="58595B"/>
                </a:solidFill>
                <a:latin typeface="Roboto Regular" pitchFamily="2" charset="0"/>
                <a:ea typeface="Roboto Regular" pitchFamily="2" charset="0"/>
                <a:cs typeface="Lato Regular"/>
              </a:rPr>
              <a:t> ac </a:t>
            </a:r>
            <a:r>
              <a:rPr lang="en-US" sz="1600" dirty="0" err="1">
                <a:solidFill>
                  <a:srgbClr val="58595B"/>
                </a:solidFill>
                <a:latin typeface="Roboto Regular" pitchFamily="2" charset="0"/>
                <a:ea typeface="Roboto Regular" pitchFamily="2" charset="0"/>
                <a:cs typeface="Lato Regular"/>
              </a:rPr>
              <a:t>viverra</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neque</a:t>
            </a:r>
            <a:r>
              <a:rPr lang="en-US" sz="1600" dirty="0">
                <a:solidFill>
                  <a:srgbClr val="58595B"/>
                </a:solidFill>
                <a:latin typeface="Roboto Regular" pitchFamily="2" charset="0"/>
                <a:ea typeface="Roboto Regular" pitchFamily="2" charset="0"/>
                <a:cs typeface="Lato Regular"/>
              </a:rPr>
              <a:t>. Maecenas </a:t>
            </a:r>
            <a:r>
              <a:rPr lang="en-US" sz="1600" dirty="0" err="1">
                <a:solidFill>
                  <a:srgbClr val="58595B"/>
                </a:solidFill>
                <a:latin typeface="Roboto Regular" pitchFamily="2" charset="0"/>
                <a:ea typeface="Roboto Regular" pitchFamily="2" charset="0"/>
                <a:cs typeface="Lato Regular"/>
              </a:rPr>
              <a:t>ullamcorper</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turpis</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sed</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tellus</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vestibulum</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bibendum</a:t>
            </a:r>
            <a:r>
              <a:rPr lang="en-US" sz="1600" dirty="0">
                <a:solidFill>
                  <a:srgbClr val="58595B"/>
                </a:solidFill>
                <a:latin typeface="Roboto Regular" pitchFamily="2" charset="0"/>
                <a:ea typeface="Roboto Regular" pitchFamily="2" charset="0"/>
                <a:cs typeface="Lato Regular"/>
              </a:rPr>
              <a:t>. </a:t>
            </a:r>
          </a:p>
        </p:txBody>
      </p:sp>
      <p:sp>
        <p:nvSpPr>
          <p:cNvPr id="79" name="TextBox 78"/>
          <p:cNvSpPr txBox="1"/>
          <p:nvPr/>
        </p:nvSpPr>
        <p:spPr>
          <a:xfrm>
            <a:off x="3477022" y="4284084"/>
            <a:ext cx="2765822" cy="1323439"/>
          </a:xfrm>
          <a:prstGeom prst="rect">
            <a:avLst/>
          </a:prstGeom>
          <a:noFill/>
        </p:spPr>
        <p:txBody>
          <a:bodyPr wrap="square" rtlCol="0">
            <a:spAutoFit/>
          </a:bodyPr>
          <a:lstStyle/>
          <a:p>
            <a:pPr algn="ctr"/>
            <a:r>
              <a:rPr lang="en-US" sz="1600" dirty="0" err="1">
                <a:solidFill>
                  <a:srgbClr val="58595B"/>
                </a:solidFill>
                <a:latin typeface="Roboto Regular" pitchFamily="2" charset="0"/>
                <a:ea typeface="Roboto Regular" pitchFamily="2" charset="0"/>
                <a:cs typeface="Lato Regular"/>
              </a:rPr>
              <a:t>Ut</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bibendum</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venenatis</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lectus</a:t>
            </a:r>
            <a:r>
              <a:rPr lang="en-US" sz="1600" dirty="0">
                <a:solidFill>
                  <a:srgbClr val="58595B"/>
                </a:solidFill>
                <a:latin typeface="Roboto Regular" pitchFamily="2" charset="0"/>
                <a:ea typeface="Roboto Regular" pitchFamily="2" charset="0"/>
                <a:cs typeface="Lato Regular"/>
              </a:rPr>
              <a:t> ac tempus. </a:t>
            </a:r>
            <a:r>
              <a:rPr lang="en-US" sz="1600" dirty="0" err="1">
                <a:solidFill>
                  <a:srgbClr val="58595B"/>
                </a:solidFill>
                <a:latin typeface="Roboto Regular" pitchFamily="2" charset="0"/>
                <a:ea typeface="Roboto Regular" pitchFamily="2" charset="0"/>
                <a:cs typeface="Lato Regular"/>
              </a:rPr>
              <a:t>Aenean</a:t>
            </a:r>
            <a:r>
              <a:rPr lang="en-US" sz="1600" dirty="0">
                <a:solidFill>
                  <a:srgbClr val="58595B"/>
                </a:solidFill>
                <a:latin typeface="Roboto Regular" pitchFamily="2" charset="0"/>
                <a:ea typeface="Roboto Regular" pitchFamily="2" charset="0"/>
                <a:cs typeface="Lato Regular"/>
              </a:rPr>
              <a:t> ac </a:t>
            </a:r>
            <a:r>
              <a:rPr lang="en-US" sz="1600" dirty="0" err="1">
                <a:solidFill>
                  <a:srgbClr val="58595B"/>
                </a:solidFill>
                <a:latin typeface="Roboto Regular" pitchFamily="2" charset="0"/>
                <a:ea typeface="Roboto Regular" pitchFamily="2" charset="0"/>
                <a:cs typeface="Lato Regular"/>
              </a:rPr>
              <a:t>viverra</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neque</a:t>
            </a:r>
            <a:r>
              <a:rPr lang="en-US" sz="1600" dirty="0">
                <a:solidFill>
                  <a:srgbClr val="58595B"/>
                </a:solidFill>
                <a:latin typeface="Roboto Regular" pitchFamily="2" charset="0"/>
                <a:ea typeface="Roboto Regular" pitchFamily="2" charset="0"/>
                <a:cs typeface="Lato Regular"/>
              </a:rPr>
              <a:t>. Maecenas </a:t>
            </a:r>
            <a:r>
              <a:rPr lang="en-US" sz="1600" dirty="0" err="1">
                <a:solidFill>
                  <a:srgbClr val="58595B"/>
                </a:solidFill>
                <a:latin typeface="Roboto Regular" pitchFamily="2" charset="0"/>
                <a:ea typeface="Roboto Regular" pitchFamily="2" charset="0"/>
                <a:cs typeface="Lato Regular"/>
              </a:rPr>
              <a:t>ullamcorper</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turpis</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sed</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tellus</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vestibulum</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bibendum</a:t>
            </a:r>
            <a:r>
              <a:rPr lang="en-US" sz="1600" dirty="0">
                <a:solidFill>
                  <a:srgbClr val="58595B"/>
                </a:solidFill>
                <a:latin typeface="Roboto Regular" pitchFamily="2" charset="0"/>
                <a:ea typeface="Roboto Regular" pitchFamily="2" charset="0"/>
                <a:cs typeface="Lato Regular"/>
              </a:rPr>
              <a:t>. </a:t>
            </a:r>
          </a:p>
        </p:txBody>
      </p:sp>
      <p:sp>
        <p:nvSpPr>
          <p:cNvPr id="83" name="TextBox 82"/>
          <p:cNvSpPr txBox="1"/>
          <p:nvPr/>
        </p:nvSpPr>
        <p:spPr>
          <a:xfrm>
            <a:off x="6598444" y="4284084"/>
            <a:ext cx="2765822" cy="1323439"/>
          </a:xfrm>
          <a:prstGeom prst="rect">
            <a:avLst/>
          </a:prstGeom>
          <a:noFill/>
        </p:spPr>
        <p:txBody>
          <a:bodyPr wrap="square" rtlCol="0">
            <a:spAutoFit/>
          </a:bodyPr>
          <a:lstStyle/>
          <a:p>
            <a:pPr algn="ctr"/>
            <a:r>
              <a:rPr lang="en-US" sz="1600" dirty="0" err="1">
                <a:solidFill>
                  <a:srgbClr val="58595B"/>
                </a:solidFill>
                <a:latin typeface="Roboto Regular" pitchFamily="2" charset="0"/>
                <a:ea typeface="Roboto Regular" pitchFamily="2" charset="0"/>
                <a:cs typeface="Lato Regular"/>
              </a:rPr>
              <a:t>Ut</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bibendum</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venenatis</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lectus</a:t>
            </a:r>
            <a:r>
              <a:rPr lang="en-US" sz="1600" dirty="0">
                <a:solidFill>
                  <a:srgbClr val="58595B"/>
                </a:solidFill>
                <a:latin typeface="Roboto Regular" pitchFamily="2" charset="0"/>
                <a:ea typeface="Roboto Regular" pitchFamily="2" charset="0"/>
                <a:cs typeface="Lato Regular"/>
              </a:rPr>
              <a:t> ac tempus. </a:t>
            </a:r>
            <a:r>
              <a:rPr lang="en-US" sz="1600" dirty="0" err="1">
                <a:solidFill>
                  <a:srgbClr val="58595B"/>
                </a:solidFill>
                <a:latin typeface="Roboto Regular" pitchFamily="2" charset="0"/>
                <a:ea typeface="Roboto Regular" pitchFamily="2" charset="0"/>
                <a:cs typeface="Lato Regular"/>
              </a:rPr>
              <a:t>Aenean</a:t>
            </a:r>
            <a:r>
              <a:rPr lang="en-US" sz="1600" dirty="0">
                <a:solidFill>
                  <a:srgbClr val="58595B"/>
                </a:solidFill>
                <a:latin typeface="Roboto Regular" pitchFamily="2" charset="0"/>
                <a:ea typeface="Roboto Regular" pitchFamily="2" charset="0"/>
                <a:cs typeface="Lato Regular"/>
              </a:rPr>
              <a:t> ac </a:t>
            </a:r>
            <a:r>
              <a:rPr lang="en-US" sz="1600" dirty="0" err="1">
                <a:solidFill>
                  <a:srgbClr val="58595B"/>
                </a:solidFill>
                <a:latin typeface="Roboto Regular" pitchFamily="2" charset="0"/>
                <a:ea typeface="Roboto Regular" pitchFamily="2" charset="0"/>
                <a:cs typeface="Lato Regular"/>
              </a:rPr>
              <a:t>viverra</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neque</a:t>
            </a:r>
            <a:r>
              <a:rPr lang="en-US" sz="1600" dirty="0">
                <a:solidFill>
                  <a:srgbClr val="58595B"/>
                </a:solidFill>
                <a:latin typeface="Roboto Regular" pitchFamily="2" charset="0"/>
                <a:ea typeface="Roboto Regular" pitchFamily="2" charset="0"/>
                <a:cs typeface="Lato Regular"/>
              </a:rPr>
              <a:t>. Maecenas </a:t>
            </a:r>
            <a:r>
              <a:rPr lang="en-US" sz="1600" dirty="0" err="1">
                <a:solidFill>
                  <a:srgbClr val="58595B"/>
                </a:solidFill>
                <a:latin typeface="Roboto Regular" pitchFamily="2" charset="0"/>
                <a:ea typeface="Roboto Regular" pitchFamily="2" charset="0"/>
                <a:cs typeface="Lato Regular"/>
              </a:rPr>
              <a:t>ullamcorper</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turpis</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sed</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tellus</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vestibulum</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bibendum</a:t>
            </a:r>
            <a:r>
              <a:rPr lang="en-US" sz="1600" dirty="0">
                <a:solidFill>
                  <a:srgbClr val="58595B"/>
                </a:solidFill>
                <a:latin typeface="Roboto Regular" pitchFamily="2" charset="0"/>
                <a:ea typeface="Roboto Regular" pitchFamily="2" charset="0"/>
                <a:cs typeface="Lato Regular"/>
              </a:rPr>
              <a:t>. </a:t>
            </a:r>
          </a:p>
        </p:txBody>
      </p:sp>
      <p:sp>
        <p:nvSpPr>
          <p:cNvPr id="84" name="TextBox 83"/>
          <p:cNvSpPr txBox="1"/>
          <p:nvPr/>
        </p:nvSpPr>
        <p:spPr>
          <a:xfrm>
            <a:off x="9719866" y="4284084"/>
            <a:ext cx="2765822" cy="1323439"/>
          </a:xfrm>
          <a:prstGeom prst="rect">
            <a:avLst/>
          </a:prstGeom>
          <a:noFill/>
        </p:spPr>
        <p:txBody>
          <a:bodyPr wrap="square" rtlCol="0">
            <a:spAutoFit/>
          </a:bodyPr>
          <a:lstStyle/>
          <a:p>
            <a:pPr algn="ctr"/>
            <a:r>
              <a:rPr lang="en-US" sz="1600" dirty="0" err="1">
                <a:solidFill>
                  <a:srgbClr val="58595B"/>
                </a:solidFill>
                <a:latin typeface="Roboto Regular" pitchFamily="2" charset="0"/>
                <a:ea typeface="Roboto Regular" pitchFamily="2" charset="0"/>
                <a:cs typeface="Lato Regular"/>
              </a:rPr>
              <a:t>Ut</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bibendum</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venenatis</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lectus</a:t>
            </a:r>
            <a:r>
              <a:rPr lang="en-US" sz="1600" dirty="0">
                <a:solidFill>
                  <a:srgbClr val="58595B"/>
                </a:solidFill>
                <a:latin typeface="Roboto Regular" pitchFamily="2" charset="0"/>
                <a:ea typeface="Roboto Regular" pitchFamily="2" charset="0"/>
                <a:cs typeface="Lato Regular"/>
              </a:rPr>
              <a:t> ac tempus. </a:t>
            </a:r>
            <a:r>
              <a:rPr lang="en-US" sz="1600" dirty="0" err="1">
                <a:solidFill>
                  <a:srgbClr val="58595B"/>
                </a:solidFill>
                <a:latin typeface="Roboto Regular" pitchFamily="2" charset="0"/>
                <a:ea typeface="Roboto Regular" pitchFamily="2" charset="0"/>
                <a:cs typeface="Lato Regular"/>
              </a:rPr>
              <a:t>Aenean</a:t>
            </a:r>
            <a:r>
              <a:rPr lang="en-US" sz="1600" dirty="0">
                <a:solidFill>
                  <a:srgbClr val="58595B"/>
                </a:solidFill>
                <a:latin typeface="Roboto Regular" pitchFamily="2" charset="0"/>
                <a:ea typeface="Roboto Regular" pitchFamily="2" charset="0"/>
                <a:cs typeface="Lato Regular"/>
              </a:rPr>
              <a:t> ac </a:t>
            </a:r>
            <a:r>
              <a:rPr lang="en-US" sz="1600" dirty="0" err="1">
                <a:solidFill>
                  <a:srgbClr val="58595B"/>
                </a:solidFill>
                <a:latin typeface="Roboto Regular" pitchFamily="2" charset="0"/>
                <a:ea typeface="Roboto Regular" pitchFamily="2" charset="0"/>
                <a:cs typeface="Lato Regular"/>
              </a:rPr>
              <a:t>viverra</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neque</a:t>
            </a:r>
            <a:r>
              <a:rPr lang="en-US" sz="1600" dirty="0">
                <a:solidFill>
                  <a:srgbClr val="58595B"/>
                </a:solidFill>
                <a:latin typeface="Roboto Regular" pitchFamily="2" charset="0"/>
                <a:ea typeface="Roboto Regular" pitchFamily="2" charset="0"/>
                <a:cs typeface="Lato Regular"/>
              </a:rPr>
              <a:t>. Maecenas </a:t>
            </a:r>
            <a:r>
              <a:rPr lang="en-US" sz="1600" dirty="0" err="1">
                <a:solidFill>
                  <a:srgbClr val="58595B"/>
                </a:solidFill>
                <a:latin typeface="Roboto Regular" pitchFamily="2" charset="0"/>
                <a:ea typeface="Roboto Regular" pitchFamily="2" charset="0"/>
                <a:cs typeface="Lato Regular"/>
              </a:rPr>
              <a:t>ullamcorper</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turpis</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sed</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tellus</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vestibulum</a:t>
            </a:r>
            <a:r>
              <a:rPr lang="en-US" sz="1600" dirty="0">
                <a:solidFill>
                  <a:srgbClr val="58595B"/>
                </a:solidFill>
                <a:latin typeface="Roboto Regular" pitchFamily="2" charset="0"/>
                <a:ea typeface="Roboto Regular" pitchFamily="2" charset="0"/>
                <a:cs typeface="Lato Regular"/>
              </a:rPr>
              <a:t> </a:t>
            </a:r>
            <a:r>
              <a:rPr lang="en-US" sz="1600" dirty="0" err="1">
                <a:solidFill>
                  <a:srgbClr val="58595B"/>
                </a:solidFill>
                <a:latin typeface="Roboto Regular" pitchFamily="2" charset="0"/>
                <a:ea typeface="Roboto Regular" pitchFamily="2" charset="0"/>
                <a:cs typeface="Lato Regular"/>
              </a:rPr>
              <a:t>bibendum</a:t>
            </a:r>
            <a:r>
              <a:rPr lang="en-US" sz="1600" dirty="0">
                <a:solidFill>
                  <a:srgbClr val="58595B"/>
                </a:solidFill>
                <a:latin typeface="Roboto Regular" pitchFamily="2" charset="0"/>
                <a:ea typeface="Roboto Regular" pitchFamily="2" charset="0"/>
                <a:cs typeface="Lato Regular"/>
              </a:rPr>
              <a:t>. </a:t>
            </a:r>
          </a:p>
        </p:txBody>
      </p:sp>
    </p:spTree>
    <p:extLst>
      <p:ext uri="{BB962C8B-B14F-4D97-AF65-F5344CB8AC3E}">
        <p14:creationId xmlns:p14="http://schemas.microsoft.com/office/powerpoint/2010/main" val="34871871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p:cNvSpPr>
            <a:spLocks noGrp="1"/>
          </p:cNvSpPr>
          <p:nvPr>
            <p:ph type="title"/>
          </p:nvPr>
        </p:nvSpPr>
        <p:spPr bwMode="gray"/>
        <p:txBody>
          <a:bodyPr/>
          <a:lstStyle/>
          <a:p>
            <a:r>
              <a:rPr lang="en-US" dirty="0" smtClean="0"/>
              <a:t>Dumbbell</a:t>
            </a:r>
          </a:p>
        </p:txBody>
      </p:sp>
      <p:sp>
        <p:nvSpPr>
          <p:cNvPr id="2" name="BainBulletsConfiguration" hidden="1"/>
          <p:cNvSpPr txBox="1"/>
          <p:nvPr/>
        </p:nvSpPr>
        <p:spPr>
          <a:xfrm>
            <a:off x="1712288" y="12323"/>
            <a:ext cx="8626466" cy="107722"/>
          </a:xfrm>
          <a:prstGeom prst="rect">
            <a:avLst/>
          </a:prstGeom>
          <a:noFill/>
        </p:spPr>
        <p:txBody>
          <a:bodyPr vert="horz" wrap="square" lIns="44365" rIns="44365" rtlCol="0">
            <a:spAutoFit/>
          </a:bodyPr>
          <a:lstStyle/>
          <a:p>
            <a:r>
              <a:rPr lang="en-CA" sz="100">
                <a:solidFill>
                  <a:srgbClr val="FFFFFF"/>
                </a:solidFill>
              </a:rPr>
              <a:t>3_85 12_85</a:t>
            </a:r>
            <a:endParaRPr lang="en-CA" sz="100" dirty="0">
              <a:solidFill>
                <a:srgbClr val="FFFFFF"/>
              </a:solidFill>
            </a:endParaRPr>
          </a:p>
        </p:txBody>
      </p:sp>
      <p:sp>
        <p:nvSpPr>
          <p:cNvPr id="39938" name="Rectangle 3"/>
          <p:cNvSpPr>
            <a:spLocks noChangeArrowheads="1"/>
          </p:cNvSpPr>
          <p:nvPr/>
        </p:nvSpPr>
        <p:spPr bwMode="gray">
          <a:xfrm>
            <a:off x="3426623" y="1772261"/>
            <a:ext cx="1996014" cy="1482814"/>
          </a:xfrm>
          <a:prstGeom prst="rect">
            <a:avLst/>
          </a:prstGeom>
          <a:solidFill>
            <a:schemeClr val="accent5"/>
          </a:solidFill>
          <a:ln w="28575">
            <a:solidFill>
              <a:srgbClr val="FFFFFF"/>
            </a:solidFill>
            <a:miter lim="800000"/>
            <a:headEnd type="none" w="sm" len="sm"/>
            <a:tailEnd type="none" w="sm" len="sm"/>
          </a:ln>
        </p:spPr>
        <p:txBody>
          <a:bodyPr wrap="none" lIns="95174" tIns="47587" rIns="95174" bIns="47587" anchor="ctr"/>
          <a:lstStyle/>
          <a:p>
            <a:pPr marL="121701" indent="-121701" algn="ctr" defTabSz="854984">
              <a:buClr>
                <a:schemeClr val="tx1"/>
              </a:buClr>
            </a:pPr>
            <a:r>
              <a:rPr lang="en-US" sz="1747" dirty="0">
                <a:solidFill>
                  <a:schemeClr val="accent2"/>
                </a:solidFill>
              </a:rPr>
              <a:t>Text</a:t>
            </a:r>
          </a:p>
        </p:txBody>
      </p:sp>
      <p:sp>
        <p:nvSpPr>
          <p:cNvPr id="39939" name="Rectangle 4"/>
          <p:cNvSpPr>
            <a:spLocks noChangeArrowheads="1"/>
          </p:cNvSpPr>
          <p:nvPr/>
        </p:nvSpPr>
        <p:spPr bwMode="gray">
          <a:xfrm>
            <a:off x="7418652" y="1772261"/>
            <a:ext cx="1996014" cy="1482814"/>
          </a:xfrm>
          <a:prstGeom prst="rect">
            <a:avLst/>
          </a:prstGeom>
          <a:solidFill>
            <a:schemeClr val="accent5"/>
          </a:solidFill>
          <a:ln w="28575">
            <a:solidFill>
              <a:srgbClr val="FFFFFF"/>
            </a:solidFill>
            <a:miter lim="800000"/>
            <a:headEnd/>
            <a:tailEnd/>
          </a:ln>
        </p:spPr>
        <p:txBody>
          <a:bodyPr wrap="none" lIns="95174" tIns="47587" rIns="95174" bIns="47587" anchor="ctr"/>
          <a:lstStyle/>
          <a:p>
            <a:pPr marL="121701" indent="-121701" algn="ctr" defTabSz="854984">
              <a:buClr>
                <a:schemeClr val="tx1"/>
              </a:buClr>
            </a:pPr>
            <a:r>
              <a:rPr lang="en-US" sz="1747" dirty="0">
                <a:solidFill>
                  <a:schemeClr val="accent2"/>
                </a:solidFill>
              </a:rPr>
              <a:t>Text</a:t>
            </a:r>
          </a:p>
        </p:txBody>
      </p:sp>
      <p:sp>
        <p:nvSpPr>
          <p:cNvPr id="39942" name="Rectangle 7"/>
          <p:cNvSpPr>
            <a:spLocks noChangeArrowheads="1"/>
          </p:cNvSpPr>
          <p:nvPr/>
        </p:nvSpPr>
        <p:spPr bwMode="gray">
          <a:xfrm>
            <a:off x="5422638" y="1772261"/>
            <a:ext cx="1996014" cy="1482814"/>
          </a:xfrm>
          <a:prstGeom prst="rect">
            <a:avLst/>
          </a:prstGeom>
          <a:solidFill>
            <a:schemeClr val="accent5"/>
          </a:solidFill>
          <a:ln w="28575">
            <a:solidFill>
              <a:srgbClr val="FFFFFF"/>
            </a:solidFill>
            <a:miter lim="800000"/>
            <a:headEnd type="none" w="sm" len="sm"/>
            <a:tailEnd type="none" w="sm" len="sm"/>
          </a:ln>
        </p:spPr>
        <p:txBody>
          <a:bodyPr wrap="none" lIns="95174" tIns="47587" rIns="95174" bIns="47587" anchor="ctr"/>
          <a:lstStyle/>
          <a:p>
            <a:pPr marL="121701" indent="-121701" algn="ctr" defTabSz="854984">
              <a:buClr>
                <a:schemeClr val="tx1"/>
              </a:buClr>
            </a:pPr>
            <a:r>
              <a:rPr lang="en-US" sz="1747" dirty="0">
                <a:solidFill>
                  <a:schemeClr val="accent2"/>
                </a:solidFill>
              </a:rPr>
              <a:t>Text</a:t>
            </a:r>
          </a:p>
        </p:txBody>
      </p:sp>
      <p:sp>
        <p:nvSpPr>
          <p:cNvPr id="3" name="TextBox 2"/>
          <p:cNvSpPr txBox="1"/>
          <p:nvPr>
            <p:custDataLst>
              <p:tags r:id="rId1"/>
            </p:custDataLst>
          </p:nvPr>
        </p:nvSpPr>
        <p:spPr>
          <a:xfrm>
            <a:off x="689529" y="4018067"/>
            <a:ext cx="5117748" cy="1029384"/>
          </a:xfrm>
          <a:prstGeom prst="rect">
            <a:avLst/>
          </a:prstGeom>
          <a:noFill/>
        </p:spPr>
        <p:txBody>
          <a:bodyPr vert="horz" wrap="square" lIns="44365" rIns="44365" rtlCol="0">
            <a:spAutoFit/>
          </a:bodyPr>
          <a:lstStyle/>
          <a:p>
            <a:pPr marL="182563" indent="-182563">
              <a:spcBef>
                <a:spcPts val="932"/>
              </a:spcBef>
              <a:buSzPct val="100000"/>
              <a:buFont typeface="Verdana" panose="020B0604030504040204" pitchFamily="34" charset="0"/>
              <a:buChar char="•"/>
            </a:pPr>
            <a:r>
              <a:rPr lang="en-CA" sz="1941" dirty="0"/>
              <a:t>Type text here</a:t>
            </a:r>
          </a:p>
          <a:p>
            <a:pPr marL="449263" lvl="1" indent="-182563">
              <a:spcBef>
                <a:spcPts val="418"/>
              </a:spcBef>
              <a:buSzPct val="100000"/>
              <a:buFont typeface="Verdana" panose="020B0604030504040204" pitchFamily="34" charset="0"/>
              <a:buChar char="-"/>
            </a:pPr>
            <a:r>
              <a:rPr lang="en-CA" sz="1741" dirty="0"/>
              <a:t>Or here</a:t>
            </a:r>
          </a:p>
          <a:p>
            <a:pPr marL="801688" lvl="2" indent="-192088">
              <a:spcBef>
                <a:spcPts val="418"/>
              </a:spcBef>
              <a:buSzPct val="140000"/>
              <a:buFont typeface="Verdana" panose="020B0604030504040204" pitchFamily="34" charset="0"/>
              <a:buChar char="‣"/>
            </a:pPr>
            <a:r>
              <a:rPr lang="en-CA" sz="1741" dirty="0"/>
              <a:t>Or here</a:t>
            </a:r>
          </a:p>
        </p:txBody>
      </p:sp>
      <p:sp>
        <p:nvSpPr>
          <p:cNvPr id="12" name="TextBox 11"/>
          <p:cNvSpPr txBox="1"/>
          <p:nvPr>
            <p:custDataLst>
              <p:tags r:id="rId2"/>
            </p:custDataLst>
          </p:nvPr>
        </p:nvSpPr>
        <p:spPr>
          <a:xfrm>
            <a:off x="7620567" y="4018067"/>
            <a:ext cx="5117748" cy="1029384"/>
          </a:xfrm>
          <a:prstGeom prst="rect">
            <a:avLst/>
          </a:prstGeom>
          <a:noFill/>
        </p:spPr>
        <p:txBody>
          <a:bodyPr vert="horz" wrap="square" lIns="44365" rIns="44365" rtlCol="0">
            <a:spAutoFit/>
          </a:bodyPr>
          <a:lstStyle/>
          <a:p>
            <a:pPr marL="182563" indent="-182563">
              <a:spcBef>
                <a:spcPts val="932"/>
              </a:spcBef>
              <a:buSzPct val="100000"/>
              <a:buFont typeface="Verdana" panose="020B0604030504040204" pitchFamily="34" charset="0"/>
              <a:buChar char="•"/>
            </a:pPr>
            <a:r>
              <a:rPr lang="en-CA" sz="1941" dirty="0"/>
              <a:t>Type text here</a:t>
            </a:r>
          </a:p>
          <a:p>
            <a:pPr marL="449263" lvl="1" indent="-182563">
              <a:spcBef>
                <a:spcPts val="418"/>
              </a:spcBef>
              <a:buSzPct val="100000"/>
              <a:buFont typeface="Verdana" panose="020B0604030504040204" pitchFamily="34" charset="0"/>
              <a:buChar char="-"/>
            </a:pPr>
            <a:r>
              <a:rPr lang="en-CA" sz="1741" dirty="0"/>
              <a:t>Or here</a:t>
            </a:r>
          </a:p>
          <a:p>
            <a:pPr marL="801688" lvl="2" indent="-192088">
              <a:spcBef>
                <a:spcPts val="418"/>
              </a:spcBef>
              <a:buSzPct val="140000"/>
              <a:buFont typeface="Verdana" panose="020B0604030504040204" pitchFamily="34" charset="0"/>
              <a:buChar char="‣"/>
            </a:pPr>
            <a:r>
              <a:rPr lang="en-CA" sz="1741" dirty="0"/>
              <a:t>Or here</a:t>
            </a:r>
          </a:p>
        </p:txBody>
      </p:sp>
      <p:sp>
        <p:nvSpPr>
          <p:cNvPr id="39940" name="Oval 5"/>
          <p:cNvSpPr>
            <a:spLocks noChangeArrowheads="1"/>
          </p:cNvSpPr>
          <p:nvPr/>
        </p:nvSpPr>
        <p:spPr bwMode="gray">
          <a:xfrm>
            <a:off x="904788" y="1160206"/>
            <a:ext cx="2732164" cy="2706922"/>
          </a:xfrm>
          <a:prstGeom prst="ellipse">
            <a:avLst/>
          </a:prstGeom>
          <a:solidFill>
            <a:schemeClr val="accent3"/>
          </a:solidFill>
          <a:ln w="57150">
            <a:solidFill>
              <a:srgbClr val="FFFFFF"/>
            </a:solidFill>
            <a:round/>
            <a:headEnd type="none" w="sm" len="sm"/>
            <a:tailEnd type="none" w="sm" len="sm"/>
          </a:ln>
        </p:spPr>
        <p:txBody>
          <a:bodyPr wrap="none" lIns="95174" tIns="47587" rIns="95174" bIns="47587" anchor="ctr"/>
          <a:lstStyle/>
          <a:p>
            <a:pPr marL="121701" indent="-121701" algn="ctr" defTabSz="854984">
              <a:buClr>
                <a:schemeClr val="tx1"/>
              </a:buClr>
            </a:pPr>
            <a:r>
              <a:rPr lang="en-US" sz="2329" dirty="0">
                <a:solidFill>
                  <a:srgbClr val="FFFFFF"/>
                </a:solidFill>
              </a:rPr>
              <a:t>Text</a:t>
            </a:r>
          </a:p>
        </p:txBody>
      </p:sp>
      <p:sp>
        <p:nvSpPr>
          <p:cNvPr id="39941" name="Oval 6"/>
          <p:cNvSpPr>
            <a:spLocks noChangeArrowheads="1"/>
          </p:cNvSpPr>
          <p:nvPr/>
        </p:nvSpPr>
        <p:spPr bwMode="gray">
          <a:xfrm>
            <a:off x="9202234" y="1160206"/>
            <a:ext cx="2734267" cy="2706922"/>
          </a:xfrm>
          <a:prstGeom prst="ellipse">
            <a:avLst/>
          </a:prstGeom>
          <a:solidFill>
            <a:schemeClr val="accent3"/>
          </a:solidFill>
          <a:ln w="57150">
            <a:solidFill>
              <a:srgbClr val="FFFFFF"/>
            </a:solidFill>
            <a:round/>
            <a:headEnd type="none" w="sm" len="sm"/>
            <a:tailEnd type="none" w="sm" len="sm"/>
          </a:ln>
        </p:spPr>
        <p:txBody>
          <a:bodyPr wrap="none" lIns="95174" tIns="47587" rIns="95174" bIns="47587" anchor="ctr"/>
          <a:lstStyle/>
          <a:p>
            <a:pPr marL="121701" indent="-121701" algn="ctr" defTabSz="854984">
              <a:buClr>
                <a:schemeClr val="tx1"/>
              </a:buClr>
            </a:pPr>
            <a:r>
              <a:rPr lang="en-US" sz="2329" dirty="0">
                <a:solidFill>
                  <a:srgbClr val="FFFFFF"/>
                </a:solidFill>
              </a:rPr>
              <a:t>Text</a:t>
            </a:r>
          </a:p>
        </p:txBody>
      </p:sp>
    </p:spTree>
    <p:extLst>
      <p:ext uri="{BB962C8B-B14F-4D97-AF65-F5344CB8AC3E}">
        <p14:creationId xmlns:p14="http://schemas.microsoft.com/office/powerpoint/2010/main" val="4046872944"/>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Title 1"/>
          <p:cNvSpPr>
            <a:spLocks noGrp="1"/>
          </p:cNvSpPr>
          <p:nvPr>
            <p:ph type="title"/>
          </p:nvPr>
        </p:nvSpPr>
        <p:spPr bwMode="gray"/>
        <p:txBody>
          <a:bodyPr/>
          <a:lstStyle/>
          <a:p>
            <a:r>
              <a:rPr lang="en-US" dirty="0" smtClean="0"/>
              <a:t>Pyramid – 7 segments </a:t>
            </a:r>
          </a:p>
        </p:txBody>
      </p:sp>
      <p:sp>
        <p:nvSpPr>
          <p:cNvPr id="82946" name="Freeform 7"/>
          <p:cNvSpPr>
            <a:spLocks/>
          </p:cNvSpPr>
          <p:nvPr/>
        </p:nvSpPr>
        <p:spPr bwMode="gray">
          <a:xfrm>
            <a:off x="681299" y="5480143"/>
            <a:ext cx="6321967" cy="707062"/>
          </a:xfrm>
          <a:custGeom>
            <a:avLst/>
            <a:gdLst>
              <a:gd name="T0" fmla="*/ 296 w 4288"/>
              <a:gd name="T1" fmla="*/ 0 h 524"/>
              <a:gd name="T2" fmla="*/ 3988 w 4288"/>
              <a:gd name="T3" fmla="*/ 0 h 524"/>
              <a:gd name="T4" fmla="*/ 4288 w 4288"/>
              <a:gd name="T5" fmla="*/ 524 h 524"/>
              <a:gd name="T6" fmla="*/ 0 w 4288"/>
              <a:gd name="T7" fmla="*/ 518 h 524"/>
              <a:gd name="T8" fmla="*/ 296 w 4288"/>
              <a:gd name="T9" fmla="*/ 0 h 524"/>
              <a:gd name="T10" fmla="*/ 0 60000 65536"/>
              <a:gd name="T11" fmla="*/ 0 60000 65536"/>
              <a:gd name="T12" fmla="*/ 0 60000 65536"/>
              <a:gd name="T13" fmla="*/ 0 60000 65536"/>
              <a:gd name="T14" fmla="*/ 0 60000 65536"/>
              <a:gd name="T15" fmla="*/ 0 w 4288"/>
              <a:gd name="T16" fmla="*/ 0 h 524"/>
              <a:gd name="T17" fmla="*/ 4288 w 4288"/>
              <a:gd name="T18" fmla="*/ 524 h 524"/>
            </a:gdLst>
            <a:ahLst/>
            <a:cxnLst>
              <a:cxn ang="T10">
                <a:pos x="T0" y="T1"/>
              </a:cxn>
              <a:cxn ang="T11">
                <a:pos x="T2" y="T3"/>
              </a:cxn>
              <a:cxn ang="T12">
                <a:pos x="T4" y="T5"/>
              </a:cxn>
              <a:cxn ang="T13">
                <a:pos x="T6" y="T7"/>
              </a:cxn>
              <a:cxn ang="T14">
                <a:pos x="T8" y="T9"/>
              </a:cxn>
            </a:cxnLst>
            <a:rect l="T15" t="T16" r="T17" b="T18"/>
            <a:pathLst>
              <a:path w="4288" h="524">
                <a:moveTo>
                  <a:pt x="296" y="0"/>
                </a:moveTo>
                <a:lnTo>
                  <a:pt x="3988" y="0"/>
                </a:lnTo>
                <a:lnTo>
                  <a:pt x="4288" y="524"/>
                </a:lnTo>
                <a:lnTo>
                  <a:pt x="0" y="518"/>
                </a:lnTo>
                <a:lnTo>
                  <a:pt x="296" y="0"/>
                </a:lnTo>
                <a:close/>
              </a:path>
            </a:pathLst>
          </a:custGeom>
          <a:solidFill>
            <a:srgbClr val="CCCCCC"/>
          </a:solidFill>
          <a:ln w="12700" cap="flat" cmpd="sng">
            <a:noFill/>
            <a:prstDash val="solid"/>
            <a:round/>
            <a:headEnd type="none" w="med" len="med"/>
            <a:tailEnd type="none" w="med" len="med"/>
          </a:ln>
        </p:spPr>
        <p:txBody>
          <a:bodyPr lIns="41117" tIns="41117" rIns="41117" bIns="41117" anchor="ctr">
            <a:noAutofit/>
          </a:bodyPr>
          <a:lstStyle/>
          <a:p>
            <a:endParaRPr lang="en-US" sz="1747" dirty="0">
              <a:solidFill>
                <a:srgbClr val="000000"/>
              </a:solidFill>
              <a:latin typeface="Verdana" pitchFamily="34" charset="0"/>
            </a:endParaRPr>
          </a:p>
        </p:txBody>
      </p:sp>
      <p:sp>
        <p:nvSpPr>
          <p:cNvPr id="82947" name="Text Box 8"/>
          <p:cNvSpPr txBox="1">
            <a:spLocks noChangeArrowheads="1"/>
          </p:cNvSpPr>
          <p:nvPr/>
        </p:nvSpPr>
        <p:spPr bwMode="gray">
          <a:xfrm>
            <a:off x="1040221" y="5663455"/>
            <a:ext cx="5534803" cy="351220"/>
          </a:xfrm>
          <a:prstGeom prst="rect">
            <a:avLst/>
          </a:prstGeom>
          <a:noFill/>
          <a:ln w="12700">
            <a:noFill/>
            <a:miter lim="800000"/>
            <a:headEnd type="none" w="sm" len="sm"/>
            <a:tailEnd type="none" w="sm" len="sm"/>
          </a:ln>
        </p:spPr>
        <p:txBody>
          <a:bodyPr lIns="41117" tIns="41117" rIns="41117" bIns="41117" anchor="ctr">
            <a:spAutoFit/>
          </a:bodyPr>
          <a:lstStyle/>
          <a:p>
            <a:pPr algn="ctr" defTabSz="854984">
              <a:spcBef>
                <a:spcPct val="50000"/>
              </a:spcBef>
            </a:pPr>
            <a:r>
              <a:rPr lang="en-US" sz="1747" dirty="0">
                <a:latin typeface="Verdana" pitchFamily="34" charset="0"/>
              </a:rPr>
              <a:t>Text</a:t>
            </a:r>
          </a:p>
        </p:txBody>
      </p:sp>
      <p:sp>
        <p:nvSpPr>
          <p:cNvPr id="82948" name="Freeform 10"/>
          <p:cNvSpPr>
            <a:spLocks/>
          </p:cNvSpPr>
          <p:nvPr/>
        </p:nvSpPr>
        <p:spPr bwMode="gray">
          <a:xfrm>
            <a:off x="1164998" y="4740732"/>
            <a:ext cx="5337625" cy="659308"/>
          </a:xfrm>
          <a:custGeom>
            <a:avLst/>
            <a:gdLst>
              <a:gd name="T0" fmla="*/ 280 w 3620"/>
              <a:gd name="T1" fmla="*/ 0 h 488"/>
              <a:gd name="T2" fmla="*/ 3348 w 3620"/>
              <a:gd name="T3" fmla="*/ 2 h 488"/>
              <a:gd name="T4" fmla="*/ 3620 w 3620"/>
              <a:gd name="T5" fmla="*/ 484 h 488"/>
              <a:gd name="T6" fmla="*/ 0 w 3620"/>
              <a:gd name="T7" fmla="*/ 488 h 488"/>
              <a:gd name="T8" fmla="*/ 280 w 3620"/>
              <a:gd name="T9" fmla="*/ 0 h 488"/>
              <a:gd name="T10" fmla="*/ 0 60000 65536"/>
              <a:gd name="T11" fmla="*/ 0 60000 65536"/>
              <a:gd name="T12" fmla="*/ 0 60000 65536"/>
              <a:gd name="T13" fmla="*/ 0 60000 65536"/>
              <a:gd name="T14" fmla="*/ 0 60000 65536"/>
              <a:gd name="T15" fmla="*/ 0 w 3620"/>
              <a:gd name="T16" fmla="*/ 0 h 488"/>
              <a:gd name="T17" fmla="*/ 3620 w 3620"/>
              <a:gd name="T18" fmla="*/ 488 h 488"/>
            </a:gdLst>
            <a:ahLst/>
            <a:cxnLst>
              <a:cxn ang="T10">
                <a:pos x="T0" y="T1"/>
              </a:cxn>
              <a:cxn ang="T11">
                <a:pos x="T2" y="T3"/>
              </a:cxn>
              <a:cxn ang="T12">
                <a:pos x="T4" y="T5"/>
              </a:cxn>
              <a:cxn ang="T13">
                <a:pos x="T6" y="T7"/>
              </a:cxn>
              <a:cxn ang="T14">
                <a:pos x="T8" y="T9"/>
              </a:cxn>
            </a:cxnLst>
            <a:rect l="T15" t="T16" r="T17" b="T18"/>
            <a:pathLst>
              <a:path w="3620" h="488">
                <a:moveTo>
                  <a:pt x="280" y="0"/>
                </a:moveTo>
                <a:lnTo>
                  <a:pt x="3348" y="2"/>
                </a:lnTo>
                <a:lnTo>
                  <a:pt x="3620" y="484"/>
                </a:lnTo>
                <a:lnTo>
                  <a:pt x="0" y="488"/>
                </a:lnTo>
                <a:lnTo>
                  <a:pt x="280" y="0"/>
                </a:lnTo>
                <a:close/>
              </a:path>
            </a:pathLst>
          </a:custGeom>
          <a:solidFill>
            <a:srgbClr val="A3A3A3"/>
          </a:solidFill>
          <a:ln w="12700" cap="flat" cmpd="sng">
            <a:noFill/>
            <a:prstDash val="solid"/>
            <a:round/>
            <a:headEnd type="none" w="sm" len="sm"/>
            <a:tailEnd type="none" w="sm" len="sm"/>
          </a:ln>
        </p:spPr>
        <p:txBody>
          <a:bodyPr lIns="41117" tIns="41117" rIns="41117" bIns="41117" anchor="ctr">
            <a:noAutofit/>
          </a:bodyPr>
          <a:lstStyle/>
          <a:p>
            <a:r>
              <a:rPr lang="en-US" sz="1747" dirty="0">
                <a:solidFill>
                  <a:srgbClr val="FFFFFF"/>
                </a:solidFill>
                <a:latin typeface="Verdana" pitchFamily="34" charset="0"/>
              </a:rPr>
              <a:t> </a:t>
            </a:r>
          </a:p>
        </p:txBody>
      </p:sp>
      <p:sp>
        <p:nvSpPr>
          <p:cNvPr id="82949" name="Text Box 11"/>
          <p:cNvSpPr txBox="1">
            <a:spLocks noChangeArrowheads="1"/>
          </p:cNvSpPr>
          <p:nvPr/>
        </p:nvSpPr>
        <p:spPr bwMode="gray">
          <a:xfrm>
            <a:off x="1437655" y="4848562"/>
            <a:ext cx="4736855" cy="351220"/>
          </a:xfrm>
          <a:prstGeom prst="rect">
            <a:avLst/>
          </a:prstGeom>
          <a:noFill/>
          <a:ln w="12700">
            <a:noFill/>
            <a:miter lim="800000"/>
            <a:headEnd type="none" w="sm" len="sm"/>
            <a:tailEnd type="none" w="sm" len="sm"/>
          </a:ln>
        </p:spPr>
        <p:txBody>
          <a:bodyPr lIns="41117" tIns="41117" rIns="41117" bIns="41117" anchor="ctr">
            <a:spAutoFit/>
          </a:bodyPr>
          <a:lstStyle/>
          <a:p>
            <a:pPr algn="ctr" defTabSz="854984">
              <a:spcBef>
                <a:spcPct val="50000"/>
              </a:spcBef>
            </a:pPr>
            <a:r>
              <a:rPr lang="en-US" sz="1747" dirty="0">
                <a:solidFill>
                  <a:schemeClr val="tx2"/>
                </a:solidFill>
                <a:latin typeface="Verdana" pitchFamily="34" charset="0"/>
              </a:rPr>
              <a:t>Text</a:t>
            </a:r>
          </a:p>
        </p:txBody>
      </p:sp>
      <p:sp>
        <p:nvSpPr>
          <p:cNvPr id="82950" name="Freeform 17"/>
          <p:cNvSpPr>
            <a:spLocks/>
          </p:cNvSpPr>
          <p:nvPr/>
        </p:nvSpPr>
        <p:spPr bwMode="gray">
          <a:xfrm>
            <a:off x="1622508" y="4027507"/>
            <a:ext cx="4438009" cy="630041"/>
          </a:xfrm>
          <a:custGeom>
            <a:avLst/>
            <a:gdLst>
              <a:gd name="T0" fmla="*/ 228 w 2594"/>
              <a:gd name="T1" fmla="*/ 0 h 401"/>
              <a:gd name="T2" fmla="*/ 2354 w 2594"/>
              <a:gd name="T3" fmla="*/ 0 h 401"/>
              <a:gd name="T4" fmla="*/ 2594 w 2594"/>
              <a:gd name="T5" fmla="*/ 401 h 401"/>
              <a:gd name="T6" fmla="*/ 0 w 2594"/>
              <a:gd name="T7" fmla="*/ 401 h 401"/>
              <a:gd name="T8" fmla="*/ 228 w 2594"/>
              <a:gd name="T9" fmla="*/ 0 h 401"/>
              <a:gd name="T10" fmla="*/ 0 60000 65536"/>
              <a:gd name="T11" fmla="*/ 0 60000 65536"/>
              <a:gd name="T12" fmla="*/ 0 60000 65536"/>
              <a:gd name="T13" fmla="*/ 0 60000 65536"/>
              <a:gd name="T14" fmla="*/ 0 60000 65536"/>
              <a:gd name="T15" fmla="*/ 0 w 2594"/>
              <a:gd name="T16" fmla="*/ 0 h 401"/>
              <a:gd name="T17" fmla="*/ 2594 w 2594"/>
              <a:gd name="T18" fmla="*/ 401 h 401"/>
            </a:gdLst>
            <a:ahLst/>
            <a:cxnLst>
              <a:cxn ang="T10">
                <a:pos x="T0" y="T1"/>
              </a:cxn>
              <a:cxn ang="T11">
                <a:pos x="T2" y="T3"/>
              </a:cxn>
              <a:cxn ang="T12">
                <a:pos x="T4" y="T5"/>
              </a:cxn>
              <a:cxn ang="T13">
                <a:pos x="T6" y="T7"/>
              </a:cxn>
              <a:cxn ang="T14">
                <a:pos x="T8" y="T9"/>
              </a:cxn>
            </a:cxnLst>
            <a:rect l="T15" t="T16" r="T17" b="T18"/>
            <a:pathLst>
              <a:path w="2594" h="401">
                <a:moveTo>
                  <a:pt x="228" y="0"/>
                </a:moveTo>
                <a:lnTo>
                  <a:pt x="2354" y="0"/>
                </a:lnTo>
                <a:lnTo>
                  <a:pt x="2594" y="401"/>
                </a:lnTo>
                <a:lnTo>
                  <a:pt x="0" y="401"/>
                </a:lnTo>
                <a:lnTo>
                  <a:pt x="228" y="0"/>
                </a:lnTo>
                <a:close/>
              </a:path>
            </a:pathLst>
          </a:custGeom>
          <a:solidFill>
            <a:srgbClr val="777777"/>
          </a:solidFill>
          <a:ln w="12700" cap="flat" cmpd="sng">
            <a:noFill/>
            <a:prstDash val="solid"/>
            <a:round/>
            <a:headEnd type="none" w="med" len="med"/>
            <a:tailEnd type="none" w="med" len="med"/>
          </a:ln>
        </p:spPr>
        <p:txBody>
          <a:bodyPr wrap="none" lIns="0" tIns="0" rIns="0" bIns="45812" anchor="ctr">
            <a:noAutofit/>
          </a:bodyPr>
          <a:lstStyle/>
          <a:p>
            <a:endParaRPr lang="en-US" sz="1747" dirty="0">
              <a:solidFill>
                <a:srgbClr val="FFFFFF"/>
              </a:solidFill>
              <a:latin typeface="Verdana" pitchFamily="34" charset="0"/>
            </a:endParaRPr>
          </a:p>
        </p:txBody>
      </p:sp>
      <p:sp>
        <p:nvSpPr>
          <p:cNvPr id="82951" name="Text Box 18"/>
          <p:cNvSpPr txBox="1">
            <a:spLocks noChangeArrowheads="1"/>
          </p:cNvSpPr>
          <p:nvPr/>
        </p:nvSpPr>
        <p:spPr bwMode="gray">
          <a:xfrm>
            <a:off x="1889004" y="4158445"/>
            <a:ext cx="3835697" cy="340437"/>
          </a:xfrm>
          <a:prstGeom prst="rect">
            <a:avLst/>
          </a:prstGeom>
          <a:noFill/>
          <a:ln w="3175">
            <a:noFill/>
            <a:miter lim="800000"/>
            <a:headEnd/>
            <a:tailEnd/>
          </a:ln>
        </p:spPr>
        <p:txBody>
          <a:bodyPr wrap="none" lIns="0" tIns="0" rIns="0" bIns="45812" anchor="ctr"/>
          <a:lstStyle/>
          <a:p>
            <a:pPr marL="121701" indent="-121701" algn="ctr" defTabSz="854984">
              <a:spcBef>
                <a:spcPct val="50000"/>
              </a:spcBef>
            </a:pPr>
            <a:r>
              <a:rPr lang="en-US" sz="1747" dirty="0">
                <a:solidFill>
                  <a:schemeClr val="tx2"/>
                </a:solidFill>
                <a:latin typeface="Verdana" pitchFamily="34" charset="0"/>
              </a:rPr>
              <a:t>Text</a:t>
            </a:r>
          </a:p>
        </p:txBody>
      </p:sp>
      <p:sp>
        <p:nvSpPr>
          <p:cNvPr id="82952" name="Freeform 22"/>
          <p:cNvSpPr>
            <a:spLocks/>
          </p:cNvSpPr>
          <p:nvPr/>
        </p:nvSpPr>
        <p:spPr bwMode="gray">
          <a:xfrm>
            <a:off x="2084640" y="3301961"/>
            <a:ext cx="3509123" cy="643904"/>
          </a:xfrm>
          <a:custGeom>
            <a:avLst/>
            <a:gdLst>
              <a:gd name="T0" fmla="*/ 0 w 2049"/>
              <a:gd name="T1" fmla="*/ 410 h 410"/>
              <a:gd name="T2" fmla="*/ 2049 w 2049"/>
              <a:gd name="T3" fmla="*/ 410 h 410"/>
              <a:gd name="T4" fmla="*/ 1822 w 2049"/>
              <a:gd name="T5" fmla="*/ 0 h 410"/>
              <a:gd name="T6" fmla="*/ 225 w 2049"/>
              <a:gd name="T7" fmla="*/ 0 h 410"/>
              <a:gd name="T8" fmla="*/ 0 w 2049"/>
              <a:gd name="T9" fmla="*/ 410 h 410"/>
              <a:gd name="T10" fmla="*/ 0 60000 65536"/>
              <a:gd name="T11" fmla="*/ 0 60000 65536"/>
              <a:gd name="T12" fmla="*/ 0 60000 65536"/>
              <a:gd name="T13" fmla="*/ 0 60000 65536"/>
              <a:gd name="T14" fmla="*/ 0 60000 65536"/>
              <a:gd name="T15" fmla="*/ 0 w 2049"/>
              <a:gd name="T16" fmla="*/ 0 h 410"/>
              <a:gd name="T17" fmla="*/ 2049 w 2049"/>
              <a:gd name="T18" fmla="*/ 410 h 410"/>
            </a:gdLst>
            <a:ahLst/>
            <a:cxnLst>
              <a:cxn ang="T10">
                <a:pos x="T0" y="T1"/>
              </a:cxn>
              <a:cxn ang="T11">
                <a:pos x="T2" y="T3"/>
              </a:cxn>
              <a:cxn ang="T12">
                <a:pos x="T4" y="T5"/>
              </a:cxn>
              <a:cxn ang="T13">
                <a:pos x="T6" y="T7"/>
              </a:cxn>
              <a:cxn ang="T14">
                <a:pos x="T8" y="T9"/>
              </a:cxn>
            </a:cxnLst>
            <a:rect l="T15" t="T16" r="T17" b="T18"/>
            <a:pathLst>
              <a:path w="2049" h="410">
                <a:moveTo>
                  <a:pt x="0" y="410"/>
                </a:moveTo>
                <a:lnTo>
                  <a:pt x="2049" y="410"/>
                </a:lnTo>
                <a:lnTo>
                  <a:pt x="1822" y="0"/>
                </a:lnTo>
                <a:lnTo>
                  <a:pt x="225" y="0"/>
                </a:lnTo>
                <a:lnTo>
                  <a:pt x="0" y="410"/>
                </a:lnTo>
                <a:close/>
              </a:path>
            </a:pathLst>
          </a:custGeom>
          <a:solidFill>
            <a:srgbClr val="333333"/>
          </a:solidFill>
          <a:ln w="12700" cap="flat" cmpd="sng">
            <a:noFill/>
            <a:prstDash val="solid"/>
            <a:round/>
            <a:headEnd/>
            <a:tailEnd/>
          </a:ln>
        </p:spPr>
        <p:txBody>
          <a:bodyPr wrap="none" lIns="0" tIns="0" rIns="0" bIns="45812" anchor="ctr">
            <a:noAutofit/>
          </a:bodyPr>
          <a:lstStyle/>
          <a:p>
            <a:endParaRPr lang="en-US" sz="1747" dirty="0">
              <a:solidFill>
                <a:srgbClr val="FFFFFF"/>
              </a:solidFill>
              <a:latin typeface="Verdana" pitchFamily="34" charset="0"/>
            </a:endParaRPr>
          </a:p>
        </p:txBody>
      </p:sp>
      <p:sp>
        <p:nvSpPr>
          <p:cNvPr id="82953" name="Text Box 23"/>
          <p:cNvSpPr txBox="1">
            <a:spLocks noChangeArrowheads="1"/>
          </p:cNvSpPr>
          <p:nvPr/>
        </p:nvSpPr>
        <p:spPr bwMode="gray">
          <a:xfrm>
            <a:off x="2351137" y="3449842"/>
            <a:ext cx="2911432" cy="368165"/>
          </a:xfrm>
          <a:prstGeom prst="rect">
            <a:avLst/>
          </a:prstGeom>
          <a:noFill/>
          <a:ln w="12700">
            <a:noFill/>
            <a:miter lim="800000"/>
            <a:headEnd type="none" w="sm" len="sm"/>
            <a:tailEnd type="none" w="sm" len="sm"/>
          </a:ln>
        </p:spPr>
        <p:txBody>
          <a:bodyPr wrap="none" lIns="0" tIns="0" rIns="0" bIns="45812" anchor="ctr"/>
          <a:lstStyle/>
          <a:p>
            <a:pPr algn="ctr" defTabSz="854984">
              <a:spcBef>
                <a:spcPct val="50000"/>
              </a:spcBef>
            </a:pPr>
            <a:r>
              <a:rPr lang="en-US" sz="1747" dirty="0">
                <a:solidFill>
                  <a:schemeClr val="tx2"/>
                </a:solidFill>
                <a:latin typeface="Verdana" pitchFamily="34" charset="0"/>
              </a:rPr>
              <a:t>Text</a:t>
            </a:r>
          </a:p>
        </p:txBody>
      </p:sp>
      <p:sp>
        <p:nvSpPr>
          <p:cNvPr id="82954" name="Freeform 27"/>
          <p:cNvSpPr>
            <a:spLocks/>
          </p:cNvSpPr>
          <p:nvPr/>
        </p:nvSpPr>
        <p:spPr bwMode="gray">
          <a:xfrm>
            <a:off x="2535990" y="2593357"/>
            <a:ext cx="2609506" cy="628500"/>
          </a:xfrm>
          <a:custGeom>
            <a:avLst/>
            <a:gdLst>
              <a:gd name="T0" fmla="*/ 0 w 1525"/>
              <a:gd name="T1" fmla="*/ 400 h 400"/>
              <a:gd name="T2" fmla="*/ 1525 w 1525"/>
              <a:gd name="T3" fmla="*/ 400 h 400"/>
              <a:gd name="T4" fmla="*/ 1294 w 1525"/>
              <a:gd name="T5" fmla="*/ 0 h 400"/>
              <a:gd name="T6" fmla="*/ 227 w 1525"/>
              <a:gd name="T7" fmla="*/ 0 h 400"/>
              <a:gd name="T8" fmla="*/ 0 w 1525"/>
              <a:gd name="T9" fmla="*/ 400 h 400"/>
              <a:gd name="T10" fmla="*/ 0 60000 65536"/>
              <a:gd name="T11" fmla="*/ 0 60000 65536"/>
              <a:gd name="T12" fmla="*/ 0 60000 65536"/>
              <a:gd name="T13" fmla="*/ 0 60000 65536"/>
              <a:gd name="T14" fmla="*/ 0 60000 65536"/>
              <a:gd name="T15" fmla="*/ 0 w 1525"/>
              <a:gd name="T16" fmla="*/ 0 h 400"/>
              <a:gd name="T17" fmla="*/ 1525 w 1525"/>
              <a:gd name="T18" fmla="*/ 400 h 400"/>
            </a:gdLst>
            <a:ahLst/>
            <a:cxnLst>
              <a:cxn ang="T10">
                <a:pos x="T0" y="T1"/>
              </a:cxn>
              <a:cxn ang="T11">
                <a:pos x="T2" y="T3"/>
              </a:cxn>
              <a:cxn ang="T12">
                <a:pos x="T4" y="T5"/>
              </a:cxn>
              <a:cxn ang="T13">
                <a:pos x="T6" y="T7"/>
              </a:cxn>
              <a:cxn ang="T14">
                <a:pos x="T8" y="T9"/>
              </a:cxn>
            </a:cxnLst>
            <a:rect l="T15" t="T16" r="T17" b="T18"/>
            <a:pathLst>
              <a:path w="1525" h="400">
                <a:moveTo>
                  <a:pt x="0" y="400"/>
                </a:moveTo>
                <a:lnTo>
                  <a:pt x="1525" y="400"/>
                </a:lnTo>
                <a:lnTo>
                  <a:pt x="1294" y="0"/>
                </a:lnTo>
                <a:lnTo>
                  <a:pt x="227" y="0"/>
                </a:lnTo>
                <a:lnTo>
                  <a:pt x="0" y="400"/>
                </a:lnTo>
                <a:close/>
              </a:path>
            </a:pathLst>
          </a:custGeom>
          <a:solidFill>
            <a:srgbClr val="006393"/>
          </a:solidFill>
          <a:ln w="12700" cap="flat" cmpd="sng">
            <a:noFill/>
            <a:prstDash val="solid"/>
            <a:round/>
            <a:headEnd type="none" w="sm" len="sm"/>
            <a:tailEnd type="none" w="sm" len="sm"/>
          </a:ln>
        </p:spPr>
        <p:txBody>
          <a:bodyPr lIns="39583" tIns="39583" rIns="39583" bIns="39583" anchor="ctr">
            <a:noAutofit/>
          </a:bodyPr>
          <a:lstStyle/>
          <a:p>
            <a:endParaRPr lang="en-US" sz="1747" dirty="0">
              <a:solidFill>
                <a:srgbClr val="FFFFFF"/>
              </a:solidFill>
              <a:latin typeface="Verdana" pitchFamily="34" charset="0"/>
            </a:endParaRPr>
          </a:p>
        </p:txBody>
      </p:sp>
      <p:sp>
        <p:nvSpPr>
          <p:cNvPr id="82955" name="Text Box 28"/>
          <p:cNvSpPr txBox="1">
            <a:spLocks noChangeArrowheads="1"/>
          </p:cNvSpPr>
          <p:nvPr/>
        </p:nvSpPr>
        <p:spPr bwMode="gray">
          <a:xfrm>
            <a:off x="2853320" y="2762806"/>
            <a:ext cx="1907065" cy="348140"/>
          </a:xfrm>
          <a:prstGeom prst="rect">
            <a:avLst/>
          </a:prstGeom>
          <a:noFill/>
          <a:ln w="12700">
            <a:noFill/>
            <a:miter lim="800000"/>
            <a:headEnd type="none" w="sm" len="sm"/>
            <a:tailEnd type="none" w="sm" len="sm"/>
          </a:ln>
        </p:spPr>
        <p:txBody>
          <a:bodyPr lIns="39583" tIns="39583" rIns="39583" bIns="39583" anchor="ctr">
            <a:spAutoFit/>
          </a:bodyPr>
          <a:lstStyle/>
          <a:p>
            <a:pPr algn="ctr" defTabSz="854984">
              <a:spcBef>
                <a:spcPct val="50000"/>
              </a:spcBef>
            </a:pPr>
            <a:r>
              <a:rPr lang="en-US" sz="1747" dirty="0">
                <a:solidFill>
                  <a:schemeClr val="tx2"/>
                </a:solidFill>
                <a:latin typeface="Verdana" pitchFamily="34" charset="0"/>
              </a:rPr>
              <a:t>Text</a:t>
            </a:r>
          </a:p>
        </p:txBody>
      </p:sp>
      <p:sp>
        <p:nvSpPr>
          <p:cNvPr id="82956" name="Freeform 31"/>
          <p:cNvSpPr>
            <a:spLocks/>
          </p:cNvSpPr>
          <p:nvPr/>
        </p:nvSpPr>
        <p:spPr bwMode="gray">
          <a:xfrm>
            <a:off x="2990419" y="1872432"/>
            <a:ext cx="1696025" cy="637742"/>
          </a:xfrm>
          <a:custGeom>
            <a:avLst/>
            <a:gdLst>
              <a:gd name="T0" fmla="*/ 0 w 992"/>
              <a:gd name="T1" fmla="*/ 407 h 407"/>
              <a:gd name="T2" fmla="*/ 992 w 992"/>
              <a:gd name="T3" fmla="*/ 407 h 407"/>
              <a:gd name="T4" fmla="*/ 762 w 992"/>
              <a:gd name="T5" fmla="*/ 0 h 407"/>
              <a:gd name="T6" fmla="*/ 231 w 992"/>
              <a:gd name="T7" fmla="*/ 0 h 407"/>
              <a:gd name="T8" fmla="*/ 0 w 992"/>
              <a:gd name="T9" fmla="*/ 407 h 407"/>
              <a:gd name="T10" fmla="*/ 0 60000 65536"/>
              <a:gd name="T11" fmla="*/ 0 60000 65536"/>
              <a:gd name="T12" fmla="*/ 0 60000 65536"/>
              <a:gd name="T13" fmla="*/ 0 60000 65536"/>
              <a:gd name="T14" fmla="*/ 0 60000 65536"/>
              <a:gd name="T15" fmla="*/ 0 w 992"/>
              <a:gd name="T16" fmla="*/ 0 h 407"/>
              <a:gd name="T17" fmla="*/ 992 w 992"/>
              <a:gd name="T18" fmla="*/ 407 h 407"/>
            </a:gdLst>
            <a:ahLst/>
            <a:cxnLst>
              <a:cxn ang="T10">
                <a:pos x="T0" y="T1"/>
              </a:cxn>
              <a:cxn ang="T11">
                <a:pos x="T2" y="T3"/>
              </a:cxn>
              <a:cxn ang="T12">
                <a:pos x="T4" y="T5"/>
              </a:cxn>
              <a:cxn ang="T13">
                <a:pos x="T6" y="T7"/>
              </a:cxn>
              <a:cxn ang="T14">
                <a:pos x="T8" y="T9"/>
              </a:cxn>
            </a:cxnLst>
            <a:rect l="T15" t="T16" r="T17" b="T18"/>
            <a:pathLst>
              <a:path w="992" h="407">
                <a:moveTo>
                  <a:pt x="0" y="407"/>
                </a:moveTo>
                <a:lnTo>
                  <a:pt x="992" y="407"/>
                </a:lnTo>
                <a:lnTo>
                  <a:pt x="762" y="0"/>
                </a:lnTo>
                <a:lnTo>
                  <a:pt x="231" y="0"/>
                </a:lnTo>
                <a:lnTo>
                  <a:pt x="0" y="407"/>
                </a:lnTo>
                <a:close/>
              </a:path>
            </a:pathLst>
          </a:custGeom>
          <a:solidFill>
            <a:srgbClr val="0091BF"/>
          </a:solidFill>
          <a:ln w="12700" cap="flat" cmpd="sng">
            <a:noFill/>
            <a:prstDash val="solid"/>
            <a:round/>
            <a:headEnd type="none" w="med" len="med"/>
            <a:tailEnd type="none" w="med" len="med"/>
          </a:ln>
        </p:spPr>
        <p:txBody>
          <a:bodyPr lIns="39583" tIns="39583" rIns="39583" bIns="39583" anchor="ctr">
            <a:noAutofit/>
          </a:bodyPr>
          <a:lstStyle/>
          <a:p>
            <a:endParaRPr lang="en-US" sz="1747" dirty="0">
              <a:solidFill>
                <a:srgbClr val="FFFFFF"/>
              </a:solidFill>
              <a:latin typeface="Verdana" pitchFamily="34" charset="0"/>
            </a:endParaRPr>
          </a:p>
        </p:txBody>
      </p:sp>
      <p:sp>
        <p:nvSpPr>
          <p:cNvPr id="82957" name="Text Box 32"/>
          <p:cNvSpPr txBox="1">
            <a:spLocks noChangeArrowheads="1"/>
          </p:cNvSpPr>
          <p:nvPr/>
        </p:nvSpPr>
        <p:spPr bwMode="gray">
          <a:xfrm>
            <a:off x="3227646" y="2043420"/>
            <a:ext cx="1159952" cy="349680"/>
          </a:xfrm>
          <a:prstGeom prst="rect">
            <a:avLst/>
          </a:prstGeom>
          <a:noFill/>
          <a:ln w="12700">
            <a:noFill/>
            <a:miter lim="800000"/>
            <a:headEnd type="none" w="sm" len="sm"/>
            <a:tailEnd type="none" w="sm" len="sm"/>
          </a:ln>
        </p:spPr>
        <p:txBody>
          <a:bodyPr lIns="39583" tIns="39583" rIns="39583" bIns="39583" anchor="ctr">
            <a:spAutoFit/>
          </a:bodyPr>
          <a:lstStyle/>
          <a:p>
            <a:pPr algn="ctr" defTabSz="854984">
              <a:spcBef>
                <a:spcPct val="50000"/>
              </a:spcBef>
            </a:pPr>
            <a:r>
              <a:rPr lang="en-US" sz="1747" dirty="0">
                <a:solidFill>
                  <a:schemeClr val="tx2"/>
                </a:solidFill>
                <a:latin typeface="Verdana" pitchFamily="34" charset="0"/>
              </a:rPr>
              <a:t>Text</a:t>
            </a:r>
          </a:p>
        </p:txBody>
      </p:sp>
      <p:sp>
        <p:nvSpPr>
          <p:cNvPr id="82958" name="Freeform 34"/>
          <p:cNvSpPr>
            <a:spLocks/>
          </p:cNvSpPr>
          <p:nvPr/>
        </p:nvSpPr>
        <p:spPr bwMode="gray">
          <a:xfrm>
            <a:off x="3443308" y="1137641"/>
            <a:ext cx="788705" cy="636202"/>
          </a:xfrm>
          <a:custGeom>
            <a:avLst/>
            <a:gdLst>
              <a:gd name="T0" fmla="*/ 0 w 460"/>
              <a:gd name="T1" fmla="*/ 405 h 405"/>
              <a:gd name="T2" fmla="*/ 460 w 460"/>
              <a:gd name="T3" fmla="*/ 405 h 405"/>
              <a:gd name="T4" fmla="*/ 230 w 460"/>
              <a:gd name="T5" fmla="*/ 0 h 405"/>
              <a:gd name="T6" fmla="*/ 0 w 460"/>
              <a:gd name="T7" fmla="*/ 405 h 405"/>
              <a:gd name="T8" fmla="*/ 0 60000 65536"/>
              <a:gd name="T9" fmla="*/ 0 60000 65536"/>
              <a:gd name="T10" fmla="*/ 0 60000 65536"/>
              <a:gd name="T11" fmla="*/ 0 60000 65536"/>
              <a:gd name="T12" fmla="*/ 0 w 460"/>
              <a:gd name="T13" fmla="*/ 0 h 405"/>
              <a:gd name="T14" fmla="*/ 460 w 460"/>
              <a:gd name="T15" fmla="*/ 405 h 405"/>
            </a:gdLst>
            <a:ahLst/>
            <a:cxnLst>
              <a:cxn ang="T8">
                <a:pos x="T0" y="T1"/>
              </a:cxn>
              <a:cxn ang="T9">
                <a:pos x="T2" y="T3"/>
              </a:cxn>
              <a:cxn ang="T10">
                <a:pos x="T4" y="T5"/>
              </a:cxn>
              <a:cxn ang="T11">
                <a:pos x="T6" y="T7"/>
              </a:cxn>
            </a:cxnLst>
            <a:rect l="T12" t="T13" r="T14" b="T15"/>
            <a:pathLst>
              <a:path w="460" h="405">
                <a:moveTo>
                  <a:pt x="0" y="405"/>
                </a:moveTo>
                <a:lnTo>
                  <a:pt x="460" y="405"/>
                </a:lnTo>
                <a:lnTo>
                  <a:pt x="230" y="0"/>
                </a:lnTo>
                <a:lnTo>
                  <a:pt x="0" y="405"/>
                </a:lnTo>
                <a:close/>
              </a:path>
            </a:pathLst>
          </a:custGeom>
          <a:solidFill>
            <a:schemeClr val="accent3"/>
          </a:solidFill>
          <a:ln w="12700" cap="flat" cmpd="sng">
            <a:noFill/>
            <a:prstDash val="solid"/>
            <a:round/>
            <a:headEnd type="none" w="sm" len="sm"/>
            <a:tailEnd type="none" w="sm" len="sm"/>
          </a:ln>
        </p:spPr>
        <p:txBody>
          <a:bodyPr lIns="39583" tIns="39583" rIns="39583" bIns="39583" anchor="ctr">
            <a:noAutofit/>
          </a:bodyPr>
          <a:lstStyle/>
          <a:p>
            <a:endParaRPr lang="en-US" sz="1747" dirty="0">
              <a:solidFill>
                <a:srgbClr val="FFFFFF"/>
              </a:solidFill>
              <a:latin typeface="Verdana" pitchFamily="34" charset="0"/>
            </a:endParaRPr>
          </a:p>
        </p:txBody>
      </p:sp>
      <p:sp>
        <p:nvSpPr>
          <p:cNvPr id="82959" name="Text Box 35"/>
          <p:cNvSpPr txBox="1">
            <a:spLocks noChangeArrowheads="1"/>
          </p:cNvSpPr>
          <p:nvPr/>
        </p:nvSpPr>
        <p:spPr bwMode="gray">
          <a:xfrm>
            <a:off x="3252294" y="1453432"/>
            <a:ext cx="1161492" cy="348140"/>
          </a:xfrm>
          <a:prstGeom prst="rect">
            <a:avLst/>
          </a:prstGeom>
          <a:noFill/>
          <a:ln w="12700">
            <a:noFill/>
            <a:miter lim="800000"/>
            <a:headEnd type="none" w="sm" len="sm"/>
            <a:tailEnd type="none" w="sm" len="sm"/>
          </a:ln>
        </p:spPr>
        <p:txBody>
          <a:bodyPr lIns="39583" tIns="39583" rIns="39583" bIns="39583" anchor="ctr">
            <a:spAutoFit/>
          </a:bodyPr>
          <a:lstStyle/>
          <a:p>
            <a:pPr algn="ctr" defTabSz="854984">
              <a:spcBef>
                <a:spcPct val="50000"/>
              </a:spcBef>
            </a:pPr>
            <a:r>
              <a:rPr lang="en-US" sz="1747" dirty="0">
                <a:solidFill>
                  <a:schemeClr val="tx2"/>
                </a:solidFill>
                <a:latin typeface="Verdana" pitchFamily="34" charset="0"/>
              </a:rPr>
              <a:t>Text</a:t>
            </a:r>
          </a:p>
        </p:txBody>
      </p:sp>
      <p:sp>
        <p:nvSpPr>
          <p:cNvPr id="2" name="BainBulletsConfiguration" hidden="1"/>
          <p:cNvSpPr txBox="1"/>
          <p:nvPr/>
        </p:nvSpPr>
        <p:spPr>
          <a:xfrm>
            <a:off x="1712288" y="12323"/>
            <a:ext cx="8626466" cy="107722"/>
          </a:xfrm>
          <a:prstGeom prst="rect">
            <a:avLst/>
          </a:prstGeom>
          <a:noFill/>
        </p:spPr>
        <p:txBody>
          <a:bodyPr vert="horz" wrap="square" lIns="44365" rIns="44365" rtlCol="0">
            <a:spAutoFit/>
          </a:bodyPr>
          <a:lstStyle/>
          <a:p>
            <a:endParaRPr lang="en-CA" sz="100" dirty="0">
              <a:solidFill>
                <a:srgbClr val="FFFFFF"/>
              </a:solidFill>
            </a:endParaRPr>
          </a:p>
        </p:txBody>
      </p:sp>
      <p:sp>
        <p:nvSpPr>
          <p:cNvPr id="19" name="TextBox 18"/>
          <p:cNvSpPr txBox="1"/>
          <p:nvPr/>
        </p:nvSpPr>
        <p:spPr>
          <a:xfrm>
            <a:off x="7285703" y="1527873"/>
            <a:ext cx="4763224" cy="4487382"/>
          </a:xfrm>
          <a:prstGeom prst="rect">
            <a:avLst/>
          </a:prstGeom>
          <a:noFill/>
        </p:spPr>
        <p:txBody>
          <a:bodyPr wrap="square" rtlCol="0">
            <a:spAutoFit/>
          </a:bodyPr>
          <a:lstStyle/>
          <a:p>
            <a:pPr algn="just">
              <a:lnSpc>
                <a:spcPct val="120000"/>
              </a:lnSpc>
            </a:pPr>
            <a:r>
              <a:rPr lang="pt-BR" sz="1400" b="1" dirty="0">
                <a:latin typeface="Roboto Regular" pitchFamily="2" charset="0"/>
                <a:ea typeface="Roboto Regular" pitchFamily="2" charset="0"/>
                <a:cs typeface="Lato Regular"/>
              </a:rPr>
              <a:t>Lorem ipsum dolor </a:t>
            </a:r>
            <a:r>
              <a:rPr lang="pt-BR" sz="1400" dirty="0">
                <a:latin typeface="Roboto Regular" pitchFamily="2" charset="0"/>
                <a:ea typeface="Roboto Regular" pitchFamily="2" charset="0"/>
                <a:cs typeface="Calibri Light"/>
              </a:rPr>
              <a:t>sit amet, eos numquam accommodare et. In cibo graeco dicunt sea. Augue zril sapientem ne mei, ad suas voluptatibus eum. Tempor mediocrem imperdiet no usu, tractatos salutatus ut est. Eu vel detraxit laboramus. Cu nam unum liber audiam, sed an graeci prompta invenire, in gubergren percipitur scribentur nam. Sale omnis indoctum has ei, ne sed ludus tamquam urbanitas. Vis id illud iusto, id omnium percipitur duo. </a:t>
            </a:r>
          </a:p>
          <a:p>
            <a:pPr algn="just">
              <a:lnSpc>
                <a:spcPct val="120000"/>
              </a:lnSpc>
            </a:pPr>
            <a:endParaRPr lang="pt-BR" sz="1400" dirty="0">
              <a:latin typeface="Roboto Regular" pitchFamily="2" charset="0"/>
              <a:ea typeface="Roboto Regular" pitchFamily="2" charset="0"/>
              <a:cs typeface="Calibri Light"/>
            </a:endParaRPr>
          </a:p>
          <a:p>
            <a:pPr algn="just">
              <a:lnSpc>
                <a:spcPct val="120000"/>
              </a:lnSpc>
            </a:pPr>
            <a:r>
              <a:rPr lang="pt-BR" sz="1400" dirty="0">
                <a:latin typeface="Roboto Regular" pitchFamily="2" charset="0"/>
                <a:ea typeface="Roboto Regular" pitchFamily="2" charset="0"/>
                <a:cs typeface="Calibri Light"/>
              </a:rPr>
              <a:t>Ex habemus imperdiet maiestatis sit, ei utroque laoreet philosophia mea. Est movet omnium principes te, id suas mandamus patrioque est. Eu quo solet facete dignissim, et has iuvaret ullamcorper intellegebat, ex doming facilis urbanitas est. Quis ridens te pro, quo no appareat mnesarchum. Elitr latine per ne. Id mazim graecis usu, mollis posidonium ius ea, id tempor graecis mel. </a:t>
            </a:r>
          </a:p>
        </p:txBody>
      </p:sp>
    </p:spTree>
    <p:extLst>
      <p:ext uri="{BB962C8B-B14F-4D97-AF65-F5344CB8AC3E}">
        <p14:creationId xmlns:p14="http://schemas.microsoft.com/office/powerpoint/2010/main" val="1166051327"/>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ection Heading</a:t>
            </a:r>
            <a:endParaRPr lang="en-US" dirty="0"/>
          </a:p>
        </p:txBody>
      </p:sp>
      <p:sp>
        <p:nvSpPr>
          <p:cNvPr id="5" name="Subtitle 4"/>
          <p:cNvSpPr>
            <a:spLocks noGrp="1"/>
          </p:cNvSpPr>
          <p:nvPr>
            <p:ph type="subTitle" idx="1"/>
          </p:nvPr>
        </p:nvSpPr>
        <p:spPr/>
        <p:txBody>
          <a:bodyPr/>
          <a:lstStyle/>
          <a:p>
            <a:r>
              <a:rPr lang="en-US" dirty="0" smtClean="0"/>
              <a:t>Slide Examples</a:t>
            </a:r>
            <a:endParaRPr lang="en-US" dirty="0"/>
          </a:p>
        </p:txBody>
      </p:sp>
      <p:sp>
        <p:nvSpPr>
          <p:cNvPr id="6"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295640153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4 square grid &amp; icons</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49_84 48_84</a:t>
            </a:r>
            <a:endParaRPr lang="en-US" sz="100" dirty="0" err="1" smtClean="0">
              <a:solidFill>
                <a:srgbClr val="FFFFFF"/>
              </a:solidFill>
            </a:endParaRPr>
          </a:p>
        </p:txBody>
      </p:sp>
      <p:grpSp>
        <p:nvGrpSpPr>
          <p:cNvPr id="49" name="Group 48"/>
          <p:cNvGrpSpPr/>
          <p:nvPr>
            <p:custDataLst>
              <p:tags r:id="rId1"/>
            </p:custDataLst>
          </p:nvPr>
        </p:nvGrpSpPr>
        <p:grpSpPr>
          <a:xfrm>
            <a:off x="1286806" y="2615885"/>
            <a:ext cx="10106595" cy="3047893"/>
            <a:chOff x="1286806" y="2615885"/>
            <a:chExt cx="10106595" cy="3047893"/>
          </a:xfrm>
        </p:grpSpPr>
        <p:sp>
          <p:nvSpPr>
            <p:cNvPr id="4" name="Rectangle 3"/>
            <p:cNvSpPr/>
            <p:nvPr/>
          </p:nvSpPr>
          <p:spPr>
            <a:xfrm>
              <a:off x="1286806" y="2615885"/>
              <a:ext cx="5053186" cy="1547638"/>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sp>
          <p:nvSpPr>
            <p:cNvPr id="5" name="Rectangle 4"/>
            <p:cNvSpPr/>
            <p:nvPr/>
          </p:nvSpPr>
          <p:spPr>
            <a:xfrm>
              <a:off x="6340215" y="2617314"/>
              <a:ext cx="5053186" cy="154763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endParaRPr>
            </a:p>
          </p:txBody>
        </p:sp>
        <p:sp>
          <p:nvSpPr>
            <p:cNvPr id="6" name="Rectangle 5"/>
            <p:cNvSpPr/>
            <p:nvPr/>
          </p:nvSpPr>
          <p:spPr>
            <a:xfrm>
              <a:off x="1286918" y="4112696"/>
              <a:ext cx="5053186" cy="154763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sp>
          <p:nvSpPr>
            <p:cNvPr id="7" name="Rectangle 6"/>
            <p:cNvSpPr/>
            <p:nvPr/>
          </p:nvSpPr>
          <p:spPr>
            <a:xfrm>
              <a:off x="6340215" y="4116140"/>
              <a:ext cx="5053186" cy="1547638"/>
            </a:xfrm>
            <a:prstGeom prst="rect">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endParaRPr>
            </a:p>
          </p:txBody>
        </p:sp>
      </p:grpSp>
      <p:sp>
        <p:nvSpPr>
          <p:cNvPr id="9" name="Title 20"/>
          <p:cNvSpPr txBox="1">
            <a:spLocks/>
          </p:cNvSpPr>
          <p:nvPr/>
        </p:nvSpPr>
        <p:spPr>
          <a:xfrm>
            <a:off x="1292973" y="1223476"/>
            <a:ext cx="9964835" cy="1206496"/>
          </a:xfrm>
          <a:prstGeom prst="rect">
            <a:avLst/>
          </a:prstGeom>
        </p:spPr>
        <p:txBody>
          <a:bodyPr vert="horz" wrap="square" lIns="243852" tIns="121926" rIns="243852" bIns="121926" numCol="1" spcCol="975409"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just">
              <a:lnSpc>
                <a:spcPct val="130000"/>
              </a:lnSpc>
            </a:pPr>
            <a:r>
              <a:rPr lang="fr-FR" sz="1600" dirty="0">
                <a:solidFill>
                  <a:srgbClr val="58595B"/>
                </a:solidFill>
                <a:latin typeface="Roboto Regular" pitchFamily="2" charset="0"/>
                <a:ea typeface="Roboto Regular" pitchFamily="2" charset="0"/>
              </a:rPr>
              <a:t>Lorem ipsum dolor sit amet, consectetur adipiscing elit. Aliquam tincidunt ante nec sem congue convallis. Pellentesque vel mauris quis nisl ornare rutrum in id risus. Proin vehicula ut sem et tempus. Interdum et malesuada fames ac ante ipsum primis in faucibus. Pellentesque rhoncus</a:t>
            </a:r>
            <a:endParaRPr lang="en-US" sz="1600" dirty="0">
              <a:solidFill>
                <a:srgbClr val="58595B"/>
              </a:solidFill>
              <a:latin typeface="Roboto Regular" pitchFamily="2" charset="0"/>
              <a:ea typeface="Roboto Regular" pitchFamily="2" charset="0"/>
            </a:endParaRPr>
          </a:p>
        </p:txBody>
      </p:sp>
      <p:sp>
        <p:nvSpPr>
          <p:cNvPr id="10" name="Title 20"/>
          <p:cNvSpPr txBox="1">
            <a:spLocks/>
          </p:cNvSpPr>
          <p:nvPr/>
        </p:nvSpPr>
        <p:spPr>
          <a:xfrm>
            <a:off x="1560668" y="2767077"/>
            <a:ext cx="3175264" cy="1126474"/>
          </a:xfrm>
          <a:prstGeom prst="rect">
            <a:avLst/>
          </a:prstGeom>
        </p:spPr>
        <p:txBody>
          <a:bodyPr vert="horz" wrap="square" lIns="243852" tIns="121926" rIns="243852" bIns="121926"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30000"/>
              </a:lnSpc>
            </a:pPr>
            <a:r>
              <a:rPr lang="pt-BR" sz="1100" dirty="0">
                <a:solidFill>
                  <a:schemeClr val="bg2"/>
                </a:solidFill>
                <a:latin typeface="+mj-lt"/>
                <a:cs typeface="Source Sans Pro"/>
              </a:rPr>
              <a:t>Lorem ipsum dolor sit amet, consectetur adipiscing elit. Aliquam tincidunt ante nec sem congue convallis. Pellentesque vel mauris quis nisl ornare rutrum in id risus</a:t>
            </a:r>
            <a:endParaRPr lang="en-US" sz="1100" dirty="0">
              <a:solidFill>
                <a:schemeClr val="bg2"/>
              </a:solidFill>
              <a:latin typeface="+mj-lt"/>
              <a:cs typeface="Source Sans Pro"/>
            </a:endParaRPr>
          </a:p>
        </p:txBody>
      </p:sp>
      <p:sp>
        <p:nvSpPr>
          <p:cNvPr id="11" name="Title 20"/>
          <p:cNvSpPr txBox="1">
            <a:spLocks/>
          </p:cNvSpPr>
          <p:nvPr/>
        </p:nvSpPr>
        <p:spPr>
          <a:xfrm>
            <a:off x="1560668" y="4346298"/>
            <a:ext cx="3175264" cy="1126474"/>
          </a:xfrm>
          <a:prstGeom prst="rect">
            <a:avLst/>
          </a:prstGeom>
        </p:spPr>
        <p:txBody>
          <a:bodyPr vert="horz" wrap="square" lIns="243852" tIns="121926" rIns="243852" bIns="121926"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30000"/>
              </a:lnSpc>
            </a:pPr>
            <a:r>
              <a:rPr lang="pt-BR" sz="1100" dirty="0">
                <a:solidFill>
                  <a:schemeClr val="bg2"/>
                </a:solidFill>
                <a:latin typeface="+mj-lt"/>
                <a:cs typeface="Source Sans Pro"/>
              </a:rPr>
              <a:t>Lorem ipsum dolor sit amet, consectetur adipiscing elit. Aliquam tincidunt ante nec sem congue convallis. Pellentesque vel mauris quis nisl ornare rutrum in id risus</a:t>
            </a:r>
            <a:endParaRPr lang="en-US" sz="1100" dirty="0">
              <a:solidFill>
                <a:schemeClr val="bg2"/>
              </a:solidFill>
              <a:latin typeface="+mj-lt"/>
              <a:cs typeface="Source Sans Pro"/>
            </a:endParaRPr>
          </a:p>
        </p:txBody>
      </p:sp>
      <p:sp>
        <p:nvSpPr>
          <p:cNvPr id="12" name="Title 20"/>
          <p:cNvSpPr txBox="1">
            <a:spLocks/>
          </p:cNvSpPr>
          <p:nvPr/>
        </p:nvSpPr>
        <p:spPr>
          <a:xfrm>
            <a:off x="7967049" y="4271129"/>
            <a:ext cx="3175264" cy="1126474"/>
          </a:xfrm>
          <a:prstGeom prst="rect">
            <a:avLst/>
          </a:prstGeom>
        </p:spPr>
        <p:txBody>
          <a:bodyPr vert="horz" wrap="square" lIns="243852" tIns="121926" rIns="243852" bIns="121926"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r">
              <a:lnSpc>
                <a:spcPct val="130000"/>
              </a:lnSpc>
            </a:pPr>
            <a:r>
              <a:rPr lang="pt-BR" sz="1100" dirty="0">
                <a:solidFill>
                  <a:schemeClr val="bg2"/>
                </a:solidFill>
                <a:latin typeface="+mj-lt"/>
                <a:cs typeface="Source Sans Pro"/>
              </a:rPr>
              <a:t>Lorem ipsum dolor sit amet, consectetur adipiscing elit. Aliquam tincidunt ante nec sem congue convallis. Pellentesque vel mauris quis nisl ornare rutrum in id risus</a:t>
            </a:r>
            <a:endParaRPr lang="en-US" sz="1100" dirty="0">
              <a:solidFill>
                <a:schemeClr val="bg2"/>
              </a:solidFill>
              <a:latin typeface="+mj-lt"/>
              <a:cs typeface="Source Sans Pro"/>
            </a:endParaRPr>
          </a:p>
        </p:txBody>
      </p:sp>
      <p:sp>
        <p:nvSpPr>
          <p:cNvPr id="13" name="Title 20"/>
          <p:cNvSpPr txBox="1">
            <a:spLocks/>
          </p:cNvSpPr>
          <p:nvPr/>
        </p:nvSpPr>
        <p:spPr>
          <a:xfrm>
            <a:off x="7967049" y="2758774"/>
            <a:ext cx="3175264" cy="1126474"/>
          </a:xfrm>
          <a:prstGeom prst="rect">
            <a:avLst/>
          </a:prstGeom>
        </p:spPr>
        <p:txBody>
          <a:bodyPr vert="horz" wrap="square" lIns="243852" tIns="121926" rIns="243852" bIns="121926"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r">
              <a:lnSpc>
                <a:spcPct val="130000"/>
              </a:lnSpc>
            </a:pPr>
            <a:r>
              <a:rPr lang="pt-BR" sz="1100" dirty="0">
                <a:solidFill>
                  <a:schemeClr val="bg2"/>
                </a:solidFill>
                <a:latin typeface="+mj-lt"/>
                <a:cs typeface="Source Sans Pro"/>
              </a:rPr>
              <a:t>Lorem ipsum dolor sit amet, consectetur adipiscing elit. Aliquam tincidunt ante nec sem congue convallis. Pellentesque vel mauris quis nisl ornare rutrum in id risus</a:t>
            </a:r>
            <a:endParaRPr lang="en-US" sz="1100" dirty="0">
              <a:solidFill>
                <a:schemeClr val="bg2"/>
              </a:solidFill>
              <a:latin typeface="+mj-lt"/>
              <a:cs typeface="Source Sans Pro"/>
            </a:endParaRPr>
          </a:p>
        </p:txBody>
      </p:sp>
      <p:grpSp>
        <p:nvGrpSpPr>
          <p:cNvPr id="48" name="Group 47"/>
          <p:cNvGrpSpPr/>
          <p:nvPr>
            <p:custDataLst>
              <p:tags r:id="rId2"/>
            </p:custDataLst>
          </p:nvPr>
        </p:nvGrpSpPr>
        <p:grpSpPr>
          <a:xfrm>
            <a:off x="4781941" y="2608402"/>
            <a:ext cx="3061039" cy="3056635"/>
            <a:chOff x="4781941" y="2608402"/>
            <a:chExt cx="3061039" cy="3056635"/>
          </a:xfrm>
        </p:grpSpPr>
        <p:sp>
          <p:nvSpPr>
            <p:cNvPr id="8" name="Oval 7"/>
            <p:cNvSpPr/>
            <p:nvPr/>
          </p:nvSpPr>
          <p:spPr>
            <a:xfrm>
              <a:off x="4785947" y="2608402"/>
              <a:ext cx="3057033" cy="3056635"/>
            </a:xfrm>
            <a:prstGeom prst="ellipse">
              <a:avLst/>
            </a:prstGeom>
            <a:solidFill>
              <a:schemeClr val="accent2">
                <a:alpha val="38000"/>
              </a:schemeClr>
            </a:solidFill>
            <a:ln w="38100" cmpd="sng">
              <a:noFill/>
            </a:ln>
            <a:effectLst/>
          </p:spPr>
          <p:style>
            <a:lnRef idx="1">
              <a:schemeClr val="accent1"/>
            </a:lnRef>
            <a:fillRef idx="3">
              <a:schemeClr val="accent1"/>
            </a:fillRef>
            <a:effectRef idx="2">
              <a:schemeClr val="accent1"/>
            </a:effectRef>
            <a:fontRef idx="minor">
              <a:schemeClr val="lt1"/>
            </a:fontRef>
          </p:style>
          <p:txBody>
            <a:bodyPr lIns="243852" tIns="121926" rIns="243852" bIns="121926" rtlCol="0" anchor="ctr"/>
            <a:lstStyle/>
            <a:p>
              <a:pPr algn="ctr"/>
              <a:endParaRPr lang="en-US" sz="2400">
                <a:latin typeface="+mj-lt"/>
              </a:endParaRPr>
            </a:p>
          </p:txBody>
        </p:sp>
        <p:cxnSp>
          <p:nvCxnSpPr>
            <p:cNvPr id="14" name="Straight Connector 13"/>
            <p:cNvCxnSpPr>
              <a:stCxn id="8" idx="4"/>
              <a:endCxn id="8" idx="0"/>
            </p:cNvCxnSpPr>
            <p:nvPr/>
          </p:nvCxnSpPr>
          <p:spPr>
            <a:xfrm flipV="1">
              <a:off x="6314464" y="2608402"/>
              <a:ext cx="0" cy="3056635"/>
            </a:xfrm>
            <a:prstGeom prst="line">
              <a:avLst/>
            </a:prstGeom>
            <a:ln w="381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6" name="Freeform 260"/>
            <p:cNvSpPr>
              <a:spLocks noChangeArrowheads="1"/>
            </p:cNvSpPr>
            <p:nvPr/>
          </p:nvSpPr>
          <p:spPr bwMode="auto">
            <a:xfrm>
              <a:off x="5459662" y="3081150"/>
              <a:ext cx="553118" cy="737395"/>
            </a:xfrm>
            <a:custGeom>
              <a:avLst/>
              <a:gdLst>
                <a:gd name="T0" fmla="*/ 594 w 595"/>
                <a:gd name="T1" fmla="*/ 242 h 795"/>
                <a:gd name="T2" fmla="*/ 577 w 595"/>
                <a:gd name="T3" fmla="*/ 259 h 795"/>
                <a:gd name="T4" fmla="*/ 218 w 595"/>
                <a:gd name="T5" fmla="*/ 409 h 795"/>
                <a:gd name="T6" fmla="*/ 209 w 595"/>
                <a:gd name="T7" fmla="*/ 409 h 795"/>
                <a:gd name="T8" fmla="*/ 201 w 595"/>
                <a:gd name="T9" fmla="*/ 401 h 795"/>
                <a:gd name="T10" fmla="*/ 193 w 595"/>
                <a:gd name="T11" fmla="*/ 384 h 795"/>
                <a:gd name="T12" fmla="*/ 193 w 595"/>
                <a:gd name="T13" fmla="*/ 117 h 795"/>
                <a:gd name="T14" fmla="*/ 201 w 595"/>
                <a:gd name="T15" fmla="*/ 100 h 795"/>
                <a:gd name="T16" fmla="*/ 218 w 595"/>
                <a:gd name="T17" fmla="*/ 100 h 795"/>
                <a:gd name="T18" fmla="*/ 577 w 595"/>
                <a:gd name="T19" fmla="*/ 217 h 795"/>
                <a:gd name="T20" fmla="*/ 594 w 595"/>
                <a:gd name="T21" fmla="*/ 242 h 795"/>
                <a:gd name="T22" fmla="*/ 251 w 595"/>
                <a:gd name="T23" fmla="*/ 719 h 795"/>
                <a:gd name="T24" fmla="*/ 126 w 595"/>
                <a:gd name="T25" fmla="*/ 794 h 795"/>
                <a:gd name="T26" fmla="*/ 0 w 595"/>
                <a:gd name="T27" fmla="*/ 719 h 795"/>
                <a:gd name="T28" fmla="*/ 92 w 595"/>
                <a:gd name="T29" fmla="*/ 652 h 795"/>
                <a:gd name="T30" fmla="*/ 92 w 595"/>
                <a:gd name="T31" fmla="*/ 92 h 795"/>
                <a:gd name="T32" fmla="*/ 101 w 595"/>
                <a:gd name="T33" fmla="*/ 83 h 795"/>
                <a:gd name="T34" fmla="*/ 75 w 595"/>
                <a:gd name="T35" fmla="*/ 42 h 795"/>
                <a:gd name="T36" fmla="*/ 126 w 595"/>
                <a:gd name="T37" fmla="*/ 0 h 795"/>
                <a:gd name="T38" fmla="*/ 142 w 595"/>
                <a:gd name="T39" fmla="*/ 0 h 795"/>
                <a:gd name="T40" fmla="*/ 193 w 595"/>
                <a:gd name="T41" fmla="*/ 42 h 795"/>
                <a:gd name="T42" fmla="*/ 159 w 595"/>
                <a:gd name="T43" fmla="*/ 92 h 795"/>
                <a:gd name="T44" fmla="*/ 159 w 595"/>
                <a:gd name="T45" fmla="*/ 652 h 795"/>
                <a:gd name="T46" fmla="*/ 251 w 595"/>
                <a:gd name="T47" fmla="*/ 719 h 795"/>
                <a:gd name="T48" fmla="*/ 226 w 595"/>
                <a:gd name="T49" fmla="*/ 719 h 795"/>
                <a:gd name="T50" fmla="*/ 159 w 595"/>
                <a:gd name="T51" fmla="*/ 677 h 795"/>
                <a:gd name="T52" fmla="*/ 159 w 595"/>
                <a:gd name="T53" fmla="*/ 719 h 795"/>
                <a:gd name="T54" fmla="*/ 126 w 595"/>
                <a:gd name="T55" fmla="*/ 752 h 795"/>
                <a:gd name="T56" fmla="*/ 92 w 595"/>
                <a:gd name="T57" fmla="*/ 719 h 795"/>
                <a:gd name="T58" fmla="*/ 92 w 595"/>
                <a:gd name="T59" fmla="*/ 677 h 795"/>
                <a:gd name="T60" fmla="*/ 25 w 595"/>
                <a:gd name="T61" fmla="*/ 719 h 795"/>
                <a:gd name="T62" fmla="*/ 126 w 595"/>
                <a:gd name="T63" fmla="*/ 777 h 795"/>
                <a:gd name="T64" fmla="*/ 226 w 595"/>
                <a:gd name="T65" fmla="*/ 719 h 795"/>
                <a:gd name="T66" fmla="*/ 226 w 595"/>
                <a:gd name="T67" fmla="*/ 719 h 795"/>
                <a:gd name="T68" fmla="*/ 226 w 595"/>
                <a:gd name="T69" fmla="*/ 719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5" h="795">
                  <a:moveTo>
                    <a:pt x="594" y="242"/>
                  </a:moveTo>
                  <a:cubicBezTo>
                    <a:pt x="594" y="251"/>
                    <a:pt x="586" y="259"/>
                    <a:pt x="577" y="259"/>
                  </a:cubicBezTo>
                  <a:cubicBezTo>
                    <a:pt x="218" y="409"/>
                    <a:pt x="218" y="409"/>
                    <a:pt x="218" y="409"/>
                  </a:cubicBezTo>
                  <a:lnTo>
                    <a:pt x="209" y="409"/>
                  </a:lnTo>
                  <a:cubicBezTo>
                    <a:pt x="209" y="409"/>
                    <a:pt x="201" y="409"/>
                    <a:pt x="201" y="401"/>
                  </a:cubicBezTo>
                  <a:cubicBezTo>
                    <a:pt x="193" y="401"/>
                    <a:pt x="193" y="393"/>
                    <a:pt x="193" y="384"/>
                  </a:cubicBezTo>
                  <a:cubicBezTo>
                    <a:pt x="193" y="117"/>
                    <a:pt x="193" y="117"/>
                    <a:pt x="193" y="117"/>
                  </a:cubicBezTo>
                  <a:cubicBezTo>
                    <a:pt x="193" y="108"/>
                    <a:pt x="193" y="108"/>
                    <a:pt x="201" y="100"/>
                  </a:cubicBezTo>
                  <a:cubicBezTo>
                    <a:pt x="201" y="100"/>
                    <a:pt x="209" y="100"/>
                    <a:pt x="218" y="100"/>
                  </a:cubicBezTo>
                  <a:cubicBezTo>
                    <a:pt x="577" y="217"/>
                    <a:pt x="577" y="217"/>
                    <a:pt x="577" y="217"/>
                  </a:cubicBezTo>
                  <a:cubicBezTo>
                    <a:pt x="586" y="225"/>
                    <a:pt x="594" y="234"/>
                    <a:pt x="594" y="242"/>
                  </a:cubicBezTo>
                  <a:close/>
                  <a:moveTo>
                    <a:pt x="251" y="719"/>
                  </a:moveTo>
                  <a:cubicBezTo>
                    <a:pt x="251" y="760"/>
                    <a:pt x="193" y="794"/>
                    <a:pt x="126" y="794"/>
                  </a:cubicBezTo>
                  <a:cubicBezTo>
                    <a:pt x="59" y="794"/>
                    <a:pt x="0" y="760"/>
                    <a:pt x="0" y="719"/>
                  </a:cubicBezTo>
                  <a:cubicBezTo>
                    <a:pt x="0" y="685"/>
                    <a:pt x="42" y="660"/>
                    <a:pt x="92" y="652"/>
                  </a:cubicBezTo>
                  <a:cubicBezTo>
                    <a:pt x="92" y="92"/>
                    <a:pt x="92" y="92"/>
                    <a:pt x="92" y="92"/>
                  </a:cubicBezTo>
                  <a:lnTo>
                    <a:pt x="101" y="83"/>
                  </a:lnTo>
                  <a:cubicBezTo>
                    <a:pt x="84" y="75"/>
                    <a:pt x="75" y="67"/>
                    <a:pt x="75" y="42"/>
                  </a:cubicBezTo>
                  <a:cubicBezTo>
                    <a:pt x="75" y="16"/>
                    <a:pt x="92" y="0"/>
                    <a:pt x="126" y="0"/>
                  </a:cubicBezTo>
                  <a:cubicBezTo>
                    <a:pt x="142" y="0"/>
                    <a:pt x="142" y="0"/>
                    <a:pt x="142" y="0"/>
                  </a:cubicBezTo>
                  <a:cubicBezTo>
                    <a:pt x="168" y="0"/>
                    <a:pt x="193" y="16"/>
                    <a:pt x="193" y="42"/>
                  </a:cubicBezTo>
                  <a:cubicBezTo>
                    <a:pt x="193" y="67"/>
                    <a:pt x="176" y="83"/>
                    <a:pt x="159" y="92"/>
                  </a:cubicBezTo>
                  <a:cubicBezTo>
                    <a:pt x="159" y="652"/>
                    <a:pt x="159" y="652"/>
                    <a:pt x="159" y="652"/>
                  </a:cubicBezTo>
                  <a:cubicBezTo>
                    <a:pt x="209" y="660"/>
                    <a:pt x="251" y="685"/>
                    <a:pt x="251" y="719"/>
                  </a:cubicBezTo>
                  <a:close/>
                  <a:moveTo>
                    <a:pt x="226" y="719"/>
                  </a:moveTo>
                  <a:cubicBezTo>
                    <a:pt x="226" y="702"/>
                    <a:pt x="201" y="677"/>
                    <a:pt x="159" y="677"/>
                  </a:cubicBezTo>
                  <a:cubicBezTo>
                    <a:pt x="159" y="719"/>
                    <a:pt x="159" y="719"/>
                    <a:pt x="159" y="719"/>
                  </a:cubicBezTo>
                  <a:cubicBezTo>
                    <a:pt x="159" y="736"/>
                    <a:pt x="142" y="752"/>
                    <a:pt x="126" y="752"/>
                  </a:cubicBezTo>
                  <a:cubicBezTo>
                    <a:pt x="109" y="752"/>
                    <a:pt x="92" y="736"/>
                    <a:pt x="92" y="719"/>
                  </a:cubicBezTo>
                  <a:cubicBezTo>
                    <a:pt x="92" y="677"/>
                    <a:pt x="92" y="677"/>
                    <a:pt x="92" y="677"/>
                  </a:cubicBezTo>
                  <a:cubicBezTo>
                    <a:pt x="59" y="677"/>
                    <a:pt x="25" y="702"/>
                    <a:pt x="25" y="719"/>
                  </a:cubicBezTo>
                  <a:cubicBezTo>
                    <a:pt x="25" y="752"/>
                    <a:pt x="75" y="777"/>
                    <a:pt x="126" y="777"/>
                  </a:cubicBezTo>
                  <a:cubicBezTo>
                    <a:pt x="184" y="777"/>
                    <a:pt x="226" y="752"/>
                    <a:pt x="226" y="719"/>
                  </a:cubicBezTo>
                  <a:close/>
                  <a:moveTo>
                    <a:pt x="226" y="719"/>
                  </a:moveTo>
                  <a:lnTo>
                    <a:pt x="226" y="719"/>
                  </a:lnTo>
                  <a:close/>
                </a:path>
              </a:pathLst>
            </a:custGeom>
            <a:solidFill>
              <a:schemeClr val="tx2"/>
            </a:solidFill>
            <a:ln>
              <a:noFill/>
            </a:ln>
            <a:effectLst/>
            <a:extLst/>
          </p:spPr>
          <p:txBody>
            <a:bodyPr wrap="none" anchor="ctr"/>
            <a:lstStyle/>
            <a:p>
              <a:pPr>
                <a:defRPr/>
              </a:pPr>
              <a:endParaRPr lang="en-US" sz="2400">
                <a:latin typeface="+mj-lt"/>
              </a:endParaRPr>
            </a:p>
          </p:txBody>
        </p:sp>
        <p:grpSp>
          <p:nvGrpSpPr>
            <p:cNvPr id="17" name="Group 16"/>
            <p:cNvGrpSpPr/>
            <p:nvPr>
              <p:custDataLst>
                <p:tags r:id="rId3"/>
              </p:custDataLst>
            </p:nvPr>
          </p:nvGrpSpPr>
          <p:grpSpPr>
            <a:xfrm>
              <a:off x="6687904" y="4396482"/>
              <a:ext cx="620344" cy="661367"/>
              <a:chOff x="1588" y="1588"/>
              <a:chExt cx="984250" cy="1049337"/>
            </a:xfrm>
            <a:solidFill>
              <a:schemeClr val="bg1"/>
            </a:solidFill>
          </p:grpSpPr>
          <p:sp>
            <p:nvSpPr>
              <p:cNvPr id="18" name="Freeform 23"/>
              <p:cNvSpPr>
                <a:spLocks noEditPoints="1"/>
              </p:cNvSpPr>
              <p:nvPr/>
            </p:nvSpPr>
            <p:spPr bwMode="auto">
              <a:xfrm>
                <a:off x="592138" y="395288"/>
                <a:ext cx="393700" cy="655637"/>
              </a:xfrm>
              <a:custGeom>
                <a:avLst/>
                <a:gdLst>
                  <a:gd name="T0" fmla="*/ 52 w 104"/>
                  <a:gd name="T1" fmla="*/ 0 h 173"/>
                  <a:gd name="T2" fmla="*/ 0 w 104"/>
                  <a:gd name="T3" fmla="*/ 52 h 173"/>
                  <a:gd name="T4" fmla="*/ 17 w 104"/>
                  <a:gd name="T5" fmla="*/ 90 h 173"/>
                  <a:gd name="T6" fmla="*/ 17 w 104"/>
                  <a:gd name="T7" fmla="*/ 173 h 173"/>
                  <a:gd name="T8" fmla="*/ 52 w 104"/>
                  <a:gd name="T9" fmla="*/ 139 h 173"/>
                  <a:gd name="T10" fmla="*/ 87 w 104"/>
                  <a:gd name="T11" fmla="*/ 173 h 173"/>
                  <a:gd name="T12" fmla="*/ 87 w 104"/>
                  <a:gd name="T13" fmla="*/ 90 h 173"/>
                  <a:gd name="T14" fmla="*/ 104 w 104"/>
                  <a:gd name="T15" fmla="*/ 52 h 173"/>
                  <a:gd name="T16" fmla="*/ 52 w 104"/>
                  <a:gd name="T17" fmla="*/ 0 h 173"/>
                  <a:gd name="T18" fmla="*/ 52 w 104"/>
                  <a:gd name="T19" fmla="*/ 87 h 173"/>
                  <a:gd name="T20" fmla="*/ 17 w 104"/>
                  <a:gd name="T21" fmla="*/ 52 h 173"/>
                  <a:gd name="T22" fmla="*/ 52 w 104"/>
                  <a:gd name="T23" fmla="*/ 17 h 173"/>
                  <a:gd name="T24" fmla="*/ 87 w 104"/>
                  <a:gd name="T25" fmla="*/ 52 h 173"/>
                  <a:gd name="T26" fmla="*/ 52 w 104"/>
                  <a:gd name="T27" fmla="*/ 87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173">
                    <a:moveTo>
                      <a:pt x="52" y="0"/>
                    </a:moveTo>
                    <a:cubicBezTo>
                      <a:pt x="23" y="0"/>
                      <a:pt x="0" y="23"/>
                      <a:pt x="0" y="52"/>
                    </a:cubicBezTo>
                    <a:cubicBezTo>
                      <a:pt x="0" y="67"/>
                      <a:pt x="7" y="81"/>
                      <a:pt x="17" y="90"/>
                    </a:cubicBezTo>
                    <a:cubicBezTo>
                      <a:pt x="17" y="173"/>
                      <a:pt x="17" y="173"/>
                      <a:pt x="17" y="173"/>
                    </a:cubicBezTo>
                    <a:cubicBezTo>
                      <a:pt x="52" y="139"/>
                      <a:pt x="52" y="139"/>
                      <a:pt x="52" y="139"/>
                    </a:cubicBezTo>
                    <a:cubicBezTo>
                      <a:pt x="87" y="173"/>
                      <a:pt x="87" y="173"/>
                      <a:pt x="87" y="173"/>
                    </a:cubicBezTo>
                    <a:cubicBezTo>
                      <a:pt x="87" y="90"/>
                      <a:pt x="87" y="90"/>
                      <a:pt x="87" y="90"/>
                    </a:cubicBezTo>
                    <a:cubicBezTo>
                      <a:pt x="97" y="81"/>
                      <a:pt x="104" y="67"/>
                      <a:pt x="104" y="52"/>
                    </a:cubicBezTo>
                    <a:cubicBezTo>
                      <a:pt x="104" y="23"/>
                      <a:pt x="81" y="0"/>
                      <a:pt x="52" y="0"/>
                    </a:cubicBezTo>
                    <a:close/>
                    <a:moveTo>
                      <a:pt x="52" y="87"/>
                    </a:moveTo>
                    <a:cubicBezTo>
                      <a:pt x="33" y="87"/>
                      <a:pt x="17" y="71"/>
                      <a:pt x="17" y="52"/>
                    </a:cubicBezTo>
                    <a:cubicBezTo>
                      <a:pt x="17" y="33"/>
                      <a:pt x="33" y="17"/>
                      <a:pt x="52" y="17"/>
                    </a:cubicBezTo>
                    <a:cubicBezTo>
                      <a:pt x="71" y="17"/>
                      <a:pt x="87" y="33"/>
                      <a:pt x="87" y="52"/>
                    </a:cubicBezTo>
                    <a:cubicBezTo>
                      <a:pt x="87" y="71"/>
                      <a:pt x="71" y="87"/>
                      <a:pt x="52" y="87"/>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latin typeface="+mj-lt"/>
                </a:endParaRPr>
              </a:p>
            </p:txBody>
          </p:sp>
          <p:sp>
            <p:nvSpPr>
              <p:cNvPr id="19" name="Freeform 24"/>
              <p:cNvSpPr>
                <a:spLocks/>
              </p:cNvSpPr>
              <p:nvPr/>
            </p:nvSpPr>
            <p:spPr bwMode="auto">
              <a:xfrm>
                <a:off x="1588" y="1588"/>
                <a:ext cx="852488" cy="1049337"/>
              </a:xfrm>
              <a:custGeom>
                <a:avLst/>
                <a:gdLst>
                  <a:gd name="T0" fmla="*/ 277 w 537"/>
                  <a:gd name="T1" fmla="*/ 580 h 661"/>
                  <a:gd name="T2" fmla="*/ 83 w 537"/>
                  <a:gd name="T3" fmla="*/ 580 h 661"/>
                  <a:gd name="T4" fmla="*/ 83 w 537"/>
                  <a:gd name="T5" fmla="*/ 84 h 661"/>
                  <a:gd name="T6" fmla="*/ 312 w 537"/>
                  <a:gd name="T7" fmla="*/ 84 h 661"/>
                  <a:gd name="T8" fmla="*/ 437 w 537"/>
                  <a:gd name="T9" fmla="*/ 208 h 661"/>
                  <a:gd name="T10" fmla="*/ 537 w 537"/>
                  <a:gd name="T11" fmla="*/ 208 h 661"/>
                  <a:gd name="T12" fmla="*/ 537 w 537"/>
                  <a:gd name="T13" fmla="*/ 189 h 661"/>
                  <a:gd name="T14" fmla="*/ 348 w 537"/>
                  <a:gd name="T15" fmla="*/ 0 h 661"/>
                  <a:gd name="T16" fmla="*/ 0 w 537"/>
                  <a:gd name="T17" fmla="*/ 0 h 661"/>
                  <a:gd name="T18" fmla="*/ 0 w 537"/>
                  <a:gd name="T19" fmla="*/ 661 h 661"/>
                  <a:gd name="T20" fmla="*/ 355 w 537"/>
                  <a:gd name="T21" fmla="*/ 661 h 661"/>
                  <a:gd name="T22" fmla="*/ 279 w 537"/>
                  <a:gd name="T23" fmla="*/ 580 h 661"/>
                  <a:gd name="T24" fmla="*/ 277 w 537"/>
                  <a:gd name="T25" fmla="*/ 58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7" h="661">
                    <a:moveTo>
                      <a:pt x="277" y="580"/>
                    </a:moveTo>
                    <a:lnTo>
                      <a:pt x="83" y="580"/>
                    </a:lnTo>
                    <a:lnTo>
                      <a:pt x="83" y="84"/>
                    </a:lnTo>
                    <a:lnTo>
                      <a:pt x="312" y="84"/>
                    </a:lnTo>
                    <a:lnTo>
                      <a:pt x="437" y="208"/>
                    </a:lnTo>
                    <a:lnTo>
                      <a:pt x="537" y="208"/>
                    </a:lnTo>
                    <a:lnTo>
                      <a:pt x="537" y="189"/>
                    </a:lnTo>
                    <a:lnTo>
                      <a:pt x="348" y="0"/>
                    </a:lnTo>
                    <a:lnTo>
                      <a:pt x="0" y="0"/>
                    </a:lnTo>
                    <a:lnTo>
                      <a:pt x="0" y="661"/>
                    </a:lnTo>
                    <a:lnTo>
                      <a:pt x="355" y="661"/>
                    </a:lnTo>
                    <a:lnTo>
                      <a:pt x="279" y="580"/>
                    </a:lnTo>
                    <a:lnTo>
                      <a:pt x="277" y="580"/>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latin typeface="+mj-lt"/>
                </a:endParaRPr>
              </a:p>
            </p:txBody>
          </p:sp>
          <p:sp>
            <p:nvSpPr>
              <p:cNvPr id="20" name="Rectangle 25"/>
              <p:cNvSpPr>
                <a:spLocks noChangeArrowheads="1"/>
              </p:cNvSpPr>
              <p:nvPr/>
            </p:nvSpPr>
            <p:spPr bwMode="auto">
              <a:xfrm>
                <a:off x="198438" y="331788"/>
                <a:ext cx="330200" cy="63500"/>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sz="2400">
                  <a:latin typeface="+mj-lt"/>
                </a:endParaRPr>
              </a:p>
            </p:txBody>
          </p:sp>
          <p:sp>
            <p:nvSpPr>
              <p:cNvPr id="21" name="Rectangle 26"/>
              <p:cNvSpPr>
                <a:spLocks noChangeArrowheads="1"/>
              </p:cNvSpPr>
              <p:nvPr/>
            </p:nvSpPr>
            <p:spPr bwMode="auto">
              <a:xfrm>
                <a:off x="198438" y="460375"/>
                <a:ext cx="330200" cy="68262"/>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sz="2400">
                  <a:latin typeface="+mj-lt"/>
                </a:endParaRPr>
              </a:p>
            </p:txBody>
          </p:sp>
          <p:sp>
            <p:nvSpPr>
              <p:cNvPr id="22" name="Rectangle 27"/>
              <p:cNvSpPr>
                <a:spLocks noChangeArrowheads="1"/>
              </p:cNvSpPr>
              <p:nvPr/>
            </p:nvSpPr>
            <p:spPr bwMode="auto">
              <a:xfrm>
                <a:off x="198438" y="592138"/>
                <a:ext cx="330200" cy="65087"/>
              </a:xfrm>
              <a:prstGeom prst="rect">
                <a:avLst/>
              </a:prstGeom>
              <a:solidFill>
                <a:schemeClr val="tx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sz="2400">
                  <a:latin typeface="+mj-lt"/>
                </a:endParaRPr>
              </a:p>
            </p:txBody>
          </p:sp>
        </p:grpSp>
        <p:grpSp>
          <p:nvGrpSpPr>
            <p:cNvPr id="23" name="Group 22"/>
            <p:cNvGrpSpPr/>
            <p:nvPr>
              <p:custDataLst>
                <p:tags r:id="rId4"/>
              </p:custDataLst>
            </p:nvPr>
          </p:nvGrpSpPr>
          <p:grpSpPr>
            <a:xfrm>
              <a:off x="6656554" y="3181204"/>
              <a:ext cx="661901" cy="661899"/>
              <a:chOff x="6350" y="4763"/>
              <a:chExt cx="3371851" cy="3371850"/>
            </a:xfrm>
            <a:solidFill>
              <a:schemeClr val="bg1"/>
            </a:solidFill>
          </p:grpSpPr>
          <p:sp>
            <p:nvSpPr>
              <p:cNvPr id="24" name="Freeform 5"/>
              <p:cNvSpPr>
                <a:spLocks noEditPoints="1"/>
              </p:cNvSpPr>
              <p:nvPr/>
            </p:nvSpPr>
            <p:spPr bwMode="auto">
              <a:xfrm>
                <a:off x="989013" y="4763"/>
                <a:ext cx="2389188" cy="2393950"/>
              </a:xfrm>
              <a:custGeom>
                <a:avLst/>
                <a:gdLst>
                  <a:gd name="T0" fmla="*/ 444 w 635"/>
                  <a:gd name="T1" fmla="*/ 64 h 636"/>
                  <a:gd name="T2" fmla="*/ 259 w 635"/>
                  <a:gd name="T3" fmla="*/ 178 h 636"/>
                  <a:gd name="T4" fmla="*/ 21 w 635"/>
                  <a:gd name="T5" fmla="*/ 416 h 636"/>
                  <a:gd name="T6" fmla="*/ 21 w 635"/>
                  <a:gd name="T7" fmla="*/ 495 h 636"/>
                  <a:gd name="T8" fmla="*/ 140 w 635"/>
                  <a:gd name="T9" fmla="*/ 614 h 636"/>
                  <a:gd name="T10" fmla="*/ 219 w 635"/>
                  <a:gd name="T11" fmla="*/ 614 h 636"/>
                  <a:gd name="T12" fmla="*/ 457 w 635"/>
                  <a:gd name="T13" fmla="*/ 376 h 636"/>
                  <a:gd name="T14" fmla="*/ 571 w 635"/>
                  <a:gd name="T15" fmla="*/ 191 h 636"/>
                  <a:gd name="T16" fmla="*/ 635 w 635"/>
                  <a:gd name="T17" fmla="*/ 0 h 636"/>
                  <a:gd name="T18" fmla="*/ 444 w 635"/>
                  <a:gd name="T19" fmla="*/ 64 h 636"/>
                  <a:gd name="T20" fmla="*/ 279 w 635"/>
                  <a:gd name="T21" fmla="*/ 475 h 636"/>
                  <a:gd name="T22" fmla="*/ 160 w 635"/>
                  <a:gd name="T23" fmla="*/ 475 h 636"/>
                  <a:gd name="T24" fmla="*/ 160 w 635"/>
                  <a:gd name="T25" fmla="*/ 356 h 636"/>
                  <a:gd name="T26" fmla="*/ 279 w 635"/>
                  <a:gd name="T27" fmla="*/ 356 h 636"/>
                  <a:gd name="T28" fmla="*/ 279 w 635"/>
                  <a:gd name="T29" fmla="*/ 475 h 636"/>
                  <a:gd name="T30" fmla="*/ 437 w 635"/>
                  <a:gd name="T31" fmla="*/ 317 h 636"/>
                  <a:gd name="T32" fmla="*/ 318 w 635"/>
                  <a:gd name="T33" fmla="*/ 317 h 636"/>
                  <a:gd name="T34" fmla="*/ 318 w 635"/>
                  <a:gd name="T35" fmla="*/ 198 h 636"/>
                  <a:gd name="T36" fmla="*/ 437 w 635"/>
                  <a:gd name="T37" fmla="*/ 198 h 636"/>
                  <a:gd name="T38" fmla="*/ 437 w 635"/>
                  <a:gd name="T39" fmla="*/ 317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5" h="636">
                    <a:moveTo>
                      <a:pt x="444" y="64"/>
                    </a:moveTo>
                    <a:cubicBezTo>
                      <a:pt x="386" y="83"/>
                      <a:pt x="302" y="135"/>
                      <a:pt x="259" y="178"/>
                    </a:cubicBezTo>
                    <a:cubicBezTo>
                      <a:pt x="21" y="416"/>
                      <a:pt x="21" y="416"/>
                      <a:pt x="21" y="416"/>
                    </a:cubicBezTo>
                    <a:cubicBezTo>
                      <a:pt x="0" y="438"/>
                      <a:pt x="0" y="473"/>
                      <a:pt x="21" y="495"/>
                    </a:cubicBezTo>
                    <a:cubicBezTo>
                      <a:pt x="140" y="614"/>
                      <a:pt x="140" y="614"/>
                      <a:pt x="140" y="614"/>
                    </a:cubicBezTo>
                    <a:cubicBezTo>
                      <a:pt x="162" y="636"/>
                      <a:pt x="198" y="636"/>
                      <a:pt x="219" y="614"/>
                    </a:cubicBezTo>
                    <a:cubicBezTo>
                      <a:pt x="457" y="376"/>
                      <a:pt x="457" y="376"/>
                      <a:pt x="457" y="376"/>
                    </a:cubicBezTo>
                    <a:cubicBezTo>
                      <a:pt x="500" y="333"/>
                      <a:pt x="552" y="249"/>
                      <a:pt x="571" y="191"/>
                    </a:cubicBezTo>
                    <a:cubicBezTo>
                      <a:pt x="635" y="0"/>
                      <a:pt x="635" y="0"/>
                      <a:pt x="635" y="0"/>
                    </a:cubicBezTo>
                    <a:lnTo>
                      <a:pt x="444" y="64"/>
                    </a:lnTo>
                    <a:close/>
                    <a:moveTo>
                      <a:pt x="279" y="475"/>
                    </a:moveTo>
                    <a:cubicBezTo>
                      <a:pt x="246" y="508"/>
                      <a:pt x="193" y="508"/>
                      <a:pt x="160" y="475"/>
                    </a:cubicBezTo>
                    <a:cubicBezTo>
                      <a:pt x="127" y="442"/>
                      <a:pt x="127" y="389"/>
                      <a:pt x="160" y="356"/>
                    </a:cubicBezTo>
                    <a:cubicBezTo>
                      <a:pt x="193" y="324"/>
                      <a:pt x="246" y="324"/>
                      <a:pt x="279" y="356"/>
                    </a:cubicBezTo>
                    <a:cubicBezTo>
                      <a:pt x="311" y="389"/>
                      <a:pt x="311" y="442"/>
                      <a:pt x="279" y="475"/>
                    </a:cubicBezTo>
                    <a:close/>
                    <a:moveTo>
                      <a:pt x="437" y="317"/>
                    </a:moveTo>
                    <a:cubicBezTo>
                      <a:pt x="404" y="350"/>
                      <a:pt x="351" y="350"/>
                      <a:pt x="318" y="317"/>
                    </a:cubicBezTo>
                    <a:cubicBezTo>
                      <a:pt x="285" y="284"/>
                      <a:pt x="285" y="231"/>
                      <a:pt x="318" y="198"/>
                    </a:cubicBezTo>
                    <a:cubicBezTo>
                      <a:pt x="351" y="165"/>
                      <a:pt x="404" y="165"/>
                      <a:pt x="437" y="198"/>
                    </a:cubicBezTo>
                    <a:cubicBezTo>
                      <a:pt x="470" y="231"/>
                      <a:pt x="470" y="284"/>
                      <a:pt x="437" y="317"/>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latin typeface="+mj-lt"/>
                </a:endParaRPr>
              </a:p>
            </p:txBody>
          </p:sp>
          <p:sp>
            <p:nvSpPr>
              <p:cNvPr id="25" name="Freeform 24"/>
              <p:cNvSpPr>
                <a:spLocks/>
              </p:cNvSpPr>
              <p:nvPr/>
            </p:nvSpPr>
            <p:spPr bwMode="auto">
              <a:xfrm>
                <a:off x="93663" y="960438"/>
                <a:ext cx="1125538" cy="990600"/>
              </a:xfrm>
              <a:custGeom>
                <a:avLst/>
                <a:gdLst>
                  <a:gd name="T0" fmla="*/ 101 w 299"/>
                  <a:gd name="T1" fmla="*/ 241 h 263"/>
                  <a:gd name="T2" fmla="*/ 299 w 299"/>
                  <a:gd name="T3" fmla="*/ 43 h 263"/>
                  <a:gd name="T4" fmla="*/ 141 w 299"/>
                  <a:gd name="T5" fmla="*/ 43 h 263"/>
                  <a:gd name="T6" fmla="*/ 22 w 299"/>
                  <a:gd name="T7" fmla="*/ 162 h 263"/>
                  <a:gd name="T8" fmla="*/ 22 w 299"/>
                  <a:gd name="T9" fmla="*/ 241 h 263"/>
                  <a:gd name="T10" fmla="*/ 101 w 299"/>
                  <a:gd name="T11" fmla="*/ 241 h 263"/>
                </a:gdLst>
                <a:ahLst/>
                <a:cxnLst>
                  <a:cxn ang="0">
                    <a:pos x="T0" y="T1"/>
                  </a:cxn>
                  <a:cxn ang="0">
                    <a:pos x="T2" y="T3"/>
                  </a:cxn>
                  <a:cxn ang="0">
                    <a:pos x="T4" y="T5"/>
                  </a:cxn>
                  <a:cxn ang="0">
                    <a:pos x="T6" y="T7"/>
                  </a:cxn>
                  <a:cxn ang="0">
                    <a:pos x="T8" y="T9"/>
                  </a:cxn>
                  <a:cxn ang="0">
                    <a:pos x="T10" y="T11"/>
                  </a:cxn>
                </a:cxnLst>
                <a:rect l="0" t="0" r="r" b="b"/>
                <a:pathLst>
                  <a:path w="299" h="263">
                    <a:moveTo>
                      <a:pt x="101" y="241"/>
                    </a:moveTo>
                    <a:cubicBezTo>
                      <a:pt x="299" y="43"/>
                      <a:pt x="299" y="43"/>
                      <a:pt x="299" y="43"/>
                    </a:cubicBezTo>
                    <a:cubicBezTo>
                      <a:pt x="255" y="0"/>
                      <a:pt x="184" y="0"/>
                      <a:pt x="141" y="43"/>
                    </a:cubicBezTo>
                    <a:cubicBezTo>
                      <a:pt x="22" y="162"/>
                      <a:pt x="22" y="162"/>
                      <a:pt x="22" y="162"/>
                    </a:cubicBezTo>
                    <a:cubicBezTo>
                      <a:pt x="0" y="184"/>
                      <a:pt x="0" y="219"/>
                      <a:pt x="22" y="241"/>
                    </a:cubicBezTo>
                    <a:cubicBezTo>
                      <a:pt x="43" y="263"/>
                      <a:pt x="79" y="263"/>
                      <a:pt x="101" y="241"/>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latin typeface="+mj-lt"/>
                </a:endParaRPr>
              </a:p>
            </p:txBody>
          </p:sp>
          <p:sp>
            <p:nvSpPr>
              <p:cNvPr id="26" name="Freeform 25"/>
              <p:cNvSpPr>
                <a:spLocks/>
              </p:cNvSpPr>
              <p:nvPr/>
            </p:nvSpPr>
            <p:spPr bwMode="auto">
              <a:xfrm>
                <a:off x="1433513" y="2165351"/>
                <a:ext cx="992188" cy="1123950"/>
              </a:xfrm>
              <a:custGeom>
                <a:avLst/>
                <a:gdLst>
                  <a:gd name="T0" fmla="*/ 22 w 264"/>
                  <a:gd name="T1" fmla="*/ 198 h 299"/>
                  <a:gd name="T2" fmla="*/ 22 w 264"/>
                  <a:gd name="T3" fmla="*/ 277 h 299"/>
                  <a:gd name="T4" fmla="*/ 101 w 264"/>
                  <a:gd name="T5" fmla="*/ 277 h 299"/>
                  <a:gd name="T6" fmla="*/ 220 w 264"/>
                  <a:gd name="T7" fmla="*/ 159 h 299"/>
                  <a:gd name="T8" fmla="*/ 220 w 264"/>
                  <a:gd name="T9" fmla="*/ 0 h 299"/>
                  <a:gd name="T10" fmla="*/ 22 w 264"/>
                  <a:gd name="T11" fmla="*/ 198 h 299"/>
                </a:gdLst>
                <a:ahLst/>
                <a:cxnLst>
                  <a:cxn ang="0">
                    <a:pos x="T0" y="T1"/>
                  </a:cxn>
                  <a:cxn ang="0">
                    <a:pos x="T2" y="T3"/>
                  </a:cxn>
                  <a:cxn ang="0">
                    <a:pos x="T4" y="T5"/>
                  </a:cxn>
                  <a:cxn ang="0">
                    <a:pos x="T6" y="T7"/>
                  </a:cxn>
                  <a:cxn ang="0">
                    <a:pos x="T8" y="T9"/>
                  </a:cxn>
                  <a:cxn ang="0">
                    <a:pos x="T10" y="T11"/>
                  </a:cxn>
                </a:cxnLst>
                <a:rect l="0" t="0" r="r" b="b"/>
                <a:pathLst>
                  <a:path w="264" h="299">
                    <a:moveTo>
                      <a:pt x="22" y="198"/>
                    </a:moveTo>
                    <a:cubicBezTo>
                      <a:pt x="0" y="220"/>
                      <a:pt x="0" y="256"/>
                      <a:pt x="22" y="277"/>
                    </a:cubicBezTo>
                    <a:cubicBezTo>
                      <a:pt x="44" y="299"/>
                      <a:pt x="80" y="299"/>
                      <a:pt x="101" y="277"/>
                    </a:cubicBezTo>
                    <a:cubicBezTo>
                      <a:pt x="220" y="159"/>
                      <a:pt x="220" y="159"/>
                      <a:pt x="220" y="159"/>
                    </a:cubicBezTo>
                    <a:cubicBezTo>
                      <a:pt x="264" y="115"/>
                      <a:pt x="264" y="44"/>
                      <a:pt x="220" y="0"/>
                    </a:cubicBezTo>
                    <a:lnTo>
                      <a:pt x="22" y="198"/>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latin typeface="+mj-lt"/>
                </a:endParaRPr>
              </a:p>
            </p:txBody>
          </p:sp>
          <p:sp>
            <p:nvSpPr>
              <p:cNvPr id="27" name="Freeform 26"/>
              <p:cNvSpPr>
                <a:spLocks/>
              </p:cNvSpPr>
              <p:nvPr/>
            </p:nvSpPr>
            <p:spPr bwMode="auto">
              <a:xfrm>
                <a:off x="804863" y="2017713"/>
                <a:ext cx="560388" cy="561975"/>
              </a:xfrm>
              <a:custGeom>
                <a:avLst/>
                <a:gdLst>
                  <a:gd name="T0" fmla="*/ 11 w 149"/>
                  <a:gd name="T1" fmla="*/ 19 h 149"/>
                  <a:gd name="T2" fmla="*/ 11 w 149"/>
                  <a:gd name="T3" fmla="*/ 59 h 149"/>
                  <a:gd name="T4" fmla="*/ 90 w 149"/>
                  <a:gd name="T5" fmla="*/ 138 h 149"/>
                  <a:gd name="T6" fmla="*/ 130 w 149"/>
                  <a:gd name="T7" fmla="*/ 138 h 149"/>
                  <a:gd name="T8" fmla="*/ 149 w 149"/>
                  <a:gd name="T9" fmla="*/ 118 h 149"/>
                  <a:gd name="T10" fmla="*/ 31 w 149"/>
                  <a:gd name="T11" fmla="*/ 0 h 149"/>
                  <a:gd name="T12" fmla="*/ 11 w 149"/>
                  <a:gd name="T13" fmla="*/ 19 h 149"/>
                </a:gdLst>
                <a:ahLst/>
                <a:cxnLst>
                  <a:cxn ang="0">
                    <a:pos x="T0" y="T1"/>
                  </a:cxn>
                  <a:cxn ang="0">
                    <a:pos x="T2" y="T3"/>
                  </a:cxn>
                  <a:cxn ang="0">
                    <a:pos x="T4" y="T5"/>
                  </a:cxn>
                  <a:cxn ang="0">
                    <a:pos x="T6" y="T7"/>
                  </a:cxn>
                  <a:cxn ang="0">
                    <a:pos x="T8" y="T9"/>
                  </a:cxn>
                  <a:cxn ang="0">
                    <a:pos x="T10" y="T11"/>
                  </a:cxn>
                  <a:cxn ang="0">
                    <a:pos x="T12" y="T13"/>
                  </a:cxn>
                </a:cxnLst>
                <a:rect l="0" t="0" r="r" b="b"/>
                <a:pathLst>
                  <a:path w="149" h="149">
                    <a:moveTo>
                      <a:pt x="11" y="19"/>
                    </a:moveTo>
                    <a:cubicBezTo>
                      <a:pt x="0" y="30"/>
                      <a:pt x="0" y="48"/>
                      <a:pt x="11" y="59"/>
                    </a:cubicBezTo>
                    <a:cubicBezTo>
                      <a:pt x="90" y="138"/>
                      <a:pt x="90" y="138"/>
                      <a:pt x="90" y="138"/>
                    </a:cubicBezTo>
                    <a:cubicBezTo>
                      <a:pt x="101" y="149"/>
                      <a:pt x="119" y="149"/>
                      <a:pt x="130" y="138"/>
                    </a:cubicBezTo>
                    <a:cubicBezTo>
                      <a:pt x="149" y="118"/>
                      <a:pt x="149" y="118"/>
                      <a:pt x="149" y="118"/>
                    </a:cubicBezTo>
                    <a:cubicBezTo>
                      <a:pt x="31" y="0"/>
                      <a:pt x="31" y="0"/>
                      <a:pt x="31" y="0"/>
                    </a:cubicBezTo>
                    <a:lnTo>
                      <a:pt x="11" y="19"/>
                    </a:ln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latin typeface="+mj-lt"/>
                </a:endParaRPr>
              </a:p>
            </p:txBody>
          </p:sp>
          <p:sp>
            <p:nvSpPr>
              <p:cNvPr id="28" name="Freeform 27"/>
              <p:cNvSpPr>
                <a:spLocks/>
              </p:cNvSpPr>
              <p:nvPr/>
            </p:nvSpPr>
            <p:spPr bwMode="auto">
              <a:xfrm>
                <a:off x="6350" y="2322513"/>
                <a:ext cx="1054100" cy="1054100"/>
              </a:xfrm>
              <a:custGeom>
                <a:avLst/>
                <a:gdLst>
                  <a:gd name="T0" fmla="*/ 0 w 280"/>
                  <a:gd name="T1" fmla="*/ 280 h 280"/>
                  <a:gd name="T2" fmla="*/ 224 w 280"/>
                  <a:gd name="T3" fmla="*/ 56 h 280"/>
                  <a:gd name="T4" fmla="*/ 0 w 280"/>
                  <a:gd name="T5" fmla="*/ 280 h 280"/>
                </a:gdLst>
                <a:ahLst/>
                <a:cxnLst>
                  <a:cxn ang="0">
                    <a:pos x="T0" y="T1"/>
                  </a:cxn>
                  <a:cxn ang="0">
                    <a:pos x="T2" y="T3"/>
                  </a:cxn>
                  <a:cxn ang="0">
                    <a:pos x="T4" y="T5"/>
                  </a:cxn>
                </a:cxnLst>
                <a:rect l="0" t="0" r="r" b="b"/>
                <a:pathLst>
                  <a:path w="280" h="280">
                    <a:moveTo>
                      <a:pt x="0" y="280"/>
                    </a:moveTo>
                    <a:cubicBezTo>
                      <a:pt x="112" y="224"/>
                      <a:pt x="280" y="112"/>
                      <a:pt x="224" y="56"/>
                    </a:cubicBezTo>
                    <a:cubicBezTo>
                      <a:pt x="168" y="0"/>
                      <a:pt x="56" y="168"/>
                      <a:pt x="0" y="28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2400">
                  <a:latin typeface="+mj-lt"/>
                </a:endParaRPr>
              </a:p>
            </p:txBody>
          </p:sp>
        </p:grpSp>
        <p:sp>
          <p:nvSpPr>
            <p:cNvPr id="29" name="Freeform 170"/>
            <p:cNvSpPr>
              <a:spLocks noChangeArrowheads="1"/>
            </p:cNvSpPr>
            <p:nvPr/>
          </p:nvSpPr>
          <p:spPr bwMode="auto">
            <a:xfrm>
              <a:off x="5388768" y="4357040"/>
              <a:ext cx="591593" cy="697951"/>
            </a:xfrm>
            <a:custGeom>
              <a:avLst/>
              <a:gdLst>
                <a:gd name="T0" fmla="*/ 283 w 391"/>
                <a:gd name="T1" fmla="*/ 178 h 463"/>
                <a:gd name="T2" fmla="*/ 283 w 391"/>
                <a:gd name="T3" fmla="*/ 178 h 463"/>
                <a:gd name="T4" fmla="*/ 319 w 391"/>
                <a:gd name="T5" fmla="*/ 18 h 463"/>
                <a:gd name="T6" fmla="*/ 204 w 391"/>
                <a:gd name="T7" fmla="*/ 134 h 463"/>
                <a:gd name="T8" fmla="*/ 98 w 391"/>
                <a:gd name="T9" fmla="*/ 231 h 463"/>
                <a:gd name="T10" fmla="*/ 98 w 391"/>
                <a:gd name="T11" fmla="*/ 400 h 463"/>
                <a:gd name="T12" fmla="*/ 310 w 391"/>
                <a:gd name="T13" fmla="*/ 462 h 463"/>
                <a:gd name="T14" fmla="*/ 390 w 391"/>
                <a:gd name="T15" fmla="*/ 222 h 463"/>
                <a:gd name="T16" fmla="*/ 283 w 391"/>
                <a:gd name="T17" fmla="*/ 178 h 463"/>
                <a:gd name="T18" fmla="*/ 71 w 391"/>
                <a:gd name="T19" fmla="*/ 178 h 463"/>
                <a:gd name="T20" fmla="*/ 71 w 391"/>
                <a:gd name="T21" fmla="*/ 178 h 463"/>
                <a:gd name="T22" fmla="*/ 0 w 391"/>
                <a:gd name="T23" fmla="*/ 257 h 463"/>
                <a:gd name="T24" fmla="*/ 0 w 391"/>
                <a:gd name="T25" fmla="*/ 372 h 463"/>
                <a:gd name="T26" fmla="*/ 71 w 391"/>
                <a:gd name="T27" fmla="*/ 453 h 463"/>
                <a:gd name="T28" fmla="*/ 44 w 391"/>
                <a:gd name="T29" fmla="*/ 400 h 463"/>
                <a:gd name="T30" fmla="*/ 44 w 391"/>
                <a:gd name="T31" fmla="*/ 240 h 463"/>
                <a:gd name="T32" fmla="*/ 71 w 391"/>
                <a:gd name="T33" fmla="*/ 178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1" h="463">
                  <a:moveTo>
                    <a:pt x="283" y="178"/>
                  </a:moveTo>
                  <a:lnTo>
                    <a:pt x="283" y="178"/>
                  </a:lnTo>
                  <a:cubicBezTo>
                    <a:pt x="283" y="169"/>
                    <a:pt x="373" y="89"/>
                    <a:pt x="319" y="18"/>
                  </a:cubicBezTo>
                  <a:cubicBezTo>
                    <a:pt x="310" y="0"/>
                    <a:pt x="266" y="98"/>
                    <a:pt x="204" y="134"/>
                  </a:cubicBezTo>
                  <a:cubicBezTo>
                    <a:pt x="169" y="160"/>
                    <a:pt x="98" y="204"/>
                    <a:pt x="98" y="231"/>
                  </a:cubicBezTo>
                  <a:cubicBezTo>
                    <a:pt x="98" y="400"/>
                    <a:pt x="98" y="400"/>
                    <a:pt x="98" y="400"/>
                  </a:cubicBezTo>
                  <a:cubicBezTo>
                    <a:pt x="98" y="435"/>
                    <a:pt x="213" y="462"/>
                    <a:pt x="310" y="462"/>
                  </a:cubicBezTo>
                  <a:cubicBezTo>
                    <a:pt x="345" y="462"/>
                    <a:pt x="390" y="249"/>
                    <a:pt x="390" y="222"/>
                  </a:cubicBezTo>
                  <a:cubicBezTo>
                    <a:pt x="390" y="187"/>
                    <a:pt x="292" y="187"/>
                    <a:pt x="283" y="178"/>
                  </a:cubicBezTo>
                  <a:close/>
                  <a:moveTo>
                    <a:pt x="71" y="178"/>
                  </a:moveTo>
                  <a:lnTo>
                    <a:pt x="71" y="178"/>
                  </a:lnTo>
                  <a:cubicBezTo>
                    <a:pt x="54" y="178"/>
                    <a:pt x="0" y="187"/>
                    <a:pt x="0" y="257"/>
                  </a:cubicBezTo>
                  <a:cubicBezTo>
                    <a:pt x="0" y="372"/>
                    <a:pt x="0" y="372"/>
                    <a:pt x="0" y="372"/>
                  </a:cubicBezTo>
                  <a:cubicBezTo>
                    <a:pt x="0" y="444"/>
                    <a:pt x="54" y="453"/>
                    <a:pt x="71" y="453"/>
                  </a:cubicBezTo>
                  <a:cubicBezTo>
                    <a:pt x="89" y="453"/>
                    <a:pt x="44" y="435"/>
                    <a:pt x="44" y="400"/>
                  </a:cubicBezTo>
                  <a:cubicBezTo>
                    <a:pt x="44" y="240"/>
                    <a:pt x="44" y="240"/>
                    <a:pt x="44" y="240"/>
                  </a:cubicBezTo>
                  <a:cubicBezTo>
                    <a:pt x="44" y="196"/>
                    <a:pt x="89" y="178"/>
                    <a:pt x="71" y="178"/>
                  </a:cubicBezTo>
                  <a:close/>
                </a:path>
              </a:pathLst>
            </a:custGeom>
            <a:solidFill>
              <a:schemeClr val="tx2"/>
            </a:solidFill>
            <a:ln>
              <a:noFill/>
            </a:ln>
            <a:effectLst/>
            <a:extLst/>
          </p:spPr>
          <p:txBody>
            <a:bodyPr wrap="none" anchor="ctr"/>
            <a:lstStyle/>
            <a:p>
              <a:endParaRPr lang="en-US" sz="2400">
                <a:latin typeface="+mj-lt"/>
              </a:endParaRPr>
            </a:p>
          </p:txBody>
        </p:sp>
        <p:cxnSp>
          <p:nvCxnSpPr>
            <p:cNvPr id="44" name="Straight Connector 43"/>
            <p:cNvCxnSpPr/>
            <p:nvPr/>
          </p:nvCxnSpPr>
          <p:spPr>
            <a:xfrm>
              <a:off x="4781941" y="4107993"/>
              <a:ext cx="3049164" cy="28727"/>
            </a:xfrm>
            <a:prstGeom prst="line">
              <a:avLst/>
            </a:prstGeom>
            <a:ln w="38100" cmpd="sng">
              <a:solidFill>
                <a:schemeClr val="bg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56590314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xt &amp; chart</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
        <p:nvSpPr>
          <p:cNvPr id="4" name="Rounded Rectangle 3"/>
          <p:cNvSpPr/>
          <p:nvPr/>
        </p:nvSpPr>
        <p:spPr>
          <a:xfrm flipV="1">
            <a:off x="5960132" y="2230640"/>
            <a:ext cx="5054236" cy="222731"/>
          </a:xfrm>
          <a:prstGeom prst="roundRect">
            <a:avLst>
              <a:gd name="adj" fmla="val 50000"/>
            </a:avLst>
          </a:prstGeom>
          <a:solidFill>
            <a:srgbClr val="DBDBDB"/>
          </a:solidFill>
          <a:ln>
            <a:noFill/>
          </a:ln>
          <a:effectLst/>
        </p:spPr>
        <p:style>
          <a:lnRef idx="1">
            <a:schemeClr val="accent1"/>
          </a:lnRef>
          <a:fillRef idx="3">
            <a:schemeClr val="accent1"/>
          </a:fillRef>
          <a:effectRef idx="2">
            <a:schemeClr val="accent1"/>
          </a:effectRef>
          <a:fontRef idx="minor">
            <a:schemeClr val="lt1"/>
          </a:fontRef>
        </p:style>
        <p:txBody>
          <a:bodyPr lIns="243852" tIns="121926" rIns="243852" bIns="121926" rtlCol="0" anchor="ctr"/>
          <a:lstStyle/>
          <a:p>
            <a:pPr algn="ctr"/>
            <a:endParaRPr lang="en-US">
              <a:latin typeface="+mj-lt"/>
            </a:endParaRPr>
          </a:p>
        </p:txBody>
      </p:sp>
      <p:sp>
        <p:nvSpPr>
          <p:cNvPr id="5" name="Rounded Rectangle 4"/>
          <p:cNvSpPr/>
          <p:nvPr/>
        </p:nvSpPr>
        <p:spPr>
          <a:xfrm flipV="1">
            <a:off x="5854323" y="2230640"/>
            <a:ext cx="4204493" cy="222731"/>
          </a:xfrm>
          <a:prstGeom prst="roundRect">
            <a:avLst>
              <a:gd name="adj" fmla="val 50000"/>
            </a:avLst>
          </a:prstGeom>
          <a:solidFill>
            <a:srgbClr val="58595B"/>
          </a:solidFill>
          <a:ln>
            <a:noFill/>
          </a:ln>
          <a:effectLst/>
        </p:spPr>
        <p:style>
          <a:lnRef idx="1">
            <a:schemeClr val="accent1"/>
          </a:lnRef>
          <a:fillRef idx="3">
            <a:schemeClr val="accent1"/>
          </a:fillRef>
          <a:effectRef idx="2">
            <a:schemeClr val="accent1"/>
          </a:effectRef>
          <a:fontRef idx="minor">
            <a:schemeClr val="lt1"/>
          </a:fontRef>
        </p:style>
        <p:txBody>
          <a:bodyPr lIns="243852" tIns="121926" rIns="243852" bIns="121926" rtlCol="0" anchor="ctr"/>
          <a:lstStyle/>
          <a:p>
            <a:pPr algn="ctr"/>
            <a:endParaRPr lang="en-US">
              <a:latin typeface="+mj-lt"/>
            </a:endParaRPr>
          </a:p>
        </p:txBody>
      </p:sp>
      <p:sp>
        <p:nvSpPr>
          <p:cNvPr id="6" name="TextBox 5"/>
          <p:cNvSpPr txBox="1"/>
          <p:nvPr/>
        </p:nvSpPr>
        <p:spPr>
          <a:xfrm>
            <a:off x="5734155" y="1599211"/>
            <a:ext cx="2625684" cy="738664"/>
          </a:xfrm>
          <a:prstGeom prst="rect">
            <a:avLst/>
          </a:prstGeom>
          <a:noFill/>
        </p:spPr>
        <p:txBody>
          <a:bodyPr wrap="square" lIns="243852" tIns="121926" rIns="243852" bIns="121926" rtlCol="0">
            <a:noAutofit/>
          </a:bodyPr>
          <a:lstStyle/>
          <a:p>
            <a:r>
              <a:rPr lang="en-US" dirty="0">
                <a:solidFill>
                  <a:srgbClr val="58595B"/>
                </a:solidFill>
                <a:latin typeface="+mj-lt"/>
                <a:cs typeface="Source Sans Pro ExtraLight"/>
              </a:rPr>
              <a:t>Leadership</a:t>
            </a:r>
          </a:p>
        </p:txBody>
      </p:sp>
      <p:sp>
        <p:nvSpPr>
          <p:cNvPr id="7" name="Rounded Rectangle 6"/>
          <p:cNvSpPr/>
          <p:nvPr/>
        </p:nvSpPr>
        <p:spPr>
          <a:xfrm flipV="1">
            <a:off x="5854323" y="3214641"/>
            <a:ext cx="5054236" cy="222731"/>
          </a:xfrm>
          <a:prstGeom prst="roundRect">
            <a:avLst>
              <a:gd name="adj" fmla="val 50000"/>
            </a:avLst>
          </a:prstGeom>
          <a:solidFill>
            <a:srgbClr val="DBDBDB"/>
          </a:solidFill>
          <a:ln>
            <a:noFill/>
          </a:ln>
          <a:effectLst/>
        </p:spPr>
        <p:style>
          <a:lnRef idx="1">
            <a:schemeClr val="accent1"/>
          </a:lnRef>
          <a:fillRef idx="3">
            <a:schemeClr val="accent1"/>
          </a:fillRef>
          <a:effectRef idx="2">
            <a:schemeClr val="accent1"/>
          </a:effectRef>
          <a:fontRef idx="minor">
            <a:schemeClr val="lt1"/>
          </a:fontRef>
        </p:style>
        <p:txBody>
          <a:bodyPr lIns="243852" tIns="121926" rIns="243852" bIns="121926" rtlCol="0" anchor="ctr"/>
          <a:lstStyle/>
          <a:p>
            <a:pPr algn="ctr"/>
            <a:endParaRPr lang="en-US">
              <a:latin typeface="+mj-lt"/>
            </a:endParaRPr>
          </a:p>
        </p:txBody>
      </p:sp>
      <p:sp>
        <p:nvSpPr>
          <p:cNvPr id="8" name="Rounded Rectangle 7"/>
          <p:cNvSpPr/>
          <p:nvPr/>
        </p:nvSpPr>
        <p:spPr>
          <a:xfrm flipV="1">
            <a:off x="5854324" y="3208476"/>
            <a:ext cx="4586720" cy="222731"/>
          </a:xfrm>
          <a:prstGeom prst="roundRect">
            <a:avLst>
              <a:gd name="adj" fmla="val 50000"/>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243852" tIns="121926" rIns="243852" bIns="121926" rtlCol="0" anchor="ctr"/>
          <a:lstStyle/>
          <a:p>
            <a:pPr algn="ctr"/>
            <a:endParaRPr lang="en-US">
              <a:solidFill>
                <a:srgbClr val="0070C0"/>
              </a:solidFill>
              <a:latin typeface="+mj-lt"/>
            </a:endParaRPr>
          </a:p>
        </p:txBody>
      </p:sp>
      <p:sp>
        <p:nvSpPr>
          <p:cNvPr id="9" name="TextBox 8"/>
          <p:cNvSpPr txBox="1"/>
          <p:nvPr/>
        </p:nvSpPr>
        <p:spPr>
          <a:xfrm>
            <a:off x="5734155" y="2663434"/>
            <a:ext cx="2625684" cy="509768"/>
          </a:xfrm>
          <a:prstGeom prst="rect">
            <a:avLst/>
          </a:prstGeom>
          <a:noFill/>
        </p:spPr>
        <p:txBody>
          <a:bodyPr wrap="square" lIns="243852" tIns="121926" rIns="243852" bIns="121926" rtlCol="0">
            <a:noAutofit/>
          </a:bodyPr>
          <a:lstStyle/>
          <a:p>
            <a:r>
              <a:rPr lang="en-US" dirty="0">
                <a:solidFill>
                  <a:srgbClr val="58595B"/>
                </a:solidFill>
                <a:latin typeface="+mj-lt"/>
                <a:cs typeface="Source Sans Pro ExtraLight"/>
              </a:rPr>
              <a:t>Enthusiasm</a:t>
            </a:r>
          </a:p>
        </p:txBody>
      </p:sp>
      <p:sp>
        <p:nvSpPr>
          <p:cNvPr id="10" name="Rounded Rectangle 9"/>
          <p:cNvSpPr/>
          <p:nvPr/>
        </p:nvSpPr>
        <p:spPr>
          <a:xfrm flipV="1">
            <a:off x="5960132" y="4189102"/>
            <a:ext cx="5054236" cy="222731"/>
          </a:xfrm>
          <a:prstGeom prst="roundRect">
            <a:avLst>
              <a:gd name="adj" fmla="val 50000"/>
            </a:avLst>
          </a:prstGeom>
          <a:solidFill>
            <a:srgbClr val="DBDBDB"/>
          </a:solidFill>
          <a:ln>
            <a:noFill/>
          </a:ln>
          <a:effectLst/>
        </p:spPr>
        <p:style>
          <a:lnRef idx="1">
            <a:schemeClr val="accent1"/>
          </a:lnRef>
          <a:fillRef idx="3">
            <a:schemeClr val="accent1"/>
          </a:fillRef>
          <a:effectRef idx="2">
            <a:schemeClr val="accent1"/>
          </a:effectRef>
          <a:fontRef idx="minor">
            <a:schemeClr val="lt1"/>
          </a:fontRef>
        </p:style>
        <p:txBody>
          <a:bodyPr lIns="243852" tIns="121926" rIns="243852" bIns="121926" rtlCol="0" anchor="ctr"/>
          <a:lstStyle/>
          <a:p>
            <a:pPr algn="ctr"/>
            <a:endParaRPr lang="en-US">
              <a:latin typeface="+mj-lt"/>
            </a:endParaRPr>
          </a:p>
        </p:txBody>
      </p:sp>
      <p:sp>
        <p:nvSpPr>
          <p:cNvPr id="11" name="Rounded Rectangle 10"/>
          <p:cNvSpPr/>
          <p:nvPr/>
        </p:nvSpPr>
        <p:spPr>
          <a:xfrm flipV="1">
            <a:off x="5854323" y="4189102"/>
            <a:ext cx="4968941" cy="222731"/>
          </a:xfrm>
          <a:prstGeom prst="roundRect">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243852" tIns="121926" rIns="243852" bIns="121926" rtlCol="0" anchor="ctr"/>
          <a:lstStyle/>
          <a:p>
            <a:pPr algn="ctr"/>
            <a:endParaRPr lang="en-US">
              <a:latin typeface="+mj-lt"/>
            </a:endParaRPr>
          </a:p>
        </p:txBody>
      </p:sp>
      <p:sp>
        <p:nvSpPr>
          <p:cNvPr id="12" name="TextBox 11"/>
          <p:cNvSpPr txBox="1"/>
          <p:nvPr/>
        </p:nvSpPr>
        <p:spPr>
          <a:xfrm>
            <a:off x="5734155" y="3641085"/>
            <a:ext cx="2625684" cy="738664"/>
          </a:xfrm>
          <a:prstGeom prst="rect">
            <a:avLst/>
          </a:prstGeom>
          <a:noFill/>
        </p:spPr>
        <p:txBody>
          <a:bodyPr wrap="square" lIns="243852" tIns="121926" rIns="243852" bIns="121926" rtlCol="0">
            <a:noAutofit/>
          </a:bodyPr>
          <a:lstStyle/>
          <a:p>
            <a:r>
              <a:rPr lang="en-US" dirty="0" smtClean="0">
                <a:solidFill>
                  <a:srgbClr val="58595B"/>
                </a:solidFill>
                <a:latin typeface="+mj-lt"/>
                <a:cs typeface="Source Sans Pro ExtraLight"/>
              </a:rPr>
              <a:t>Optimism</a:t>
            </a:r>
            <a:endParaRPr lang="en-US" dirty="0">
              <a:solidFill>
                <a:srgbClr val="58595B"/>
              </a:solidFill>
              <a:latin typeface="+mj-lt"/>
              <a:cs typeface="Source Sans Pro ExtraLight"/>
            </a:endParaRPr>
          </a:p>
        </p:txBody>
      </p:sp>
      <p:sp>
        <p:nvSpPr>
          <p:cNvPr id="13" name="Rounded Rectangle 12"/>
          <p:cNvSpPr/>
          <p:nvPr/>
        </p:nvSpPr>
        <p:spPr>
          <a:xfrm flipV="1">
            <a:off x="5960134" y="5173103"/>
            <a:ext cx="5054236" cy="222731"/>
          </a:xfrm>
          <a:prstGeom prst="roundRect">
            <a:avLst>
              <a:gd name="adj" fmla="val 50000"/>
            </a:avLst>
          </a:prstGeom>
          <a:solidFill>
            <a:srgbClr val="DBDBDB"/>
          </a:solidFill>
          <a:ln>
            <a:noFill/>
          </a:ln>
          <a:effectLst/>
        </p:spPr>
        <p:style>
          <a:lnRef idx="1">
            <a:schemeClr val="accent1"/>
          </a:lnRef>
          <a:fillRef idx="3">
            <a:schemeClr val="accent1"/>
          </a:fillRef>
          <a:effectRef idx="2">
            <a:schemeClr val="accent1"/>
          </a:effectRef>
          <a:fontRef idx="minor">
            <a:schemeClr val="lt1"/>
          </a:fontRef>
        </p:style>
        <p:txBody>
          <a:bodyPr lIns="243852" tIns="121926" rIns="243852" bIns="121926" rtlCol="0" anchor="ctr"/>
          <a:lstStyle/>
          <a:p>
            <a:pPr algn="ctr"/>
            <a:endParaRPr lang="en-US">
              <a:latin typeface="+mj-lt"/>
            </a:endParaRPr>
          </a:p>
        </p:txBody>
      </p:sp>
      <p:sp>
        <p:nvSpPr>
          <p:cNvPr id="14" name="Rounded Rectangle 13"/>
          <p:cNvSpPr/>
          <p:nvPr/>
        </p:nvSpPr>
        <p:spPr>
          <a:xfrm flipV="1">
            <a:off x="5854323" y="5173103"/>
            <a:ext cx="4968944" cy="222731"/>
          </a:xfrm>
          <a:prstGeom prst="roundRect">
            <a:avLst>
              <a:gd name="adj" fmla="val 5000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243852" tIns="121926" rIns="243852" bIns="121926" rtlCol="0" anchor="ctr"/>
          <a:lstStyle/>
          <a:p>
            <a:pPr algn="ctr"/>
            <a:endParaRPr lang="en-US">
              <a:latin typeface="+mj-lt"/>
            </a:endParaRPr>
          </a:p>
        </p:txBody>
      </p:sp>
      <p:sp>
        <p:nvSpPr>
          <p:cNvPr id="15" name="TextBox 14"/>
          <p:cNvSpPr txBox="1"/>
          <p:nvPr/>
        </p:nvSpPr>
        <p:spPr>
          <a:xfrm>
            <a:off x="5734155" y="4629242"/>
            <a:ext cx="2625684" cy="738664"/>
          </a:xfrm>
          <a:prstGeom prst="rect">
            <a:avLst/>
          </a:prstGeom>
          <a:noFill/>
        </p:spPr>
        <p:txBody>
          <a:bodyPr wrap="square" lIns="243852" tIns="121926" rIns="243852" bIns="121926" rtlCol="0">
            <a:noAutofit/>
          </a:bodyPr>
          <a:lstStyle/>
          <a:p>
            <a:r>
              <a:rPr lang="en-US" dirty="0">
                <a:solidFill>
                  <a:srgbClr val="58595B"/>
                </a:solidFill>
                <a:latin typeface="+mj-lt"/>
                <a:cs typeface="Source Sans Pro ExtraLight"/>
              </a:rPr>
              <a:t>Passion</a:t>
            </a:r>
          </a:p>
        </p:txBody>
      </p:sp>
      <p:sp>
        <p:nvSpPr>
          <p:cNvPr id="16" name="Title 20"/>
          <p:cNvSpPr txBox="1">
            <a:spLocks/>
          </p:cNvSpPr>
          <p:nvPr/>
        </p:nvSpPr>
        <p:spPr>
          <a:xfrm>
            <a:off x="812696" y="1559047"/>
            <a:ext cx="4290224" cy="4401217"/>
          </a:xfrm>
          <a:prstGeom prst="rect">
            <a:avLst/>
          </a:prstGeom>
        </p:spPr>
        <p:txBody>
          <a:bodyPr vert="horz" wrap="square" lIns="243852" tIns="121926" rIns="243852" bIns="121926" numCol="1" spcCol="975409"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50000"/>
              </a:lnSpc>
            </a:pPr>
            <a:r>
              <a:rPr lang="fr-FR" sz="1200" dirty="0" err="1" smtClean="0">
                <a:solidFill>
                  <a:srgbClr val="58595B"/>
                </a:solidFill>
                <a:latin typeface="Roboto Regular" pitchFamily="2" charset="0"/>
                <a:ea typeface="Roboto Regular" pitchFamily="2" charset="0"/>
              </a:rPr>
              <a:t>Lorem</a:t>
            </a:r>
            <a:r>
              <a:rPr lang="fr-FR" sz="1200" dirty="0" smtClean="0">
                <a:solidFill>
                  <a:srgbClr val="58595B"/>
                </a:solidFill>
                <a:latin typeface="Roboto Regular" pitchFamily="2" charset="0"/>
                <a:ea typeface="Roboto Regular" pitchFamily="2" charset="0"/>
              </a:rPr>
              <a:t> </a:t>
            </a:r>
            <a:r>
              <a:rPr lang="fr-FR" sz="1200" dirty="0">
                <a:solidFill>
                  <a:srgbClr val="58595B"/>
                </a:solidFill>
                <a:latin typeface="Roboto Regular" pitchFamily="2" charset="0"/>
                <a:ea typeface="Roboto Regular" pitchFamily="2" charset="0"/>
              </a:rPr>
              <a:t>ipsum dolor sit amet, consectetur adipiscing elit. Aliquam tincidunt ante nec sem congue convallis. Pellentesque vel mauris quis nisl ornare rutrum in id </a:t>
            </a:r>
            <a:r>
              <a:rPr lang="fr-FR" sz="1200" dirty="0" err="1" smtClean="0">
                <a:solidFill>
                  <a:srgbClr val="58595B"/>
                </a:solidFill>
                <a:latin typeface="Roboto Regular" pitchFamily="2" charset="0"/>
                <a:ea typeface="Roboto Regular" pitchFamily="2" charset="0"/>
              </a:rPr>
              <a:t>risus</a:t>
            </a:r>
            <a:r>
              <a:rPr lang="fr-FR" sz="1200" dirty="0" smtClean="0">
                <a:solidFill>
                  <a:srgbClr val="58595B"/>
                </a:solidFill>
                <a:latin typeface="Roboto Regular" pitchFamily="2" charset="0"/>
                <a:ea typeface="Roboto Regular" pitchFamily="2" charset="0"/>
              </a:rPr>
              <a:t>.</a:t>
            </a:r>
          </a:p>
          <a:p>
            <a:pPr algn="l">
              <a:lnSpc>
                <a:spcPct val="150000"/>
              </a:lnSpc>
            </a:pPr>
            <a:endParaRPr lang="fr-FR" sz="1200" dirty="0" smtClean="0">
              <a:solidFill>
                <a:srgbClr val="58595B"/>
              </a:solidFill>
              <a:latin typeface="Roboto Regular" pitchFamily="2" charset="0"/>
              <a:ea typeface="Roboto Regular" pitchFamily="2" charset="0"/>
            </a:endParaRPr>
          </a:p>
          <a:p>
            <a:pPr algn="l">
              <a:lnSpc>
                <a:spcPct val="150000"/>
              </a:lnSpc>
            </a:pPr>
            <a:r>
              <a:rPr lang="fr-FR" sz="1200" dirty="0" err="1">
                <a:solidFill>
                  <a:srgbClr val="58595B"/>
                </a:solidFill>
                <a:latin typeface="Roboto Regular" pitchFamily="2" charset="0"/>
                <a:ea typeface="Roboto Regular" pitchFamily="2" charset="0"/>
              </a:rPr>
              <a:t>Lorem</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ipsum</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dolor</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sit</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amet</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consectetur</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adipiscing</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elit</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Aliquam</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tincidunt</a:t>
            </a:r>
            <a:r>
              <a:rPr lang="fr-FR" sz="1200" dirty="0">
                <a:solidFill>
                  <a:srgbClr val="58595B"/>
                </a:solidFill>
                <a:latin typeface="Roboto Regular" pitchFamily="2" charset="0"/>
                <a:ea typeface="Roboto Regular" pitchFamily="2" charset="0"/>
              </a:rPr>
              <a:t> ante nec </a:t>
            </a:r>
            <a:r>
              <a:rPr lang="fr-FR" sz="1200" dirty="0" err="1">
                <a:solidFill>
                  <a:srgbClr val="58595B"/>
                </a:solidFill>
                <a:latin typeface="Roboto Regular" pitchFamily="2" charset="0"/>
                <a:ea typeface="Roboto Regular" pitchFamily="2" charset="0"/>
              </a:rPr>
              <a:t>sem</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congue</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convallis</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Pellentesque</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vel</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mauris</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quis</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nisl</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ornare</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rutrum</a:t>
            </a:r>
            <a:r>
              <a:rPr lang="fr-FR" sz="1200" dirty="0">
                <a:solidFill>
                  <a:srgbClr val="58595B"/>
                </a:solidFill>
                <a:latin typeface="Roboto Regular" pitchFamily="2" charset="0"/>
                <a:ea typeface="Roboto Regular" pitchFamily="2" charset="0"/>
              </a:rPr>
              <a:t> in id </a:t>
            </a:r>
            <a:r>
              <a:rPr lang="fr-FR" sz="1200" dirty="0" err="1">
                <a:solidFill>
                  <a:srgbClr val="58595B"/>
                </a:solidFill>
                <a:latin typeface="Roboto Regular" pitchFamily="2" charset="0"/>
                <a:ea typeface="Roboto Regular" pitchFamily="2" charset="0"/>
              </a:rPr>
              <a:t>risus</a:t>
            </a:r>
            <a:r>
              <a:rPr lang="fr-FR" sz="1200" dirty="0">
                <a:solidFill>
                  <a:srgbClr val="58595B"/>
                </a:solidFill>
                <a:latin typeface="Roboto Regular" pitchFamily="2" charset="0"/>
                <a:ea typeface="Roboto Regular" pitchFamily="2" charset="0"/>
              </a:rPr>
              <a:t>.</a:t>
            </a:r>
            <a:endParaRPr lang="en-US" sz="1200" dirty="0">
              <a:solidFill>
                <a:srgbClr val="58595B"/>
              </a:solidFill>
              <a:latin typeface="Roboto Regular" pitchFamily="2" charset="0"/>
              <a:ea typeface="Roboto Regular" pitchFamily="2" charset="0"/>
            </a:endParaRPr>
          </a:p>
          <a:p>
            <a:pPr algn="l">
              <a:lnSpc>
                <a:spcPct val="150000"/>
              </a:lnSpc>
            </a:pPr>
            <a:endParaRPr lang="en-US" sz="1200" dirty="0" smtClean="0">
              <a:solidFill>
                <a:srgbClr val="58595B"/>
              </a:solidFill>
              <a:latin typeface="Roboto Regular" pitchFamily="2" charset="0"/>
              <a:ea typeface="Roboto Regular" pitchFamily="2" charset="0"/>
            </a:endParaRPr>
          </a:p>
          <a:p>
            <a:pPr algn="l">
              <a:lnSpc>
                <a:spcPct val="150000"/>
              </a:lnSpc>
            </a:pPr>
            <a:r>
              <a:rPr lang="fr-FR" sz="1200" dirty="0" err="1">
                <a:solidFill>
                  <a:srgbClr val="58595B"/>
                </a:solidFill>
                <a:latin typeface="Roboto Regular" pitchFamily="2" charset="0"/>
                <a:ea typeface="Roboto Regular" pitchFamily="2" charset="0"/>
              </a:rPr>
              <a:t>Lorem</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ipsum</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dolor</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sit</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amet</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consectetur</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adipiscing</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elit</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Aliquam</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tincidunt</a:t>
            </a:r>
            <a:r>
              <a:rPr lang="fr-FR" sz="1200" dirty="0">
                <a:solidFill>
                  <a:srgbClr val="58595B"/>
                </a:solidFill>
                <a:latin typeface="Roboto Regular" pitchFamily="2" charset="0"/>
                <a:ea typeface="Roboto Regular" pitchFamily="2" charset="0"/>
              </a:rPr>
              <a:t> ante nec </a:t>
            </a:r>
            <a:r>
              <a:rPr lang="fr-FR" sz="1200" dirty="0" err="1">
                <a:solidFill>
                  <a:srgbClr val="58595B"/>
                </a:solidFill>
                <a:latin typeface="Roboto Regular" pitchFamily="2" charset="0"/>
                <a:ea typeface="Roboto Regular" pitchFamily="2" charset="0"/>
              </a:rPr>
              <a:t>sem</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congue</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convallis</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Pellentesque</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vel</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mauris</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quis</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nisl</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ornare</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rutrum</a:t>
            </a:r>
            <a:r>
              <a:rPr lang="fr-FR" sz="1200" dirty="0">
                <a:solidFill>
                  <a:srgbClr val="58595B"/>
                </a:solidFill>
                <a:latin typeface="Roboto Regular" pitchFamily="2" charset="0"/>
                <a:ea typeface="Roboto Regular" pitchFamily="2" charset="0"/>
              </a:rPr>
              <a:t> in id </a:t>
            </a:r>
            <a:r>
              <a:rPr lang="fr-FR" sz="1200" dirty="0" err="1" smtClean="0">
                <a:solidFill>
                  <a:srgbClr val="58595B"/>
                </a:solidFill>
                <a:latin typeface="Roboto Regular" pitchFamily="2" charset="0"/>
                <a:ea typeface="Roboto Regular" pitchFamily="2" charset="0"/>
              </a:rPr>
              <a:t>risus</a:t>
            </a:r>
            <a:r>
              <a:rPr lang="fr-FR" sz="1200" dirty="0" smtClean="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nisl</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ornare</a:t>
            </a:r>
            <a:r>
              <a:rPr lang="fr-FR" sz="1200" dirty="0">
                <a:solidFill>
                  <a:srgbClr val="58595B"/>
                </a:solidFill>
                <a:latin typeface="Roboto Regular" pitchFamily="2" charset="0"/>
                <a:ea typeface="Roboto Regular" pitchFamily="2" charset="0"/>
              </a:rPr>
              <a:t> </a:t>
            </a:r>
            <a:r>
              <a:rPr lang="fr-FR" sz="1200" dirty="0" err="1">
                <a:solidFill>
                  <a:srgbClr val="58595B"/>
                </a:solidFill>
                <a:latin typeface="Roboto Regular" pitchFamily="2" charset="0"/>
                <a:ea typeface="Roboto Regular" pitchFamily="2" charset="0"/>
              </a:rPr>
              <a:t>rutrum</a:t>
            </a:r>
            <a:r>
              <a:rPr lang="fr-FR" sz="1200" dirty="0">
                <a:solidFill>
                  <a:srgbClr val="58595B"/>
                </a:solidFill>
                <a:latin typeface="Roboto Regular" pitchFamily="2" charset="0"/>
                <a:ea typeface="Roboto Regular" pitchFamily="2" charset="0"/>
              </a:rPr>
              <a:t> </a:t>
            </a:r>
            <a:r>
              <a:rPr lang="fr-FR" sz="1200" dirty="0" smtClean="0">
                <a:solidFill>
                  <a:srgbClr val="58595B"/>
                </a:solidFill>
                <a:latin typeface="Roboto Regular" pitchFamily="2" charset="0"/>
                <a:ea typeface="Roboto Regular" pitchFamily="2" charset="0"/>
              </a:rPr>
              <a:t>in.</a:t>
            </a:r>
            <a:endParaRPr lang="en-US" sz="1200" dirty="0">
              <a:solidFill>
                <a:srgbClr val="58595B"/>
              </a:solidFill>
              <a:latin typeface="Roboto Regular" pitchFamily="2" charset="0"/>
              <a:ea typeface="Roboto Regular" pitchFamily="2" charset="0"/>
            </a:endParaRPr>
          </a:p>
          <a:p>
            <a:pPr algn="l">
              <a:lnSpc>
                <a:spcPct val="150000"/>
              </a:lnSpc>
            </a:pPr>
            <a:endParaRPr lang="en-US" sz="1200" dirty="0">
              <a:solidFill>
                <a:srgbClr val="58595B"/>
              </a:solidFill>
              <a:latin typeface="Roboto Regular" pitchFamily="2" charset="0"/>
              <a:ea typeface="Roboto Regular" pitchFamily="2" charset="0"/>
            </a:endParaRPr>
          </a:p>
        </p:txBody>
      </p:sp>
      <p:sp>
        <p:nvSpPr>
          <p:cNvPr id="17" name="TextBox 16"/>
          <p:cNvSpPr txBox="1"/>
          <p:nvPr/>
        </p:nvSpPr>
        <p:spPr>
          <a:xfrm>
            <a:off x="11321287" y="2084039"/>
            <a:ext cx="1520001" cy="738664"/>
          </a:xfrm>
          <a:prstGeom prst="rect">
            <a:avLst/>
          </a:prstGeom>
          <a:noFill/>
        </p:spPr>
        <p:txBody>
          <a:bodyPr wrap="square" lIns="243852" tIns="121926" rIns="243852" bIns="121926" rtlCol="0">
            <a:noAutofit/>
          </a:bodyPr>
          <a:lstStyle/>
          <a:p>
            <a:r>
              <a:rPr lang="en-US" sz="1400" dirty="0">
                <a:solidFill>
                  <a:srgbClr val="58595B"/>
                </a:solidFill>
                <a:latin typeface="+mj-lt"/>
                <a:cs typeface="Source Sans Pro ExtraLight"/>
              </a:rPr>
              <a:t>80%</a:t>
            </a:r>
          </a:p>
        </p:txBody>
      </p:sp>
      <p:sp>
        <p:nvSpPr>
          <p:cNvPr id="18" name="TextBox 17"/>
          <p:cNvSpPr txBox="1"/>
          <p:nvPr/>
        </p:nvSpPr>
        <p:spPr>
          <a:xfrm>
            <a:off x="11321286" y="3086307"/>
            <a:ext cx="1520001" cy="738664"/>
          </a:xfrm>
          <a:prstGeom prst="rect">
            <a:avLst/>
          </a:prstGeom>
          <a:noFill/>
        </p:spPr>
        <p:txBody>
          <a:bodyPr wrap="square" lIns="243852" tIns="121926" rIns="243852" bIns="121926" rtlCol="0">
            <a:noAutofit/>
          </a:bodyPr>
          <a:lstStyle/>
          <a:p>
            <a:r>
              <a:rPr lang="en-US" sz="1400" dirty="0">
                <a:solidFill>
                  <a:srgbClr val="58595B"/>
                </a:solidFill>
                <a:latin typeface="+mj-lt"/>
                <a:cs typeface="Source Sans Pro ExtraLight"/>
              </a:rPr>
              <a:t>90%</a:t>
            </a:r>
          </a:p>
        </p:txBody>
      </p:sp>
      <p:sp>
        <p:nvSpPr>
          <p:cNvPr id="19" name="TextBox 18"/>
          <p:cNvSpPr txBox="1"/>
          <p:nvPr/>
        </p:nvSpPr>
        <p:spPr>
          <a:xfrm>
            <a:off x="11321286" y="4067011"/>
            <a:ext cx="1520001" cy="738664"/>
          </a:xfrm>
          <a:prstGeom prst="rect">
            <a:avLst/>
          </a:prstGeom>
          <a:noFill/>
        </p:spPr>
        <p:txBody>
          <a:bodyPr wrap="square" lIns="243852" tIns="121926" rIns="243852" bIns="121926" rtlCol="0">
            <a:noAutofit/>
          </a:bodyPr>
          <a:lstStyle/>
          <a:p>
            <a:r>
              <a:rPr lang="en-US" sz="1400" dirty="0" smtClean="0">
                <a:solidFill>
                  <a:srgbClr val="58595B"/>
                </a:solidFill>
                <a:latin typeface="+mj-lt"/>
                <a:cs typeface="Source Sans Pro ExtraLight"/>
              </a:rPr>
              <a:t>95%</a:t>
            </a:r>
            <a:endParaRPr lang="en-US" sz="1400" dirty="0">
              <a:solidFill>
                <a:srgbClr val="58595B"/>
              </a:solidFill>
              <a:latin typeface="+mj-lt"/>
              <a:cs typeface="Source Sans Pro ExtraLight"/>
            </a:endParaRPr>
          </a:p>
        </p:txBody>
      </p:sp>
      <p:sp>
        <p:nvSpPr>
          <p:cNvPr id="20" name="TextBox 19"/>
          <p:cNvSpPr txBox="1"/>
          <p:nvPr/>
        </p:nvSpPr>
        <p:spPr>
          <a:xfrm>
            <a:off x="11321286" y="5047715"/>
            <a:ext cx="1520001" cy="738664"/>
          </a:xfrm>
          <a:prstGeom prst="rect">
            <a:avLst/>
          </a:prstGeom>
          <a:noFill/>
        </p:spPr>
        <p:txBody>
          <a:bodyPr wrap="square" lIns="243852" tIns="121926" rIns="243852" bIns="121926" rtlCol="0">
            <a:noAutofit/>
          </a:bodyPr>
          <a:lstStyle/>
          <a:p>
            <a:r>
              <a:rPr lang="en-US" sz="1400" dirty="0">
                <a:solidFill>
                  <a:srgbClr val="58595B"/>
                </a:solidFill>
                <a:latin typeface="+mj-lt"/>
                <a:cs typeface="Source Sans Pro ExtraLight"/>
              </a:rPr>
              <a:t>95%</a:t>
            </a:r>
          </a:p>
        </p:txBody>
      </p:sp>
    </p:spTree>
    <p:extLst>
      <p:ext uri="{BB962C8B-B14F-4D97-AF65-F5344CB8AC3E}">
        <p14:creationId xmlns:p14="http://schemas.microsoft.com/office/powerpoint/2010/main" val="6352700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s page</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34_84 35_84 36_84</a:t>
            </a:r>
            <a:endParaRPr lang="en-US" sz="100" dirty="0" err="1" smtClean="0">
              <a:solidFill>
                <a:srgbClr val="FFFFFF"/>
              </a:solidFill>
            </a:endParaRPr>
          </a:p>
        </p:txBody>
      </p:sp>
      <p:sp>
        <p:nvSpPr>
          <p:cNvPr id="5" name="TextBox 4"/>
          <p:cNvSpPr txBox="1"/>
          <p:nvPr/>
        </p:nvSpPr>
        <p:spPr>
          <a:xfrm>
            <a:off x="680060" y="2437684"/>
            <a:ext cx="3311399" cy="307776"/>
          </a:xfrm>
          <a:prstGeom prst="rect">
            <a:avLst/>
          </a:prstGeom>
          <a:noFill/>
        </p:spPr>
        <p:txBody>
          <a:bodyPr wrap="square" rtlCol="0">
            <a:spAutoFit/>
          </a:bodyPr>
          <a:lstStyle/>
          <a:p>
            <a:pPr algn="ctr"/>
            <a:r>
              <a:rPr lang="en-US" sz="1400" dirty="0" smtClean="0">
                <a:solidFill>
                  <a:srgbClr val="58595B"/>
                </a:solidFill>
                <a:cs typeface="Source Sans Pro ExtraLight"/>
              </a:rPr>
              <a:t>Research</a:t>
            </a:r>
            <a:endParaRPr lang="en-US" sz="1400" dirty="0">
              <a:solidFill>
                <a:srgbClr val="58595B"/>
              </a:solidFill>
              <a:cs typeface="Source Sans Pro ExtraLight"/>
            </a:endParaRPr>
          </a:p>
        </p:txBody>
      </p:sp>
      <p:sp>
        <p:nvSpPr>
          <p:cNvPr id="6" name="TextBox 5"/>
          <p:cNvSpPr txBox="1"/>
          <p:nvPr/>
        </p:nvSpPr>
        <p:spPr>
          <a:xfrm>
            <a:off x="680060" y="2824063"/>
            <a:ext cx="3311399" cy="1383450"/>
          </a:xfrm>
          <a:prstGeom prst="rect">
            <a:avLst/>
          </a:prstGeom>
          <a:noFill/>
        </p:spPr>
        <p:txBody>
          <a:bodyPr wrap="square" rtlCol="0">
            <a:noAutofit/>
          </a:bodyPr>
          <a:lstStyle/>
          <a:p>
            <a:pPr algn="ctr">
              <a:lnSpc>
                <a:spcPct val="120000"/>
              </a:lnSpc>
            </a:pPr>
            <a:r>
              <a:rPr lang="en-US" sz="1100" dirty="0">
                <a:solidFill>
                  <a:srgbClr val="58595B"/>
                </a:solidFill>
                <a:latin typeface="Roboto Regular" pitchFamily="2" charset="0"/>
                <a:ea typeface="Roboto Regular" pitchFamily="2" charset="0"/>
                <a:cs typeface="Source Sans Pro ExtraLight"/>
              </a:rPr>
              <a:t>Lorem ipsum dolor sit amet, consectetur adipiscing elit. Praesent </a:t>
            </a:r>
            <a:r>
              <a:rPr lang="en-US" sz="1100" dirty="0" err="1">
                <a:solidFill>
                  <a:srgbClr val="58595B"/>
                </a:solidFill>
                <a:latin typeface="Roboto Regular" pitchFamily="2" charset="0"/>
                <a:ea typeface="Roboto Regular" pitchFamily="2" charset="0"/>
                <a:cs typeface="Source Sans Pro ExtraLight"/>
              </a:rPr>
              <a:t>molestie</a:t>
            </a:r>
            <a:r>
              <a:rPr lang="en-US" sz="1100" dirty="0">
                <a:solidFill>
                  <a:srgbClr val="58595B"/>
                </a:solidFill>
                <a:latin typeface="Roboto Regular" pitchFamily="2" charset="0"/>
                <a:ea typeface="Roboto Regular" pitchFamily="2" charset="0"/>
                <a:cs typeface="Source Sans Pro ExtraLight"/>
              </a:rPr>
              <a:t> </a:t>
            </a:r>
            <a:r>
              <a:rPr lang="en-US" sz="1100" dirty="0" err="1">
                <a:solidFill>
                  <a:srgbClr val="58595B"/>
                </a:solidFill>
                <a:latin typeface="Roboto Regular" pitchFamily="2" charset="0"/>
                <a:ea typeface="Roboto Regular" pitchFamily="2" charset="0"/>
                <a:cs typeface="Source Sans Pro ExtraLight"/>
              </a:rPr>
              <a:t>efficitur</a:t>
            </a:r>
            <a:r>
              <a:rPr lang="en-US" sz="1100" dirty="0">
                <a:solidFill>
                  <a:srgbClr val="58595B"/>
                </a:solidFill>
                <a:latin typeface="Roboto Regular" pitchFamily="2" charset="0"/>
                <a:ea typeface="Roboto Regular" pitchFamily="2" charset="0"/>
                <a:cs typeface="Source Sans Pro ExtraLight"/>
              </a:rPr>
              <a:t> </a:t>
            </a:r>
            <a:r>
              <a:rPr lang="en-US" sz="1100" dirty="0" err="1">
                <a:solidFill>
                  <a:srgbClr val="58595B"/>
                </a:solidFill>
                <a:latin typeface="Roboto Regular" pitchFamily="2" charset="0"/>
                <a:ea typeface="Roboto Regular" pitchFamily="2" charset="0"/>
                <a:cs typeface="Source Sans Pro ExtraLight"/>
              </a:rPr>
              <a:t>est</a:t>
            </a:r>
            <a:r>
              <a:rPr lang="en-US" sz="1100" dirty="0" smtClean="0">
                <a:solidFill>
                  <a:srgbClr val="58595B"/>
                </a:solidFill>
                <a:latin typeface="Roboto Regular" pitchFamily="2" charset="0"/>
                <a:ea typeface="Roboto Regular" pitchFamily="2" charset="0"/>
                <a:cs typeface="Source Sans Pro ExtraLight"/>
              </a:rPr>
              <a:t>,</a:t>
            </a:r>
            <a:endParaRPr lang="en-US" sz="1100" dirty="0">
              <a:solidFill>
                <a:srgbClr val="58595B"/>
              </a:solidFill>
              <a:latin typeface="Roboto Regular" pitchFamily="2" charset="0"/>
              <a:ea typeface="Roboto Regular" pitchFamily="2" charset="0"/>
              <a:cs typeface="Source Sans Pro ExtraLight"/>
            </a:endParaRPr>
          </a:p>
        </p:txBody>
      </p:sp>
      <p:sp>
        <p:nvSpPr>
          <p:cNvPr id="8" name="TextBox 7"/>
          <p:cNvSpPr txBox="1"/>
          <p:nvPr/>
        </p:nvSpPr>
        <p:spPr>
          <a:xfrm>
            <a:off x="4682849" y="2409465"/>
            <a:ext cx="3311399" cy="307777"/>
          </a:xfrm>
          <a:prstGeom prst="rect">
            <a:avLst/>
          </a:prstGeom>
          <a:noFill/>
        </p:spPr>
        <p:txBody>
          <a:bodyPr wrap="square" rtlCol="0">
            <a:spAutoFit/>
          </a:bodyPr>
          <a:lstStyle/>
          <a:p>
            <a:pPr algn="ctr"/>
            <a:r>
              <a:rPr lang="en-US" sz="1400" dirty="0" smtClean="0">
                <a:solidFill>
                  <a:srgbClr val="58595B"/>
                </a:solidFill>
                <a:cs typeface="Source Sans Pro ExtraLight"/>
              </a:rPr>
              <a:t>Photography</a:t>
            </a:r>
            <a:endParaRPr lang="en-US" sz="1400" dirty="0">
              <a:solidFill>
                <a:srgbClr val="58595B"/>
              </a:solidFill>
              <a:cs typeface="Source Sans Pro ExtraLight"/>
            </a:endParaRPr>
          </a:p>
        </p:txBody>
      </p:sp>
      <p:sp>
        <p:nvSpPr>
          <p:cNvPr id="9" name="TextBox 8"/>
          <p:cNvSpPr txBox="1"/>
          <p:nvPr/>
        </p:nvSpPr>
        <p:spPr>
          <a:xfrm>
            <a:off x="4682849" y="2824060"/>
            <a:ext cx="3311399" cy="1411672"/>
          </a:xfrm>
          <a:prstGeom prst="rect">
            <a:avLst/>
          </a:prstGeom>
          <a:noFill/>
        </p:spPr>
        <p:txBody>
          <a:bodyPr wrap="square" rtlCol="0">
            <a:noAutofit/>
          </a:bodyPr>
          <a:lstStyle/>
          <a:p>
            <a:pPr algn="ctr">
              <a:lnSpc>
                <a:spcPct val="120000"/>
              </a:lnSpc>
            </a:pPr>
            <a:r>
              <a:rPr lang="en-US" sz="1100" dirty="0">
                <a:solidFill>
                  <a:srgbClr val="58595B"/>
                </a:solidFill>
                <a:latin typeface="Roboto Regular" pitchFamily="2" charset="0"/>
                <a:ea typeface="Roboto Regular" pitchFamily="2" charset="0"/>
                <a:cs typeface="Source Sans Pro ExtraLight"/>
              </a:rPr>
              <a:t>Lorem ipsum dolor sit amet, consectetur adipiscing elit. Praesent </a:t>
            </a:r>
            <a:r>
              <a:rPr lang="en-US" sz="1100" dirty="0" err="1">
                <a:solidFill>
                  <a:srgbClr val="58595B"/>
                </a:solidFill>
                <a:latin typeface="Roboto Regular" pitchFamily="2" charset="0"/>
                <a:ea typeface="Roboto Regular" pitchFamily="2" charset="0"/>
                <a:cs typeface="Source Sans Pro ExtraLight"/>
              </a:rPr>
              <a:t>molestie</a:t>
            </a:r>
            <a:r>
              <a:rPr lang="en-US" sz="1100" dirty="0">
                <a:solidFill>
                  <a:srgbClr val="58595B"/>
                </a:solidFill>
                <a:latin typeface="Roboto Regular" pitchFamily="2" charset="0"/>
                <a:ea typeface="Roboto Regular" pitchFamily="2" charset="0"/>
                <a:cs typeface="Source Sans Pro ExtraLight"/>
              </a:rPr>
              <a:t> </a:t>
            </a:r>
            <a:r>
              <a:rPr lang="en-US" sz="1100" dirty="0" err="1">
                <a:solidFill>
                  <a:srgbClr val="58595B"/>
                </a:solidFill>
                <a:latin typeface="Roboto Regular" pitchFamily="2" charset="0"/>
                <a:ea typeface="Roboto Regular" pitchFamily="2" charset="0"/>
                <a:cs typeface="Source Sans Pro ExtraLight"/>
              </a:rPr>
              <a:t>efficitur</a:t>
            </a:r>
            <a:r>
              <a:rPr lang="en-US" sz="1100" dirty="0">
                <a:solidFill>
                  <a:srgbClr val="58595B"/>
                </a:solidFill>
                <a:latin typeface="Roboto Regular" pitchFamily="2" charset="0"/>
                <a:ea typeface="Roboto Regular" pitchFamily="2" charset="0"/>
                <a:cs typeface="Source Sans Pro ExtraLight"/>
              </a:rPr>
              <a:t> </a:t>
            </a:r>
            <a:r>
              <a:rPr lang="en-US" sz="1100" dirty="0" err="1">
                <a:solidFill>
                  <a:srgbClr val="58595B"/>
                </a:solidFill>
                <a:latin typeface="Roboto Regular" pitchFamily="2" charset="0"/>
                <a:ea typeface="Roboto Regular" pitchFamily="2" charset="0"/>
                <a:cs typeface="Source Sans Pro ExtraLight"/>
              </a:rPr>
              <a:t>est</a:t>
            </a:r>
            <a:r>
              <a:rPr lang="en-US" sz="1100" dirty="0">
                <a:solidFill>
                  <a:srgbClr val="58595B"/>
                </a:solidFill>
                <a:latin typeface="Roboto Regular" pitchFamily="2" charset="0"/>
                <a:ea typeface="Roboto Regular" pitchFamily="2" charset="0"/>
                <a:cs typeface="Source Sans Pro ExtraLight"/>
              </a:rPr>
              <a:t>, </a:t>
            </a:r>
          </a:p>
        </p:txBody>
      </p:sp>
      <p:sp>
        <p:nvSpPr>
          <p:cNvPr id="11" name="TextBox 10"/>
          <p:cNvSpPr txBox="1"/>
          <p:nvPr/>
        </p:nvSpPr>
        <p:spPr>
          <a:xfrm>
            <a:off x="8685637" y="2441669"/>
            <a:ext cx="3311399" cy="307776"/>
          </a:xfrm>
          <a:prstGeom prst="rect">
            <a:avLst/>
          </a:prstGeom>
          <a:noFill/>
        </p:spPr>
        <p:txBody>
          <a:bodyPr wrap="square" rtlCol="0">
            <a:spAutoFit/>
          </a:bodyPr>
          <a:lstStyle/>
          <a:p>
            <a:pPr algn="ctr"/>
            <a:r>
              <a:rPr lang="en-US" sz="1400" dirty="0" smtClean="0">
                <a:solidFill>
                  <a:srgbClr val="58595B"/>
                </a:solidFill>
                <a:cs typeface="Source Sans Pro ExtraLight"/>
              </a:rPr>
              <a:t>Marketing</a:t>
            </a:r>
            <a:endParaRPr lang="en-US" sz="1400" dirty="0">
              <a:solidFill>
                <a:srgbClr val="58595B"/>
              </a:solidFill>
              <a:cs typeface="Source Sans Pro ExtraLight"/>
            </a:endParaRPr>
          </a:p>
        </p:txBody>
      </p:sp>
      <p:sp>
        <p:nvSpPr>
          <p:cNvPr id="12" name="TextBox 11"/>
          <p:cNvSpPr txBox="1"/>
          <p:nvPr/>
        </p:nvSpPr>
        <p:spPr>
          <a:xfrm>
            <a:off x="8685637" y="2928557"/>
            <a:ext cx="3311399" cy="1379463"/>
          </a:xfrm>
          <a:prstGeom prst="rect">
            <a:avLst/>
          </a:prstGeom>
          <a:noFill/>
        </p:spPr>
        <p:txBody>
          <a:bodyPr wrap="square" rtlCol="0">
            <a:noAutofit/>
          </a:bodyPr>
          <a:lstStyle/>
          <a:p>
            <a:pPr algn="ctr">
              <a:lnSpc>
                <a:spcPct val="120000"/>
              </a:lnSpc>
            </a:pPr>
            <a:r>
              <a:rPr lang="en-US" sz="1100" dirty="0">
                <a:solidFill>
                  <a:srgbClr val="58595B"/>
                </a:solidFill>
                <a:latin typeface="Roboto Regular" pitchFamily="2" charset="0"/>
                <a:ea typeface="Roboto Regular" pitchFamily="2" charset="0"/>
                <a:cs typeface="Source Sans Pro ExtraLight"/>
              </a:rPr>
              <a:t>Lorem ipsum dolor sit amet, consectetur adipiscing elit. Praesent </a:t>
            </a:r>
            <a:r>
              <a:rPr lang="en-US" sz="1100" dirty="0" err="1">
                <a:solidFill>
                  <a:srgbClr val="58595B"/>
                </a:solidFill>
                <a:latin typeface="Roboto Regular" pitchFamily="2" charset="0"/>
                <a:ea typeface="Roboto Regular" pitchFamily="2" charset="0"/>
                <a:cs typeface="Source Sans Pro ExtraLight"/>
              </a:rPr>
              <a:t>molestie</a:t>
            </a:r>
            <a:r>
              <a:rPr lang="en-US" sz="1100" dirty="0">
                <a:solidFill>
                  <a:srgbClr val="58595B"/>
                </a:solidFill>
                <a:latin typeface="Roboto Regular" pitchFamily="2" charset="0"/>
                <a:ea typeface="Roboto Regular" pitchFamily="2" charset="0"/>
                <a:cs typeface="Source Sans Pro ExtraLight"/>
              </a:rPr>
              <a:t> </a:t>
            </a:r>
            <a:r>
              <a:rPr lang="en-US" sz="1100" dirty="0" err="1">
                <a:solidFill>
                  <a:srgbClr val="58595B"/>
                </a:solidFill>
                <a:latin typeface="Roboto Regular" pitchFamily="2" charset="0"/>
                <a:ea typeface="Roboto Regular" pitchFamily="2" charset="0"/>
                <a:cs typeface="Source Sans Pro ExtraLight"/>
              </a:rPr>
              <a:t>efficitur</a:t>
            </a:r>
            <a:r>
              <a:rPr lang="en-US" sz="1100" dirty="0">
                <a:solidFill>
                  <a:srgbClr val="58595B"/>
                </a:solidFill>
                <a:latin typeface="Roboto Regular" pitchFamily="2" charset="0"/>
                <a:ea typeface="Roboto Regular" pitchFamily="2" charset="0"/>
                <a:cs typeface="Source Sans Pro ExtraLight"/>
              </a:rPr>
              <a:t> </a:t>
            </a:r>
            <a:r>
              <a:rPr lang="en-US" sz="1100" dirty="0" err="1">
                <a:solidFill>
                  <a:srgbClr val="58595B"/>
                </a:solidFill>
                <a:latin typeface="Roboto Regular" pitchFamily="2" charset="0"/>
                <a:ea typeface="Roboto Regular" pitchFamily="2" charset="0"/>
                <a:cs typeface="Source Sans Pro ExtraLight"/>
              </a:rPr>
              <a:t>est</a:t>
            </a:r>
            <a:r>
              <a:rPr lang="en-US" sz="1100" dirty="0">
                <a:solidFill>
                  <a:srgbClr val="58595B"/>
                </a:solidFill>
                <a:latin typeface="Roboto Regular" pitchFamily="2" charset="0"/>
                <a:ea typeface="Roboto Regular" pitchFamily="2" charset="0"/>
                <a:cs typeface="Source Sans Pro ExtraLight"/>
              </a:rPr>
              <a:t>, </a:t>
            </a:r>
          </a:p>
        </p:txBody>
      </p:sp>
      <p:sp>
        <p:nvSpPr>
          <p:cNvPr id="17" name="TextBox 16"/>
          <p:cNvSpPr txBox="1"/>
          <p:nvPr/>
        </p:nvSpPr>
        <p:spPr>
          <a:xfrm>
            <a:off x="680060" y="4982149"/>
            <a:ext cx="3311399" cy="338555"/>
          </a:xfrm>
          <a:prstGeom prst="rect">
            <a:avLst/>
          </a:prstGeom>
          <a:noFill/>
        </p:spPr>
        <p:txBody>
          <a:bodyPr wrap="square" rtlCol="0">
            <a:spAutoFit/>
          </a:bodyPr>
          <a:lstStyle/>
          <a:p>
            <a:pPr algn="ctr"/>
            <a:r>
              <a:rPr lang="en-US" sz="1600" dirty="0" smtClean="0">
                <a:solidFill>
                  <a:srgbClr val="58595B"/>
                </a:solidFill>
                <a:cs typeface="Source Sans Pro ExtraLight"/>
              </a:rPr>
              <a:t>TV Production</a:t>
            </a:r>
            <a:endParaRPr lang="en-US" sz="1600" dirty="0">
              <a:solidFill>
                <a:srgbClr val="58595B"/>
              </a:solidFill>
              <a:cs typeface="Source Sans Pro ExtraLight"/>
            </a:endParaRPr>
          </a:p>
        </p:txBody>
      </p:sp>
      <p:sp>
        <p:nvSpPr>
          <p:cNvPr id="18" name="TextBox 17"/>
          <p:cNvSpPr txBox="1"/>
          <p:nvPr/>
        </p:nvSpPr>
        <p:spPr>
          <a:xfrm>
            <a:off x="680060" y="5413595"/>
            <a:ext cx="3311399" cy="1383449"/>
          </a:xfrm>
          <a:prstGeom prst="rect">
            <a:avLst/>
          </a:prstGeom>
          <a:noFill/>
        </p:spPr>
        <p:txBody>
          <a:bodyPr wrap="square" rtlCol="0">
            <a:noAutofit/>
          </a:bodyPr>
          <a:lstStyle/>
          <a:p>
            <a:pPr algn="ctr">
              <a:lnSpc>
                <a:spcPct val="120000"/>
              </a:lnSpc>
            </a:pPr>
            <a:r>
              <a:rPr lang="en-US" sz="1200" dirty="0">
                <a:solidFill>
                  <a:srgbClr val="58595B"/>
                </a:solidFill>
                <a:latin typeface="Roboto Regular" pitchFamily="2" charset="0"/>
                <a:ea typeface="Roboto Regular" pitchFamily="2" charset="0"/>
                <a:cs typeface="Source Sans Pro ExtraLight"/>
              </a:rPr>
              <a:t>Lorem ipsum dolor sit amet, consectetur adipiscing elit. Praesent </a:t>
            </a:r>
            <a:r>
              <a:rPr lang="en-US" sz="1200" dirty="0" err="1">
                <a:solidFill>
                  <a:srgbClr val="58595B"/>
                </a:solidFill>
                <a:latin typeface="Roboto Regular" pitchFamily="2" charset="0"/>
                <a:ea typeface="Roboto Regular" pitchFamily="2" charset="0"/>
                <a:cs typeface="Source Sans Pro ExtraLight"/>
              </a:rPr>
              <a:t>molestie</a:t>
            </a:r>
            <a:r>
              <a:rPr lang="en-US" sz="1200" dirty="0">
                <a:solidFill>
                  <a:srgbClr val="58595B"/>
                </a:solidFill>
                <a:latin typeface="Roboto Regular" pitchFamily="2" charset="0"/>
                <a:ea typeface="Roboto Regular" pitchFamily="2" charset="0"/>
                <a:cs typeface="Source Sans Pro ExtraLight"/>
              </a:rPr>
              <a:t> </a:t>
            </a:r>
            <a:r>
              <a:rPr lang="en-US" sz="1200" dirty="0" err="1">
                <a:solidFill>
                  <a:srgbClr val="58595B"/>
                </a:solidFill>
                <a:latin typeface="Roboto Regular" pitchFamily="2" charset="0"/>
                <a:ea typeface="Roboto Regular" pitchFamily="2" charset="0"/>
                <a:cs typeface="Source Sans Pro ExtraLight"/>
              </a:rPr>
              <a:t>efficitur</a:t>
            </a:r>
            <a:r>
              <a:rPr lang="en-US" sz="1200" dirty="0">
                <a:solidFill>
                  <a:srgbClr val="58595B"/>
                </a:solidFill>
                <a:latin typeface="Roboto Regular" pitchFamily="2" charset="0"/>
                <a:ea typeface="Roboto Regular" pitchFamily="2" charset="0"/>
                <a:cs typeface="Source Sans Pro ExtraLight"/>
              </a:rPr>
              <a:t> </a:t>
            </a:r>
            <a:r>
              <a:rPr lang="en-US" sz="1200" dirty="0" err="1">
                <a:solidFill>
                  <a:srgbClr val="58595B"/>
                </a:solidFill>
                <a:latin typeface="Roboto Regular" pitchFamily="2" charset="0"/>
                <a:ea typeface="Roboto Regular" pitchFamily="2" charset="0"/>
                <a:cs typeface="Source Sans Pro ExtraLight"/>
              </a:rPr>
              <a:t>est</a:t>
            </a:r>
            <a:r>
              <a:rPr lang="en-US" sz="1200" dirty="0" smtClean="0">
                <a:solidFill>
                  <a:srgbClr val="58595B"/>
                </a:solidFill>
                <a:latin typeface="Roboto Regular" pitchFamily="2" charset="0"/>
                <a:ea typeface="Roboto Regular" pitchFamily="2" charset="0"/>
                <a:cs typeface="Source Sans Pro ExtraLight"/>
              </a:rPr>
              <a:t>,</a:t>
            </a:r>
            <a:endParaRPr lang="en-US" sz="1200" dirty="0">
              <a:solidFill>
                <a:srgbClr val="58595B"/>
              </a:solidFill>
              <a:latin typeface="Roboto Regular" pitchFamily="2" charset="0"/>
              <a:ea typeface="Roboto Regular" pitchFamily="2" charset="0"/>
              <a:cs typeface="Source Sans Pro ExtraLight"/>
            </a:endParaRPr>
          </a:p>
        </p:txBody>
      </p:sp>
      <p:sp>
        <p:nvSpPr>
          <p:cNvPr id="20" name="TextBox 19"/>
          <p:cNvSpPr txBox="1"/>
          <p:nvPr/>
        </p:nvSpPr>
        <p:spPr>
          <a:xfrm>
            <a:off x="4682849" y="4953930"/>
            <a:ext cx="3311399" cy="338555"/>
          </a:xfrm>
          <a:prstGeom prst="rect">
            <a:avLst/>
          </a:prstGeom>
          <a:noFill/>
        </p:spPr>
        <p:txBody>
          <a:bodyPr wrap="square" rtlCol="0">
            <a:spAutoFit/>
          </a:bodyPr>
          <a:lstStyle/>
          <a:p>
            <a:pPr algn="ctr"/>
            <a:r>
              <a:rPr lang="en-US" sz="1600" dirty="0" smtClean="0">
                <a:solidFill>
                  <a:srgbClr val="58595B"/>
                </a:solidFill>
                <a:cs typeface="Source Sans Pro ExtraLight"/>
              </a:rPr>
              <a:t>Music Production</a:t>
            </a:r>
            <a:endParaRPr lang="en-US" sz="1600" dirty="0">
              <a:solidFill>
                <a:srgbClr val="58595B"/>
              </a:solidFill>
              <a:cs typeface="Source Sans Pro ExtraLight"/>
            </a:endParaRPr>
          </a:p>
        </p:txBody>
      </p:sp>
      <p:sp>
        <p:nvSpPr>
          <p:cNvPr id="21" name="TextBox 20"/>
          <p:cNvSpPr txBox="1"/>
          <p:nvPr/>
        </p:nvSpPr>
        <p:spPr>
          <a:xfrm>
            <a:off x="4682849" y="5413592"/>
            <a:ext cx="3311399" cy="1411671"/>
          </a:xfrm>
          <a:prstGeom prst="rect">
            <a:avLst/>
          </a:prstGeom>
          <a:noFill/>
        </p:spPr>
        <p:txBody>
          <a:bodyPr wrap="square" rtlCol="0">
            <a:noAutofit/>
          </a:bodyPr>
          <a:lstStyle/>
          <a:p>
            <a:pPr algn="ctr">
              <a:lnSpc>
                <a:spcPct val="120000"/>
              </a:lnSpc>
            </a:pPr>
            <a:r>
              <a:rPr lang="en-US" sz="1200" dirty="0">
                <a:solidFill>
                  <a:srgbClr val="58595B"/>
                </a:solidFill>
                <a:latin typeface="Roboto Regular" pitchFamily="2" charset="0"/>
                <a:ea typeface="Roboto Regular" pitchFamily="2" charset="0"/>
                <a:cs typeface="Source Sans Pro ExtraLight"/>
              </a:rPr>
              <a:t>Lorem ipsum dolor sit amet, consectetur adipiscing elit. Praesent </a:t>
            </a:r>
            <a:r>
              <a:rPr lang="en-US" sz="1200" dirty="0" err="1">
                <a:solidFill>
                  <a:srgbClr val="58595B"/>
                </a:solidFill>
                <a:latin typeface="Roboto Regular" pitchFamily="2" charset="0"/>
                <a:ea typeface="Roboto Regular" pitchFamily="2" charset="0"/>
                <a:cs typeface="Source Sans Pro ExtraLight"/>
              </a:rPr>
              <a:t>molestie</a:t>
            </a:r>
            <a:r>
              <a:rPr lang="en-US" sz="1200" dirty="0">
                <a:solidFill>
                  <a:srgbClr val="58595B"/>
                </a:solidFill>
                <a:latin typeface="Roboto Regular" pitchFamily="2" charset="0"/>
                <a:ea typeface="Roboto Regular" pitchFamily="2" charset="0"/>
                <a:cs typeface="Source Sans Pro ExtraLight"/>
              </a:rPr>
              <a:t> </a:t>
            </a:r>
            <a:r>
              <a:rPr lang="en-US" sz="1200" dirty="0" err="1">
                <a:solidFill>
                  <a:srgbClr val="58595B"/>
                </a:solidFill>
                <a:latin typeface="Roboto Regular" pitchFamily="2" charset="0"/>
                <a:ea typeface="Roboto Regular" pitchFamily="2" charset="0"/>
                <a:cs typeface="Source Sans Pro ExtraLight"/>
              </a:rPr>
              <a:t>efficitur</a:t>
            </a:r>
            <a:r>
              <a:rPr lang="en-US" sz="1200" dirty="0">
                <a:solidFill>
                  <a:srgbClr val="58595B"/>
                </a:solidFill>
                <a:latin typeface="Roboto Regular" pitchFamily="2" charset="0"/>
                <a:ea typeface="Roboto Regular" pitchFamily="2" charset="0"/>
                <a:cs typeface="Source Sans Pro ExtraLight"/>
              </a:rPr>
              <a:t> </a:t>
            </a:r>
            <a:r>
              <a:rPr lang="en-US" sz="1200" dirty="0" err="1">
                <a:solidFill>
                  <a:srgbClr val="58595B"/>
                </a:solidFill>
                <a:latin typeface="Roboto Regular" pitchFamily="2" charset="0"/>
                <a:ea typeface="Roboto Regular" pitchFamily="2" charset="0"/>
                <a:cs typeface="Source Sans Pro ExtraLight"/>
              </a:rPr>
              <a:t>est</a:t>
            </a:r>
            <a:r>
              <a:rPr lang="en-US" sz="1200" dirty="0">
                <a:solidFill>
                  <a:srgbClr val="58595B"/>
                </a:solidFill>
                <a:latin typeface="Roboto Regular" pitchFamily="2" charset="0"/>
                <a:ea typeface="Roboto Regular" pitchFamily="2" charset="0"/>
                <a:cs typeface="Source Sans Pro ExtraLight"/>
              </a:rPr>
              <a:t>, </a:t>
            </a:r>
          </a:p>
        </p:txBody>
      </p:sp>
      <p:sp>
        <p:nvSpPr>
          <p:cNvPr id="23" name="TextBox 22"/>
          <p:cNvSpPr txBox="1"/>
          <p:nvPr/>
        </p:nvSpPr>
        <p:spPr>
          <a:xfrm>
            <a:off x="8685637" y="4986138"/>
            <a:ext cx="3311399" cy="338555"/>
          </a:xfrm>
          <a:prstGeom prst="rect">
            <a:avLst/>
          </a:prstGeom>
          <a:noFill/>
        </p:spPr>
        <p:txBody>
          <a:bodyPr wrap="square" rtlCol="0">
            <a:spAutoFit/>
          </a:bodyPr>
          <a:lstStyle/>
          <a:p>
            <a:pPr algn="ctr"/>
            <a:r>
              <a:rPr lang="en-US" sz="1600" dirty="0" smtClean="0">
                <a:solidFill>
                  <a:srgbClr val="58595B"/>
                </a:solidFill>
                <a:cs typeface="Source Sans Pro ExtraLight"/>
              </a:rPr>
              <a:t>SEO Stats</a:t>
            </a:r>
            <a:endParaRPr lang="en-US" sz="1600" dirty="0">
              <a:solidFill>
                <a:srgbClr val="58595B"/>
              </a:solidFill>
              <a:cs typeface="Source Sans Pro ExtraLight"/>
            </a:endParaRPr>
          </a:p>
        </p:txBody>
      </p:sp>
      <p:sp>
        <p:nvSpPr>
          <p:cNvPr id="24" name="TextBox 23"/>
          <p:cNvSpPr txBox="1"/>
          <p:nvPr/>
        </p:nvSpPr>
        <p:spPr>
          <a:xfrm>
            <a:off x="8685637" y="5413592"/>
            <a:ext cx="3311399" cy="1379463"/>
          </a:xfrm>
          <a:prstGeom prst="rect">
            <a:avLst/>
          </a:prstGeom>
          <a:noFill/>
        </p:spPr>
        <p:txBody>
          <a:bodyPr wrap="square" rtlCol="0">
            <a:noAutofit/>
          </a:bodyPr>
          <a:lstStyle/>
          <a:p>
            <a:pPr algn="ctr">
              <a:lnSpc>
                <a:spcPct val="120000"/>
              </a:lnSpc>
            </a:pPr>
            <a:r>
              <a:rPr lang="en-US" sz="1200" dirty="0">
                <a:solidFill>
                  <a:srgbClr val="58595B"/>
                </a:solidFill>
                <a:latin typeface="Roboto Regular" pitchFamily="2" charset="0"/>
                <a:ea typeface="Roboto Regular" pitchFamily="2" charset="0"/>
                <a:cs typeface="Source Sans Pro ExtraLight"/>
              </a:rPr>
              <a:t>Lorem ipsum dolor sit amet, consectetur adipiscing elit. Praesent </a:t>
            </a:r>
            <a:r>
              <a:rPr lang="en-US" sz="1200" dirty="0" err="1">
                <a:solidFill>
                  <a:srgbClr val="58595B"/>
                </a:solidFill>
                <a:latin typeface="Roboto Regular" pitchFamily="2" charset="0"/>
                <a:ea typeface="Roboto Regular" pitchFamily="2" charset="0"/>
                <a:cs typeface="Source Sans Pro ExtraLight"/>
              </a:rPr>
              <a:t>molestie</a:t>
            </a:r>
            <a:r>
              <a:rPr lang="en-US" sz="1200" dirty="0">
                <a:solidFill>
                  <a:srgbClr val="58595B"/>
                </a:solidFill>
                <a:latin typeface="Roboto Regular" pitchFamily="2" charset="0"/>
                <a:ea typeface="Roboto Regular" pitchFamily="2" charset="0"/>
                <a:cs typeface="Source Sans Pro ExtraLight"/>
              </a:rPr>
              <a:t> </a:t>
            </a:r>
            <a:r>
              <a:rPr lang="en-US" sz="1200" dirty="0" err="1">
                <a:solidFill>
                  <a:srgbClr val="58595B"/>
                </a:solidFill>
                <a:latin typeface="Roboto Regular" pitchFamily="2" charset="0"/>
                <a:ea typeface="Roboto Regular" pitchFamily="2" charset="0"/>
                <a:cs typeface="Source Sans Pro ExtraLight"/>
              </a:rPr>
              <a:t>efficitur</a:t>
            </a:r>
            <a:r>
              <a:rPr lang="en-US" sz="1200" dirty="0">
                <a:solidFill>
                  <a:srgbClr val="58595B"/>
                </a:solidFill>
                <a:latin typeface="Roboto Regular" pitchFamily="2" charset="0"/>
                <a:ea typeface="Roboto Regular" pitchFamily="2" charset="0"/>
                <a:cs typeface="Source Sans Pro ExtraLight"/>
              </a:rPr>
              <a:t> </a:t>
            </a:r>
            <a:r>
              <a:rPr lang="en-US" sz="1200" dirty="0" err="1">
                <a:solidFill>
                  <a:srgbClr val="58595B"/>
                </a:solidFill>
                <a:latin typeface="Roboto Regular" pitchFamily="2" charset="0"/>
                <a:ea typeface="Roboto Regular" pitchFamily="2" charset="0"/>
                <a:cs typeface="Source Sans Pro ExtraLight"/>
              </a:rPr>
              <a:t>est</a:t>
            </a:r>
            <a:r>
              <a:rPr lang="en-US" sz="1200" dirty="0">
                <a:solidFill>
                  <a:srgbClr val="58595B"/>
                </a:solidFill>
                <a:latin typeface="Roboto Regular" pitchFamily="2" charset="0"/>
                <a:ea typeface="Roboto Regular" pitchFamily="2" charset="0"/>
                <a:cs typeface="Source Sans Pro ExtraLight"/>
              </a:rPr>
              <a:t>, </a:t>
            </a:r>
          </a:p>
        </p:txBody>
      </p:sp>
      <p:grpSp>
        <p:nvGrpSpPr>
          <p:cNvPr id="34" name="Group 33"/>
          <p:cNvGrpSpPr/>
          <p:nvPr>
            <p:custDataLst>
              <p:tags r:id="rId1"/>
            </p:custDataLst>
          </p:nvPr>
        </p:nvGrpSpPr>
        <p:grpSpPr>
          <a:xfrm>
            <a:off x="1932524" y="1315457"/>
            <a:ext cx="806470" cy="806366"/>
            <a:chOff x="4878387" y="3429001"/>
            <a:chExt cx="1658349" cy="1658136"/>
          </a:xfrm>
        </p:grpSpPr>
        <p:sp>
          <p:nvSpPr>
            <p:cNvPr id="15" name="Oval 14"/>
            <p:cNvSpPr>
              <a:spLocks noChangeAspect="1"/>
            </p:cNvSpPr>
            <p:nvPr/>
          </p:nvSpPr>
          <p:spPr>
            <a:xfrm>
              <a:off x="4878387" y="3429001"/>
              <a:ext cx="1658349" cy="1658136"/>
            </a:xfrm>
            <a:prstGeom prst="ellipse">
              <a:avLst/>
            </a:prstGeom>
            <a:solidFill>
              <a:srgbClr val="58595B"/>
            </a:solidFill>
            <a:ln w="571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AutoShape 115"/>
            <p:cNvSpPr>
              <a:spLocks/>
            </p:cNvSpPr>
            <p:nvPr/>
          </p:nvSpPr>
          <p:spPr bwMode="auto">
            <a:xfrm>
              <a:off x="5328966" y="3884875"/>
              <a:ext cx="731287" cy="71309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357" y="18801"/>
                  </a:moveTo>
                  <a:cubicBezTo>
                    <a:pt x="21518" y="18965"/>
                    <a:pt x="21599" y="19177"/>
                    <a:pt x="21599" y="19436"/>
                  </a:cubicBezTo>
                  <a:cubicBezTo>
                    <a:pt x="21599" y="19580"/>
                    <a:pt x="21518" y="19775"/>
                    <a:pt x="21357" y="20018"/>
                  </a:cubicBezTo>
                  <a:cubicBezTo>
                    <a:pt x="21193" y="20261"/>
                    <a:pt x="20989" y="20504"/>
                    <a:pt x="20746" y="20741"/>
                  </a:cubicBezTo>
                  <a:cubicBezTo>
                    <a:pt x="20503" y="20978"/>
                    <a:pt x="20260" y="21184"/>
                    <a:pt x="20023" y="21348"/>
                  </a:cubicBezTo>
                  <a:cubicBezTo>
                    <a:pt x="19783" y="21518"/>
                    <a:pt x="19593" y="21599"/>
                    <a:pt x="19447" y="21599"/>
                  </a:cubicBezTo>
                  <a:cubicBezTo>
                    <a:pt x="19189" y="21599"/>
                    <a:pt x="18975" y="21515"/>
                    <a:pt x="18811" y="21343"/>
                  </a:cubicBezTo>
                  <a:lnTo>
                    <a:pt x="13957" y="16502"/>
                  </a:lnTo>
                  <a:cubicBezTo>
                    <a:pt x="13217" y="16980"/>
                    <a:pt x="12428" y="17350"/>
                    <a:pt x="11589" y="17604"/>
                  </a:cubicBezTo>
                  <a:cubicBezTo>
                    <a:pt x="10750" y="17864"/>
                    <a:pt x="9891" y="17991"/>
                    <a:pt x="9007" y="17991"/>
                  </a:cubicBezTo>
                  <a:cubicBezTo>
                    <a:pt x="7769" y="17991"/>
                    <a:pt x="6608" y="17759"/>
                    <a:pt x="5517" y="17290"/>
                  </a:cubicBezTo>
                  <a:cubicBezTo>
                    <a:pt x="4427" y="16822"/>
                    <a:pt x="3469" y="16175"/>
                    <a:pt x="2644" y="15353"/>
                  </a:cubicBezTo>
                  <a:cubicBezTo>
                    <a:pt x="1816" y="14534"/>
                    <a:pt x="1172" y="13580"/>
                    <a:pt x="700" y="12487"/>
                  </a:cubicBezTo>
                  <a:cubicBezTo>
                    <a:pt x="231" y="11400"/>
                    <a:pt x="0" y="10236"/>
                    <a:pt x="0" y="8999"/>
                  </a:cubicBezTo>
                  <a:cubicBezTo>
                    <a:pt x="0" y="7768"/>
                    <a:pt x="231" y="6602"/>
                    <a:pt x="700" y="5515"/>
                  </a:cubicBezTo>
                  <a:cubicBezTo>
                    <a:pt x="1169" y="4422"/>
                    <a:pt x="1816" y="3467"/>
                    <a:pt x="2644" y="2645"/>
                  </a:cubicBezTo>
                  <a:cubicBezTo>
                    <a:pt x="3469" y="1827"/>
                    <a:pt x="4424" y="1180"/>
                    <a:pt x="5512" y="708"/>
                  </a:cubicBezTo>
                  <a:cubicBezTo>
                    <a:pt x="6600" y="237"/>
                    <a:pt x="7764" y="0"/>
                    <a:pt x="9007" y="0"/>
                  </a:cubicBezTo>
                  <a:cubicBezTo>
                    <a:pt x="10244" y="0"/>
                    <a:pt x="11403" y="237"/>
                    <a:pt x="12488" y="708"/>
                  </a:cubicBezTo>
                  <a:cubicBezTo>
                    <a:pt x="13573" y="1180"/>
                    <a:pt x="14530" y="1827"/>
                    <a:pt x="15358" y="2645"/>
                  </a:cubicBezTo>
                  <a:cubicBezTo>
                    <a:pt x="16183" y="3467"/>
                    <a:pt x="16830" y="4422"/>
                    <a:pt x="17299" y="5515"/>
                  </a:cubicBezTo>
                  <a:cubicBezTo>
                    <a:pt x="17768" y="6602"/>
                    <a:pt x="18003" y="7768"/>
                    <a:pt x="18003" y="8999"/>
                  </a:cubicBezTo>
                  <a:cubicBezTo>
                    <a:pt x="18003" y="9886"/>
                    <a:pt x="17873" y="10747"/>
                    <a:pt x="17616" y="11589"/>
                  </a:cubicBezTo>
                  <a:cubicBezTo>
                    <a:pt x="17359" y="12433"/>
                    <a:pt x="16991" y="13218"/>
                    <a:pt x="16514" y="13947"/>
                  </a:cubicBezTo>
                  <a:lnTo>
                    <a:pt x="21357" y="18801"/>
                  </a:lnTo>
                  <a:close/>
                  <a:moveTo>
                    <a:pt x="3596" y="8999"/>
                  </a:moveTo>
                  <a:cubicBezTo>
                    <a:pt x="3596" y="9759"/>
                    <a:pt x="3740" y="10465"/>
                    <a:pt x="4028" y="11117"/>
                  </a:cubicBezTo>
                  <a:cubicBezTo>
                    <a:pt x="4317" y="11770"/>
                    <a:pt x="4707" y="12337"/>
                    <a:pt x="5193" y="12820"/>
                  </a:cubicBezTo>
                  <a:cubicBezTo>
                    <a:pt x="5679" y="13300"/>
                    <a:pt x="6252" y="13684"/>
                    <a:pt x="6908" y="13969"/>
                  </a:cubicBezTo>
                  <a:cubicBezTo>
                    <a:pt x="7566" y="14252"/>
                    <a:pt x="8264" y="14393"/>
                    <a:pt x="9004" y="14393"/>
                  </a:cubicBezTo>
                  <a:cubicBezTo>
                    <a:pt x="9744" y="14393"/>
                    <a:pt x="10439" y="14252"/>
                    <a:pt x="11092" y="13969"/>
                  </a:cubicBezTo>
                  <a:cubicBezTo>
                    <a:pt x="11745" y="13684"/>
                    <a:pt x="12318" y="13300"/>
                    <a:pt x="12801" y="12820"/>
                  </a:cubicBezTo>
                  <a:cubicBezTo>
                    <a:pt x="13290" y="12337"/>
                    <a:pt x="13677" y="11770"/>
                    <a:pt x="13965" y="11117"/>
                  </a:cubicBezTo>
                  <a:cubicBezTo>
                    <a:pt x="14254" y="10465"/>
                    <a:pt x="14398" y="9759"/>
                    <a:pt x="14398" y="8999"/>
                  </a:cubicBezTo>
                  <a:cubicBezTo>
                    <a:pt x="14398" y="8259"/>
                    <a:pt x="14254" y="7565"/>
                    <a:pt x="13965" y="6912"/>
                  </a:cubicBezTo>
                  <a:cubicBezTo>
                    <a:pt x="13674" y="6257"/>
                    <a:pt x="13290" y="5684"/>
                    <a:pt x="12801" y="5192"/>
                  </a:cubicBezTo>
                  <a:cubicBezTo>
                    <a:pt x="12315" y="4704"/>
                    <a:pt x="11745" y="4317"/>
                    <a:pt x="11092" y="4032"/>
                  </a:cubicBezTo>
                  <a:cubicBezTo>
                    <a:pt x="10439" y="3749"/>
                    <a:pt x="9741" y="3605"/>
                    <a:pt x="9004" y="3605"/>
                  </a:cubicBezTo>
                  <a:cubicBezTo>
                    <a:pt x="8267" y="3605"/>
                    <a:pt x="7566" y="3749"/>
                    <a:pt x="6908" y="4032"/>
                  </a:cubicBezTo>
                  <a:cubicBezTo>
                    <a:pt x="6252" y="4317"/>
                    <a:pt x="5676" y="4704"/>
                    <a:pt x="5193" y="5192"/>
                  </a:cubicBezTo>
                  <a:cubicBezTo>
                    <a:pt x="4707" y="5684"/>
                    <a:pt x="4317" y="6257"/>
                    <a:pt x="4028" y="6912"/>
                  </a:cubicBezTo>
                  <a:cubicBezTo>
                    <a:pt x="3740" y="7565"/>
                    <a:pt x="3596" y="8256"/>
                    <a:pt x="3596" y="8999"/>
                  </a:cubicBezTo>
                  <a:moveTo>
                    <a:pt x="9007" y="5591"/>
                  </a:moveTo>
                  <a:cubicBezTo>
                    <a:pt x="9185" y="5591"/>
                    <a:pt x="9343" y="5656"/>
                    <a:pt x="9473" y="5785"/>
                  </a:cubicBezTo>
                  <a:cubicBezTo>
                    <a:pt x="9603" y="5918"/>
                    <a:pt x="9668" y="6082"/>
                    <a:pt x="9668" y="6279"/>
                  </a:cubicBezTo>
                  <a:cubicBezTo>
                    <a:pt x="9668" y="6460"/>
                    <a:pt x="9603" y="6616"/>
                    <a:pt x="9473" y="6745"/>
                  </a:cubicBezTo>
                  <a:cubicBezTo>
                    <a:pt x="9343" y="6878"/>
                    <a:pt x="9185" y="6943"/>
                    <a:pt x="9007" y="6943"/>
                  </a:cubicBezTo>
                  <a:cubicBezTo>
                    <a:pt x="8439" y="6943"/>
                    <a:pt x="7953" y="7144"/>
                    <a:pt x="7552" y="7536"/>
                  </a:cubicBezTo>
                  <a:cubicBezTo>
                    <a:pt x="7151" y="7934"/>
                    <a:pt x="6950" y="8423"/>
                    <a:pt x="6950" y="8996"/>
                  </a:cubicBezTo>
                  <a:cubicBezTo>
                    <a:pt x="6950" y="9180"/>
                    <a:pt x="6885" y="9332"/>
                    <a:pt x="6755" y="9465"/>
                  </a:cubicBezTo>
                  <a:cubicBezTo>
                    <a:pt x="6622" y="9595"/>
                    <a:pt x="6467" y="9657"/>
                    <a:pt x="6289" y="9657"/>
                  </a:cubicBezTo>
                  <a:cubicBezTo>
                    <a:pt x="6080" y="9657"/>
                    <a:pt x="5913" y="9595"/>
                    <a:pt x="5786" y="9465"/>
                  </a:cubicBezTo>
                  <a:cubicBezTo>
                    <a:pt x="5659" y="9332"/>
                    <a:pt x="5599" y="9180"/>
                    <a:pt x="5599" y="8996"/>
                  </a:cubicBezTo>
                  <a:cubicBezTo>
                    <a:pt x="5599" y="8539"/>
                    <a:pt x="5684" y="8104"/>
                    <a:pt x="5862" y="7686"/>
                  </a:cubicBezTo>
                  <a:cubicBezTo>
                    <a:pt x="6037" y="7271"/>
                    <a:pt x="6280" y="6907"/>
                    <a:pt x="6597" y="6590"/>
                  </a:cubicBezTo>
                  <a:cubicBezTo>
                    <a:pt x="6905" y="6277"/>
                    <a:pt x="7264" y="6028"/>
                    <a:pt x="7676" y="5856"/>
                  </a:cubicBezTo>
                  <a:cubicBezTo>
                    <a:pt x="8086" y="5681"/>
                    <a:pt x="8529" y="5591"/>
                    <a:pt x="9007" y="5591"/>
                  </a:cubicBezTo>
                </a:path>
              </a:pathLst>
            </a:custGeom>
            <a:solidFill>
              <a:schemeClr val="bg1"/>
            </a:solidFill>
            <a:ln>
              <a:noFill/>
            </a:ln>
            <a:effectLst/>
            <a:extLst/>
          </p:spPr>
          <p:txBody>
            <a:bodyPr lIns="38100" tIns="38100" rIns="38100" bIns="38100" anchor="ctr"/>
            <a:lstStyle/>
            <a:p>
              <a:pPr defTabSz="342900">
                <a:defRPr/>
              </a:pPr>
              <a:endParaRPr lang="es-ES" sz="2200">
                <a:solidFill>
                  <a:srgbClr val="44CEB9"/>
                </a:solidFill>
                <a:effectLst>
                  <a:outerShdw blurRad="38100" dist="38100" dir="2700000" algn="tl">
                    <a:srgbClr val="000000"/>
                  </a:outerShdw>
                </a:effectLst>
                <a:latin typeface="Gill Sans" charset="0"/>
                <a:cs typeface="Gill Sans" charset="0"/>
                <a:sym typeface="Gill Sans" charset="0"/>
              </a:endParaRPr>
            </a:p>
          </p:txBody>
        </p:sp>
      </p:grpSp>
      <p:grpSp>
        <p:nvGrpSpPr>
          <p:cNvPr id="35" name="Group 34"/>
          <p:cNvGrpSpPr/>
          <p:nvPr>
            <p:custDataLst>
              <p:tags r:id="rId2"/>
            </p:custDataLst>
          </p:nvPr>
        </p:nvGrpSpPr>
        <p:grpSpPr>
          <a:xfrm>
            <a:off x="5935313" y="1315457"/>
            <a:ext cx="806470" cy="806366"/>
            <a:chOff x="11349769" y="3429000"/>
            <a:chExt cx="1663942" cy="1663723"/>
          </a:xfrm>
        </p:grpSpPr>
        <p:sp>
          <p:nvSpPr>
            <p:cNvPr id="14" name="Oval 13"/>
            <p:cNvSpPr>
              <a:spLocks noChangeAspect="1"/>
            </p:cNvSpPr>
            <p:nvPr/>
          </p:nvSpPr>
          <p:spPr>
            <a:xfrm>
              <a:off x="11349769" y="3429000"/>
              <a:ext cx="1663942" cy="1663723"/>
            </a:xfrm>
            <a:prstGeom prst="ellipse">
              <a:avLst/>
            </a:prstGeom>
            <a:solidFill>
              <a:srgbClr val="41B5E8"/>
            </a:solidFill>
            <a:ln w="571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AutoShape 64"/>
            <p:cNvSpPr>
              <a:spLocks/>
            </p:cNvSpPr>
            <p:nvPr/>
          </p:nvSpPr>
          <p:spPr bwMode="auto">
            <a:xfrm>
              <a:off x="11816092" y="3962400"/>
              <a:ext cx="754991" cy="55091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63" y="0"/>
                  </a:moveTo>
                  <a:cubicBezTo>
                    <a:pt x="20630" y="0"/>
                    <a:pt x="20946" y="161"/>
                    <a:pt x="21208" y="481"/>
                  </a:cubicBezTo>
                  <a:cubicBezTo>
                    <a:pt x="21470" y="798"/>
                    <a:pt x="21599" y="1177"/>
                    <a:pt x="21599" y="1618"/>
                  </a:cubicBezTo>
                  <a:lnTo>
                    <a:pt x="21599" y="19981"/>
                  </a:lnTo>
                  <a:cubicBezTo>
                    <a:pt x="21599" y="20422"/>
                    <a:pt x="21470" y="20801"/>
                    <a:pt x="21208" y="21121"/>
                  </a:cubicBezTo>
                  <a:cubicBezTo>
                    <a:pt x="20946" y="21441"/>
                    <a:pt x="20630" y="21599"/>
                    <a:pt x="20263" y="21599"/>
                  </a:cubicBezTo>
                  <a:lnTo>
                    <a:pt x="1346" y="21599"/>
                  </a:lnTo>
                  <a:cubicBezTo>
                    <a:pt x="979" y="21599"/>
                    <a:pt x="663" y="21441"/>
                    <a:pt x="399" y="21121"/>
                  </a:cubicBezTo>
                  <a:cubicBezTo>
                    <a:pt x="132" y="20801"/>
                    <a:pt x="0" y="20422"/>
                    <a:pt x="0" y="19981"/>
                  </a:cubicBezTo>
                  <a:lnTo>
                    <a:pt x="0" y="1618"/>
                  </a:lnTo>
                  <a:cubicBezTo>
                    <a:pt x="0" y="1177"/>
                    <a:pt x="132" y="798"/>
                    <a:pt x="399" y="481"/>
                  </a:cubicBezTo>
                  <a:cubicBezTo>
                    <a:pt x="663" y="161"/>
                    <a:pt x="979" y="0"/>
                    <a:pt x="1346" y="0"/>
                  </a:cubicBezTo>
                  <a:lnTo>
                    <a:pt x="20263" y="0"/>
                  </a:lnTo>
                  <a:close/>
                  <a:moveTo>
                    <a:pt x="19805" y="2252"/>
                  </a:moveTo>
                  <a:lnTo>
                    <a:pt x="8590" y="2252"/>
                  </a:lnTo>
                  <a:lnTo>
                    <a:pt x="8426" y="3545"/>
                  </a:lnTo>
                  <a:lnTo>
                    <a:pt x="1804" y="3545"/>
                  </a:lnTo>
                  <a:lnTo>
                    <a:pt x="1804" y="5501"/>
                  </a:lnTo>
                  <a:lnTo>
                    <a:pt x="19805" y="5501"/>
                  </a:lnTo>
                  <a:lnTo>
                    <a:pt x="19805" y="2252"/>
                  </a:lnTo>
                  <a:close/>
                  <a:moveTo>
                    <a:pt x="19805" y="17746"/>
                  </a:moveTo>
                  <a:lnTo>
                    <a:pt x="1804" y="17746"/>
                  </a:lnTo>
                  <a:lnTo>
                    <a:pt x="1804" y="19350"/>
                  </a:lnTo>
                  <a:lnTo>
                    <a:pt x="19805" y="19350"/>
                  </a:lnTo>
                  <a:lnTo>
                    <a:pt x="19805" y="17746"/>
                  </a:lnTo>
                  <a:close/>
                  <a:moveTo>
                    <a:pt x="3116" y="2743"/>
                  </a:moveTo>
                  <a:lnTo>
                    <a:pt x="6820" y="2743"/>
                  </a:lnTo>
                  <a:lnTo>
                    <a:pt x="6820" y="1436"/>
                  </a:lnTo>
                  <a:lnTo>
                    <a:pt x="3116" y="1436"/>
                  </a:lnTo>
                  <a:lnTo>
                    <a:pt x="3116" y="2743"/>
                  </a:lnTo>
                  <a:close/>
                  <a:moveTo>
                    <a:pt x="6529" y="11631"/>
                  </a:moveTo>
                  <a:cubicBezTo>
                    <a:pt x="6529" y="12342"/>
                    <a:pt x="6639" y="13011"/>
                    <a:pt x="6862" y="13634"/>
                  </a:cubicBezTo>
                  <a:cubicBezTo>
                    <a:pt x="7084" y="14257"/>
                    <a:pt x="7388" y="14800"/>
                    <a:pt x="7775" y="15264"/>
                  </a:cubicBezTo>
                  <a:cubicBezTo>
                    <a:pt x="8162" y="15731"/>
                    <a:pt x="8617" y="16095"/>
                    <a:pt x="9134" y="16359"/>
                  </a:cubicBezTo>
                  <a:cubicBezTo>
                    <a:pt x="9655" y="16630"/>
                    <a:pt x="10211" y="16762"/>
                    <a:pt x="10806" y="16762"/>
                  </a:cubicBezTo>
                  <a:cubicBezTo>
                    <a:pt x="11398" y="16762"/>
                    <a:pt x="11954" y="16630"/>
                    <a:pt x="12470" y="16359"/>
                  </a:cubicBezTo>
                  <a:cubicBezTo>
                    <a:pt x="12984" y="16095"/>
                    <a:pt x="13435" y="15731"/>
                    <a:pt x="13824" y="15264"/>
                  </a:cubicBezTo>
                  <a:cubicBezTo>
                    <a:pt x="14211" y="14800"/>
                    <a:pt x="14515" y="14257"/>
                    <a:pt x="14737" y="13634"/>
                  </a:cubicBezTo>
                  <a:cubicBezTo>
                    <a:pt x="14960" y="13011"/>
                    <a:pt x="15070" y="12342"/>
                    <a:pt x="15070" y="11631"/>
                  </a:cubicBezTo>
                  <a:cubicBezTo>
                    <a:pt x="15070" y="10917"/>
                    <a:pt x="14960" y="10250"/>
                    <a:pt x="14737" y="9625"/>
                  </a:cubicBezTo>
                  <a:cubicBezTo>
                    <a:pt x="14515" y="9002"/>
                    <a:pt x="14211" y="8461"/>
                    <a:pt x="13824" y="8003"/>
                  </a:cubicBezTo>
                  <a:cubicBezTo>
                    <a:pt x="13435" y="7542"/>
                    <a:pt x="12982" y="7178"/>
                    <a:pt x="12463" y="6914"/>
                  </a:cubicBezTo>
                  <a:cubicBezTo>
                    <a:pt x="11944" y="6646"/>
                    <a:pt x="11391" y="6511"/>
                    <a:pt x="10806" y="6511"/>
                  </a:cubicBezTo>
                  <a:cubicBezTo>
                    <a:pt x="10211" y="6511"/>
                    <a:pt x="9655" y="6646"/>
                    <a:pt x="9134" y="6914"/>
                  </a:cubicBezTo>
                  <a:cubicBezTo>
                    <a:pt x="8617" y="7178"/>
                    <a:pt x="8162" y="7542"/>
                    <a:pt x="7775" y="8003"/>
                  </a:cubicBezTo>
                  <a:cubicBezTo>
                    <a:pt x="7388" y="8461"/>
                    <a:pt x="7084" y="9002"/>
                    <a:pt x="6862" y="9625"/>
                  </a:cubicBezTo>
                  <a:cubicBezTo>
                    <a:pt x="6639" y="10250"/>
                    <a:pt x="6529" y="10917"/>
                    <a:pt x="6529" y="11631"/>
                  </a:cubicBezTo>
                  <a:moveTo>
                    <a:pt x="13724" y="11631"/>
                  </a:moveTo>
                  <a:cubicBezTo>
                    <a:pt x="13724" y="12109"/>
                    <a:pt x="13648" y="12565"/>
                    <a:pt x="13501" y="12999"/>
                  </a:cubicBezTo>
                  <a:cubicBezTo>
                    <a:pt x="13352" y="13434"/>
                    <a:pt x="13146" y="13813"/>
                    <a:pt x="12879" y="14127"/>
                  </a:cubicBezTo>
                  <a:cubicBezTo>
                    <a:pt x="12612" y="14439"/>
                    <a:pt x="12301" y="14688"/>
                    <a:pt x="11942" y="14870"/>
                  </a:cubicBezTo>
                  <a:cubicBezTo>
                    <a:pt x="11582" y="15052"/>
                    <a:pt x="11205" y="15144"/>
                    <a:pt x="10806" y="15144"/>
                  </a:cubicBezTo>
                  <a:cubicBezTo>
                    <a:pt x="10407" y="15144"/>
                    <a:pt x="10025" y="15052"/>
                    <a:pt x="9662" y="14870"/>
                  </a:cubicBezTo>
                  <a:cubicBezTo>
                    <a:pt x="9300" y="14688"/>
                    <a:pt x="8987" y="14439"/>
                    <a:pt x="8725" y="14127"/>
                  </a:cubicBezTo>
                  <a:cubicBezTo>
                    <a:pt x="8463" y="13813"/>
                    <a:pt x="8257" y="13440"/>
                    <a:pt x="8103" y="13008"/>
                  </a:cubicBezTo>
                  <a:cubicBezTo>
                    <a:pt x="7951" y="12579"/>
                    <a:pt x="7875" y="12118"/>
                    <a:pt x="7875" y="11631"/>
                  </a:cubicBezTo>
                  <a:cubicBezTo>
                    <a:pt x="7875" y="11152"/>
                    <a:pt x="7951" y="10700"/>
                    <a:pt x="8103" y="10265"/>
                  </a:cubicBezTo>
                  <a:cubicBezTo>
                    <a:pt x="8257" y="9836"/>
                    <a:pt x="8463" y="9460"/>
                    <a:pt x="8725" y="9140"/>
                  </a:cubicBezTo>
                  <a:cubicBezTo>
                    <a:pt x="8987" y="8823"/>
                    <a:pt x="9298" y="8576"/>
                    <a:pt x="9657" y="8394"/>
                  </a:cubicBezTo>
                  <a:cubicBezTo>
                    <a:pt x="10015" y="8218"/>
                    <a:pt x="10399" y="8130"/>
                    <a:pt x="10806" y="8130"/>
                  </a:cubicBezTo>
                  <a:cubicBezTo>
                    <a:pt x="11205" y="8130"/>
                    <a:pt x="11582" y="8218"/>
                    <a:pt x="11942" y="8394"/>
                  </a:cubicBezTo>
                  <a:cubicBezTo>
                    <a:pt x="12301" y="8576"/>
                    <a:pt x="12612" y="8823"/>
                    <a:pt x="12879" y="9140"/>
                  </a:cubicBezTo>
                  <a:cubicBezTo>
                    <a:pt x="13146" y="9460"/>
                    <a:pt x="13352" y="9836"/>
                    <a:pt x="13501" y="10265"/>
                  </a:cubicBezTo>
                  <a:cubicBezTo>
                    <a:pt x="13648" y="10700"/>
                    <a:pt x="13724" y="11152"/>
                    <a:pt x="13724" y="11631"/>
                  </a:cubicBezTo>
                  <a:moveTo>
                    <a:pt x="9692" y="11631"/>
                  </a:moveTo>
                  <a:cubicBezTo>
                    <a:pt x="9692" y="11246"/>
                    <a:pt x="9799" y="10929"/>
                    <a:pt x="10020" y="10682"/>
                  </a:cubicBezTo>
                  <a:cubicBezTo>
                    <a:pt x="10238" y="10432"/>
                    <a:pt x="10500" y="10309"/>
                    <a:pt x="10806" y="10309"/>
                  </a:cubicBezTo>
                  <a:lnTo>
                    <a:pt x="10806" y="10280"/>
                  </a:lnTo>
                  <a:cubicBezTo>
                    <a:pt x="10945" y="10280"/>
                    <a:pt x="11065" y="10224"/>
                    <a:pt x="11163" y="10109"/>
                  </a:cubicBezTo>
                  <a:cubicBezTo>
                    <a:pt x="11261" y="9998"/>
                    <a:pt x="11310" y="9862"/>
                    <a:pt x="11310" y="9704"/>
                  </a:cubicBezTo>
                  <a:cubicBezTo>
                    <a:pt x="11310" y="9533"/>
                    <a:pt x="11261" y="9392"/>
                    <a:pt x="11163" y="9275"/>
                  </a:cubicBezTo>
                  <a:cubicBezTo>
                    <a:pt x="11065" y="9157"/>
                    <a:pt x="10945" y="9096"/>
                    <a:pt x="10806" y="9096"/>
                  </a:cubicBezTo>
                  <a:cubicBezTo>
                    <a:pt x="10228" y="9096"/>
                    <a:pt x="9733" y="9348"/>
                    <a:pt x="9322" y="9848"/>
                  </a:cubicBezTo>
                  <a:cubicBezTo>
                    <a:pt x="8913" y="10350"/>
                    <a:pt x="8708" y="10943"/>
                    <a:pt x="8708" y="11628"/>
                  </a:cubicBezTo>
                  <a:cubicBezTo>
                    <a:pt x="8708" y="11777"/>
                    <a:pt x="8757" y="11913"/>
                    <a:pt x="8854" y="12027"/>
                  </a:cubicBezTo>
                  <a:cubicBezTo>
                    <a:pt x="8952" y="12147"/>
                    <a:pt x="9063" y="12206"/>
                    <a:pt x="9187" y="12206"/>
                  </a:cubicBezTo>
                  <a:cubicBezTo>
                    <a:pt x="9329" y="12206"/>
                    <a:pt x="9447" y="12148"/>
                    <a:pt x="9545" y="12027"/>
                  </a:cubicBezTo>
                  <a:cubicBezTo>
                    <a:pt x="9643" y="11916"/>
                    <a:pt x="9692" y="11780"/>
                    <a:pt x="9692" y="11631"/>
                  </a:cubicBezTo>
                </a:path>
              </a:pathLst>
            </a:custGeom>
            <a:solidFill>
              <a:schemeClr val="bg1"/>
            </a:solidFill>
            <a:ln>
              <a:noFill/>
            </a:ln>
            <a:effectLst/>
            <a:extLst/>
          </p:spPr>
          <p:txBody>
            <a:bodyPr lIns="38100" tIns="38100" rIns="38100" bIns="38100" anchor="ctr"/>
            <a:lstStyle/>
            <a:p>
              <a:pPr defTabSz="342900">
                <a:defRPr/>
              </a:pPr>
              <a:endParaRPr lang="es-ES" sz="2200">
                <a:solidFill>
                  <a:srgbClr val="44CEB9"/>
                </a:solidFill>
                <a:effectLst>
                  <a:outerShdw blurRad="38100" dist="38100" dir="2700000" algn="tl">
                    <a:srgbClr val="000000"/>
                  </a:outerShdw>
                </a:effectLst>
                <a:latin typeface="Gill Sans" charset="0"/>
                <a:cs typeface="Gill Sans" charset="0"/>
                <a:sym typeface="Gill Sans" charset="0"/>
              </a:endParaRPr>
            </a:p>
          </p:txBody>
        </p:sp>
      </p:grpSp>
      <p:grpSp>
        <p:nvGrpSpPr>
          <p:cNvPr id="36" name="Group 35"/>
          <p:cNvGrpSpPr/>
          <p:nvPr>
            <p:custDataLst>
              <p:tags r:id="rId3"/>
            </p:custDataLst>
          </p:nvPr>
        </p:nvGrpSpPr>
        <p:grpSpPr>
          <a:xfrm>
            <a:off x="9938101" y="1315457"/>
            <a:ext cx="806470" cy="806366"/>
            <a:chOff x="17756187" y="3434493"/>
            <a:chExt cx="1663942" cy="1663723"/>
          </a:xfrm>
        </p:grpSpPr>
        <p:sp>
          <p:nvSpPr>
            <p:cNvPr id="13" name="Oval 12"/>
            <p:cNvSpPr>
              <a:spLocks noChangeAspect="1"/>
            </p:cNvSpPr>
            <p:nvPr/>
          </p:nvSpPr>
          <p:spPr>
            <a:xfrm>
              <a:off x="17756187" y="3434493"/>
              <a:ext cx="1663942" cy="1663723"/>
            </a:xfrm>
            <a:prstGeom prst="ellipse">
              <a:avLst/>
            </a:prstGeom>
            <a:solidFill>
              <a:srgbClr val="B2B2B2"/>
            </a:solidFill>
            <a:ln w="571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Freeform 116"/>
            <p:cNvSpPr>
              <a:spLocks noChangeArrowheads="1"/>
            </p:cNvSpPr>
            <p:nvPr/>
          </p:nvSpPr>
          <p:spPr bwMode="auto">
            <a:xfrm>
              <a:off x="18209090" y="3884875"/>
              <a:ext cx="766297" cy="796640"/>
            </a:xfrm>
            <a:custGeom>
              <a:avLst/>
              <a:gdLst>
                <a:gd name="T0" fmla="*/ 400 w 445"/>
                <a:gd name="T1" fmla="*/ 159 h 462"/>
                <a:gd name="T2" fmla="*/ 400 w 445"/>
                <a:gd name="T3" fmla="*/ 159 h 462"/>
                <a:gd name="T4" fmla="*/ 266 w 445"/>
                <a:gd name="T5" fmla="*/ 8 h 462"/>
                <a:gd name="T6" fmla="*/ 36 w 445"/>
                <a:gd name="T7" fmla="*/ 248 h 462"/>
                <a:gd name="T8" fmla="*/ 9 w 445"/>
                <a:gd name="T9" fmla="*/ 319 h 462"/>
                <a:gd name="T10" fmla="*/ 81 w 445"/>
                <a:gd name="T11" fmla="*/ 355 h 462"/>
                <a:gd name="T12" fmla="*/ 98 w 445"/>
                <a:gd name="T13" fmla="*/ 346 h 462"/>
                <a:gd name="T14" fmla="*/ 134 w 445"/>
                <a:gd name="T15" fmla="*/ 372 h 462"/>
                <a:gd name="T16" fmla="*/ 160 w 445"/>
                <a:gd name="T17" fmla="*/ 434 h 462"/>
                <a:gd name="T18" fmla="*/ 187 w 445"/>
                <a:gd name="T19" fmla="*/ 452 h 462"/>
                <a:gd name="T20" fmla="*/ 240 w 445"/>
                <a:gd name="T21" fmla="*/ 434 h 462"/>
                <a:gd name="T22" fmla="*/ 249 w 445"/>
                <a:gd name="T23" fmla="*/ 416 h 462"/>
                <a:gd name="T24" fmla="*/ 231 w 445"/>
                <a:gd name="T25" fmla="*/ 390 h 462"/>
                <a:gd name="T26" fmla="*/ 204 w 445"/>
                <a:gd name="T27" fmla="*/ 337 h 462"/>
                <a:gd name="T28" fmla="*/ 231 w 445"/>
                <a:gd name="T29" fmla="*/ 310 h 462"/>
                <a:gd name="T30" fmla="*/ 417 w 445"/>
                <a:gd name="T31" fmla="*/ 355 h 462"/>
                <a:gd name="T32" fmla="*/ 400 w 445"/>
                <a:gd name="T33" fmla="*/ 159 h 462"/>
                <a:gd name="T34" fmla="*/ 390 w 445"/>
                <a:gd name="T35" fmla="*/ 310 h 462"/>
                <a:gd name="T36" fmla="*/ 390 w 445"/>
                <a:gd name="T37" fmla="*/ 310 h 462"/>
                <a:gd name="T38" fmla="*/ 302 w 445"/>
                <a:gd name="T39" fmla="*/ 204 h 462"/>
                <a:gd name="T40" fmla="*/ 284 w 445"/>
                <a:gd name="T41" fmla="*/ 62 h 462"/>
                <a:gd name="T42" fmla="*/ 364 w 445"/>
                <a:gd name="T43" fmla="*/ 177 h 462"/>
                <a:gd name="T44" fmla="*/ 390 w 445"/>
                <a:gd name="T45" fmla="*/ 31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5" h="462">
                  <a:moveTo>
                    <a:pt x="400" y="159"/>
                  </a:moveTo>
                  <a:lnTo>
                    <a:pt x="400" y="159"/>
                  </a:lnTo>
                  <a:cubicBezTo>
                    <a:pt x="364" y="71"/>
                    <a:pt x="302" y="0"/>
                    <a:pt x="266" y="8"/>
                  </a:cubicBezTo>
                  <a:cubicBezTo>
                    <a:pt x="213" y="36"/>
                    <a:pt x="302" y="142"/>
                    <a:pt x="36" y="248"/>
                  </a:cubicBezTo>
                  <a:cubicBezTo>
                    <a:pt x="9" y="257"/>
                    <a:pt x="0" y="292"/>
                    <a:pt x="9" y="319"/>
                  </a:cubicBezTo>
                  <a:cubicBezTo>
                    <a:pt x="18" y="337"/>
                    <a:pt x="53" y="363"/>
                    <a:pt x="81" y="355"/>
                  </a:cubicBezTo>
                  <a:lnTo>
                    <a:pt x="98" y="346"/>
                  </a:lnTo>
                  <a:cubicBezTo>
                    <a:pt x="116" y="372"/>
                    <a:pt x="134" y="355"/>
                    <a:pt x="134" y="372"/>
                  </a:cubicBezTo>
                  <a:cubicBezTo>
                    <a:pt x="143" y="390"/>
                    <a:pt x="160" y="425"/>
                    <a:pt x="160" y="434"/>
                  </a:cubicBezTo>
                  <a:cubicBezTo>
                    <a:pt x="169" y="443"/>
                    <a:pt x="178" y="461"/>
                    <a:pt x="187" y="452"/>
                  </a:cubicBezTo>
                  <a:cubicBezTo>
                    <a:pt x="196" y="452"/>
                    <a:pt x="231" y="443"/>
                    <a:pt x="240" y="434"/>
                  </a:cubicBezTo>
                  <a:cubicBezTo>
                    <a:pt x="257" y="434"/>
                    <a:pt x="257" y="425"/>
                    <a:pt x="249" y="416"/>
                  </a:cubicBezTo>
                  <a:cubicBezTo>
                    <a:pt x="249" y="408"/>
                    <a:pt x="231" y="399"/>
                    <a:pt x="231" y="390"/>
                  </a:cubicBezTo>
                  <a:cubicBezTo>
                    <a:pt x="222" y="381"/>
                    <a:pt x="213" y="346"/>
                    <a:pt x="204" y="337"/>
                  </a:cubicBezTo>
                  <a:cubicBezTo>
                    <a:pt x="196" y="328"/>
                    <a:pt x="213" y="310"/>
                    <a:pt x="231" y="310"/>
                  </a:cubicBezTo>
                  <a:cubicBezTo>
                    <a:pt x="355" y="302"/>
                    <a:pt x="373" y="372"/>
                    <a:pt x="417" y="355"/>
                  </a:cubicBezTo>
                  <a:cubicBezTo>
                    <a:pt x="444" y="346"/>
                    <a:pt x="444" y="248"/>
                    <a:pt x="400" y="159"/>
                  </a:cubicBezTo>
                  <a:close/>
                  <a:moveTo>
                    <a:pt x="390" y="310"/>
                  </a:moveTo>
                  <a:lnTo>
                    <a:pt x="390" y="310"/>
                  </a:lnTo>
                  <a:cubicBezTo>
                    <a:pt x="381" y="310"/>
                    <a:pt x="328" y="275"/>
                    <a:pt x="302" y="204"/>
                  </a:cubicBezTo>
                  <a:cubicBezTo>
                    <a:pt x="275" y="133"/>
                    <a:pt x="275" y="62"/>
                    <a:pt x="284" y="62"/>
                  </a:cubicBezTo>
                  <a:cubicBezTo>
                    <a:pt x="293" y="62"/>
                    <a:pt x="337" y="106"/>
                    <a:pt x="364" y="177"/>
                  </a:cubicBezTo>
                  <a:cubicBezTo>
                    <a:pt x="400" y="248"/>
                    <a:pt x="390" y="302"/>
                    <a:pt x="390" y="310"/>
                  </a:cubicBezTo>
                  <a:close/>
                </a:path>
              </a:pathLst>
            </a:custGeom>
            <a:solidFill>
              <a:schemeClr val="bg1"/>
            </a:solidFill>
            <a:ln>
              <a:noFill/>
            </a:ln>
            <a:effectLst/>
            <a:extLst/>
          </p:spPr>
          <p:txBody>
            <a:bodyPr wrap="none" anchor="ctr"/>
            <a:lstStyle/>
            <a:p>
              <a:endParaRPr lang="en-US"/>
            </a:p>
          </p:txBody>
        </p:sp>
      </p:grpSp>
      <p:sp>
        <p:nvSpPr>
          <p:cNvPr id="26" name="Oval 25"/>
          <p:cNvSpPr>
            <a:spLocks noChangeAspect="1"/>
          </p:cNvSpPr>
          <p:nvPr/>
        </p:nvSpPr>
        <p:spPr>
          <a:xfrm>
            <a:off x="5935313" y="3949258"/>
            <a:ext cx="806470" cy="806366"/>
          </a:xfrm>
          <a:prstGeom prst="ellipse">
            <a:avLst/>
          </a:prstGeom>
          <a:solidFill>
            <a:schemeClr val="accent5"/>
          </a:solidFill>
          <a:ln w="571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AutoShape 84"/>
          <p:cNvSpPr>
            <a:spLocks/>
          </p:cNvSpPr>
          <p:nvPr/>
        </p:nvSpPr>
        <p:spPr bwMode="auto">
          <a:xfrm>
            <a:off x="6164490" y="4204302"/>
            <a:ext cx="364461" cy="32438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792" y="0"/>
                </a:moveTo>
                <a:cubicBezTo>
                  <a:pt x="12101" y="0"/>
                  <a:pt x="13398" y="296"/>
                  <a:pt x="14685" y="897"/>
                </a:cubicBezTo>
                <a:cubicBezTo>
                  <a:pt x="15972" y="1496"/>
                  <a:pt x="17128" y="2309"/>
                  <a:pt x="18152" y="3337"/>
                </a:cubicBezTo>
                <a:cubicBezTo>
                  <a:pt x="19173" y="4365"/>
                  <a:pt x="20002" y="5565"/>
                  <a:pt x="20642" y="6941"/>
                </a:cubicBezTo>
                <a:cubicBezTo>
                  <a:pt x="21277" y="8313"/>
                  <a:pt x="21599" y="9784"/>
                  <a:pt x="21599" y="11354"/>
                </a:cubicBezTo>
                <a:cubicBezTo>
                  <a:pt x="21599" y="12995"/>
                  <a:pt x="21305" y="14571"/>
                  <a:pt x="20722" y="16085"/>
                </a:cubicBezTo>
                <a:lnTo>
                  <a:pt x="20416" y="16895"/>
                </a:lnTo>
                <a:lnTo>
                  <a:pt x="18455" y="17245"/>
                </a:lnTo>
                <a:cubicBezTo>
                  <a:pt x="18253" y="18183"/>
                  <a:pt x="17836" y="18965"/>
                  <a:pt x="17210" y="19589"/>
                </a:cubicBezTo>
                <a:cubicBezTo>
                  <a:pt x="16584" y="20207"/>
                  <a:pt x="15843" y="20521"/>
                  <a:pt x="14996" y="20521"/>
                </a:cubicBezTo>
                <a:lnTo>
                  <a:pt x="14996" y="21074"/>
                </a:lnTo>
                <a:cubicBezTo>
                  <a:pt x="14996" y="21218"/>
                  <a:pt x="14953" y="21343"/>
                  <a:pt x="14862" y="21447"/>
                </a:cubicBezTo>
                <a:cubicBezTo>
                  <a:pt x="14770" y="21549"/>
                  <a:pt x="14664" y="21599"/>
                  <a:pt x="14534" y="21599"/>
                </a:cubicBezTo>
                <a:lnTo>
                  <a:pt x="13633" y="21599"/>
                </a:lnTo>
                <a:cubicBezTo>
                  <a:pt x="13513" y="21599"/>
                  <a:pt x="13407" y="21549"/>
                  <a:pt x="13322" y="21447"/>
                </a:cubicBezTo>
                <a:cubicBezTo>
                  <a:pt x="13238" y="21343"/>
                  <a:pt x="13193" y="21218"/>
                  <a:pt x="13193" y="21074"/>
                </a:cubicBezTo>
                <a:lnTo>
                  <a:pt x="13193" y="11354"/>
                </a:lnTo>
                <a:cubicBezTo>
                  <a:pt x="13193" y="11210"/>
                  <a:pt x="13238" y="11081"/>
                  <a:pt x="13322" y="10970"/>
                </a:cubicBezTo>
                <a:cubicBezTo>
                  <a:pt x="13407" y="10857"/>
                  <a:pt x="13513" y="10798"/>
                  <a:pt x="13633" y="10798"/>
                </a:cubicBezTo>
                <a:lnTo>
                  <a:pt x="14534" y="10798"/>
                </a:lnTo>
                <a:cubicBezTo>
                  <a:pt x="14654" y="10798"/>
                  <a:pt x="14763" y="10857"/>
                  <a:pt x="14857" y="10970"/>
                </a:cubicBezTo>
                <a:cubicBezTo>
                  <a:pt x="14949" y="11081"/>
                  <a:pt x="14996" y="11210"/>
                  <a:pt x="14996" y="11354"/>
                </a:cubicBezTo>
                <a:lnTo>
                  <a:pt x="14996" y="11880"/>
                </a:lnTo>
                <a:cubicBezTo>
                  <a:pt x="15655" y="11880"/>
                  <a:pt x="16262" y="12077"/>
                  <a:pt x="16810" y="12476"/>
                </a:cubicBezTo>
                <a:cubicBezTo>
                  <a:pt x="17359" y="12874"/>
                  <a:pt x="17787" y="13396"/>
                  <a:pt x="18095" y="14046"/>
                </a:cubicBezTo>
                <a:lnTo>
                  <a:pt x="18533" y="13947"/>
                </a:lnTo>
                <a:cubicBezTo>
                  <a:pt x="18782" y="13136"/>
                  <a:pt x="18900" y="12272"/>
                  <a:pt x="18893" y="11354"/>
                </a:cubicBezTo>
                <a:cubicBezTo>
                  <a:pt x="18893" y="10228"/>
                  <a:pt x="18648" y="9177"/>
                  <a:pt x="18156" y="8194"/>
                </a:cubicBezTo>
                <a:cubicBezTo>
                  <a:pt x="17665" y="7220"/>
                  <a:pt x="17024" y="6362"/>
                  <a:pt x="16238" y="5622"/>
                </a:cubicBezTo>
                <a:cubicBezTo>
                  <a:pt x="15455" y="4882"/>
                  <a:pt x="14584" y="4300"/>
                  <a:pt x="13621" y="3877"/>
                </a:cubicBezTo>
                <a:cubicBezTo>
                  <a:pt x="12659" y="3456"/>
                  <a:pt x="11717" y="3241"/>
                  <a:pt x="10792" y="3241"/>
                </a:cubicBezTo>
                <a:cubicBezTo>
                  <a:pt x="9868" y="3241"/>
                  <a:pt x="8929" y="3456"/>
                  <a:pt x="7971" y="3877"/>
                </a:cubicBezTo>
                <a:cubicBezTo>
                  <a:pt x="7015" y="4300"/>
                  <a:pt x="6140" y="4879"/>
                  <a:pt x="5358" y="5608"/>
                </a:cubicBezTo>
                <a:cubicBezTo>
                  <a:pt x="4572" y="6336"/>
                  <a:pt x="3934" y="7198"/>
                  <a:pt x="3443" y="8183"/>
                </a:cubicBezTo>
                <a:cubicBezTo>
                  <a:pt x="2951" y="9171"/>
                  <a:pt x="2704" y="10219"/>
                  <a:pt x="2704" y="11329"/>
                </a:cubicBezTo>
                <a:cubicBezTo>
                  <a:pt x="2704" y="12267"/>
                  <a:pt x="2824" y="13136"/>
                  <a:pt x="3066" y="13947"/>
                </a:cubicBezTo>
                <a:lnTo>
                  <a:pt x="3504" y="14046"/>
                </a:lnTo>
                <a:cubicBezTo>
                  <a:pt x="3812" y="13396"/>
                  <a:pt x="4240" y="12874"/>
                  <a:pt x="4789" y="12476"/>
                </a:cubicBezTo>
                <a:cubicBezTo>
                  <a:pt x="5337" y="12077"/>
                  <a:pt x="5942" y="11880"/>
                  <a:pt x="6603" y="11880"/>
                </a:cubicBezTo>
                <a:lnTo>
                  <a:pt x="6603" y="11354"/>
                </a:lnTo>
                <a:cubicBezTo>
                  <a:pt x="6603" y="11210"/>
                  <a:pt x="6646" y="11081"/>
                  <a:pt x="6737" y="10970"/>
                </a:cubicBezTo>
                <a:cubicBezTo>
                  <a:pt x="6827" y="10857"/>
                  <a:pt x="6935" y="10798"/>
                  <a:pt x="7065" y="10798"/>
                </a:cubicBezTo>
                <a:lnTo>
                  <a:pt x="7966" y="10798"/>
                </a:lnTo>
                <a:cubicBezTo>
                  <a:pt x="8086" y="10798"/>
                  <a:pt x="8187" y="10857"/>
                  <a:pt x="8270" y="10970"/>
                </a:cubicBezTo>
                <a:cubicBezTo>
                  <a:pt x="8352" y="11081"/>
                  <a:pt x="8392" y="11210"/>
                  <a:pt x="8392" y="11354"/>
                </a:cubicBezTo>
                <a:lnTo>
                  <a:pt x="8392" y="21074"/>
                </a:lnTo>
                <a:cubicBezTo>
                  <a:pt x="8392" y="21218"/>
                  <a:pt x="8352" y="21343"/>
                  <a:pt x="8270" y="21447"/>
                </a:cubicBezTo>
                <a:cubicBezTo>
                  <a:pt x="8187" y="21549"/>
                  <a:pt x="8086" y="21599"/>
                  <a:pt x="7966" y="21599"/>
                </a:cubicBezTo>
                <a:lnTo>
                  <a:pt x="7065" y="21599"/>
                </a:lnTo>
                <a:cubicBezTo>
                  <a:pt x="6945" y="21599"/>
                  <a:pt x="6836" y="21549"/>
                  <a:pt x="6742" y="21447"/>
                </a:cubicBezTo>
                <a:cubicBezTo>
                  <a:pt x="6650" y="21343"/>
                  <a:pt x="6603" y="21218"/>
                  <a:pt x="6603" y="21074"/>
                </a:cubicBezTo>
                <a:lnTo>
                  <a:pt x="6603" y="20521"/>
                </a:lnTo>
                <a:cubicBezTo>
                  <a:pt x="6189" y="20521"/>
                  <a:pt x="5789" y="20436"/>
                  <a:pt x="5403" y="20270"/>
                </a:cubicBezTo>
                <a:cubicBezTo>
                  <a:pt x="5015" y="20103"/>
                  <a:pt x="4671" y="19877"/>
                  <a:pt x="4370" y="19589"/>
                </a:cubicBezTo>
                <a:cubicBezTo>
                  <a:pt x="4073" y="19298"/>
                  <a:pt x="3814" y="18956"/>
                  <a:pt x="3598" y="18558"/>
                </a:cubicBezTo>
                <a:cubicBezTo>
                  <a:pt x="3388" y="18163"/>
                  <a:pt x="3233" y="17725"/>
                  <a:pt x="3144" y="17245"/>
                </a:cubicBezTo>
                <a:lnTo>
                  <a:pt x="1172" y="16895"/>
                </a:lnTo>
                <a:lnTo>
                  <a:pt x="877" y="16085"/>
                </a:lnTo>
                <a:cubicBezTo>
                  <a:pt x="294" y="14571"/>
                  <a:pt x="0" y="12987"/>
                  <a:pt x="0" y="11326"/>
                </a:cubicBezTo>
                <a:cubicBezTo>
                  <a:pt x="0" y="9776"/>
                  <a:pt x="320" y="8310"/>
                  <a:pt x="957" y="6938"/>
                </a:cubicBezTo>
                <a:cubicBezTo>
                  <a:pt x="1595" y="5563"/>
                  <a:pt x="2426" y="4363"/>
                  <a:pt x="3447" y="3335"/>
                </a:cubicBezTo>
                <a:cubicBezTo>
                  <a:pt x="4469" y="2307"/>
                  <a:pt x="5622" y="1493"/>
                  <a:pt x="6909" y="895"/>
                </a:cubicBezTo>
                <a:cubicBezTo>
                  <a:pt x="8192" y="296"/>
                  <a:pt x="9486" y="0"/>
                  <a:pt x="10792" y="0"/>
                </a:cubicBezTo>
              </a:path>
            </a:pathLst>
          </a:custGeom>
          <a:solidFill>
            <a:schemeClr val="bg1"/>
          </a:solidFill>
          <a:ln>
            <a:noFill/>
          </a:ln>
          <a:effectLst/>
          <a:extLst/>
        </p:spPr>
        <p:txBody>
          <a:bodyPr lIns="38100" tIns="38100" rIns="38100" bIns="38100" anchor="ctr"/>
          <a:lstStyle/>
          <a:p>
            <a:pPr defTabSz="342900">
              <a:defRPr/>
            </a:pPr>
            <a:endParaRPr lang="es-ES" sz="220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25" name="Oval 24"/>
          <p:cNvSpPr>
            <a:spLocks noChangeAspect="1"/>
          </p:cNvSpPr>
          <p:nvPr/>
        </p:nvSpPr>
        <p:spPr>
          <a:xfrm>
            <a:off x="1932524" y="3949258"/>
            <a:ext cx="806470" cy="806366"/>
          </a:xfrm>
          <a:prstGeom prst="ellipse">
            <a:avLst/>
          </a:prstGeom>
          <a:solidFill>
            <a:schemeClr val="accent4"/>
          </a:solidFill>
          <a:ln w="571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AutoShape 25"/>
          <p:cNvSpPr>
            <a:spLocks/>
          </p:cNvSpPr>
          <p:nvPr/>
        </p:nvSpPr>
        <p:spPr bwMode="auto">
          <a:xfrm>
            <a:off x="2161037" y="4221811"/>
            <a:ext cx="350969" cy="24355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708" y="0"/>
                </a:moveTo>
                <a:cubicBezTo>
                  <a:pt x="20811" y="10"/>
                  <a:pt x="20921" y="52"/>
                  <a:pt x="21049" y="116"/>
                </a:cubicBezTo>
                <a:cubicBezTo>
                  <a:pt x="21416" y="342"/>
                  <a:pt x="21599" y="730"/>
                  <a:pt x="21599" y="1281"/>
                </a:cubicBezTo>
                <a:lnTo>
                  <a:pt x="21599" y="20332"/>
                </a:lnTo>
                <a:cubicBezTo>
                  <a:pt x="21599" y="20883"/>
                  <a:pt x="21416" y="21271"/>
                  <a:pt x="21049" y="21497"/>
                </a:cubicBezTo>
                <a:cubicBezTo>
                  <a:pt x="20921" y="21564"/>
                  <a:pt x="20811" y="21599"/>
                  <a:pt x="20708" y="21599"/>
                </a:cubicBezTo>
                <a:cubicBezTo>
                  <a:pt x="20451" y="21599"/>
                  <a:pt x="20236" y="21476"/>
                  <a:pt x="20065" y="21229"/>
                </a:cubicBezTo>
                <a:lnTo>
                  <a:pt x="14402" y="13267"/>
                </a:lnTo>
                <a:lnTo>
                  <a:pt x="14402" y="17275"/>
                </a:lnTo>
                <a:cubicBezTo>
                  <a:pt x="14402" y="17801"/>
                  <a:pt x="14331" y="18305"/>
                  <a:pt x="14187" y="18775"/>
                </a:cubicBezTo>
                <a:cubicBezTo>
                  <a:pt x="14042" y="19248"/>
                  <a:pt x="13849" y="19665"/>
                  <a:pt x="13606" y="20028"/>
                </a:cubicBezTo>
                <a:cubicBezTo>
                  <a:pt x="13364" y="20385"/>
                  <a:pt x="13080" y="20671"/>
                  <a:pt x="12757" y="20879"/>
                </a:cubicBezTo>
                <a:cubicBezTo>
                  <a:pt x="12431" y="21091"/>
                  <a:pt x="12084" y="21193"/>
                  <a:pt x="11707" y="21193"/>
                </a:cubicBezTo>
                <a:lnTo>
                  <a:pt x="2705" y="21193"/>
                </a:lnTo>
                <a:cubicBezTo>
                  <a:pt x="2340" y="21193"/>
                  <a:pt x="1990" y="21091"/>
                  <a:pt x="1664" y="20879"/>
                </a:cubicBezTo>
                <a:cubicBezTo>
                  <a:pt x="1334" y="20671"/>
                  <a:pt x="1047" y="20385"/>
                  <a:pt x="802" y="20028"/>
                </a:cubicBezTo>
                <a:cubicBezTo>
                  <a:pt x="555" y="19665"/>
                  <a:pt x="359" y="19252"/>
                  <a:pt x="215" y="18786"/>
                </a:cubicBezTo>
                <a:cubicBezTo>
                  <a:pt x="71" y="18316"/>
                  <a:pt x="0" y="17815"/>
                  <a:pt x="0" y="17275"/>
                </a:cubicBezTo>
                <a:lnTo>
                  <a:pt x="0" y="4293"/>
                </a:lnTo>
                <a:cubicBezTo>
                  <a:pt x="0" y="3760"/>
                  <a:pt x="70" y="3262"/>
                  <a:pt x="215" y="2789"/>
                </a:cubicBezTo>
                <a:cubicBezTo>
                  <a:pt x="359" y="2312"/>
                  <a:pt x="555" y="1906"/>
                  <a:pt x="802" y="1560"/>
                </a:cubicBezTo>
                <a:cubicBezTo>
                  <a:pt x="1047" y="1221"/>
                  <a:pt x="1334" y="946"/>
                  <a:pt x="1664" y="734"/>
                </a:cubicBezTo>
                <a:cubicBezTo>
                  <a:pt x="1990" y="526"/>
                  <a:pt x="2340" y="420"/>
                  <a:pt x="2705" y="420"/>
                </a:cubicBezTo>
                <a:lnTo>
                  <a:pt x="11707" y="420"/>
                </a:lnTo>
                <a:cubicBezTo>
                  <a:pt x="12074" y="420"/>
                  <a:pt x="12421" y="526"/>
                  <a:pt x="12752" y="734"/>
                </a:cubicBezTo>
                <a:cubicBezTo>
                  <a:pt x="13078" y="946"/>
                  <a:pt x="13364" y="1221"/>
                  <a:pt x="13606" y="1560"/>
                </a:cubicBezTo>
                <a:cubicBezTo>
                  <a:pt x="13849" y="1906"/>
                  <a:pt x="14042" y="2312"/>
                  <a:pt x="14187" y="2789"/>
                </a:cubicBezTo>
                <a:cubicBezTo>
                  <a:pt x="14331" y="3262"/>
                  <a:pt x="14402" y="3760"/>
                  <a:pt x="14402" y="4293"/>
                </a:cubicBezTo>
                <a:lnTo>
                  <a:pt x="14402" y="8346"/>
                </a:lnTo>
                <a:lnTo>
                  <a:pt x="20065" y="388"/>
                </a:lnTo>
                <a:cubicBezTo>
                  <a:pt x="20243" y="127"/>
                  <a:pt x="20456" y="0"/>
                  <a:pt x="20708" y="0"/>
                </a:cubicBezTo>
              </a:path>
            </a:pathLst>
          </a:custGeom>
          <a:solidFill>
            <a:schemeClr val="bg1"/>
          </a:solidFill>
          <a:ln>
            <a:noFill/>
          </a:ln>
          <a:effectLst/>
          <a:extLst/>
        </p:spPr>
        <p:txBody>
          <a:bodyPr lIns="38100" tIns="38100" rIns="38100" bIns="38100" anchor="ctr"/>
          <a:lstStyle/>
          <a:p>
            <a:pPr defTabSz="342900">
              <a:defRPr/>
            </a:pPr>
            <a:endParaRPr lang="es-ES" sz="2200">
              <a:solidFill>
                <a:srgbClr val="44CEB9"/>
              </a:solidFill>
              <a:effectLst>
                <a:outerShdw blurRad="38100" dist="38100" dir="2700000" algn="tl">
                  <a:srgbClr val="000000"/>
                </a:outerShdw>
              </a:effectLst>
              <a:latin typeface="Gill Sans" charset="0"/>
              <a:cs typeface="Gill Sans" charset="0"/>
              <a:sym typeface="Gill Sans" charset="0"/>
            </a:endParaRPr>
          </a:p>
        </p:txBody>
      </p:sp>
      <p:sp>
        <p:nvSpPr>
          <p:cNvPr id="27" name="Oval 26"/>
          <p:cNvSpPr>
            <a:spLocks noChangeAspect="1"/>
          </p:cNvSpPr>
          <p:nvPr/>
        </p:nvSpPr>
        <p:spPr>
          <a:xfrm>
            <a:off x="9938101" y="3949258"/>
            <a:ext cx="806470" cy="806366"/>
          </a:xfrm>
          <a:prstGeom prst="ellipse">
            <a:avLst/>
          </a:prstGeom>
          <a:solidFill>
            <a:srgbClr val="41B5E8"/>
          </a:solidFill>
          <a:ln w="571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Freeform 166"/>
          <p:cNvSpPr>
            <a:spLocks noChangeArrowheads="1"/>
          </p:cNvSpPr>
          <p:nvPr/>
        </p:nvSpPr>
        <p:spPr bwMode="auto">
          <a:xfrm>
            <a:off x="10210007" y="4164707"/>
            <a:ext cx="272212" cy="312425"/>
          </a:xfrm>
          <a:custGeom>
            <a:avLst/>
            <a:gdLst>
              <a:gd name="T0" fmla="*/ 371 w 390"/>
              <a:gd name="T1" fmla="*/ 0 h 445"/>
              <a:gd name="T2" fmla="*/ 371 w 390"/>
              <a:gd name="T3" fmla="*/ 0 h 445"/>
              <a:gd name="T4" fmla="*/ 310 w 390"/>
              <a:gd name="T5" fmla="*/ 0 h 445"/>
              <a:gd name="T6" fmla="*/ 292 w 390"/>
              <a:gd name="T7" fmla="*/ 28 h 445"/>
              <a:gd name="T8" fmla="*/ 292 w 390"/>
              <a:gd name="T9" fmla="*/ 444 h 445"/>
              <a:gd name="T10" fmla="*/ 389 w 390"/>
              <a:gd name="T11" fmla="*/ 444 h 445"/>
              <a:gd name="T12" fmla="*/ 389 w 390"/>
              <a:gd name="T13" fmla="*/ 28 h 445"/>
              <a:gd name="T14" fmla="*/ 371 w 390"/>
              <a:gd name="T15" fmla="*/ 0 h 445"/>
              <a:gd name="T16" fmla="*/ 221 w 390"/>
              <a:gd name="T17" fmla="*/ 151 h 445"/>
              <a:gd name="T18" fmla="*/ 221 w 390"/>
              <a:gd name="T19" fmla="*/ 151 h 445"/>
              <a:gd name="T20" fmla="*/ 168 w 390"/>
              <a:gd name="T21" fmla="*/ 151 h 445"/>
              <a:gd name="T22" fmla="*/ 141 w 390"/>
              <a:gd name="T23" fmla="*/ 178 h 445"/>
              <a:gd name="T24" fmla="*/ 141 w 390"/>
              <a:gd name="T25" fmla="*/ 444 h 445"/>
              <a:gd name="T26" fmla="*/ 248 w 390"/>
              <a:gd name="T27" fmla="*/ 444 h 445"/>
              <a:gd name="T28" fmla="*/ 248 w 390"/>
              <a:gd name="T29" fmla="*/ 178 h 445"/>
              <a:gd name="T30" fmla="*/ 221 w 390"/>
              <a:gd name="T31" fmla="*/ 151 h 445"/>
              <a:gd name="T32" fmla="*/ 70 w 390"/>
              <a:gd name="T33" fmla="*/ 302 h 445"/>
              <a:gd name="T34" fmla="*/ 70 w 390"/>
              <a:gd name="T35" fmla="*/ 302 h 445"/>
              <a:gd name="T36" fmla="*/ 17 w 390"/>
              <a:gd name="T37" fmla="*/ 302 h 445"/>
              <a:gd name="T38" fmla="*/ 0 w 390"/>
              <a:gd name="T39" fmla="*/ 319 h 445"/>
              <a:gd name="T40" fmla="*/ 0 w 390"/>
              <a:gd name="T41" fmla="*/ 444 h 445"/>
              <a:gd name="T42" fmla="*/ 97 w 390"/>
              <a:gd name="T43" fmla="*/ 444 h 445"/>
              <a:gd name="T44" fmla="*/ 97 w 390"/>
              <a:gd name="T45" fmla="*/ 319 h 445"/>
              <a:gd name="T46" fmla="*/ 70 w 390"/>
              <a:gd name="T47" fmla="*/ 302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0" h="445">
                <a:moveTo>
                  <a:pt x="371" y="0"/>
                </a:moveTo>
                <a:lnTo>
                  <a:pt x="371" y="0"/>
                </a:lnTo>
                <a:cubicBezTo>
                  <a:pt x="310" y="0"/>
                  <a:pt x="310" y="0"/>
                  <a:pt x="310" y="0"/>
                </a:cubicBezTo>
                <a:cubicBezTo>
                  <a:pt x="301" y="0"/>
                  <a:pt x="292" y="10"/>
                  <a:pt x="292" y="28"/>
                </a:cubicBezTo>
                <a:cubicBezTo>
                  <a:pt x="292" y="444"/>
                  <a:pt x="292" y="444"/>
                  <a:pt x="292" y="444"/>
                </a:cubicBezTo>
                <a:cubicBezTo>
                  <a:pt x="389" y="444"/>
                  <a:pt x="389" y="444"/>
                  <a:pt x="389" y="444"/>
                </a:cubicBezTo>
                <a:cubicBezTo>
                  <a:pt x="389" y="28"/>
                  <a:pt x="389" y="28"/>
                  <a:pt x="389" y="28"/>
                </a:cubicBezTo>
                <a:cubicBezTo>
                  <a:pt x="389" y="10"/>
                  <a:pt x="380" y="0"/>
                  <a:pt x="371" y="0"/>
                </a:cubicBezTo>
                <a:close/>
                <a:moveTo>
                  <a:pt x="221" y="151"/>
                </a:moveTo>
                <a:lnTo>
                  <a:pt x="221" y="151"/>
                </a:lnTo>
                <a:cubicBezTo>
                  <a:pt x="168" y="151"/>
                  <a:pt x="168" y="151"/>
                  <a:pt x="168" y="151"/>
                </a:cubicBezTo>
                <a:cubicBezTo>
                  <a:pt x="150" y="151"/>
                  <a:pt x="141" y="160"/>
                  <a:pt x="141" y="178"/>
                </a:cubicBezTo>
                <a:cubicBezTo>
                  <a:pt x="141" y="444"/>
                  <a:pt x="141" y="444"/>
                  <a:pt x="141" y="444"/>
                </a:cubicBezTo>
                <a:cubicBezTo>
                  <a:pt x="248" y="444"/>
                  <a:pt x="248" y="444"/>
                  <a:pt x="248" y="444"/>
                </a:cubicBezTo>
                <a:cubicBezTo>
                  <a:pt x="248" y="178"/>
                  <a:pt x="248" y="178"/>
                  <a:pt x="248" y="178"/>
                </a:cubicBezTo>
                <a:cubicBezTo>
                  <a:pt x="248" y="160"/>
                  <a:pt x="230" y="151"/>
                  <a:pt x="221" y="151"/>
                </a:cubicBezTo>
                <a:close/>
                <a:moveTo>
                  <a:pt x="70" y="302"/>
                </a:moveTo>
                <a:lnTo>
                  <a:pt x="70" y="302"/>
                </a:lnTo>
                <a:cubicBezTo>
                  <a:pt x="17" y="302"/>
                  <a:pt x="17" y="302"/>
                  <a:pt x="17" y="302"/>
                </a:cubicBezTo>
                <a:cubicBezTo>
                  <a:pt x="0" y="302"/>
                  <a:pt x="0" y="310"/>
                  <a:pt x="0" y="319"/>
                </a:cubicBezTo>
                <a:cubicBezTo>
                  <a:pt x="0" y="444"/>
                  <a:pt x="0" y="444"/>
                  <a:pt x="0" y="444"/>
                </a:cubicBezTo>
                <a:cubicBezTo>
                  <a:pt x="97" y="444"/>
                  <a:pt x="97" y="444"/>
                  <a:pt x="97" y="444"/>
                </a:cubicBezTo>
                <a:cubicBezTo>
                  <a:pt x="97" y="319"/>
                  <a:pt x="97" y="319"/>
                  <a:pt x="97" y="319"/>
                </a:cubicBezTo>
                <a:cubicBezTo>
                  <a:pt x="97" y="310"/>
                  <a:pt x="88" y="302"/>
                  <a:pt x="70" y="302"/>
                </a:cubicBezTo>
                <a:close/>
              </a:path>
            </a:pathLst>
          </a:custGeom>
          <a:solidFill>
            <a:schemeClr val="bg1"/>
          </a:solidFill>
          <a:ln>
            <a:noFill/>
          </a:ln>
          <a:effectLst/>
          <a:extLst/>
        </p:spPr>
        <p:txBody>
          <a:bodyPr wrap="none" anchor="ctr"/>
          <a:lstStyle/>
          <a:p>
            <a:endParaRPr lang="en-US"/>
          </a:p>
        </p:txBody>
      </p:sp>
    </p:spTree>
    <p:extLst>
      <p:ext uri="{BB962C8B-B14F-4D97-AF65-F5344CB8AC3E}">
        <p14:creationId xmlns:p14="http://schemas.microsoft.com/office/powerpoint/2010/main" val="154767317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e chart</a:t>
            </a:r>
            <a:endParaRPr lang="en-US" dirty="0"/>
          </a:p>
        </p:txBody>
      </p:sp>
      <p:graphicFrame>
        <p:nvGraphicFramePr>
          <p:cNvPr id="3" name="Chart 2"/>
          <p:cNvGraphicFramePr/>
          <p:nvPr>
            <p:extLst>
              <p:ext uri="{D42A27DB-BD31-4B8C-83A1-F6EECF244321}">
                <p14:modId xmlns:p14="http://schemas.microsoft.com/office/powerpoint/2010/main" val="3905718376"/>
              </p:ext>
            </p:extLst>
          </p:nvPr>
        </p:nvGraphicFramePr>
        <p:xfrm>
          <a:off x="4303805" y="1526853"/>
          <a:ext cx="4222243" cy="4059658"/>
        </p:xfrm>
        <a:graphic>
          <a:graphicData uri="http://schemas.openxmlformats.org/drawingml/2006/chart">
            <c:chart xmlns:c="http://schemas.openxmlformats.org/drawingml/2006/chart" xmlns:r="http://schemas.openxmlformats.org/officeDocument/2006/relationships" r:id="rId14"/>
          </a:graphicData>
        </a:graphic>
      </p:graphicFrame>
      <p:grpSp>
        <p:nvGrpSpPr>
          <p:cNvPr id="33" name="Group 32"/>
          <p:cNvGrpSpPr/>
          <p:nvPr>
            <p:custDataLst>
              <p:tags r:id="rId1"/>
            </p:custDataLst>
          </p:nvPr>
        </p:nvGrpSpPr>
        <p:grpSpPr>
          <a:xfrm>
            <a:off x="8994872" y="1815418"/>
            <a:ext cx="3588649" cy="1048660"/>
            <a:chOff x="8942620" y="1789292"/>
            <a:chExt cx="3588649" cy="1048660"/>
          </a:xfrm>
        </p:grpSpPr>
        <p:grpSp>
          <p:nvGrpSpPr>
            <p:cNvPr id="31" name="Group 30"/>
            <p:cNvGrpSpPr/>
            <p:nvPr>
              <p:custDataLst>
                <p:tags r:id="rId11"/>
              </p:custDataLst>
            </p:nvPr>
          </p:nvGrpSpPr>
          <p:grpSpPr>
            <a:xfrm>
              <a:off x="8942620" y="1810443"/>
              <a:ext cx="821800" cy="821692"/>
              <a:chOff x="16984258" y="4962199"/>
              <a:chExt cx="1388351" cy="1388169"/>
            </a:xfrm>
          </p:grpSpPr>
          <p:sp>
            <p:nvSpPr>
              <p:cNvPr id="12" name="Oval 11"/>
              <p:cNvSpPr/>
              <p:nvPr/>
            </p:nvSpPr>
            <p:spPr>
              <a:xfrm>
                <a:off x="16984258" y="4962199"/>
                <a:ext cx="1388351" cy="1388169"/>
              </a:xfrm>
              <a:prstGeom prst="ellipse">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9" tIns="91445" rIns="182889" bIns="91445" rtlCol="0" anchor="ctr"/>
              <a:lstStyle/>
              <a:p>
                <a:pPr algn="ctr"/>
                <a:endParaRPr lang="id-ID">
                  <a:cs typeface="Source Sans Pro ExtraLight"/>
                </a:endParaRPr>
              </a:p>
            </p:txBody>
          </p:sp>
          <p:sp>
            <p:nvSpPr>
              <p:cNvPr id="13" name="Freeform 6"/>
              <p:cNvSpPr>
                <a:spLocks noChangeArrowheads="1"/>
              </p:cNvSpPr>
              <p:nvPr/>
            </p:nvSpPr>
            <p:spPr bwMode="auto">
              <a:xfrm>
                <a:off x="17325686" y="5312635"/>
                <a:ext cx="709067" cy="695025"/>
              </a:xfrm>
              <a:custGeom>
                <a:avLst/>
                <a:gdLst>
                  <a:gd name="T0" fmla="*/ 425 w 444"/>
                  <a:gd name="T1" fmla="*/ 17 h 435"/>
                  <a:gd name="T2" fmla="*/ 425 w 444"/>
                  <a:gd name="T3" fmla="*/ 17 h 435"/>
                  <a:gd name="T4" fmla="*/ 345 w 444"/>
                  <a:gd name="T5" fmla="*/ 35 h 435"/>
                  <a:gd name="T6" fmla="*/ 0 w 444"/>
                  <a:gd name="T7" fmla="*/ 222 h 435"/>
                  <a:gd name="T8" fmla="*/ 195 w 444"/>
                  <a:gd name="T9" fmla="*/ 248 h 435"/>
                  <a:gd name="T10" fmla="*/ 221 w 444"/>
                  <a:gd name="T11" fmla="*/ 434 h 435"/>
                  <a:gd name="T12" fmla="*/ 399 w 444"/>
                  <a:gd name="T13" fmla="*/ 89 h 435"/>
                  <a:gd name="T14" fmla="*/ 425 w 444"/>
                  <a:gd name="T15" fmla="*/ 17 h 435"/>
                  <a:gd name="T16" fmla="*/ 381 w 444"/>
                  <a:gd name="T17" fmla="*/ 62 h 435"/>
                  <a:gd name="T18" fmla="*/ 381 w 444"/>
                  <a:gd name="T19" fmla="*/ 62 h 435"/>
                  <a:gd name="T20" fmla="*/ 239 w 444"/>
                  <a:gd name="T21" fmla="*/ 319 h 435"/>
                  <a:gd name="T22" fmla="*/ 230 w 444"/>
                  <a:gd name="T23" fmla="*/ 204 h 435"/>
                  <a:gd name="T24" fmla="*/ 381 w 444"/>
                  <a:gd name="T25" fmla="*/ 6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435">
                    <a:moveTo>
                      <a:pt x="425" y="17"/>
                    </a:moveTo>
                    <a:lnTo>
                      <a:pt x="425" y="17"/>
                    </a:lnTo>
                    <a:cubicBezTo>
                      <a:pt x="408" y="0"/>
                      <a:pt x="399" y="17"/>
                      <a:pt x="345" y="35"/>
                    </a:cubicBezTo>
                    <a:cubicBezTo>
                      <a:pt x="221" y="97"/>
                      <a:pt x="0" y="222"/>
                      <a:pt x="0" y="222"/>
                    </a:cubicBezTo>
                    <a:cubicBezTo>
                      <a:pt x="195" y="248"/>
                      <a:pt x="195" y="248"/>
                      <a:pt x="195" y="248"/>
                    </a:cubicBezTo>
                    <a:cubicBezTo>
                      <a:pt x="221" y="434"/>
                      <a:pt x="221" y="434"/>
                      <a:pt x="221" y="434"/>
                    </a:cubicBezTo>
                    <a:cubicBezTo>
                      <a:pt x="221" y="434"/>
                      <a:pt x="345" y="222"/>
                      <a:pt x="399" y="89"/>
                    </a:cubicBezTo>
                    <a:cubicBezTo>
                      <a:pt x="425" y="44"/>
                      <a:pt x="443" y="26"/>
                      <a:pt x="425" y="17"/>
                    </a:cubicBezTo>
                    <a:close/>
                    <a:moveTo>
                      <a:pt x="381" y="62"/>
                    </a:moveTo>
                    <a:lnTo>
                      <a:pt x="381" y="62"/>
                    </a:lnTo>
                    <a:cubicBezTo>
                      <a:pt x="239" y="319"/>
                      <a:pt x="239" y="319"/>
                      <a:pt x="239" y="319"/>
                    </a:cubicBezTo>
                    <a:cubicBezTo>
                      <a:pt x="230" y="204"/>
                      <a:pt x="230" y="204"/>
                      <a:pt x="230" y="204"/>
                    </a:cubicBezTo>
                    <a:lnTo>
                      <a:pt x="381" y="62"/>
                    </a:lnTo>
                    <a:close/>
                  </a:path>
                </a:pathLst>
              </a:custGeom>
              <a:solidFill>
                <a:srgbClr val="FFFFFF"/>
              </a:solidFill>
              <a:ln>
                <a:noFill/>
              </a:ln>
              <a:effectLst/>
              <a:extLst/>
            </p:spPr>
            <p:txBody>
              <a:bodyPr wrap="none" anchor="ctr"/>
              <a:lstStyle/>
              <a:p>
                <a:endParaRPr lang="en-US"/>
              </a:p>
            </p:txBody>
          </p:sp>
        </p:grpSp>
        <p:grpSp>
          <p:nvGrpSpPr>
            <p:cNvPr id="5" name="Group 4"/>
            <p:cNvGrpSpPr/>
            <p:nvPr>
              <p:custDataLst>
                <p:tags r:id="rId12"/>
              </p:custDataLst>
            </p:nvPr>
          </p:nvGrpSpPr>
          <p:grpSpPr>
            <a:xfrm>
              <a:off x="10165305" y="1789292"/>
              <a:ext cx="2365964" cy="1048660"/>
              <a:chOff x="4010530" y="4702630"/>
              <a:chExt cx="7513818" cy="1048660"/>
            </a:xfrm>
          </p:grpSpPr>
          <p:sp>
            <p:nvSpPr>
              <p:cNvPr id="6" name="TextBox 5"/>
              <p:cNvSpPr txBox="1"/>
              <p:nvPr/>
            </p:nvSpPr>
            <p:spPr>
              <a:xfrm>
                <a:off x="4010530" y="4702630"/>
                <a:ext cx="7383769" cy="400120"/>
              </a:xfrm>
              <a:prstGeom prst="rect">
                <a:avLst/>
              </a:prstGeom>
              <a:noFill/>
            </p:spPr>
            <p:txBody>
              <a:bodyPr wrap="none" lIns="182889" tIns="91445" rIns="182889" bIns="91445" rtlCol="0">
                <a:spAutoFit/>
              </a:bodyPr>
              <a:lstStyle/>
              <a:p>
                <a:r>
                  <a:rPr lang="id-ID" sz="1400" dirty="0" smtClean="0">
                    <a:solidFill>
                      <a:srgbClr val="58595B"/>
                    </a:solidFill>
                    <a:cs typeface="Source Sans Pro"/>
                  </a:rPr>
                  <a:t>Analysis of the segment</a:t>
                </a:r>
                <a:endParaRPr lang="id-ID" sz="1400" dirty="0">
                  <a:solidFill>
                    <a:srgbClr val="58595B"/>
                  </a:solidFill>
                  <a:cs typeface="Source Sans Pro"/>
                </a:endParaRPr>
              </a:p>
            </p:txBody>
          </p:sp>
          <p:sp>
            <p:nvSpPr>
              <p:cNvPr id="7" name="Rectangle 6"/>
              <p:cNvSpPr/>
              <p:nvPr/>
            </p:nvSpPr>
            <p:spPr>
              <a:xfrm>
                <a:off x="4010530" y="5197282"/>
                <a:ext cx="7513818" cy="554008"/>
              </a:xfrm>
              <a:prstGeom prst="rect">
                <a:avLst/>
              </a:prstGeom>
            </p:spPr>
            <p:txBody>
              <a:bodyPr wrap="square" lIns="182889" tIns="91445" rIns="182889" bIns="91445">
                <a:spAutoFit/>
              </a:bodyPr>
              <a:lstStyle/>
              <a:p>
                <a:r>
                  <a:rPr lang="fr-FR" sz="1200" dirty="0" err="1">
                    <a:solidFill>
                      <a:srgbClr val="58595B"/>
                    </a:solidFill>
                    <a:cs typeface="Source Sans Pro ExtraLight"/>
                  </a:rPr>
                  <a:t>Lorem</a:t>
                </a:r>
                <a:r>
                  <a:rPr lang="fr-FR" sz="1200" dirty="0">
                    <a:solidFill>
                      <a:srgbClr val="58595B"/>
                    </a:solidFill>
                    <a:cs typeface="Source Sans Pro ExtraLight"/>
                  </a:rPr>
                  <a:t> </a:t>
                </a:r>
                <a:r>
                  <a:rPr lang="fr-FR" sz="1200" dirty="0" err="1">
                    <a:solidFill>
                      <a:srgbClr val="58595B"/>
                    </a:solidFill>
                    <a:cs typeface="Source Sans Pro ExtraLight"/>
                  </a:rPr>
                  <a:t>ipsum</a:t>
                </a:r>
                <a:r>
                  <a:rPr lang="fr-FR" sz="1200" dirty="0">
                    <a:solidFill>
                      <a:srgbClr val="58595B"/>
                    </a:solidFill>
                    <a:cs typeface="Source Sans Pro ExtraLight"/>
                  </a:rPr>
                  <a:t> </a:t>
                </a:r>
                <a:r>
                  <a:rPr lang="fr-FR" sz="1200" dirty="0" err="1">
                    <a:solidFill>
                      <a:srgbClr val="58595B"/>
                    </a:solidFill>
                    <a:cs typeface="Source Sans Pro ExtraLight"/>
                  </a:rPr>
                  <a:t>dolor</a:t>
                </a:r>
                <a:r>
                  <a:rPr lang="fr-FR" sz="1200" dirty="0">
                    <a:solidFill>
                      <a:srgbClr val="58595B"/>
                    </a:solidFill>
                    <a:cs typeface="Source Sans Pro ExtraLight"/>
                  </a:rPr>
                  <a:t> </a:t>
                </a:r>
                <a:r>
                  <a:rPr lang="fr-FR" sz="1200" dirty="0" err="1">
                    <a:solidFill>
                      <a:srgbClr val="58595B"/>
                    </a:solidFill>
                    <a:cs typeface="Source Sans Pro ExtraLight"/>
                  </a:rPr>
                  <a:t>sit</a:t>
                </a:r>
                <a:r>
                  <a:rPr lang="fr-FR" sz="1200" dirty="0">
                    <a:solidFill>
                      <a:srgbClr val="58595B"/>
                    </a:solidFill>
                    <a:cs typeface="Source Sans Pro ExtraLight"/>
                  </a:rPr>
                  <a:t> </a:t>
                </a:r>
                <a:r>
                  <a:rPr lang="fr-FR" sz="1200" dirty="0" err="1">
                    <a:solidFill>
                      <a:srgbClr val="58595B"/>
                    </a:solidFill>
                    <a:cs typeface="Source Sans Pro ExtraLight"/>
                  </a:rPr>
                  <a:t>amet</a:t>
                </a:r>
                <a:r>
                  <a:rPr lang="fr-FR" sz="1200" dirty="0">
                    <a:solidFill>
                      <a:srgbClr val="58595B"/>
                    </a:solidFill>
                    <a:cs typeface="Source Sans Pro ExtraLight"/>
                  </a:rPr>
                  <a:t>, </a:t>
                </a:r>
                <a:r>
                  <a:rPr lang="fr-FR" sz="1200" dirty="0" err="1">
                    <a:solidFill>
                      <a:srgbClr val="58595B"/>
                    </a:solidFill>
                    <a:cs typeface="Source Sans Pro ExtraLight"/>
                  </a:rPr>
                  <a:t>consectetur</a:t>
                </a:r>
                <a:r>
                  <a:rPr lang="fr-FR" sz="1200" dirty="0">
                    <a:solidFill>
                      <a:srgbClr val="58595B"/>
                    </a:solidFill>
                    <a:cs typeface="Source Sans Pro ExtraLight"/>
                  </a:rPr>
                  <a:t> </a:t>
                </a:r>
                <a:r>
                  <a:rPr lang="fr-FR" sz="1200" dirty="0" err="1">
                    <a:solidFill>
                      <a:srgbClr val="58595B"/>
                    </a:solidFill>
                    <a:cs typeface="Source Sans Pro ExtraLight"/>
                  </a:rPr>
                  <a:t>adipiscing</a:t>
                </a:r>
                <a:r>
                  <a:rPr lang="fr-FR" sz="1200" dirty="0">
                    <a:solidFill>
                      <a:srgbClr val="58595B"/>
                    </a:solidFill>
                    <a:cs typeface="Source Sans Pro ExtraLight"/>
                  </a:rPr>
                  <a:t> </a:t>
                </a:r>
                <a:r>
                  <a:rPr lang="fr-FR" sz="1200" dirty="0" err="1">
                    <a:solidFill>
                      <a:srgbClr val="58595B"/>
                    </a:solidFill>
                    <a:cs typeface="Source Sans Pro ExtraLight"/>
                  </a:rPr>
                  <a:t>elit</a:t>
                </a:r>
                <a:r>
                  <a:rPr lang="fr-FR" sz="1200" dirty="0" smtClean="0">
                    <a:solidFill>
                      <a:srgbClr val="58595B"/>
                    </a:solidFill>
                    <a:cs typeface="Source Sans Pro ExtraLight"/>
                  </a:rPr>
                  <a:t>.</a:t>
                </a:r>
                <a:endParaRPr lang="en-US" sz="1200" dirty="0">
                  <a:solidFill>
                    <a:srgbClr val="58595B"/>
                  </a:solidFill>
                  <a:cs typeface="Source Sans Pro ExtraLight"/>
                </a:endParaRPr>
              </a:p>
            </p:txBody>
          </p:sp>
        </p:grpSp>
      </p:grpSp>
      <p:grpSp>
        <p:nvGrpSpPr>
          <p:cNvPr id="34" name="Group 33"/>
          <p:cNvGrpSpPr/>
          <p:nvPr>
            <p:custDataLst>
              <p:tags r:id="rId2"/>
            </p:custDataLst>
          </p:nvPr>
        </p:nvGrpSpPr>
        <p:grpSpPr>
          <a:xfrm>
            <a:off x="8994872" y="4373602"/>
            <a:ext cx="3561846" cy="1048660"/>
            <a:chOff x="8969423" y="4347476"/>
            <a:chExt cx="3561846" cy="1048660"/>
          </a:xfrm>
        </p:grpSpPr>
        <p:grpSp>
          <p:nvGrpSpPr>
            <p:cNvPr id="32" name="Group 31"/>
            <p:cNvGrpSpPr/>
            <p:nvPr>
              <p:custDataLst>
                <p:tags r:id="rId9"/>
              </p:custDataLst>
            </p:nvPr>
          </p:nvGrpSpPr>
          <p:grpSpPr>
            <a:xfrm>
              <a:off x="8969423" y="4368627"/>
              <a:ext cx="821800" cy="821692"/>
              <a:chOff x="16723675" y="7603430"/>
              <a:chExt cx="1388351" cy="1388169"/>
            </a:xfrm>
          </p:grpSpPr>
          <p:sp>
            <p:nvSpPr>
              <p:cNvPr id="15" name="Oval 14"/>
              <p:cNvSpPr/>
              <p:nvPr/>
            </p:nvSpPr>
            <p:spPr>
              <a:xfrm>
                <a:off x="16723675" y="7603430"/>
                <a:ext cx="1388351" cy="1388169"/>
              </a:xfrm>
              <a:prstGeom prst="ellipse">
                <a:avLst/>
              </a:prstGeom>
              <a:solidFill>
                <a:srgbClr val="23ADE9"/>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9" tIns="91445" rIns="182889" bIns="91445" rtlCol="0" anchor="ctr"/>
              <a:lstStyle/>
              <a:p>
                <a:pPr algn="ctr"/>
                <a:endParaRPr lang="id-ID">
                  <a:cs typeface="Source Sans Pro ExtraLight"/>
                </a:endParaRPr>
              </a:p>
            </p:txBody>
          </p:sp>
          <p:sp>
            <p:nvSpPr>
              <p:cNvPr id="16" name="Freeform 52"/>
              <p:cNvSpPr>
                <a:spLocks noChangeArrowheads="1"/>
              </p:cNvSpPr>
              <p:nvPr/>
            </p:nvSpPr>
            <p:spPr bwMode="auto">
              <a:xfrm>
                <a:off x="17105044" y="7916147"/>
                <a:ext cx="695668" cy="721197"/>
              </a:xfrm>
              <a:custGeom>
                <a:avLst/>
                <a:gdLst>
                  <a:gd name="T0" fmla="*/ 133 w 479"/>
                  <a:gd name="T1" fmla="*/ 497 h 498"/>
                  <a:gd name="T2" fmla="*/ 133 w 479"/>
                  <a:gd name="T3" fmla="*/ 497 h 498"/>
                  <a:gd name="T4" fmla="*/ 53 w 479"/>
                  <a:gd name="T5" fmla="*/ 460 h 498"/>
                  <a:gd name="T6" fmla="*/ 53 w 479"/>
                  <a:gd name="T7" fmla="*/ 284 h 498"/>
                  <a:gd name="T8" fmla="*/ 301 w 479"/>
                  <a:gd name="T9" fmla="*/ 35 h 498"/>
                  <a:gd name="T10" fmla="*/ 390 w 479"/>
                  <a:gd name="T11" fmla="*/ 9 h 498"/>
                  <a:gd name="T12" fmla="*/ 452 w 479"/>
                  <a:gd name="T13" fmla="*/ 71 h 498"/>
                  <a:gd name="T14" fmla="*/ 425 w 479"/>
                  <a:gd name="T15" fmla="*/ 159 h 498"/>
                  <a:gd name="T16" fmla="*/ 195 w 479"/>
                  <a:gd name="T17" fmla="*/ 390 h 498"/>
                  <a:gd name="T18" fmla="*/ 150 w 479"/>
                  <a:gd name="T19" fmla="*/ 416 h 498"/>
                  <a:gd name="T20" fmla="*/ 106 w 479"/>
                  <a:gd name="T21" fmla="*/ 399 h 498"/>
                  <a:gd name="T22" fmla="*/ 115 w 479"/>
                  <a:gd name="T23" fmla="*/ 319 h 498"/>
                  <a:gd name="T24" fmla="*/ 284 w 479"/>
                  <a:gd name="T25" fmla="*/ 150 h 498"/>
                  <a:gd name="T26" fmla="*/ 309 w 479"/>
                  <a:gd name="T27" fmla="*/ 150 h 498"/>
                  <a:gd name="T28" fmla="*/ 309 w 479"/>
                  <a:gd name="T29" fmla="*/ 178 h 498"/>
                  <a:gd name="T30" fmla="*/ 142 w 479"/>
                  <a:gd name="T31" fmla="*/ 345 h 498"/>
                  <a:gd name="T32" fmla="*/ 133 w 479"/>
                  <a:gd name="T33" fmla="*/ 381 h 498"/>
                  <a:gd name="T34" fmla="*/ 142 w 479"/>
                  <a:gd name="T35" fmla="*/ 381 h 498"/>
                  <a:gd name="T36" fmla="*/ 168 w 479"/>
                  <a:gd name="T37" fmla="*/ 372 h 498"/>
                  <a:gd name="T38" fmla="*/ 399 w 479"/>
                  <a:gd name="T39" fmla="*/ 133 h 498"/>
                  <a:gd name="T40" fmla="*/ 416 w 479"/>
                  <a:gd name="T41" fmla="*/ 80 h 498"/>
                  <a:gd name="T42" fmla="*/ 381 w 479"/>
                  <a:gd name="T43" fmla="*/ 44 h 498"/>
                  <a:gd name="T44" fmla="*/ 328 w 479"/>
                  <a:gd name="T45" fmla="*/ 62 h 498"/>
                  <a:gd name="T46" fmla="*/ 80 w 479"/>
                  <a:gd name="T47" fmla="*/ 301 h 498"/>
                  <a:gd name="T48" fmla="*/ 80 w 479"/>
                  <a:gd name="T49" fmla="*/ 434 h 498"/>
                  <a:gd name="T50" fmla="*/ 203 w 479"/>
                  <a:gd name="T51" fmla="*/ 425 h 498"/>
                  <a:gd name="T52" fmla="*/ 452 w 479"/>
                  <a:gd name="T53" fmla="*/ 186 h 498"/>
                  <a:gd name="T54" fmla="*/ 478 w 479"/>
                  <a:gd name="T55" fmla="*/ 186 h 498"/>
                  <a:gd name="T56" fmla="*/ 478 w 479"/>
                  <a:gd name="T57" fmla="*/ 203 h 498"/>
                  <a:gd name="T58" fmla="*/ 230 w 479"/>
                  <a:gd name="T59" fmla="*/ 452 h 498"/>
                  <a:gd name="T60" fmla="*/ 133 w 479"/>
                  <a:gd name="T61" fmla="*/ 49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9" h="498">
                    <a:moveTo>
                      <a:pt x="133" y="497"/>
                    </a:moveTo>
                    <a:lnTo>
                      <a:pt x="133" y="497"/>
                    </a:lnTo>
                    <a:cubicBezTo>
                      <a:pt x="106" y="497"/>
                      <a:pt x="71" y="478"/>
                      <a:pt x="53" y="460"/>
                    </a:cubicBezTo>
                    <a:cubicBezTo>
                      <a:pt x="9" y="416"/>
                      <a:pt x="0" y="337"/>
                      <a:pt x="53" y="284"/>
                    </a:cubicBezTo>
                    <a:cubicBezTo>
                      <a:pt x="89" y="248"/>
                      <a:pt x="230" y="106"/>
                      <a:pt x="301" y="35"/>
                    </a:cubicBezTo>
                    <a:cubicBezTo>
                      <a:pt x="328" y="9"/>
                      <a:pt x="363" y="0"/>
                      <a:pt x="390" y="9"/>
                    </a:cubicBezTo>
                    <a:cubicBezTo>
                      <a:pt x="416" y="18"/>
                      <a:pt x="443" y="44"/>
                      <a:pt x="452" y="71"/>
                    </a:cubicBezTo>
                    <a:cubicBezTo>
                      <a:pt x="461" y="97"/>
                      <a:pt x="452" y="133"/>
                      <a:pt x="425" y="159"/>
                    </a:cubicBezTo>
                    <a:cubicBezTo>
                      <a:pt x="195" y="390"/>
                      <a:pt x="195" y="390"/>
                      <a:pt x="195" y="390"/>
                    </a:cubicBezTo>
                    <a:cubicBezTo>
                      <a:pt x="177" y="407"/>
                      <a:pt x="159" y="416"/>
                      <a:pt x="150" y="416"/>
                    </a:cubicBezTo>
                    <a:cubicBezTo>
                      <a:pt x="133" y="416"/>
                      <a:pt x="115" y="416"/>
                      <a:pt x="106" y="399"/>
                    </a:cubicBezTo>
                    <a:cubicBezTo>
                      <a:pt x="89" y="381"/>
                      <a:pt x="89" y="354"/>
                      <a:pt x="115" y="319"/>
                    </a:cubicBezTo>
                    <a:cubicBezTo>
                      <a:pt x="284" y="150"/>
                      <a:pt x="284" y="150"/>
                      <a:pt x="284" y="150"/>
                    </a:cubicBezTo>
                    <a:cubicBezTo>
                      <a:pt x="293" y="150"/>
                      <a:pt x="301" y="150"/>
                      <a:pt x="309" y="150"/>
                    </a:cubicBezTo>
                    <a:cubicBezTo>
                      <a:pt x="309" y="159"/>
                      <a:pt x="309" y="168"/>
                      <a:pt x="309" y="178"/>
                    </a:cubicBezTo>
                    <a:cubicBezTo>
                      <a:pt x="142" y="345"/>
                      <a:pt x="142" y="345"/>
                      <a:pt x="142" y="345"/>
                    </a:cubicBezTo>
                    <a:cubicBezTo>
                      <a:pt x="124" y="354"/>
                      <a:pt x="124" y="372"/>
                      <a:pt x="133" y="381"/>
                    </a:cubicBezTo>
                    <a:lnTo>
                      <a:pt x="142" y="381"/>
                    </a:lnTo>
                    <a:cubicBezTo>
                      <a:pt x="150" y="381"/>
                      <a:pt x="159" y="372"/>
                      <a:pt x="168" y="372"/>
                    </a:cubicBezTo>
                    <a:cubicBezTo>
                      <a:pt x="399" y="133"/>
                      <a:pt x="399" y="133"/>
                      <a:pt x="399" y="133"/>
                    </a:cubicBezTo>
                    <a:cubicBezTo>
                      <a:pt x="416" y="115"/>
                      <a:pt x="425" y="97"/>
                      <a:pt x="416" y="80"/>
                    </a:cubicBezTo>
                    <a:cubicBezTo>
                      <a:pt x="416" y="62"/>
                      <a:pt x="399" y="44"/>
                      <a:pt x="381" y="44"/>
                    </a:cubicBezTo>
                    <a:cubicBezTo>
                      <a:pt x="363" y="35"/>
                      <a:pt x="346" y="44"/>
                      <a:pt x="328" y="62"/>
                    </a:cubicBezTo>
                    <a:cubicBezTo>
                      <a:pt x="256" y="133"/>
                      <a:pt x="115" y="275"/>
                      <a:pt x="80" y="301"/>
                    </a:cubicBezTo>
                    <a:cubicBezTo>
                      <a:pt x="36" y="354"/>
                      <a:pt x="44" y="407"/>
                      <a:pt x="80" y="434"/>
                    </a:cubicBezTo>
                    <a:cubicBezTo>
                      <a:pt x="106" y="460"/>
                      <a:pt x="159" y="478"/>
                      <a:pt x="203" y="425"/>
                    </a:cubicBezTo>
                    <a:cubicBezTo>
                      <a:pt x="452" y="186"/>
                      <a:pt x="452" y="186"/>
                      <a:pt x="452" y="186"/>
                    </a:cubicBezTo>
                    <a:cubicBezTo>
                      <a:pt x="461" y="178"/>
                      <a:pt x="469" y="178"/>
                      <a:pt x="478" y="186"/>
                    </a:cubicBezTo>
                    <a:lnTo>
                      <a:pt x="478" y="203"/>
                    </a:lnTo>
                    <a:cubicBezTo>
                      <a:pt x="230" y="452"/>
                      <a:pt x="230" y="452"/>
                      <a:pt x="230" y="452"/>
                    </a:cubicBezTo>
                    <a:cubicBezTo>
                      <a:pt x="203" y="478"/>
                      <a:pt x="168" y="497"/>
                      <a:pt x="133" y="497"/>
                    </a:cubicBezTo>
                  </a:path>
                </a:pathLst>
              </a:custGeom>
              <a:solidFill>
                <a:srgbClr val="FFFFFF"/>
              </a:solidFill>
              <a:ln>
                <a:noFill/>
              </a:ln>
              <a:effectLst/>
              <a:extLst/>
            </p:spPr>
            <p:txBody>
              <a:bodyPr wrap="none" anchor="ctr"/>
              <a:lstStyle/>
              <a:p>
                <a:endParaRPr lang="en-US"/>
              </a:p>
            </p:txBody>
          </p:sp>
        </p:grpSp>
        <p:grpSp>
          <p:nvGrpSpPr>
            <p:cNvPr id="8" name="Group 7"/>
            <p:cNvGrpSpPr/>
            <p:nvPr>
              <p:custDataLst>
                <p:tags r:id="rId10"/>
              </p:custDataLst>
            </p:nvPr>
          </p:nvGrpSpPr>
          <p:grpSpPr>
            <a:xfrm>
              <a:off x="10165305" y="4347476"/>
              <a:ext cx="2365964" cy="1048660"/>
              <a:chOff x="4010530" y="4702630"/>
              <a:chExt cx="7513818" cy="1048660"/>
            </a:xfrm>
          </p:grpSpPr>
          <p:sp>
            <p:nvSpPr>
              <p:cNvPr id="9" name="TextBox 8"/>
              <p:cNvSpPr txBox="1"/>
              <p:nvPr/>
            </p:nvSpPr>
            <p:spPr>
              <a:xfrm>
                <a:off x="4010530" y="4702630"/>
                <a:ext cx="7383769" cy="400120"/>
              </a:xfrm>
              <a:prstGeom prst="rect">
                <a:avLst/>
              </a:prstGeom>
              <a:noFill/>
            </p:spPr>
            <p:txBody>
              <a:bodyPr wrap="none" lIns="182889" tIns="91445" rIns="182889" bIns="91445" rtlCol="0">
                <a:spAutoFit/>
              </a:bodyPr>
              <a:lstStyle/>
              <a:p>
                <a:r>
                  <a:rPr lang="id-ID" sz="1400" dirty="0">
                    <a:solidFill>
                      <a:srgbClr val="58595B"/>
                    </a:solidFill>
                    <a:cs typeface="Source Sans Pro"/>
                  </a:rPr>
                  <a:t>Analysis of the segment</a:t>
                </a:r>
              </a:p>
            </p:txBody>
          </p:sp>
          <p:sp>
            <p:nvSpPr>
              <p:cNvPr id="10" name="Rectangle 9"/>
              <p:cNvSpPr/>
              <p:nvPr/>
            </p:nvSpPr>
            <p:spPr>
              <a:xfrm>
                <a:off x="4010530" y="5197282"/>
                <a:ext cx="7513818" cy="554008"/>
              </a:xfrm>
              <a:prstGeom prst="rect">
                <a:avLst/>
              </a:prstGeom>
            </p:spPr>
            <p:txBody>
              <a:bodyPr wrap="square" lIns="182889" tIns="91445" rIns="182889" bIns="91445">
                <a:spAutoFit/>
              </a:bodyPr>
              <a:lstStyle/>
              <a:p>
                <a:r>
                  <a:rPr lang="fr-FR" sz="1200" dirty="0" err="1">
                    <a:solidFill>
                      <a:srgbClr val="58595B"/>
                    </a:solidFill>
                    <a:cs typeface="Source Sans Pro ExtraLight"/>
                  </a:rPr>
                  <a:t>Lorem</a:t>
                </a:r>
                <a:r>
                  <a:rPr lang="fr-FR" sz="1200" dirty="0">
                    <a:solidFill>
                      <a:srgbClr val="58595B"/>
                    </a:solidFill>
                    <a:cs typeface="Source Sans Pro ExtraLight"/>
                  </a:rPr>
                  <a:t> </a:t>
                </a:r>
                <a:r>
                  <a:rPr lang="fr-FR" sz="1200" dirty="0" err="1">
                    <a:solidFill>
                      <a:srgbClr val="58595B"/>
                    </a:solidFill>
                    <a:cs typeface="Source Sans Pro ExtraLight"/>
                  </a:rPr>
                  <a:t>ipsum</a:t>
                </a:r>
                <a:r>
                  <a:rPr lang="fr-FR" sz="1200" dirty="0">
                    <a:solidFill>
                      <a:srgbClr val="58595B"/>
                    </a:solidFill>
                    <a:cs typeface="Source Sans Pro ExtraLight"/>
                  </a:rPr>
                  <a:t> </a:t>
                </a:r>
                <a:r>
                  <a:rPr lang="fr-FR" sz="1200" dirty="0" err="1">
                    <a:solidFill>
                      <a:srgbClr val="58595B"/>
                    </a:solidFill>
                    <a:cs typeface="Source Sans Pro ExtraLight"/>
                  </a:rPr>
                  <a:t>dolor</a:t>
                </a:r>
                <a:r>
                  <a:rPr lang="fr-FR" sz="1200" dirty="0">
                    <a:solidFill>
                      <a:srgbClr val="58595B"/>
                    </a:solidFill>
                    <a:cs typeface="Source Sans Pro ExtraLight"/>
                  </a:rPr>
                  <a:t> </a:t>
                </a:r>
                <a:r>
                  <a:rPr lang="fr-FR" sz="1200" dirty="0" err="1">
                    <a:solidFill>
                      <a:srgbClr val="58595B"/>
                    </a:solidFill>
                    <a:cs typeface="Source Sans Pro ExtraLight"/>
                  </a:rPr>
                  <a:t>sit</a:t>
                </a:r>
                <a:r>
                  <a:rPr lang="fr-FR" sz="1200" dirty="0">
                    <a:solidFill>
                      <a:srgbClr val="58595B"/>
                    </a:solidFill>
                    <a:cs typeface="Source Sans Pro ExtraLight"/>
                  </a:rPr>
                  <a:t> </a:t>
                </a:r>
                <a:r>
                  <a:rPr lang="fr-FR" sz="1200" dirty="0" err="1">
                    <a:solidFill>
                      <a:srgbClr val="58595B"/>
                    </a:solidFill>
                    <a:cs typeface="Source Sans Pro ExtraLight"/>
                  </a:rPr>
                  <a:t>amet</a:t>
                </a:r>
                <a:r>
                  <a:rPr lang="fr-FR" sz="1200" dirty="0">
                    <a:solidFill>
                      <a:srgbClr val="58595B"/>
                    </a:solidFill>
                    <a:cs typeface="Source Sans Pro ExtraLight"/>
                  </a:rPr>
                  <a:t>, </a:t>
                </a:r>
                <a:r>
                  <a:rPr lang="fr-FR" sz="1200" dirty="0" err="1">
                    <a:solidFill>
                      <a:srgbClr val="58595B"/>
                    </a:solidFill>
                    <a:cs typeface="Source Sans Pro ExtraLight"/>
                  </a:rPr>
                  <a:t>consectetur</a:t>
                </a:r>
                <a:r>
                  <a:rPr lang="fr-FR" sz="1200" dirty="0">
                    <a:solidFill>
                      <a:srgbClr val="58595B"/>
                    </a:solidFill>
                    <a:cs typeface="Source Sans Pro ExtraLight"/>
                  </a:rPr>
                  <a:t> </a:t>
                </a:r>
                <a:r>
                  <a:rPr lang="fr-FR" sz="1200" dirty="0" err="1">
                    <a:solidFill>
                      <a:srgbClr val="58595B"/>
                    </a:solidFill>
                    <a:cs typeface="Source Sans Pro ExtraLight"/>
                  </a:rPr>
                  <a:t>adipiscing</a:t>
                </a:r>
                <a:r>
                  <a:rPr lang="fr-FR" sz="1200" dirty="0">
                    <a:solidFill>
                      <a:srgbClr val="58595B"/>
                    </a:solidFill>
                    <a:cs typeface="Source Sans Pro ExtraLight"/>
                  </a:rPr>
                  <a:t> </a:t>
                </a:r>
                <a:r>
                  <a:rPr lang="fr-FR" sz="1200" dirty="0" err="1">
                    <a:solidFill>
                      <a:srgbClr val="58595B"/>
                    </a:solidFill>
                    <a:cs typeface="Source Sans Pro ExtraLight"/>
                  </a:rPr>
                  <a:t>elit</a:t>
                </a:r>
                <a:r>
                  <a:rPr lang="fr-FR" sz="1200" dirty="0" smtClean="0">
                    <a:solidFill>
                      <a:srgbClr val="58595B"/>
                    </a:solidFill>
                    <a:cs typeface="Source Sans Pro ExtraLight"/>
                  </a:rPr>
                  <a:t>.</a:t>
                </a:r>
                <a:endParaRPr lang="en-US" sz="1200" dirty="0">
                  <a:solidFill>
                    <a:srgbClr val="58595B"/>
                  </a:solidFill>
                  <a:cs typeface="Source Sans Pro ExtraLight"/>
                </a:endParaRPr>
              </a:p>
            </p:txBody>
          </p:sp>
        </p:grpSp>
      </p:grpSp>
      <p:grpSp>
        <p:nvGrpSpPr>
          <p:cNvPr id="35" name="Group 34"/>
          <p:cNvGrpSpPr/>
          <p:nvPr>
            <p:custDataLst>
              <p:tags r:id="rId3"/>
            </p:custDataLst>
          </p:nvPr>
        </p:nvGrpSpPr>
        <p:grpSpPr>
          <a:xfrm>
            <a:off x="464764" y="1815418"/>
            <a:ext cx="3370218" cy="1048660"/>
            <a:chOff x="172223" y="1789292"/>
            <a:chExt cx="3370218" cy="1048660"/>
          </a:xfrm>
        </p:grpSpPr>
        <p:grpSp>
          <p:nvGrpSpPr>
            <p:cNvPr id="29" name="Group 28"/>
            <p:cNvGrpSpPr/>
            <p:nvPr>
              <p:custDataLst>
                <p:tags r:id="rId7"/>
              </p:custDataLst>
            </p:nvPr>
          </p:nvGrpSpPr>
          <p:grpSpPr>
            <a:xfrm>
              <a:off x="2720641" y="1810443"/>
              <a:ext cx="821800" cy="821692"/>
              <a:chOff x="6127640" y="5026293"/>
              <a:chExt cx="1388351" cy="1388169"/>
            </a:xfrm>
          </p:grpSpPr>
          <p:sp>
            <p:nvSpPr>
              <p:cNvPr id="24" name="Oval 23"/>
              <p:cNvSpPr/>
              <p:nvPr/>
            </p:nvSpPr>
            <p:spPr>
              <a:xfrm>
                <a:off x="6127640" y="5026293"/>
                <a:ext cx="1388351" cy="1388169"/>
              </a:xfrm>
              <a:prstGeom prst="ellipse">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9" tIns="91445" rIns="182889" bIns="91445" rtlCol="0" anchor="ctr"/>
              <a:lstStyle/>
              <a:p>
                <a:pPr algn="ctr"/>
                <a:endParaRPr lang="id-ID">
                  <a:cs typeface="Source Sans Pro ExtraLight"/>
                </a:endParaRPr>
              </a:p>
            </p:txBody>
          </p:sp>
          <p:sp>
            <p:nvSpPr>
              <p:cNvPr id="25" name="Freeform 6"/>
              <p:cNvSpPr>
                <a:spLocks noChangeArrowheads="1"/>
              </p:cNvSpPr>
              <p:nvPr/>
            </p:nvSpPr>
            <p:spPr bwMode="auto">
              <a:xfrm>
                <a:off x="6469068" y="5376729"/>
                <a:ext cx="709067" cy="695025"/>
              </a:xfrm>
              <a:custGeom>
                <a:avLst/>
                <a:gdLst>
                  <a:gd name="T0" fmla="*/ 425 w 444"/>
                  <a:gd name="T1" fmla="*/ 17 h 435"/>
                  <a:gd name="T2" fmla="*/ 425 w 444"/>
                  <a:gd name="T3" fmla="*/ 17 h 435"/>
                  <a:gd name="T4" fmla="*/ 345 w 444"/>
                  <a:gd name="T5" fmla="*/ 35 h 435"/>
                  <a:gd name="T6" fmla="*/ 0 w 444"/>
                  <a:gd name="T7" fmla="*/ 222 h 435"/>
                  <a:gd name="T8" fmla="*/ 195 w 444"/>
                  <a:gd name="T9" fmla="*/ 248 h 435"/>
                  <a:gd name="T10" fmla="*/ 221 w 444"/>
                  <a:gd name="T11" fmla="*/ 434 h 435"/>
                  <a:gd name="T12" fmla="*/ 399 w 444"/>
                  <a:gd name="T13" fmla="*/ 89 h 435"/>
                  <a:gd name="T14" fmla="*/ 425 w 444"/>
                  <a:gd name="T15" fmla="*/ 17 h 435"/>
                  <a:gd name="T16" fmla="*/ 381 w 444"/>
                  <a:gd name="T17" fmla="*/ 62 h 435"/>
                  <a:gd name="T18" fmla="*/ 381 w 444"/>
                  <a:gd name="T19" fmla="*/ 62 h 435"/>
                  <a:gd name="T20" fmla="*/ 239 w 444"/>
                  <a:gd name="T21" fmla="*/ 319 h 435"/>
                  <a:gd name="T22" fmla="*/ 230 w 444"/>
                  <a:gd name="T23" fmla="*/ 204 h 435"/>
                  <a:gd name="T24" fmla="*/ 381 w 444"/>
                  <a:gd name="T25" fmla="*/ 62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435">
                    <a:moveTo>
                      <a:pt x="425" y="17"/>
                    </a:moveTo>
                    <a:lnTo>
                      <a:pt x="425" y="17"/>
                    </a:lnTo>
                    <a:cubicBezTo>
                      <a:pt x="408" y="0"/>
                      <a:pt x="399" y="17"/>
                      <a:pt x="345" y="35"/>
                    </a:cubicBezTo>
                    <a:cubicBezTo>
                      <a:pt x="221" y="97"/>
                      <a:pt x="0" y="222"/>
                      <a:pt x="0" y="222"/>
                    </a:cubicBezTo>
                    <a:cubicBezTo>
                      <a:pt x="195" y="248"/>
                      <a:pt x="195" y="248"/>
                      <a:pt x="195" y="248"/>
                    </a:cubicBezTo>
                    <a:cubicBezTo>
                      <a:pt x="221" y="434"/>
                      <a:pt x="221" y="434"/>
                      <a:pt x="221" y="434"/>
                    </a:cubicBezTo>
                    <a:cubicBezTo>
                      <a:pt x="221" y="434"/>
                      <a:pt x="345" y="222"/>
                      <a:pt x="399" y="89"/>
                    </a:cubicBezTo>
                    <a:cubicBezTo>
                      <a:pt x="425" y="44"/>
                      <a:pt x="443" y="26"/>
                      <a:pt x="425" y="17"/>
                    </a:cubicBezTo>
                    <a:close/>
                    <a:moveTo>
                      <a:pt x="381" y="62"/>
                    </a:moveTo>
                    <a:lnTo>
                      <a:pt x="381" y="62"/>
                    </a:lnTo>
                    <a:cubicBezTo>
                      <a:pt x="239" y="319"/>
                      <a:pt x="239" y="319"/>
                      <a:pt x="239" y="319"/>
                    </a:cubicBezTo>
                    <a:cubicBezTo>
                      <a:pt x="230" y="204"/>
                      <a:pt x="230" y="204"/>
                      <a:pt x="230" y="204"/>
                    </a:cubicBezTo>
                    <a:lnTo>
                      <a:pt x="381" y="62"/>
                    </a:lnTo>
                    <a:close/>
                  </a:path>
                </a:pathLst>
              </a:custGeom>
              <a:solidFill>
                <a:srgbClr val="FFFFFF"/>
              </a:solidFill>
              <a:ln>
                <a:noFill/>
              </a:ln>
              <a:effectLst/>
              <a:extLst/>
            </p:spPr>
            <p:txBody>
              <a:bodyPr wrap="none" anchor="ctr"/>
              <a:lstStyle/>
              <a:p>
                <a:endParaRPr lang="en-US"/>
              </a:p>
            </p:txBody>
          </p:sp>
        </p:grpSp>
        <p:grpSp>
          <p:nvGrpSpPr>
            <p:cNvPr id="17" name="Group 16"/>
            <p:cNvGrpSpPr/>
            <p:nvPr>
              <p:custDataLst>
                <p:tags r:id="rId8"/>
              </p:custDataLst>
            </p:nvPr>
          </p:nvGrpSpPr>
          <p:grpSpPr>
            <a:xfrm>
              <a:off x="172223" y="1789292"/>
              <a:ext cx="2365964" cy="1048660"/>
              <a:chOff x="3637217" y="4702630"/>
              <a:chExt cx="7513818" cy="1048660"/>
            </a:xfrm>
          </p:grpSpPr>
          <p:sp>
            <p:nvSpPr>
              <p:cNvPr id="18" name="TextBox 17"/>
              <p:cNvSpPr txBox="1"/>
              <p:nvPr/>
            </p:nvSpPr>
            <p:spPr>
              <a:xfrm>
                <a:off x="3708409" y="4702630"/>
                <a:ext cx="7439768" cy="400120"/>
              </a:xfrm>
              <a:prstGeom prst="rect">
                <a:avLst/>
              </a:prstGeom>
              <a:noFill/>
            </p:spPr>
            <p:txBody>
              <a:bodyPr wrap="none" lIns="182889" tIns="91445" rIns="182889" bIns="91445" rtlCol="0">
                <a:spAutoFit/>
              </a:bodyPr>
              <a:lstStyle/>
              <a:p>
                <a:pPr algn="r"/>
                <a:r>
                  <a:rPr lang="id-ID" sz="1400" dirty="0" smtClean="0">
                    <a:solidFill>
                      <a:srgbClr val="58595B"/>
                    </a:solidFill>
                    <a:cs typeface="Source Sans Pro"/>
                  </a:rPr>
                  <a:t>Anay</a:t>
                </a:r>
                <a:r>
                  <a:rPr lang="en-US" sz="1400" dirty="0" smtClean="0">
                    <a:solidFill>
                      <a:srgbClr val="58595B"/>
                    </a:solidFill>
                    <a:cs typeface="Source Sans Pro"/>
                  </a:rPr>
                  <a:t>s</a:t>
                </a:r>
                <a:r>
                  <a:rPr lang="id-ID" sz="1400" dirty="0" smtClean="0">
                    <a:solidFill>
                      <a:srgbClr val="58595B"/>
                    </a:solidFill>
                    <a:cs typeface="Source Sans Pro"/>
                  </a:rPr>
                  <a:t>lis of the Segment</a:t>
                </a:r>
                <a:endParaRPr lang="id-ID" sz="1400" dirty="0">
                  <a:solidFill>
                    <a:srgbClr val="58595B"/>
                  </a:solidFill>
                  <a:cs typeface="Source Sans Pro"/>
                </a:endParaRPr>
              </a:p>
            </p:txBody>
          </p:sp>
          <p:sp>
            <p:nvSpPr>
              <p:cNvPr id="19" name="Rectangle 18"/>
              <p:cNvSpPr/>
              <p:nvPr/>
            </p:nvSpPr>
            <p:spPr>
              <a:xfrm>
                <a:off x="3637217" y="5197282"/>
                <a:ext cx="7513818" cy="554008"/>
              </a:xfrm>
              <a:prstGeom prst="rect">
                <a:avLst/>
              </a:prstGeom>
            </p:spPr>
            <p:txBody>
              <a:bodyPr wrap="square" lIns="182889" tIns="91445" rIns="182889" bIns="91445">
                <a:spAutoFit/>
              </a:bodyPr>
              <a:lstStyle/>
              <a:p>
                <a:pPr algn="r"/>
                <a:r>
                  <a:rPr lang="fr-FR" sz="1200" dirty="0" err="1">
                    <a:solidFill>
                      <a:srgbClr val="58595B"/>
                    </a:solidFill>
                    <a:cs typeface="Source Sans Pro ExtraLight"/>
                  </a:rPr>
                  <a:t>Lorem</a:t>
                </a:r>
                <a:r>
                  <a:rPr lang="fr-FR" sz="1200" dirty="0">
                    <a:solidFill>
                      <a:srgbClr val="58595B"/>
                    </a:solidFill>
                    <a:cs typeface="Source Sans Pro ExtraLight"/>
                  </a:rPr>
                  <a:t> </a:t>
                </a:r>
                <a:r>
                  <a:rPr lang="fr-FR" sz="1200" dirty="0" err="1">
                    <a:solidFill>
                      <a:srgbClr val="58595B"/>
                    </a:solidFill>
                    <a:cs typeface="Source Sans Pro ExtraLight"/>
                  </a:rPr>
                  <a:t>ipsum</a:t>
                </a:r>
                <a:r>
                  <a:rPr lang="fr-FR" sz="1200" dirty="0">
                    <a:solidFill>
                      <a:srgbClr val="58595B"/>
                    </a:solidFill>
                    <a:cs typeface="Source Sans Pro ExtraLight"/>
                  </a:rPr>
                  <a:t> </a:t>
                </a:r>
                <a:r>
                  <a:rPr lang="fr-FR" sz="1200" dirty="0" err="1">
                    <a:solidFill>
                      <a:srgbClr val="58595B"/>
                    </a:solidFill>
                    <a:cs typeface="Source Sans Pro ExtraLight"/>
                  </a:rPr>
                  <a:t>dolor</a:t>
                </a:r>
                <a:r>
                  <a:rPr lang="fr-FR" sz="1200" dirty="0">
                    <a:solidFill>
                      <a:srgbClr val="58595B"/>
                    </a:solidFill>
                    <a:cs typeface="Source Sans Pro ExtraLight"/>
                  </a:rPr>
                  <a:t> </a:t>
                </a:r>
                <a:r>
                  <a:rPr lang="fr-FR" sz="1200" dirty="0" err="1">
                    <a:solidFill>
                      <a:srgbClr val="58595B"/>
                    </a:solidFill>
                    <a:cs typeface="Source Sans Pro ExtraLight"/>
                  </a:rPr>
                  <a:t>sit</a:t>
                </a:r>
                <a:r>
                  <a:rPr lang="fr-FR" sz="1200" dirty="0">
                    <a:solidFill>
                      <a:srgbClr val="58595B"/>
                    </a:solidFill>
                    <a:cs typeface="Source Sans Pro ExtraLight"/>
                  </a:rPr>
                  <a:t> </a:t>
                </a:r>
                <a:r>
                  <a:rPr lang="fr-FR" sz="1200" dirty="0" err="1">
                    <a:solidFill>
                      <a:srgbClr val="58595B"/>
                    </a:solidFill>
                    <a:cs typeface="Source Sans Pro ExtraLight"/>
                  </a:rPr>
                  <a:t>amet</a:t>
                </a:r>
                <a:r>
                  <a:rPr lang="fr-FR" sz="1200" dirty="0">
                    <a:solidFill>
                      <a:srgbClr val="58595B"/>
                    </a:solidFill>
                    <a:cs typeface="Source Sans Pro ExtraLight"/>
                  </a:rPr>
                  <a:t>, </a:t>
                </a:r>
                <a:r>
                  <a:rPr lang="fr-FR" sz="1200" dirty="0" err="1">
                    <a:solidFill>
                      <a:srgbClr val="58595B"/>
                    </a:solidFill>
                    <a:cs typeface="Source Sans Pro ExtraLight"/>
                  </a:rPr>
                  <a:t>consectetur</a:t>
                </a:r>
                <a:r>
                  <a:rPr lang="fr-FR" sz="1200" dirty="0">
                    <a:solidFill>
                      <a:srgbClr val="58595B"/>
                    </a:solidFill>
                    <a:cs typeface="Source Sans Pro ExtraLight"/>
                  </a:rPr>
                  <a:t> </a:t>
                </a:r>
                <a:r>
                  <a:rPr lang="fr-FR" sz="1200" dirty="0" err="1">
                    <a:solidFill>
                      <a:srgbClr val="58595B"/>
                    </a:solidFill>
                    <a:cs typeface="Source Sans Pro ExtraLight"/>
                  </a:rPr>
                  <a:t>adipiscing</a:t>
                </a:r>
                <a:r>
                  <a:rPr lang="fr-FR" sz="1200" dirty="0">
                    <a:solidFill>
                      <a:srgbClr val="58595B"/>
                    </a:solidFill>
                    <a:cs typeface="Source Sans Pro ExtraLight"/>
                  </a:rPr>
                  <a:t> </a:t>
                </a:r>
                <a:r>
                  <a:rPr lang="fr-FR" sz="1200" dirty="0" err="1">
                    <a:solidFill>
                      <a:srgbClr val="58595B"/>
                    </a:solidFill>
                    <a:cs typeface="Source Sans Pro ExtraLight"/>
                  </a:rPr>
                  <a:t>elit</a:t>
                </a:r>
                <a:r>
                  <a:rPr lang="fr-FR" sz="1200" dirty="0" smtClean="0">
                    <a:solidFill>
                      <a:srgbClr val="58595B"/>
                    </a:solidFill>
                    <a:cs typeface="Source Sans Pro ExtraLight"/>
                  </a:rPr>
                  <a:t>.</a:t>
                </a:r>
                <a:endParaRPr lang="en-US" sz="1200" dirty="0">
                  <a:solidFill>
                    <a:srgbClr val="58595B"/>
                  </a:solidFill>
                  <a:cs typeface="Source Sans Pro ExtraLight"/>
                </a:endParaRPr>
              </a:p>
            </p:txBody>
          </p:sp>
        </p:grpSp>
      </p:grpSp>
      <p:grpSp>
        <p:nvGrpSpPr>
          <p:cNvPr id="36" name="Group 35"/>
          <p:cNvGrpSpPr/>
          <p:nvPr>
            <p:custDataLst>
              <p:tags r:id="rId4"/>
            </p:custDataLst>
          </p:nvPr>
        </p:nvGrpSpPr>
        <p:grpSpPr>
          <a:xfrm>
            <a:off x="276727" y="4373602"/>
            <a:ext cx="3558255" cy="1048660"/>
            <a:chOff x="172223" y="4347476"/>
            <a:chExt cx="3558255" cy="1048660"/>
          </a:xfrm>
        </p:grpSpPr>
        <p:grpSp>
          <p:nvGrpSpPr>
            <p:cNvPr id="30" name="Group 29"/>
            <p:cNvGrpSpPr/>
            <p:nvPr>
              <p:custDataLst>
                <p:tags r:id="rId5"/>
              </p:custDataLst>
            </p:nvPr>
          </p:nvGrpSpPr>
          <p:grpSpPr>
            <a:xfrm>
              <a:off x="2908678" y="4368627"/>
              <a:ext cx="821800" cy="821692"/>
              <a:chOff x="6161928" y="7641565"/>
              <a:chExt cx="1388351" cy="1388169"/>
            </a:xfrm>
          </p:grpSpPr>
          <p:sp>
            <p:nvSpPr>
              <p:cNvPr id="27" name="Oval 26"/>
              <p:cNvSpPr/>
              <p:nvPr/>
            </p:nvSpPr>
            <p:spPr>
              <a:xfrm>
                <a:off x="6161928" y="7641565"/>
                <a:ext cx="1388351" cy="1388169"/>
              </a:xfrm>
              <a:prstGeom prst="ellipse">
                <a:avLst/>
              </a:prstGeom>
              <a:solidFill>
                <a:srgbClr val="494A4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9" tIns="91445" rIns="182889" bIns="91445" rtlCol="0" anchor="ctr"/>
              <a:lstStyle/>
              <a:p>
                <a:pPr algn="ctr"/>
                <a:endParaRPr lang="id-ID">
                  <a:cs typeface="Source Sans Pro ExtraLight"/>
                </a:endParaRPr>
              </a:p>
            </p:txBody>
          </p:sp>
          <p:sp>
            <p:nvSpPr>
              <p:cNvPr id="28" name="Freeform 52"/>
              <p:cNvSpPr>
                <a:spLocks noChangeArrowheads="1"/>
              </p:cNvSpPr>
              <p:nvPr/>
            </p:nvSpPr>
            <p:spPr bwMode="auto">
              <a:xfrm>
                <a:off x="6543297" y="7954282"/>
                <a:ext cx="695668" cy="721197"/>
              </a:xfrm>
              <a:custGeom>
                <a:avLst/>
                <a:gdLst>
                  <a:gd name="T0" fmla="*/ 133 w 479"/>
                  <a:gd name="T1" fmla="*/ 497 h 498"/>
                  <a:gd name="T2" fmla="*/ 133 w 479"/>
                  <a:gd name="T3" fmla="*/ 497 h 498"/>
                  <a:gd name="T4" fmla="*/ 53 w 479"/>
                  <a:gd name="T5" fmla="*/ 460 h 498"/>
                  <a:gd name="T6" fmla="*/ 53 w 479"/>
                  <a:gd name="T7" fmla="*/ 284 h 498"/>
                  <a:gd name="T8" fmla="*/ 301 w 479"/>
                  <a:gd name="T9" fmla="*/ 35 h 498"/>
                  <a:gd name="T10" fmla="*/ 390 w 479"/>
                  <a:gd name="T11" fmla="*/ 9 h 498"/>
                  <a:gd name="T12" fmla="*/ 452 w 479"/>
                  <a:gd name="T13" fmla="*/ 71 h 498"/>
                  <a:gd name="T14" fmla="*/ 425 w 479"/>
                  <a:gd name="T15" fmla="*/ 159 h 498"/>
                  <a:gd name="T16" fmla="*/ 195 w 479"/>
                  <a:gd name="T17" fmla="*/ 390 h 498"/>
                  <a:gd name="T18" fmla="*/ 150 w 479"/>
                  <a:gd name="T19" fmla="*/ 416 h 498"/>
                  <a:gd name="T20" fmla="*/ 106 w 479"/>
                  <a:gd name="T21" fmla="*/ 399 h 498"/>
                  <a:gd name="T22" fmla="*/ 115 w 479"/>
                  <a:gd name="T23" fmla="*/ 319 h 498"/>
                  <a:gd name="T24" fmla="*/ 284 w 479"/>
                  <a:gd name="T25" fmla="*/ 150 h 498"/>
                  <a:gd name="T26" fmla="*/ 309 w 479"/>
                  <a:gd name="T27" fmla="*/ 150 h 498"/>
                  <a:gd name="T28" fmla="*/ 309 w 479"/>
                  <a:gd name="T29" fmla="*/ 178 h 498"/>
                  <a:gd name="T30" fmla="*/ 142 w 479"/>
                  <a:gd name="T31" fmla="*/ 345 h 498"/>
                  <a:gd name="T32" fmla="*/ 133 w 479"/>
                  <a:gd name="T33" fmla="*/ 381 h 498"/>
                  <a:gd name="T34" fmla="*/ 142 w 479"/>
                  <a:gd name="T35" fmla="*/ 381 h 498"/>
                  <a:gd name="T36" fmla="*/ 168 w 479"/>
                  <a:gd name="T37" fmla="*/ 372 h 498"/>
                  <a:gd name="T38" fmla="*/ 399 w 479"/>
                  <a:gd name="T39" fmla="*/ 133 h 498"/>
                  <a:gd name="T40" fmla="*/ 416 w 479"/>
                  <a:gd name="T41" fmla="*/ 80 h 498"/>
                  <a:gd name="T42" fmla="*/ 381 w 479"/>
                  <a:gd name="T43" fmla="*/ 44 h 498"/>
                  <a:gd name="T44" fmla="*/ 328 w 479"/>
                  <a:gd name="T45" fmla="*/ 62 h 498"/>
                  <a:gd name="T46" fmla="*/ 80 w 479"/>
                  <a:gd name="T47" fmla="*/ 301 h 498"/>
                  <a:gd name="T48" fmla="*/ 80 w 479"/>
                  <a:gd name="T49" fmla="*/ 434 h 498"/>
                  <a:gd name="T50" fmla="*/ 203 w 479"/>
                  <a:gd name="T51" fmla="*/ 425 h 498"/>
                  <a:gd name="T52" fmla="*/ 452 w 479"/>
                  <a:gd name="T53" fmla="*/ 186 h 498"/>
                  <a:gd name="T54" fmla="*/ 478 w 479"/>
                  <a:gd name="T55" fmla="*/ 186 h 498"/>
                  <a:gd name="T56" fmla="*/ 478 w 479"/>
                  <a:gd name="T57" fmla="*/ 203 h 498"/>
                  <a:gd name="T58" fmla="*/ 230 w 479"/>
                  <a:gd name="T59" fmla="*/ 452 h 498"/>
                  <a:gd name="T60" fmla="*/ 133 w 479"/>
                  <a:gd name="T61" fmla="*/ 49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9" h="498">
                    <a:moveTo>
                      <a:pt x="133" y="497"/>
                    </a:moveTo>
                    <a:lnTo>
                      <a:pt x="133" y="497"/>
                    </a:lnTo>
                    <a:cubicBezTo>
                      <a:pt x="106" y="497"/>
                      <a:pt x="71" y="478"/>
                      <a:pt x="53" y="460"/>
                    </a:cubicBezTo>
                    <a:cubicBezTo>
                      <a:pt x="9" y="416"/>
                      <a:pt x="0" y="337"/>
                      <a:pt x="53" y="284"/>
                    </a:cubicBezTo>
                    <a:cubicBezTo>
                      <a:pt x="89" y="248"/>
                      <a:pt x="230" y="106"/>
                      <a:pt x="301" y="35"/>
                    </a:cubicBezTo>
                    <a:cubicBezTo>
                      <a:pt x="328" y="9"/>
                      <a:pt x="363" y="0"/>
                      <a:pt x="390" y="9"/>
                    </a:cubicBezTo>
                    <a:cubicBezTo>
                      <a:pt x="416" y="18"/>
                      <a:pt x="443" y="44"/>
                      <a:pt x="452" y="71"/>
                    </a:cubicBezTo>
                    <a:cubicBezTo>
                      <a:pt x="461" y="97"/>
                      <a:pt x="452" y="133"/>
                      <a:pt x="425" y="159"/>
                    </a:cubicBezTo>
                    <a:cubicBezTo>
                      <a:pt x="195" y="390"/>
                      <a:pt x="195" y="390"/>
                      <a:pt x="195" y="390"/>
                    </a:cubicBezTo>
                    <a:cubicBezTo>
                      <a:pt x="177" y="407"/>
                      <a:pt x="159" y="416"/>
                      <a:pt x="150" y="416"/>
                    </a:cubicBezTo>
                    <a:cubicBezTo>
                      <a:pt x="133" y="416"/>
                      <a:pt x="115" y="416"/>
                      <a:pt x="106" y="399"/>
                    </a:cubicBezTo>
                    <a:cubicBezTo>
                      <a:pt x="89" y="381"/>
                      <a:pt x="89" y="354"/>
                      <a:pt x="115" y="319"/>
                    </a:cubicBezTo>
                    <a:cubicBezTo>
                      <a:pt x="284" y="150"/>
                      <a:pt x="284" y="150"/>
                      <a:pt x="284" y="150"/>
                    </a:cubicBezTo>
                    <a:cubicBezTo>
                      <a:pt x="293" y="150"/>
                      <a:pt x="301" y="150"/>
                      <a:pt x="309" y="150"/>
                    </a:cubicBezTo>
                    <a:cubicBezTo>
                      <a:pt x="309" y="159"/>
                      <a:pt x="309" y="168"/>
                      <a:pt x="309" y="178"/>
                    </a:cubicBezTo>
                    <a:cubicBezTo>
                      <a:pt x="142" y="345"/>
                      <a:pt x="142" y="345"/>
                      <a:pt x="142" y="345"/>
                    </a:cubicBezTo>
                    <a:cubicBezTo>
                      <a:pt x="124" y="354"/>
                      <a:pt x="124" y="372"/>
                      <a:pt x="133" y="381"/>
                    </a:cubicBezTo>
                    <a:lnTo>
                      <a:pt x="142" y="381"/>
                    </a:lnTo>
                    <a:cubicBezTo>
                      <a:pt x="150" y="381"/>
                      <a:pt x="159" y="372"/>
                      <a:pt x="168" y="372"/>
                    </a:cubicBezTo>
                    <a:cubicBezTo>
                      <a:pt x="399" y="133"/>
                      <a:pt x="399" y="133"/>
                      <a:pt x="399" y="133"/>
                    </a:cubicBezTo>
                    <a:cubicBezTo>
                      <a:pt x="416" y="115"/>
                      <a:pt x="425" y="97"/>
                      <a:pt x="416" y="80"/>
                    </a:cubicBezTo>
                    <a:cubicBezTo>
                      <a:pt x="416" y="62"/>
                      <a:pt x="399" y="44"/>
                      <a:pt x="381" y="44"/>
                    </a:cubicBezTo>
                    <a:cubicBezTo>
                      <a:pt x="363" y="35"/>
                      <a:pt x="346" y="44"/>
                      <a:pt x="328" y="62"/>
                    </a:cubicBezTo>
                    <a:cubicBezTo>
                      <a:pt x="256" y="133"/>
                      <a:pt x="115" y="275"/>
                      <a:pt x="80" y="301"/>
                    </a:cubicBezTo>
                    <a:cubicBezTo>
                      <a:pt x="36" y="354"/>
                      <a:pt x="44" y="407"/>
                      <a:pt x="80" y="434"/>
                    </a:cubicBezTo>
                    <a:cubicBezTo>
                      <a:pt x="106" y="460"/>
                      <a:pt x="159" y="478"/>
                      <a:pt x="203" y="425"/>
                    </a:cubicBezTo>
                    <a:cubicBezTo>
                      <a:pt x="452" y="186"/>
                      <a:pt x="452" y="186"/>
                      <a:pt x="452" y="186"/>
                    </a:cubicBezTo>
                    <a:cubicBezTo>
                      <a:pt x="461" y="178"/>
                      <a:pt x="469" y="178"/>
                      <a:pt x="478" y="186"/>
                    </a:cubicBezTo>
                    <a:lnTo>
                      <a:pt x="478" y="203"/>
                    </a:lnTo>
                    <a:cubicBezTo>
                      <a:pt x="230" y="452"/>
                      <a:pt x="230" y="452"/>
                      <a:pt x="230" y="452"/>
                    </a:cubicBezTo>
                    <a:cubicBezTo>
                      <a:pt x="203" y="478"/>
                      <a:pt x="168" y="497"/>
                      <a:pt x="133" y="497"/>
                    </a:cubicBezTo>
                  </a:path>
                </a:pathLst>
              </a:custGeom>
              <a:solidFill>
                <a:srgbClr val="FFFFFF"/>
              </a:solidFill>
              <a:ln>
                <a:noFill/>
              </a:ln>
              <a:effectLst/>
              <a:extLst/>
            </p:spPr>
            <p:txBody>
              <a:bodyPr wrap="none" anchor="ctr"/>
              <a:lstStyle/>
              <a:p>
                <a:endParaRPr lang="en-US"/>
              </a:p>
            </p:txBody>
          </p:sp>
        </p:grpSp>
        <p:grpSp>
          <p:nvGrpSpPr>
            <p:cNvPr id="20" name="Group 19"/>
            <p:cNvGrpSpPr/>
            <p:nvPr>
              <p:custDataLst>
                <p:tags r:id="rId6"/>
              </p:custDataLst>
            </p:nvPr>
          </p:nvGrpSpPr>
          <p:grpSpPr>
            <a:xfrm>
              <a:off x="172223" y="4347476"/>
              <a:ext cx="2365964" cy="1048660"/>
              <a:chOff x="3500914" y="4702630"/>
              <a:chExt cx="7513818" cy="1048660"/>
            </a:xfrm>
          </p:grpSpPr>
          <p:sp>
            <p:nvSpPr>
              <p:cNvPr id="21" name="TextBox 20"/>
              <p:cNvSpPr txBox="1"/>
              <p:nvPr/>
            </p:nvSpPr>
            <p:spPr>
              <a:xfrm>
                <a:off x="3863920" y="4702630"/>
                <a:ext cx="7139408" cy="400120"/>
              </a:xfrm>
              <a:prstGeom prst="rect">
                <a:avLst/>
              </a:prstGeom>
              <a:noFill/>
            </p:spPr>
            <p:txBody>
              <a:bodyPr wrap="none" lIns="182889" tIns="91445" rIns="182889" bIns="91445" rtlCol="0">
                <a:spAutoFit/>
              </a:bodyPr>
              <a:lstStyle/>
              <a:p>
                <a:pPr algn="r"/>
                <a:r>
                  <a:rPr lang="id-ID" sz="1400" dirty="0">
                    <a:solidFill>
                      <a:srgbClr val="58595B"/>
                    </a:solidFill>
                    <a:cs typeface="Source Sans Pro"/>
                  </a:rPr>
                  <a:t>Anaylis of the Segment</a:t>
                </a:r>
              </a:p>
            </p:txBody>
          </p:sp>
          <p:sp>
            <p:nvSpPr>
              <p:cNvPr id="22" name="Rectangle 21"/>
              <p:cNvSpPr/>
              <p:nvPr/>
            </p:nvSpPr>
            <p:spPr>
              <a:xfrm>
                <a:off x="3500914" y="5197282"/>
                <a:ext cx="7513818" cy="554008"/>
              </a:xfrm>
              <a:prstGeom prst="rect">
                <a:avLst/>
              </a:prstGeom>
            </p:spPr>
            <p:txBody>
              <a:bodyPr wrap="square" lIns="182889" tIns="91445" rIns="182889" bIns="91445">
                <a:spAutoFit/>
              </a:bodyPr>
              <a:lstStyle/>
              <a:p>
                <a:pPr algn="r"/>
                <a:r>
                  <a:rPr lang="fr-FR" sz="1200" dirty="0" err="1">
                    <a:solidFill>
                      <a:srgbClr val="58595B"/>
                    </a:solidFill>
                    <a:cs typeface="Source Sans Pro ExtraLight"/>
                  </a:rPr>
                  <a:t>Lorem</a:t>
                </a:r>
                <a:r>
                  <a:rPr lang="fr-FR" sz="1200" dirty="0">
                    <a:solidFill>
                      <a:srgbClr val="58595B"/>
                    </a:solidFill>
                    <a:cs typeface="Source Sans Pro ExtraLight"/>
                  </a:rPr>
                  <a:t> </a:t>
                </a:r>
                <a:r>
                  <a:rPr lang="fr-FR" sz="1200" dirty="0" err="1">
                    <a:solidFill>
                      <a:srgbClr val="58595B"/>
                    </a:solidFill>
                    <a:cs typeface="Source Sans Pro ExtraLight"/>
                  </a:rPr>
                  <a:t>ipsum</a:t>
                </a:r>
                <a:r>
                  <a:rPr lang="fr-FR" sz="1200" dirty="0">
                    <a:solidFill>
                      <a:srgbClr val="58595B"/>
                    </a:solidFill>
                    <a:cs typeface="Source Sans Pro ExtraLight"/>
                  </a:rPr>
                  <a:t> </a:t>
                </a:r>
                <a:r>
                  <a:rPr lang="fr-FR" sz="1200" dirty="0" err="1">
                    <a:solidFill>
                      <a:srgbClr val="58595B"/>
                    </a:solidFill>
                    <a:cs typeface="Source Sans Pro ExtraLight"/>
                  </a:rPr>
                  <a:t>dolor</a:t>
                </a:r>
                <a:r>
                  <a:rPr lang="fr-FR" sz="1200" dirty="0">
                    <a:solidFill>
                      <a:srgbClr val="58595B"/>
                    </a:solidFill>
                    <a:cs typeface="Source Sans Pro ExtraLight"/>
                  </a:rPr>
                  <a:t> </a:t>
                </a:r>
                <a:r>
                  <a:rPr lang="fr-FR" sz="1200" dirty="0" err="1">
                    <a:solidFill>
                      <a:srgbClr val="58595B"/>
                    </a:solidFill>
                    <a:cs typeface="Source Sans Pro ExtraLight"/>
                  </a:rPr>
                  <a:t>sit</a:t>
                </a:r>
                <a:r>
                  <a:rPr lang="fr-FR" sz="1200" dirty="0">
                    <a:solidFill>
                      <a:srgbClr val="58595B"/>
                    </a:solidFill>
                    <a:cs typeface="Source Sans Pro ExtraLight"/>
                  </a:rPr>
                  <a:t> </a:t>
                </a:r>
                <a:r>
                  <a:rPr lang="fr-FR" sz="1200" dirty="0" err="1">
                    <a:solidFill>
                      <a:srgbClr val="58595B"/>
                    </a:solidFill>
                    <a:cs typeface="Source Sans Pro ExtraLight"/>
                  </a:rPr>
                  <a:t>amet</a:t>
                </a:r>
                <a:r>
                  <a:rPr lang="fr-FR" sz="1200" dirty="0">
                    <a:solidFill>
                      <a:srgbClr val="58595B"/>
                    </a:solidFill>
                    <a:cs typeface="Source Sans Pro ExtraLight"/>
                  </a:rPr>
                  <a:t>, </a:t>
                </a:r>
                <a:r>
                  <a:rPr lang="fr-FR" sz="1200" dirty="0" err="1">
                    <a:solidFill>
                      <a:srgbClr val="58595B"/>
                    </a:solidFill>
                    <a:cs typeface="Source Sans Pro ExtraLight"/>
                  </a:rPr>
                  <a:t>consectetur</a:t>
                </a:r>
                <a:r>
                  <a:rPr lang="fr-FR" sz="1200" dirty="0">
                    <a:solidFill>
                      <a:srgbClr val="58595B"/>
                    </a:solidFill>
                    <a:cs typeface="Source Sans Pro ExtraLight"/>
                  </a:rPr>
                  <a:t> </a:t>
                </a:r>
                <a:r>
                  <a:rPr lang="fr-FR" sz="1200" dirty="0" err="1">
                    <a:solidFill>
                      <a:srgbClr val="58595B"/>
                    </a:solidFill>
                    <a:cs typeface="Source Sans Pro ExtraLight"/>
                  </a:rPr>
                  <a:t>adipiscing</a:t>
                </a:r>
                <a:r>
                  <a:rPr lang="fr-FR" sz="1200" dirty="0">
                    <a:solidFill>
                      <a:srgbClr val="58595B"/>
                    </a:solidFill>
                    <a:cs typeface="Source Sans Pro ExtraLight"/>
                  </a:rPr>
                  <a:t> </a:t>
                </a:r>
                <a:r>
                  <a:rPr lang="fr-FR" sz="1200" dirty="0" err="1">
                    <a:solidFill>
                      <a:srgbClr val="58595B"/>
                    </a:solidFill>
                    <a:cs typeface="Source Sans Pro ExtraLight"/>
                  </a:rPr>
                  <a:t>elit</a:t>
                </a:r>
                <a:r>
                  <a:rPr lang="fr-FR" sz="1200" dirty="0" smtClean="0">
                    <a:solidFill>
                      <a:srgbClr val="58595B"/>
                    </a:solidFill>
                    <a:cs typeface="Source Sans Pro ExtraLight"/>
                  </a:rPr>
                  <a:t>.</a:t>
                </a:r>
                <a:endParaRPr lang="en-US" sz="1200" dirty="0">
                  <a:solidFill>
                    <a:srgbClr val="58595B"/>
                  </a:solidFill>
                  <a:cs typeface="Source Sans Pro ExtraLight"/>
                </a:endParaRPr>
              </a:p>
            </p:txBody>
          </p:sp>
        </p:grpSp>
      </p:grpSp>
      <p:sp>
        <p:nvSpPr>
          <p:cNvPr id="37"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33_84 34_84 35_84 36_84</a:t>
            </a:r>
            <a:endParaRPr lang="en-US" sz="100" dirty="0" err="1" smtClean="0">
              <a:solidFill>
                <a:srgbClr val="FFFFFF"/>
              </a:solidFill>
            </a:endParaRPr>
          </a:p>
        </p:txBody>
      </p:sp>
    </p:spTree>
    <p:extLst>
      <p:ext uri="{BB962C8B-B14F-4D97-AF65-F5344CB8AC3E}">
        <p14:creationId xmlns:p14="http://schemas.microsoft.com/office/powerpoint/2010/main" val="383819549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deas page</a:t>
            </a:r>
            <a:endParaRPr lang="en-US" dirty="0"/>
          </a:p>
        </p:txBody>
      </p:sp>
      <p:sp>
        <p:nvSpPr>
          <p:cNvPr id="5" name="TextBox 4"/>
          <p:cNvSpPr txBox="1"/>
          <p:nvPr/>
        </p:nvSpPr>
        <p:spPr>
          <a:xfrm>
            <a:off x="458455" y="1274248"/>
            <a:ext cx="11872882" cy="747905"/>
          </a:xfrm>
          <a:prstGeom prst="rect">
            <a:avLst/>
          </a:prstGeom>
          <a:noFill/>
        </p:spPr>
        <p:txBody>
          <a:bodyPr wrap="square" lIns="137168" tIns="68584" rIns="137168" bIns="68584" rtlCol="0">
            <a:spAutoFit/>
          </a:bodyPr>
          <a:lstStyle/>
          <a:p>
            <a:pPr>
              <a:lnSpc>
                <a:spcPct val="120000"/>
              </a:lnSpc>
            </a:pPr>
            <a:r>
              <a:rPr lang="en-US" sz="1100" dirty="0">
                <a:latin typeface="Roboto Regular" pitchFamily="2" charset="0"/>
                <a:ea typeface="Roboto Regular" pitchFamily="2" charset="0"/>
                <a:cs typeface="Lato Light"/>
              </a:rPr>
              <a:t>Lorem ipsum dolor sit amet, consectetur adipiscing elit. In in tortor in urna pulvinar blandit. Aliquam dolor nulla, interdum non quam ac, ultricies porttitor tellus. Vivamus vitae vestibulum mauris. In ut congue arcu. In lectus nibh, ultricies a elit ac, laoreet dictum nulla. Proin sed nisi justo. Cras quis placerat ipsum. Duis consequat ornare mollis. In luctus justo at dapibus pretium. Donec euismod ex et erat placerat viverra. Praesent sed convallis augue. Aenean facilisis nisi id neque faucibus, nec pharetra erat luctus.</a:t>
            </a:r>
          </a:p>
        </p:txBody>
      </p:sp>
      <p:sp>
        <p:nvSpPr>
          <p:cNvPr id="6" name="TextBox 5"/>
          <p:cNvSpPr txBox="1"/>
          <p:nvPr/>
        </p:nvSpPr>
        <p:spPr>
          <a:xfrm>
            <a:off x="2081073" y="4440839"/>
            <a:ext cx="1168285" cy="415506"/>
          </a:xfrm>
          <a:prstGeom prst="rect">
            <a:avLst/>
          </a:prstGeom>
          <a:noFill/>
        </p:spPr>
        <p:txBody>
          <a:bodyPr wrap="none" lIns="137168" tIns="68584" rIns="137168" bIns="68584" rtlCol="0">
            <a:spAutoFit/>
          </a:bodyPr>
          <a:lstStyle/>
          <a:p>
            <a:r>
              <a:rPr lang="id-ID" b="1" dirty="0">
                <a:solidFill>
                  <a:srgbClr val="58595B"/>
                </a:solidFill>
                <a:cs typeface="Lato Regular"/>
              </a:rPr>
              <a:t>Evaluate</a:t>
            </a:r>
          </a:p>
        </p:txBody>
      </p:sp>
      <p:sp>
        <p:nvSpPr>
          <p:cNvPr id="7" name="TextBox 6"/>
          <p:cNvSpPr txBox="1"/>
          <p:nvPr/>
        </p:nvSpPr>
        <p:spPr>
          <a:xfrm>
            <a:off x="2115358" y="4904678"/>
            <a:ext cx="3580050" cy="984893"/>
          </a:xfrm>
          <a:prstGeom prst="rect">
            <a:avLst/>
          </a:prstGeom>
          <a:noFill/>
        </p:spPr>
        <p:txBody>
          <a:bodyPr wrap="square" lIns="137168" tIns="68584" rIns="137168" bIns="68584" rtlCol="0">
            <a:spAutoFit/>
          </a:bodyPr>
          <a:lstStyle/>
          <a:p>
            <a:r>
              <a:rPr lang="en-US" sz="1100" dirty="0">
                <a:latin typeface="Roboto Regular" pitchFamily="2" charset="0"/>
                <a:ea typeface="Roboto Regular" pitchFamily="2" charset="0"/>
                <a:cs typeface="Lato Light"/>
              </a:rPr>
              <a:t>Lorem ipsum dolor sit amet, consectetur adipiscing elit. In in tortor in urna pulvinar blandit. Aliquam dolor nulla, interdum non quam ac, ultricies porttitor tellus. Vivamus vitae vestibulum mauris. In ut congue arcu. In lectus nibh.</a:t>
            </a:r>
            <a:endParaRPr lang="en-US" sz="1100" b="1" dirty="0">
              <a:latin typeface="Roboto Regular" pitchFamily="2" charset="0"/>
              <a:ea typeface="Roboto Regular" pitchFamily="2" charset="0"/>
              <a:cs typeface="Lato Light"/>
            </a:endParaRPr>
          </a:p>
        </p:txBody>
      </p:sp>
      <p:sp>
        <p:nvSpPr>
          <p:cNvPr id="12" name="AutoShape 12"/>
          <p:cNvSpPr>
            <a:spLocks/>
          </p:cNvSpPr>
          <p:nvPr/>
        </p:nvSpPr>
        <p:spPr bwMode="auto">
          <a:xfrm>
            <a:off x="1189978" y="4740578"/>
            <a:ext cx="514884" cy="566521"/>
          </a:xfrm>
          <a:custGeom>
            <a:avLst/>
            <a:gdLst>
              <a:gd name="T0" fmla="+- 0 10802 114"/>
              <a:gd name="T1" fmla="*/ T0 w 21376"/>
              <a:gd name="T2" fmla="*/ 10800 h 21600"/>
              <a:gd name="T3" fmla="+- 0 10802 114"/>
              <a:gd name="T4" fmla="*/ T3 w 21376"/>
              <a:gd name="T5" fmla="*/ 10800 h 21600"/>
              <a:gd name="T6" fmla="+- 0 10802 114"/>
              <a:gd name="T7" fmla="*/ T6 w 21376"/>
              <a:gd name="T8" fmla="*/ 10800 h 21600"/>
              <a:gd name="T9" fmla="+- 0 10802 114"/>
              <a:gd name="T10" fmla="*/ T9 w 21376"/>
              <a:gd name="T11" fmla="*/ 10800 h 21600"/>
            </a:gdLst>
            <a:ahLst/>
            <a:cxnLst>
              <a:cxn ang="0">
                <a:pos x="T1" y="T2"/>
              </a:cxn>
              <a:cxn ang="0">
                <a:pos x="T4" y="T5"/>
              </a:cxn>
              <a:cxn ang="0">
                <a:pos x="T7" y="T8"/>
              </a:cxn>
              <a:cxn ang="0">
                <a:pos x="T10" y="T11"/>
              </a:cxn>
            </a:cxnLst>
            <a:rect l="0" t="0" r="r" b="b"/>
            <a:pathLst>
              <a:path w="21376" h="21600">
                <a:moveTo>
                  <a:pt x="21036" y="18604"/>
                </a:moveTo>
                <a:cubicBezTo>
                  <a:pt x="21454" y="19261"/>
                  <a:pt x="21486" y="19922"/>
                  <a:pt x="21134" y="20586"/>
                </a:cubicBezTo>
                <a:cubicBezTo>
                  <a:pt x="20969" y="20915"/>
                  <a:pt x="20731" y="21168"/>
                  <a:pt x="20427" y="21338"/>
                </a:cubicBezTo>
                <a:cubicBezTo>
                  <a:pt x="20122" y="21514"/>
                  <a:pt x="19797" y="21599"/>
                  <a:pt x="19455" y="21599"/>
                </a:cubicBezTo>
                <a:lnTo>
                  <a:pt x="1928" y="21599"/>
                </a:lnTo>
                <a:cubicBezTo>
                  <a:pt x="1585" y="21599"/>
                  <a:pt x="1263" y="21514"/>
                  <a:pt x="965" y="21338"/>
                </a:cubicBezTo>
                <a:cubicBezTo>
                  <a:pt x="663" y="21168"/>
                  <a:pt x="425" y="20915"/>
                  <a:pt x="248" y="20586"/>
                </a:cubicBezTo>
                <a:cubicBezTo>
                  <a:pt x="-114" y="19914"/>
                  <a:pt x="-80" y="19250"/>
                  <a:pt x="344" y="18604"/>
                </a:cubicBezTo>
                <a:lnTo>
                  <a:pt x="7509" y="7313"/>
                </a:lnTo>
                <a:lnTo>
                  <a:pt x="7509" y="2167"/>
                </a:lnTo>
                <a:lnTo>
                  <a:pt x="6427" y="2167"/>
                </a:lnTo>
                <a:cubicBezTo>
                  <a:pt x="6122" y="2167"/>
                  <a:pt x="5870" y="2061"/>
                  <a:pt x="5670" y="1850"/>
                </a:cubicBezTo>
                <a:cubicBezTo>
                  <a:pt x="5473" y="1638"/>
                  <a:pt x="5371" y="1380"/>
                  <a:pt x="5371" y="1072"/>
                </a:cubicBezTo>
                <a:cubicBezTo>
                  <a:pt x="5371" y="778"/>
                  <a:pt x="5473" y="528"/>
                  <a:pt x="5670" y="320"/>
                </a:cubicBezTo>
                <a:cubicBezTo>
                  <a:pt x="5870" y="108"/>
                  <a:pt x="6122" y="0"/>
                  <a:pt x="6427" y="0"/>
                </a:cubicBezTo>
                <a:lnTo>
                  <a:pt x="14953" y="0"/>
                </a:lnTo>
                <a:cubicBezTo>
                  <a:pt x="15260" y="0"/>
                  <a:pt x="15515" y="108"/>
                  <a:pt x="15724" y="320"/>
                </a:cubicBezTo>
                <a:cubicBezTo>
                  <a:pt x="15933" y="528"/>
                  <a:pt x="16038" y="778"/>
                  <a:pt x="16038" y="1072"/>
                </a:cubicBezTo>
                <a:cubicBezTo>
                  <a:pt x="16038" y="1380"/>
                  <a:pt x="15933" y="1638"/>
                  <a:pt x="15724" y="1850"/>
                </a:cubicBezTo>
                <a:cubicBezTo>
                  <a:pt x="15515" y="2061"/>
                  <a:pt x="15260" y="2167"/>
                  <a:pt x="14953" y="2167"/>
                </a:cubicBezTo>
                <a:lnTo>
                  <a:pt x="13900" y="2167"/>
                </a:lnTo>
                <a:lnTo>
                  <a:pt x="13900" y="7339"/>
                </a:lnTo>
                <a:lnTo>
                  <a:pt x="21036" y="18604"/>
                </a:lnTo>
                <a:close/>
                <a:moveTo>
                  <a:pt x="5261" y="14865"/>
                </a:moveTo>
                <a:lnTo>
                  <a:pt x="16122" y="14865"/>
                </a:lnTo>
                <a:lnTo>
                  <a:pt x="11773" y="7974"/>
                </a:lnTo>
                <a:lnTo>
                  <a:pt x="11773" y="2167"/>
                </a:lnTo>
                <a:lnTo>
                  <a:pt x="9635" y="2167"/>
                </a:lnTo>
                <a:lnTo>
                  <a:pt x="9635" y="7947"/>
                </a:lnTo>
                <a:lnTo>
                  <a:pt x="5261" y="14865"/>
                </a:lnTo>
                <a:close/>
              </a:path>
            </a:pathLst>
          </a:custGeom>
          <a:solidFill>
            <a:schemeClr val="accent3"/>
          </a:solidFill>
          <a:ln>
            <a:noFill/>
          </a:ln>
          <a:effectLst/>
          <a:extLst/>
        </p:spPr>
        <p:txBody>
          <a:bodyPr lIns="76203" tIns="76203" rIns="76203" bIns="76203" anchor="ctr"/>
          <a:lstStyle/>
          <a:p>
            <a:pPr defTabSz="685829">
              <a:defRPr/>
            </a:pPr>
            <a:endParaRPr lang="es-ES" sz="2800" dirty="0">
              <a:solidFill>
                <a:srgbClr val="44CEB9"/>
              </a:solidFill>
              <a:effectLst>
                <a:outerShdw blurRad="38100" dist="38100" dir="2700000" algn="tl">
                  <a:srgbClr val="000000"/>
                </a:outerShdw>
              </a:effectLst>
              <a:cs typeface="Gill Sans" charset="0"/>
              <a:sym typeface="Gill Sans" charset="0"/>
            </a:endParaRPr>
          </a:p>
        </p:txBody>
      </p:sp>
      <p:sp>
        <p:nvSpPr>
          <p:cNvPr id="10" name="TextBox 9"/>
          <p:cNvSpPr txBox="1"/>
          <p:nvPr/>
        </p:nvSpPr>
        <p:spPr>
          <a:xfrm>
            <a:off x="7800435" y="4440839"/>
            <a:ext cx="1102562" cy="415506"/>
          </a:xfrm>
          <a:prstGeom prst="rect">
            <a:avLst/>
          </a:prstGeom>
          <a:noFill/>
        </p:spPr>
        <p:txBody>
          <a:bodyPr wrap="none" lIns="137168" tIns="68584" rIns="137168" bIns="68584" rtlCol="0">
            <a:spAutoFit/>
          </a:bodyPr>
          <a:lstStyle/>
          <a:p>
            <a:r>
              <a:rPr lang="id-ID" b="1" dirty="0">
                <a:solidFill>
                  <a:srgbClr val="58595B"/>
                </a:solidFill>
                <a:cs typeface="Lato Regular"/>
              </a:rPr>
              <a:t>Execute</a:t>
            </a:r>
          </a:p>
        </p:txBody>
      </p:sp>
      <p:sp>
        <p:nvSpPr>
          <p:cNvPr id="11" name="TextBox 10"/>
          <p:cNvSpPr txBox="1"/>
          <p:nvPr/>
        </p:nvSpPr>
        <p:spPr>
          <a:xfrm>
            <a:off x="7800434" y="4904679"/>
            <a:ext cx="3580050" cy="984893"/>
          </a:xfrm>
          <a:prstGeom prst="rect">
            <a:avLst/>
          </a:prstGeom>
          <a:noFill/>
        </p:spPr>
        <p:txBody>
          <a:bodyPr wrap="square" lIns="137168" tIns="68584" rIns="137168" bIns="68584" rtlCol="0">
            <a:spAutoFit/>
          </a:bodyPr>
          <a:lstStyle/>
          <a:p>
            <a:r>
              <a:rPr lang="en-US" sz="1100" dirty="0">
                <a:latin typeface="Roboto Regular" pitchFamily="2" charset="0"/>
                <a:ea typeface="Roboto Regular" pitchFamily="2" charset="0"/>
                <a:cs typeface="Lato Light"/>
              </a:rPr>
              <a:t>Lorem ipsum dolor sit amet, consectetur adipiscing elit. In in tortor in urna pulvinar blandit. Aliquam dolor nulla, interdum non quam ac, ultricies porttitor tellus. Vivamus vitae vestibulum mauris. In ut congue arcu. In lectus nibh.</a:t>
            </a:r>
            <a:endParaRPr lang="en-US" sz="1100" b="1" dirty="0">
              <a:latin typeface="Roboto Regular" pitchFamily="2" charset="0"/>
              <a:ea typeface="Roboto Regular" pitchFamily="2" charset="0"/>
              <a:cs typeface="Lato Light"/>
            </a:endParaRPr>
          </a:p>
        </p:txBody>
      </p:sp>
      <p:sp>
        <p:nvSpPr>
          <p:cNvPr id="13" name="AutoShape 19"/>
          <p:cNvSpPr>
            <a:spLocks/>
          </p:cNvSpPr>
          <p:nvPr/>
        </p:nvSpPr>
        <p:spPr bwMode="auto">
          <a:xfrm>
            <a:off x="6892373" y="4718434"/>
            <a:ext cx="514884" cy="515018"/>
          </a:xfrm>
          <a:custGeom>
            <a:avLst/>
            <a:gdLst>
              <a:gd name="T0" fmla="*/ 10800 w 21600"/>
              <a:gd name="T1" fmla="*/ 10789 h 21579"/>
              <a:gd name="T2" fmla="*/ 10800 w 21600"/>
              <a:gd name="T3" fmla="*/ 10789 h 21579"/>
              <a:gd name="T4" fmla="*/ 10800 w 21600"/>
              <a:gd name="T5" fmla="*/ 10789 h 21579"/>
              <a:gd name="T6" fmla="*/ 10800 w 21600"/>
              <a:gd name="T7" fmla="*/ 10789 h 21579"/>
            </a:gdLst>
            <a:ahLst/>
            <a:cxnLst>
              <a:cxn ang="0">
                <a:pos x="T0" y="T1"/>
              </a:cxn>
              <a:cxn ang="0">
                <a:pos x="T2" y="T3"/>
              </a:cxn>
              <a:cxn ang="0">
                <a:pos x="T4" y="T5"/>
              </a:cxn>
              <a:cxn ang="0">
                <a:pos x="T6" y="T7"/>
              </a:cxn>
            </a:cxnLst>
            <a:rect l="0" t="0" r="r" b="b"/>
            <a:pathLst>
              <a:path w="21600" h="21579">
                <a:moveTo>
                  <a:pt x="21599" y="9391"/>
                </a:moveTo>
                <a:cubicBezTo>
                  <a:pt x="21599" y="9887"/>
                  <a:pt x="21472" y="10321"/>
                  <a:pt x="21218" y="10697"/>
                </a:cubicBezTo>
                <a:cubicBezTo>
                  <a:pt x="20963" y="11072"/>
                  <a:pt x="20647" y="11313"/>
                  <a:pt x="20263" y="11427"/>
                </a:cubicBezTo>
                <a:lnTo>
                  <a:pt x="20263" y="16610"/>
                </a:lnTo>
                <a:cubicBezTo>
                  <a:pt x="20263" y="17200"/>
                  <a:pt x="20087" y="17708"/>
                  <a:pt x="19729" y="18128"/>
                </a:cubicBezTo>
                <a:cubicBezTo>
                  <a:pt x="19374" y="18550"/>
                  <a:pt x="18951" y="18758"/>
                  <a:pt x="18459" y="18758"/>
                </a:cubicBezTo>
                <a:cubicBezTo>
                  <a:pt x="17927" y="18122"/>
                  <a:pt x="17286" y="17505"/>
                  <a:pt x="16537" y="16904"/>
                </a:cubicBezTo>
                <a:cubicBezTo>
                  <a:pt x="15785" y="16305"/>
                  <a:pt x="14980" y="15756"/>
                  <a:pt x="14116" y="15254"/>
                </a:cubicBezTo>
                <a:cubicBezTo>
                  <a:pt x="13254" y="14755"/>
                  <a:pt x="12363" y="14324"/>
                  <a:pt x="11449" y="13969"/>
                </a:cubicBezTo>
                <a:cubicBezTo>
                  <a:pt x="10536" y="13614"/>
                  <a:pt x="9648" y="13379"/>
                  <a:pt x="8788" y="13267"/>
                </a:cubicBezTo>
                <a:cubicBezTo>
                  <a:pt x="8453" y="13379"/>
                  <a:pt x="8179" y="13564"/>
                  <a:pt x="7968" y="13828"/>
                </a:cubicBezTo>
                <a:cubicBezTo>
                  <a:pt x="7758" y="14092"/>
                  <a:pt x="7613" y="14386"/>
                  <a:pt x="7535" y="14706"/>
                </a:cubicBezTo>
                <a:cubicBezTo>
                  <a:pt x="7457" y="15028"/>
                  <a:pt x="7449" y="15360"/>
                  <a:pt x="7510" y="15698"/>
                </a:cubicBezTo>
                <a:cubicBezTo>
                  <a:pt x="7574" y="16035"/>
                  <a:pt x="7719" y="16340"/>
                  <a:pt x="7946" y="16610"/>
                </a:cubicBezTo>
                <a:cubicBezTo>
                  <a:pt x="7750" y="16992"/>
                  <a:pt x="7660" y="17347"/>
                  <a:pt x="7677" y="17673"/>
                </a:cubicBezTo>
                <a:cubicBezTo>
                  <a:pt x="7692" y="17993"/>
                  <a:pt x="7772" y="18307"/>
                  <a:pt x="7917" y="18606"/>
                </a:cubicBezTo>
                <a:cubicBezTo>
                  <a:pt x="8059" y="18908"/>
                  <a:pt x="8255" y="19193"/>
                  <a:pt x="8497" y="19469"/>
                </a:cubicBezTo>
                <a:cubicBezTo>
                  <a:pt x="8737" y="19745"/>
                  <a:pt x="8996" y="20021"/>
                  <a:pt x="9271" y="20291"/>
                </a:cubicBezTo>
                <a:cubicBezTo>
                  <a:pt x="9114" y="20696"/>
                  <a:pt x="8842" y="21001"/>
                  <a:pt x="8455" y="21212"/>
                </a:cubicBezTo>
                <a:cubicBezTo>
                  <a:pt x="8069" y="21423"/>
                  <a:pt x="7655" y="21541"/>
                  <a:pt x="7212" y="21570"/>
                </a:cubicBezTo>
                <a:cubicBezTo>
                  <a:pt x="6771" y="21599"/>
                  <a:pt x="6340" y="21550"/>
                  <a:pt x="5917" y="21423"/>
                </a:cubicBezTo>
                <a:cubicBezTo>
                  <a:pt x="5496" y="21294"/>
                  <a:pt x="5163" y="21092"/>
                  <a:pt x="4923" y="20810"/>
                </a:cubicBezTo>
                <a:cubicBezTo>
                  <a:pt x="4781" y="20241"/>
                  <a:pt x="4624" y="19657"/>
                  <a:pt x="4453" y="19055"/>
                </a:cubicBezTo>
                <a:cubicBezTo>
                  <a:pt x="4281" y="18453"/>
                  <a:pt x="4139" y="17843"/>
                  <a:pt x="4032" y="17224"/>
                </a:cubicBezTo>
                <a:cubicBezTo>
                  <a:pt x="3921" y="16599"/>
                  <a:pt x="3868" y="15953"/>
                  <a:pt x="3868" y="15281"/>
                </a:cubicBezTo>
                <a:cubicBezTo>
                  <a:pt x="3868" y="14615"/>
                  <a:pt x="3961" y="13905"/>
                  <a:pt x="4149" y="13153"/>
                </a:cubicBezTo>
                <a:lnTo>
                  <a:pt x="1804" y="13153"/>
                </a:lnTo>
                <a:cubicBezTo>
                  <a:pt x="1312" y="13153"/>
                  <a:pt x="888" y="12945"/>
                  <a:pt x="533" y="12522"/>
                </a:cubicBezTo>
                <a:cubicBezTo>
                  <a:pt x="176" y="12100"/>
                  <a:pt x="0" y="11592"/>
                  <a:pt x="0" y="10990"/>
                </a:cubicBezTo>
                <a:lnTo>
                  <a:pt x="0" y="7774"/>
                </a:lnTo>
                <a:cubicBezTo>
                  <a:pt x="0" y="7184"/>
                  <a:pt x="176" y="6676"/>
                  <a:pt x="526" y="6245"/>
                </a:cubicBezTo>
                <a:cubicBezTo>
                  <a:pt x="878" y="5819"/>
                  <a:pt x="1304" y="5605"/>
                  <a:pt x="1804" y="5605"/>
                </a:cubicBezTo>
                <a:lnTo>
                  <a:pt x="7652" y="5605"/>
                </a:lnTo>
                <a:cubicBezTo>
                  <a:pt x="8551" y="5605"/>
                  <a:pt x="9508" y="5449"/>
                  <a:pt x="10524" y="5135"/>
                </a:cubicBezTo>
                <a:cubicBezTo>
                  <a:pt x="11540" y="4821"/>
                  <a:pt x="12536" y="4399"/>
                  <a:pt x="13511" y="3873"/>
                </a:cubicBezTo>
                <a:cubicBezTo>
                  <a:pt x="14488" y="3342"/>
                  <a:pt x="15408" y="2744"/>
                  <a:pt x="16272" y="2071"/>
                </a:cubicBezTo>
                <a:cubicBezTo>
                  <a:pt x="17134" y="1405"/>
                  <a:pt x="17864" y="713"/>
                  <a:pt x="18459" y="0"/>
                </a:cubicBezTo>
                <a:cubicBezTo>
                  <a:pt x="18951" y="0"/>
                  <a:pt x="19374" y="214"/>
                  <a:pt x="19729" y="633"/>
                </a:cubicBezTo>
                <a:cubicBezTo>
                  <a:pt x="20087" y="1056"/>
                  <a:pt x="20263" y="1567"/>
                  <a:pt x="20263" y="2165"/>
                </a:cubicBezTo>
                <a:lnTo>
                  <a:pt x="20263" y="7334"/>
                </a:lnTo>
                <a:cubicBezTo>
                  <a:pt x="20647" y="7445"/>
                  <a:pt x="20963" y="7692"/>
                  <a:pt x="21218" y="8070"/>
                </a:cubicBezTo>
                <a:cubicBezTo>
                  <a:pt x="21472" y="8454"/>
                  <a:pt x="21599" y="8895"/>
                  <a:pt x="21599" y="9391"/>
                </a:cubicBezTo>
                <a:moveTo>
                  <a:pt x="18459" y="2855"/>
                </a:moveTo>
                <a:cubicBezTo>
                  <a:pt x="17864" y="3407"/>
                  <a:pt x="17215" y="3941"/>
                  <a:pt x="16512" y="4451"/>
                </a:cubicBezTo>
                <a:cubicBezTo>
                  <a:pt x="15810" y="4962"/>
                  <a:pt x="15065" y="5423"/>
                  <a:pt x="14280" y="5834"/>
                </a:cubicBezTo>
                <a:cubicBezTo>
                  <a:pt x="13494" y="6245"/>
                  <a:pt x="12693" y="6609"/>
                  <a:pt x="11878" y="6923"/>
                </a:cubicBezTo>
                <a:cubicBezTo>
                  <a:pt x="11060" y="7237"/>
                  <a:pt x="10255" y="7462"/>
                  <a:pt x="9457" y="7603"/>
                </a:cubicBezTo>
                <a:lnTo>
                  <a:pt x="9457" y="11172"/>
                </a:lnTo>
                <a:cubicBezTo>
                  <a:pt x="10255" y="11325"/>
                  <a:pt x="11060" y="11554"/>
                  <a:pt x="11878" y="11862"/>
                </a:cubicBezTo>
                <a:cubicBezTo>
                  <a:pt x="12693" y="12170"/>
                  <a:pt x="13494" y="12537"/>
                  <a:pt x="14280" y="12956"/>
                </a:cubicBezTo>
                <a:cubicBezTo>
                  <a:pt x="15065" y="13379"/>
                  <a:pt x="15812" y="13843"/>
                  <a:pt x="16524" y="14347"/>
                </a:cubicBezTo>
                <a:cubicBezTo>
                  <a:pt x="17234" y="14855"/>
                  <a:pt x="17881" y="15380"/>
                  <a:pt x="18459" y="15920"/>
                </a:cubicBezTo>
                <a:lnTo>
                  <a:pt x="18459" y="2855"/>
                </a:lnTo>
                <a:close/>
              </a:path>
            </a:pathLst>
          </a:custGeom>
          <a:solidFill>
            <a:schemeClr val="accent4"/>
          </a:solidFill>
          <a:ln>
            <a:noFill/>
          </a:ln>
          <a:effectLst/>
          <a:extLst/>
        </p:spPr>
        <p:txBody>
          <a:bodyPr lIns="76203" tIns="76203" rIns="76203" bIns="76203" anchor="ctr"/>
          <a:lstStyle/>
          <a:p>
            <a:pPr defTabSz="685829">
              <a:defRPr/>
            </a:pPr>
            <a:endParaRPr lang="es-ES" sz="2800" dirty="0">
              <a:solidFill>
                <a:srgbClr val="44CEB9"/>
              </a:solidFill>
              <a:effectLst>
                <a:outerShdw blurRad="38100" dist="38100" dir="2700000" algn="tl">
                  <a:srgbClr val="000000"/>
                </a:outerShdw>
              </a:effectLst>
              <a:cs typeface="Gill Sans" charset="0"/>
              <a:sym typeface="Gill Sans" charset="0"/>
            </a:endParaRPr>
          </a:p>
        </p:txBody>
      </p:sp>
      <p:sp>
        <p:nvSpPr>
          <p:cNvPr id="3" name="TextBox 2"/>
          <p:cNvSpPr txBox="1"/>
          <p:nvPr/>
        </p:nvSpPr>
        <p:spPr>
          <a:xfrm>
            <a:off x="2115358" y="2375442"/>
            <a:ext cx="1125004" cy="415506"/>
          </a:xfrm>
          <a:prstGeom prst="rect">
            <a:avLst/>
          </a:prstGeom>
          <a:noFill/>
        </p:spPr>
        <p:txBody>
          <a:bodyPr wrap="none" lIns="137168" tIns="68584" rIns="137168" bIns="68584" rtlCol="0">
            <a:spAutoFit/>
          </a:bodyPr>
          <a:lstStyle/>
          <a:p>
            <a:r>
              <a:rPr lang="id-ID" b="1" dirty="0">
                <a:solidFill>
                  <a:srgbClr val="58595B"/>
                </a:solidFill>
                <a:cs typeface="Lato Regular"/>
              </a:rPr>
              <a:t>Improve</a:t>
            </a:r>
          </a:p>
        </p:txBody>
      </p:sp>
      <p:sp>
        <p:nvSpPr>
          <p:cNvPr id="4" name="TextBox 3"/>
          <p:cNvSpPr txBox="1"/>
          <p:nvPr/>
        </p:nvSpPr>
        <p:spPr>
          <a:xfrm>
            <a:off x="2115359" y="2839281"/>
            <a:ext cx="3580050" cy="984893"/>
          </a:xfrm>
          <a:prstGeom prst="rect">
            <a:avLst/>
          </a:prstGeom>
          <a:noFill/>
        </p:spPr>
        <p:txBody>
          <a:bodyPr wrap="square" lIns="137168" tIns="68584" rIns="137168" bIns="68584" rtlCol="0">
            <a:spAutoFit/>
          </a:bodyPr>
          <a:lstStyle/>
          <a:p>
            <a:r>
              <a:rPr lang="en-US" sz="1100" dirty="0">
                <a:latin typeface="Roboto Regular" pitchFamily="2" charset="0"/>
                <a:ea typeface="Roboto Regular" pitchFamily="2" charset="0"/>
                <a:cs typeface="Lato Light"/>
              </a:rPr>
              <a:t>Lorem ipsum dolor sit amet, consectetur adipiscing elit. In in tortor in urna pulvinar blandit. Aliquam dolor nulla, interdum non quam ac, ultricies porttitor tellus. Vivamus vitae vestibulum mauris. In ut congue arcu. In lectus nibh.</a:t>
            </a:r>
            <a:endParaRPr lang="en-US" sz="1100" b="1" dirty="0">
              <a:latin typeface="Roboto Regular" pitchFamily="2" charset="0"/>
              <a:ea typeface="Roboto Regular" pitchFamily="2" charset="0"/>
              <a:cs typeface="Lato Light"/>
            </a:endParaRPr>
          </a:p>
        </p:txBody>
      </p:sp>
      <p:sp>
        <p:nvSpPr>
          <p:cNvPr id="14" name="AutoShape 91"/>
          <p:cNvSpPr>
            <a:spLocks/>
          </p:cNvSpPr>
          <p:nvPr/>
        </p:nvSpPr>
        <p:spPr bwMode="auto">
          <a:xfrm>
            <a:off x="1189978" y="2655186"/>
            <a:ext cx="514884" cy="566521"/>
          </a:xfrm>
          <a:custGeom>
            <a:avLst/>
            <a:gdLst>
              <a:gd name="T0" fmla="+- 0 10795 54"/>
              <a:gd name="T1" fmla="*/ T0 w 21483"/>
              <a:gd name="T2" fmla="*/ 10800 h 21600"/>
              <a:gd name="T3" fmla="+- 0 10795 54"/>
              <a:gd name="T4" fmla="*/ T3 w 21483"/>
              <a:gd name="T5" fmla="*/ 10800 h 21600"/>
              <a:gd name="T6" fmla="+- 0 10795 54"/>
              <a:gd name="T7" fmla="*/ T6 w 21483"/>
              <a:gd name="T8" fmla="*/ 10800 h 21600"/>
              <a:gd name="T9" fmla="+- 0 10795 54"/>
              <a:gd name="T10" fmla="*/ T9 w 21483"/>
              <a:gd name="T11" fmla="*/ 10800 h 21600"/>
            </a:gdLst>
            <a:ahLst/>
            <a:cxnLst>
              <a:cxn ang="0">
                <a:pos x="T1" y="T2"/>
              </a:cxn>
              <a:cxn ang="0">
                <a:pos x="T4" y="T5"/>
              </a:cxn>
              <a:cxn ang="0">
                <a:pos x="T7" y="T8"/>
              </a:cxn>
              <a:cxn ang="0">
                <a:pos x="T10" y="T11"/>
              </a:cxn>
            </a:cxnLst>
            <a:rect l="0" t="0" r="r" b="b"/>
            <a:pathLst>
              <a:path w="21483" h="21600">
                <a:moveTo>
                  <a:pt x="20490" y="581"/>
                </a:moveTo>
                <a:cubicBezTo>
                  <a:pt x="20984" y="1781"/>
                  <a:pt x="21295" y="3048"/>
                  <a:pt x="21421" y="4387"/>
                </a:cubicBezTo>
                <a:cubicBezTo>
                  <a:pt x="21545" y="5722"/>
                  <a:pt x="21482" y="7179"/>
                  <a:pt x="21220" y="8744"/>
                </a:cubicBezTo>
                <a:cubicBezTo>
                  <a:pt x="20549" y="13134"/>
                  <a:pt x="18385" y="16469"/>
                  <a:pt x="14732" y="18748"/>
                </a:cubicBezTo>
                <a:cubicBezTo>
                  <a:pt x="13010" y="19857"/>
                  <a:pt x="11265" y="20408"/>
                  <a:pt x="9505" y="20408"/>
                </a:cubicBezTo>
                <a:cubicBezTo>
                  <a:pt x="8354" y="20408"/>
                  <a:pt x="7208" y="20165"/>
                  <a:pt x="6064" y="19682"/>
                </a:cubicBezTo>
                <a:cubicBezTo>
                  <a:pt x="5893" y="19609"/>
                  <a:pt x="5725" y="19519"/>
                  <a:pt x="5556" y="19411"/>
                </a:cubicBezTo>
                <a:cubicBezTo>
                  <a:pt x="5388" y="19301"/>
                  <a:pt x="5221" y="19191"/>
                  <a:pt x="5058" y="19075"/>
                </a:cubicBezTo>
                <a:cubicBezTo>
                  <a:pt x="4840" y="18928"/>
                  <a:pt x="4625" y="18790"/>
                  <a:pt x="4414" y="18660"/>
                </a:cubicBezTo>
                <a:cubicBezTo>
                  <a:pt x="4199" y="18527"/>
                  <a:pt x="4017" y="18465"/>
                  <a:pt x="3857" y="18465"/>
                </a:cubicBezTo>
                <a:cubicBezTo>
                  <a:pt x="3785" y="18485"/>
                  <a:pt x="3698" y="18561"/>
                  <a:pt x="3598" y="18700"/>
                </a:cubicBezTo>
                <a:cubicBezTo>
                  <a:pt x="3497" y="18841"/>
                  <a:pt x="3392" y="18996"/>
                  <a:pt x="3287" y="19174"/>
                </a:cubicBezTo>
                <a:cubicBezTo>
                  <a:pt x="3184" y="19349"/>
                  <a:pt x="3085" y="19536"/>
                  <a:pt x="2989" y="19728"/>
                </a:cubicBezTo>
                <a:cubicBezTo>
                  <a:pt x="2898" y="19922"/>
                  <a:pt x="2821" y="20072"/>
                  <a:pt x="2760" y="20179"/>
                </a:cubicBezTo>
                <a:cubicBezTo>
                  <a:pt x="2655" y="20388"/>
                  <a:pt x="2557" y="20575"/>
                  <a:pt x="2463" y="20741"/>
                </a:cubicBezTo>
                <a:cubicBezTo>
                  <a:pt x="2372" y="20908"/>
                  <a:pt x="2285" y="21055"/>
                  <a:pt x="2213" y="21182"/>
                </a:cubicBezTo>
                <a:cubicBezTo>
                  <a:pt x="2025" y="21461"/>
                  <a:pt x="1787" y="21599"/>
                  <a:pt x="1494" y="21599"/>
                </a:cubicBezTo>
                <a:lnTo>
                  <a:pt x="1450" y="21599"/>
                </a:lnTo>
                <a:cubicBezTo>
                  <a:pt x="1235" y="21583"/>
                  <a:pt x="1050" y="21526"/>
                  <a:pt x="895" y="21433"/>
                </a:cubicBezTo>
                <a:cubicBezTo>
                  <a:pt x="743" y="21334"/>
                  <a:pt x="617" y="21224"/>
                  <a:pt x="521" y="21097"/>
                </a:cubicBezTo>
                <a:cubicBezTo>
                  <a:pt x="425" y="20975"/>
                  <a:pt x="348" y="20846"/>
                  <a:pt x="292" y="20716"/>
                </a:cubicBezTo>
                <a:cubicBezTo>
                  <a:pt x="236" y="20586"/>
                  <a:pt x="198" y="20484"/>
                  <a:pt x="184" y="20408"/>
                </a:cubicBezTo>
                <a:cubicBezTo>
                  <a:pt x="-17" y="20077"/>
                  <a:pt x="-54" y="19724"/>
                  <a:pt x="74" y="19355"/>
                </a:cubicBezTo>
                <a:cubicBezTo>
                  <a:pt x="222" y="18877"/>
                  <a:pt x="430" y="18479"/>
                  <a:pt x="699" y="18152"/>
                </a:cubicBezTo>
                <a:cubicBezTo>
                  <a:pt x="970" y="17827"/>
                  <a:pt x="1235" y="17536"/>
                  <a:pt x="1494" y="17276"/>
                </a:cubicBezTo>
                <a:cubicBezTo>
                  <a:pt x="1712" y="17068"/>
                  <a:pt x="1901" y="16873"/>
                  <a:pt x="2061" y="16692"/>
                </a:cubicBezTo>
                <a:cubicBezTo>
                  <a:pt x="2222" y="16511"/>
                  <a:pt x="2325" y="16319"/>
                  <a:pt x="2367" y="16113"/>
                </a:cubicBezTo>
                <a:cubicBezTo>
                  <a:pt x="2383" y="16057"/>
                  <a:pt x="2383" y="16003"/>
                  <a:pt x="2367" y="15949"/>
                </a:cubicBezTo>
                <a:cubicBezTo>
                  <a:pt x="2353" y="15899"/>
                  <a:pt x="2318" y="15783"/>
                  <a:pt x="2257" y="15611"/>
                </a:cubicBezTo>
                <a:cubicBezTo>
                  <a:pt x="2213" y="15503"/>
                  <a:pt x="2168" y="15379"/>
                  <a:pt x="2128" y="15241"/>
                </a:cubicBezTo>
                <a:cubicBezTo>
                  <a:pt x="2086" y="15100"/>
                  <a:pt x="2051" y="14941"/>
                  <a:pt x="2021" y="14761"/>
                </a:cubicBezTo>
                <a:cubicBezTo>
                  <a:pt x="1836" y="13321"/>
                  <a:pt x="1883" y="11988"/>
                  <a:pt x="2166" y="10774"/>
                </a:cubicBezTo>
                <a:cubicBezTo>
                  <a:pt x="2449" y="9557"/>
                  <a:pt x="2898" y="8464"/>
                  <a:pt x="3509" y="7493"/>
                </a:cubicBezTo>
                <a:cubicBezTo>
                  <a:pt x="4122" y="6527"/>
                  <a:pt x="4852" y="5689"/>
                  <a:pt x="5694" y="4986"/>
                </a:cubicBezTo>
                <a:cubicBezTo>
                  <a:pt x="6539" y="4283"/>
                  <a:pt x="7416" y="3741"/>
                  <a:pt x="8326" y="3351"/>
                </a:cubicBezTo>
                <a:cubicBezTo>
                  <a:pt x="8939" y="3091"/>
                  <a:pt x="9611" y="2939"/>
                  <a:pt x="10336" y="2894"/>
                </a:cubicBezTo>
                <a:cubicBezTo>
                  <a:pt x="11066" y="2848"/>
                  <a:pt x="11826" y="2817"/>
                  <a:pt x="12617" y="2798"/>
                </a:cubicBezTo>
                <a:cubicBezTo>
                  <a:pt x="13073" y="2798"/>
                  <a:pt x="13546" y="2789"/>
                  <a:pt x="14037" y="2772"/>
                </a:cubicBezTo>
                <a:cubicBezTo>
                  <a:pt x="14531" y="2752"/>
                  <a:pt x="15008" y="2704"/>
                  <a:pt x="15469" y="2623"/>
                </a:cubicBezTo>
                <a:cubicBezTo>
                  <a:pt x="15926" y="2541"/>
                  <a:pt x="16351" y="2414"/>
                  <a:pt x="16740" y="2239"/>
                </a:cubicBezTo>
                <a:cubicBezTo>
                  <a:pt x="17128" y="2064"/>
                  <a:pt x="17446" y="1815"/>
                  <a:pt x="17692" y="1499"/>
                </a:cubicBezTo>
                <a:cubicBezTo>
                  <a:pt x="17839" y="1321"/>
                  <a:pt x="17984" y="1135"/>
                  <a:pt x="18125" y="948"/>
                </a:cubicBezTo>
                <a:cubicBezTo>
                  <a:pt x="18261" y="756"/>
                  <a:pt x="18403" y="595"/>
                  <a:pt x="18548" y="460"/>
                </a:cubicBezTo>
                <a:cubicBezTo>
                  <a:pt x="18696" y="324"/>
                  <a:pt x="18855" y="214"/>
                  <a:pt x="19028" y="129"/>
                </a:cubicBezTo>
                <a:cubicBezTo>
                  <a:pt x="19206" y="42"/>
                  <a:pt x="19423" y="0"/>
                  <a:pt x="19688" y="0"/>
                </a:cubicBezTo>
                <a:cubicBezTo>
                  <a:pt x="19856" y="0"/>
                  <a:pt x="20015" y="50"/>
                  <a:pt x="20163" y="155"/>
                </a:cubicBezTo>
                <a:cubicBezTo>
                  <a:pt x="20308" y="261"/>
                  <a:pt x="20418" y="400"/>
                  <a:pt x="20490" y="581"/>
                </a:cubicBezTo>
                <a:moveTo>
                  <a:pt x="15350" y="9977"/>
                </a:moveTo>
                <a:cubicBezTo>
                  <a:pt x="15596" y="10017"/>
                  <a:pt x="15811" y="9927"/>
                  <a:pt x="15993" y="9712"/>
                </a:cubicBezTo>
                <a:cubicBezTo>
                  <a:pt x="16178" y="9503"/>
                  <a:pt x="16276" y="9249"/>
                  <a:pt x="16291" y="8953"/>
                </a:cubicBezTo>
                <a:cubicBezTo>
                  <a:pt x="16305" y="8636"/>
                  <a:pt x="16230" y="8374"/>
                  <a:pt x="16064" y="8159"/>
                </a:cubicBezTo>
                <a:cubicBezTo>
                  <a:pt x="15893" y="7947"/>
                  <a:pt x="15680" y="7832"/>
                  <a:pt x="15418" y="7815"/>
                </a:cubicBezTo>
                <a:cubicBezTo>
                  <a:pt x="14321" y="7761"/>
                  <a:pt x="13284" y="7834"/>
                  <a:pt x="12315" y="8038"/>
                </a:cubicBezTo>
                <a:cubicBezTo>
                  <a:pt x="11344" y="8241"/>
                  <a:pt x="10425" y="8571"/>
                  <a:pt x="9550" y="9032"/>
                </a:cubicBezTo>
                <a:cubicBezTo>
                  <a:pt x="8673" y="9492"/>
                  <a:pt x="7842" y="10090"/>
                  <a:pt x="7046" y="10830"/>
                </a:cubicBezTo>
                <a:cubicBezTo>
                  <a:pt x="6249" y="11567"/>
                  <a:pt x="5479" y="12465"/>
                  <a:pt x="4732" y="13518"/>
                </a:cubicBezTo>
                <a:cubicBezTo>
                  <a:pt x="4562" y="13764"/>
                  <a:pt x="4482" y="14032"/>
                  <a:pt x="4496" y="14323"/>
                </a:cubicBezTo>
                <a:cubicBezTo>
                  <a:pt x="4510" y="14617"/>
                  <a:pt x="4620" y="14862"/>
                  <a:pt x="4821" y="15063"/>
                </a:cubicBezTo>
                <a:cubicBezTo>
                  <a:pt x="4971" y="15221"/>
                  <a:pt x="5163" y="15311"/>
                  <a:pt x="5392" y="15317"/>
                </a:cubicBezTo>
                <a:cubicBezTo>
                  <a:pt x="5668" y="15317"/>
                  <a:pt x="5900" y="15195"/>
                  <a:pt x="6087" y="14953"/>
                </a:cubicBezTo>
                <a:cubicBezTo>
                  <a:pt x="6759" y="14035"/>
                  <a:pt x="7435" y="13244"/>
                  <a:pt x="8116" y="12586"/>
                </a:cubicBezTo>
                <a:cubicBezTo>
                  <a:pt x="8794" y="11929"/>
                  <a:pt x="9510" y="11401"/>
                  <a:pt x="10259" y="11005"/>
                </a:cubicBezTo>
                <a:cubicBezTo>
                  <a:pt x="11010" y="10610"/>
                  <a:pt x="11801" y="10330"/>
                  <a:pt x="12636" y="10167"/>
                </a:cubicBezTo>
                <a:cubicBezTo>
                  <a:pt x="13467" y="10003"/>
                  <a:pt x="14372" y="9938"/>
                  <a:pt x="15350" y="9977"/>
                </a:cubicBezTo>
              </a:path>
            </a:pathLst>
          </a:custGeom>
          <a:solidFill>
            <a:schemeClr val="accent1"/>
          </a:solidFill>
          <a:ln>
            <a:noFill/>
          </a:ln>
          <a:effectLst/>
          <a:extLst/>
        </p:spPr>
        <p:txBody>
          <a:bodyPr lIns="76203" tIns="76203" rIns="76203" bIns="76203" anchor="ctr"/>
          <a:lstStyle/>
          <a:p>
            <a:pPr defTabSz="685829">
              <a:defRPr/>
            </a:pPr>
            <a:endParaRPr lang="es-ES" sz="2800" dirty="0">
              <a:solidFill>
                <a:srgbClr val="44CEB9"/>
              </a:solidFill>
              <a:effectLst>
                <a:outerShdw blurRad="38100" dist="38100" dir="2700000" algn="tl">
                  <a:srgbClr val="000000"/>
                </a:outerShdw>
              </a:effectLst>
              <a:cs typeface="Gill Sans" charset="0"/>
              <a:sym typeface="Gill Sans" charset="0"/>
            </a:endParaRPr>
          </a:p>
        </p:txBody>
      </p:sp>
      <p:sp>
        <p:nvSpPr>
          <p:cNvPr id="8" name="TextBox 7"/>
          <p:cNvSpPr txBox="1"/>
          <p:nvPr/>
        </p:nvSpPr>
        <p:spPr>
          <a:xfrm>
            <a:off x="7817578" y="2375442"/>
            <a:ext cx="741886" cy="415506"/>
          </a:xfrm>
          <a:prstGeom prst="rect">
            <a:avLst/>
          </a:prstGeom>
          <a:noFill/>
        </p:spPr>
        <p:txBody>
          <a:bodyPr wrap="none" lIns="137168" tIns="68584" rIns="137168" bIns="68584" rtlCol="0">
            <a:spAutoFit/>
          </a:bodyPr>
          <a:lstStyle/>
          <a:p>
            <a:r>
              <a:rPr lang="id-ID" b="1" dirty="0">
                <a:solidFill>
                  <a:srgbClr val="58595B"/>
                </a:solidFill>
                <a:cs typeface="Lato Regular"/>
              </a:rPr>
              <a:t>Plan</a:t>
            </a:r>
          </a:p>
        </p:txBody>
      </p:sp>
      <p:sp>
        <p:nvSpPr>
          <p:cNvPr id="9" name="TextBox 8"/>
          <p:cNvSpPr txBox="1"/>
          <p:nvPr/>
        </p:nvSpPr>
        <p:spPr>
          <a:xfrm>
            <a:off x="7817577" y="2839281"/>
            <a:ext cx="3580050" cy="984893"/>
          </a:xfrm>
          <a:prstGeom prst="rect">
            <a:avLst/>
          </a:prstGeom>
          <a:noFill/>
        </p:spPr>
        <p:txBody>
          <a:bodyPr wrap="square" lIns="137168" tIns="68584" rIns="137168" bIns="68584" rtlCol="0">
            <a:spAutoFit/>
          </a:bodyPr>
          <a:lstStyle/>
          <a:p>
            <a:r>
              <a:rPr lang="en-US" sz="1100" dirty="0">
                <a:latin typeface="Roboto Regular" pitchFamily="2" charset="0"/>
                <a:ea typeface="Roboto Regular" pitchFamily="2" charset="0"/>
                <a:cs typeface="Lato Light"/>
              </a:rPr>
              <a:t>Lorem ipsum dolor sit amet, consectetur adipiscing elit. In in tortor in urna pulvinar blandit. Aliquam dolor nulla, interdum non quam ac, ultricies porttitor tellus. Vivamus vitae vestibulum mauris. In ut congue arcu. In lectus nibh.</a:t>
            </a:r>
            <a:endParaRPr lang="en-US" sz="1100" b="1" dirty="0">
              <a:latin typeface="Roboto Regular" pitchFamily="2" charset="0"/>
              <a:ea typeface="Roboto Regular" pitchFamily="2" charset="0"/>
              <a:cs typeface="Lato Light"/>
            </a:endParaRPr>
          </a:p>
        </p:txBody>
      </p:sp>
      <p:sp>
        <p:nvSpPr>
          <p:cNvPr id="15" name="AutoShape 96"/>
          <p:cNvSpPr>
            <a:spLocks/>
          </p:cNvSpPr>
          <p:nvPr/>
        </p:nvSpPr>
        <p:spPr bwMode="auto">
          <a:xfrm>
            <a:off x="6875230" y="2644428"/>
            <a:ext cx="514884" cy="51501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845" y="434"/>
                </a:moveTo>
                <a:cubicBezTo>
                  <a:pt x="19000" y="276"/>
                  <a:pt x="19186" y="194"/>
                  <a:pt x="19399" y="194"/>
                </a:cubicBezTo>
                <a:cubicBezTo>
                  <a:pt x="19670" y="194"/>
                  <a:pt x="19900" y="332"/>
                  <a:pt x="20087" y="602"/>
                </a:cubicBezTo>
                <a:cubicBezTo>
                  <a:pt x="20165" y="716"/>
                  <a:pt x="20282" y="872"/>
                  <a:pt x="20432" y="1072"/>
                </a:cubicBezTo>
                <a:cubicBezTo>
                  <a:pt x="20586" y="1274"/>
                  <a:pt x="20733" y="1483"/>
                  <a:pt x="20880" y="1692"/>
                </a:cubicBezTo>
                <a:cubicBezTo>
                  <a:pt x="21024" y="1903"/>
                  <a:pt x="21147" y="2127"/>
                  <a:pt x="21252" y="2359"/>
                </a:cubicBezTo>
                <a:cubicBezTo>
                  <a:pt x="21357" y="2597"/>
                  <a:pt x="21411" y="2796"/>
                  <a:pt x="21411" y="2967"/>
                </a:cubicBezTo>
                <a:cubicBezTo>
                  <a:pt x="21411" y="3334"/>
                  <a:pt x="21298" y="3616"/>
                  <a:pt x="21071" y="3825"/>
                </a:cubicBezTo>
                <a:lnTo>
                  <a:pt x="2568" y="21376"/>
                </a:lnTo>
                <a:cubicBezTo>
                  <a:pt x="2408" y="21526"/>
                  <a:pt x="2227" y="21599"/>
                  <a:pt x="2017" y="21599"/>
                </a:cubicBezTo>
                <a:cubicBezTo>
                  <a:pt x="1725" y="21599"/>
                  <a:pt x="1495" y="21464"/>
                  <a:pt x="1324" y="21194"/>
                </a:cubicBezTo>
                <a:cubicBezTo>
                  <a:pt x="1248" y="21082"/>
                  <a:pt x="1128" y="20924"/>
                  <a:pt x="971" y="20724"/>
                </a:cubicBezTo>
                <a:cubicBezTo>
                  <a:pt x="817" y="20521"/>
                  <a:pt x="668" y="20316"/>
                  <a:pt x="528" y="20104"/>
                </a:cubicBezTo>
                <a:cubicBezTo>
                  <a:pt x="386" y="19893"/>
                  <a:pt x="261" y="19672"/>
                  <a:pt x="156" y="19443"/>
                </a:cubicBezTo>
                <a:cubicBezTo>
                  <a:pt x="51" y="19214"/>
                  <a:pt x="0" y="19008"/>
                  <a:pt x="0" y="18832"/>
                </a:cubicBezTo>
                <a:cubicBezTo>
                  <a:pt x="0" y="18465"/>
                  <a:pt x="115" y="18177"/>
                  <a:pt x="337" y="17971"/>
                </a:cubicBezTo>
                <a:lnTo>
                  <a:pt x="18845" y="434"/>
                </a:lnTo>
                <a:close/>
                <a:moveTo>
                  <a:pt x="4372" y="9154"/>
                </a:moveTo>
                <a:lnTo>
                  <a:pt x="2998" y="8634"/>
                </a:lnTo>
                <a:lnTo>
                  <a:pt x="4372" y="8126"/>
                </a:lnTo>
                <a:lnTo>
                  <a:pt x="4805" y="6484"/>
                </a:lnTo>
                <a:lnTo>
                  <a:pt x="5204" y="8126"/>
                </a:lnTo>
                <a:lnTo>
                  <a:pt x="6597" y="8634"/>
                </a:lnTo>
                <a:lnTo>
                  <a:pt x="5204" y="9154"/>
                </a:lnTo>
                <a:lnTo>
                  <a:pt x="4805" y="10800"/>
                </a:lnTo>
                <a:lnTo>
                  <a:pt x="4372" y="9154"/>
                </a:lnTo>
                <a:close/>
                <a:moveTo>
                  <a:pt x="7126" y="5329"/>
                </a:moveTo>
                <a:lnTo>
                  <a:pt x="4372" y="4316"/>
                </a:lnTo>
                <a:lnTo>
                  <a:pt x="7126" y="3317"/>
                </a:lnTo>
                <a:lnTo>
                  <a:pt x="7971" y="0"/>
                </a:lnTo>
                <a:lnTo>
                  <a:pt x="8810" y="3317"/>
                </a:lnTo>
                <a:lnTo>
                  <a:pt x="11565" y="4316"/>
                </a:lnTo>
                <a:lnTo>
                  <a:pt x="8810" y="5329"/>
                </a:lnTo>
                <a:lnTo>
                  <a:pt x="7971" y="8634"/>
                </a:lnTo>
                <a:lnTo>
                  <a:pt x="7126" y="5329"/>
                </a:lnTo>
                <a:close/>
                <a:moveTo>
                  <a:pt x="12412" y="2670"/>
                </a:moveTo>
                <a:lnTo>
                  <a:pt x="11041" y="2162"/>
                </a:lnTo>
                <a:lnTo>
                  <a:pt x="12412" y="1642"/>
                </a:lnTo>
                <a:lnTo>
                  <a:pt x="12845" y="0"/>
                </a:lnTo>
                <a:lnTo>
                  <a:pt x="13278" y="1642"/>
                </a:lnTo>
                <a:lnTo>
                  <a:pt x="14637" y="2162"/>
                </a:lnTo>
                <a:lnTo>
                  <a:pt x="13278" y="2670"/>
                </a:lnTo>
                <a:lnTo>
                  <a:pt x="12845" y="4316"/>
                </a:lnTo>
                <a:lnTo>
                  <a:pt x="12412" y="2670"/>
                </a:lnTo>
                <a:close/>
                <a:moveTo>
                  <a:pt x="20498" y="2993"/>
                </a:moveTo>
                <a:lnTo>
                  <a:pt x="19399" y="1289"/>
                </a:lnTo>
                <a:lnTo>
                  <a:pt x="15070" y="5385"/>
                </a:lnTo>
                <a:lnTo>
                  <a:pt x="16172" y="7086"/>
                </a:lnTo>
                <a:lnTo>
                  <a:pt x="20498" y="2993"/>
                </a:lnTo>
                <a:close/>
                <a:moveTo>
                  <a:pt x="21599" y="9154"/>
                </a:moveTo>
                <a:lnTo>
                  <a:pt x="20229" y="9674"/>
                </a:lnTo>
                <a:lnTo>
                  <a:pt x="19807" y="11320"/>
                </a:lnTo>
                <a:lnTo>
                  <a:pt x="19374" y="9674"/>
                </a:lnTo>
                <a:lnTo>
                  <a:pt x="18001" y="9154"/>
                </a:lnTo>
                <a:lnTo>
                  <a:pt x="19374" y="8661"/>
                </a:lnTo>
                <a:lnTo>
                  <a:pt x="19807" y="7004"/>
                </a:lnTo>
                <a:lnTo>
                  <a:pt x="20229" y="8661"/>
                </a:lnTo>
                <a:lnTo>
                  <a:pt x="21599" y="9154"/>
                </a:lnTo>
                <a:close/>
              </a:path>
            </a:pathLst>
          </a:custGeom>
          <a:solidFill>
            <a:schemeClr val="accent2"/>
          </a:solidFill>
          <a:ln>
            <a:solidFill>
              <a:srgbClr val="0070C0"/>
            </a:solidFill>
          </a:ln>
          <a:effectLst/>
          <a:extLst/>
        </p:spPr>
        <p:txBody>
          <a:bodyPr lIns="76203" tIns="76203" rIns="76203" bIns="76203" anchor="ctr"/>
          <a:lstStyle/>
          <a:p>
            <a:pPr defTabSz="685829">
              <a:defRPr/>
            </a:pPr>
            <a:endParaRPr lang="es-ES" sz="2800" dirty="0">
              <a:solidFill>
                <a:srgbClr val="44CEB9"/>
              </a:solidFill>
              <a:effectLst>
                <a:outerShdw blurRad="38100" dist="38100" dir="2700000" algn="tl">
                  <a:srgbClr val="000000"/>
                </a:outerShdw>
              </a:effectLst>
              <a:cs typeface="Gill Sans" charset="0"/>
              <a:sym typeface="Gill Sans" charset="0"/>
            </a:endParaRPr>
          </a:p>
        </p:txBody>
      </p:sp>
      <p:sp>
        <p:nvSpPr>
          <p:cNvPr id="20"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121096707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9"/>
          <p:cNvGrpSpPr>
            <a:grpSpLocks/>
          </p:cNvGrpSpPr>
          <p:nvPr>
            <p:custDataLst>
              <p:tags r:id="rId1"/>
            </p:custDataLst>
          </p:nvPr>
        </p:nvGrpSpPr>
        <p:grpSpPr bwMode="gray">
          <a:xfrm>
            <a:off x="2774905" y="4651343"/>
            <a:ext cx="8359519" cy="1833334"/>
            <a:chOff x="207" y="976"/>
            <a:chExt cx="3539" cy="980"/>
          </a:xfrm>
        </p:grpSpPr>
        <p:sp>
          <p:nvSpPr>
            <p:cNvPr id="66616" name="Rectangle 40"/>
            <p:cNvSpPr>
              <a:spLocks noChangeArrowheads="1"/>
            </p:cNvSpPr>
            <p:nvPr/>
          </p:nvSpPr>
          <p:spPr bwMode="gray">
            <a:xfrm>
              <a:off x="2936" y="976"/>
              <a:ext cx="810" cy="980"/>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anchor="ctr"/>
            <a:lstStyle/>
            <a:p>
              <a:endParaRPr lang="en-US" sz="1747" noProof="1">
                <a:latin typeface="Verdana" pitchFamily="34" charset="0"/>
              </a:endParaRPr>
            </a:p>
          </p:txBody>
        </p:sp>
        <p:sp>
          <p:nvSpPr>
            <p:cNvPr id="66617" name="Rectangle 41"/>
            <p:cNvSpPr>
              <a:spLocks noChangeArrowheads="1"/>
            </p:cNvSpPr>
            <p:nvPr/>
          </p:nvSpPr>
          <p:spPr bwMode="gray">
            <a:xfrm>
              <a:off x="2026" y="976"/>
              <a:ext cx="811" cy="980"/>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anchor="ctr"/>
            <a:lstStyle/>
            <a:p>
              <a:endParaRPr lang="en-US" sz="1747" noProof="1">
                <a:latin typeface="Verdana" pitchFamily="34" charset="0"/>
              </a:endParaRPr>
            </a:p>
          </p:txBody>
        </p:sp>
        <p:sp>
          <p:nvSpPr>
            <p:cNvPr id="66618" name="Rectangle 42"/>
            <p:cNvSpPr>
              <a:spLocks noChangeArrowheads="1"/>
            </p:cNvSpPr>
            <p:nvPr/>
          </p:nvSpPr>
          <p:spPr bwMode="gray">
            <a:xfrm>
              <a:off x="1117" y="976"/>
              <a:ext cx="810" cy="980"/>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anchor="ctr"/>
            <a:lstStyle/>
            <a:p>
              <a:endParaRPr lang="en-US" sz="1747" noProof="1">
                <a:latin typeface="Verdana" pitchFamily="34" charset="0"/>
              </a:endParaRPr>
            </a:p>
          </p:txBody>
        </p:sp>
        <p:sp>
          <p:nvSpPr>
            <p:cNvPr id="66619" name="Rectangle 43"/>
            <p:cNvSpPr>
              <a:spLocks noChangeArrowheads="1"/>
            </p:cNvSpPr>
            <p:nvPr/>
          </p:nvSpPr>
          <p:spPr bwMode="gray">
            <a:xfrm>
              <a:off x="207" y="976"/>
              <a:ext cx="811" cy="980"/>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anchor="ctr"/>
            <a:lstStyle/>
            <a:p>
              <a:endParaRPr lang="en-US" sz="1747" noProof="1">
                <a:latin typeface="Verdana" pitchFamily="34" charset="0"/>
              </a:endParaRPr>
            </a:p>
          </p:txBody>
        </p:sp>
      </p:grpSp>
      <p:sp>
        <p:nvSpPr>
          <p:cNvPr id="66562" name="Text Box 44"/>
          <p:cNvSpPr txBox="1">
            <a:spLocks noChangeArrowheads="1"/>
          </p:cNvSpPr>
          <p:nvPr/>
        </p:nvSpPr>
        <p:spPr bwMode="gray">
          <a:xfrm>
            <a:off x="2799050" y="4672039"/>
            <a:ext cx="1909219" cy="1233145"/>
          </a:xfrm>
          <a:prstGeom prst="rect">
            <a:avLst/>
          </a:prstGeom>
          <a:noFill/>
          <a:ln w="9525">
            <a:noFill/>
            <a:miter lim="800000"/>
            <a:headEnd/>
            <a:tailEnd/>
          </a:ln>
        </p:spPr>
        <p:txBody>
          <a:bodyPr lIns="112470" tIns="67481" rIns="131214" bIns="47612">
            <a:spAutoFit/>
          </a:bodyPr>
          <a:lstStyle/>
          <a:p>
            <a:pPr>
              <a:spcBef>
                <a:spcPct val="50000"/>
              </a:spcBef>
            </a:pPr>
            <a:r>
              <a:rPr lang="en-US" sz="1650" b="1" noProof="1">
                <a:latin typeface="Verdana" pitchFamily="34" charset="0"/>
              </a:rPr>
              <a:t>Placeholder</a:t>
            </a:r>
          </a:p>
          <a:p>
            <a:pPr>
              <a:spcBef>
                <a:spcPct val="50000"/>
              </a:spcBef>
            </a:pPr>
            <a:r>
              <a:rPr lang="en-US" sz="1359" noProof="1">
                <a:latin typeface="Verdana" pitchFamily="34" charset="0"/>
              </a:rPr>
              <a:t>All phrases can be replaced with your own text.</a:t>
            </a:r>
          </a:p>
        </p:txBody>
      </p:sp>
      <p:sp>
        <p:nvSpPr>
          <p:cNvPr id="66563" name="Text Box 45"/>
          <p:cNvSpPr txBox="1">
            <a:spLocks noChangeArrowheads="1"/>
          </p:cNvSpPr>
          <p:nvPr/>
        </p:nvSpPr>
        <p:spPr bwMode="gray">
          <a:xfrm>
            <a:off x="4956624" y="4672039"/>
            <a:ext cx="1909220" cy="1233145"/>
          </a:xfrm>
          <a:prstGeom prst="rect">
            <a:avLst/>
          </a:prstGeom>
          <a:noFill/>
          <a:ln w="9525">
            <a:noFill/>
            <a:miter lim="800000"/>
            <a:headEnd/>
            <a:tailEnd/>
          </a:ln>
        </p:spPr>
        <p:txBody>
          <a:bodyPr lIns="112470" tIns="67481" rIns="131214" bIns="47612">
            <a:spAutoFit/>
          </a:bodyPr>
          <a:lstStyle/>
          <a:p>
            <a:pPr>
              <a:spcBef>
                <a:spcPct val="50000"/>
              </a:spcBef>
            </a:pPr>
            <a:r>
              <a:rPr lang="en-US" sz="1650" b="1" noProof="1">
                <a:latin typeface="Verdana" pitchFamily="34" charset="0"/>
              </a:rPr>
              <a:t>Description</a:t>
            </a:r>
          </a:p>
          <a:p>
            <a:pPr>
              <a:spcBef>
                <a:spcPct val="50000"/>
              </a:spcBef>
            </a:pPr>
            <a:r>
              <a:rPr lang="en-US" sz="1359" noProof="1">
                <a:latin typeface="Verdana" pitchFamily="34" charset="0"/>
              </a:rPr>
              <a:t>All phrases can be replaced with your own text.</a:t>
            </a:r>
          </a:p>
        </p:txBody>
      </p:sp>
      <p:sp>
        <p:nvSpPr>
          <p:cNvPr id="66564" name="Text Box 46"/>
          <p:cNvSpPr txBox="1">
            <a:spLocks noChangeArrowheads="1"/>
          </p:cNvSpPr>
          <p:nvPr/>
        </p:nvSpPr>
        <p:spPr bwMode="gray">
          <a:xfrm>
            <a:off x="7121096" y="4672039"/>
            <a:ext cx="1907495" cy="1233145"/>
          </a:xfrm>
          <a:prstGeom prst="rect">
            <a:avLst/>
          </a:prstGeom>
          <a:noFill/>
          <a:ln w="9525">
            <a:noFill/>
            <a:miter lim="800000"/>
            <a:headEnd/>
            <a:tailEnd/>
          </a:ln>
        </p:spPr>
        <p:txBody>
          <a:bodyPr lIns="112470" tIns="67481" rIns="131214" bIns="47612">
            <a:spAutoFit/>
          </a:bodyPr>
          <a:lstStyle/>
          <a:p>
            <a:pPr>
              <a:spcBef>
                <a:spcPct val="50000"/>
              </a:spcBef>
            </a:pPr>
            <a:r>
              <a:rPr lang="en-US" sz="1650" b="1" noProof="1">
                <a:latin typeface="Verdana" pitchFamily="34" charset="0"/>
              </a:rPr>
              <a:t>Placeholder</a:t>
            </a:r>
          </a:p>
          <a:p>
            <a:pPr>
              <a:spcBef>
                <a:spcPct val="50000"/>
              </a:spcBef>
            </a:pPr>
            <a:r>
              <a:rPr lang="en-US" sz="1359" noProof="1">
                <a:latin typeface="Verdana" pitchFamily="34" charset="0"/>
              </a:rPr>
              <a:t>All phrases can be replaced with your own text.</a:t>
            </a:r>
          </a:p>
        </p:txBody>
      </p:sp>
      <p:sp>
        <p:nvSpPr>
          <p:cNvPr id="66565" name="Text Box 47"/>
          <p:cNvSpPr txBox="1">
            <a:spLocks noChangeArrowheads="1"/>
          </p:cNvSpPr>
          <p:nvPr/>
        </p:nvSpPr>
        <p:spPr bwMode="gray">
          <a:xfrm>
            <a:off x="9285568" y="4672039"/>
            <a:ext cx="1909220" cy="1233145"/>
          </a:xfrm>
          <a:prstGeom prst="rect">
            <a:avLst/>
          </a:prstGeom>
          <a:noFill/>
          <a:ln w="9525">
            <a:noFill/>
            <a:miter lim="800000"/>
            <a:headEnd/>
            <a:tailEnd/>
          </a:ln>
        </p:spPr>
        <p:txBody>
          <a:bodyPr lIns="112470" tIns="67481" rIns="131214" bIns="47612">
            <a:spAutoFit/>
          </a:bodyPr>
          <a:lstStyle/>
          <a:p>
            <a:pPr>
              <a:spcBef>
                <a:spcPct val="50000"/>
              </a:spcBef>
            </a:pPr>
            <a:r>
              <a:rPr lang="en-US" sz="1650" b="1" noProof="1">
                <a:latin typeface="Verdana" pitchFamily="34" charset="0"/>
              </a:rPr>
              <a:t>Description</a:t>
            </a:r>
          </a:p>
          <a:p>
            <a:pPr>
              <a:spcBef>
                <a:spcPct val="50000"/>
              </a:spcBef>
            </a:pPr>
            <a:r>
              <a:rPr lang="en-US" sz="1359" noProof="1">
                <a:latin typeface="Verdana" pitchFamily="34" charset="0"/>
              </a:rPr>
              <a:t>All phrases can be replaced with your own text.</a:t>
            </a:r>
          </a:p>
        </p:txBody>
      </p:sp>
      <p:grpSp>
        <p:nvGrpSpPr>
          <p:cNvPr id="3" name="Group 48"/>
          <p:cNvGrpSpPr>
            <a:grpSpLocks/>
          </p:cNvGrpSpPr>
          <p:nvPr>
            <p:custDataLst>
              <p:tags r:id="rId2"/>
            </p:custDataLst>
          </p:nvPr>
        </p:nvGrpSpPr>
        <p:grpSpPr bwMode="gray">
          <a:xfrm>
            <a:off x="1702154" y="1167491"/>
            <a:ext cx="8357795" cy="1835059"/>
            <a:chOff x="207" y="976"/>
            <a:chExt cx="3539" cy="980"/>
          </a:xfrm>
        </p:grpSpPr>
        <p:sp>
          <p:nvSpPr>
            <p:cNvPr id="66612" name="Rectangle 49"/>
            <p:cNvSpPr>
              <a:spLocks noChangeArrowheads="1"/>
            </p:cNvSpPr>
            <p:nvPr/>
          </p:nvSpPr>
          <p:spPr bwMode="gray">
            <a:xfrm>
              <a:off x="2936" y="976"/>
              <a:ext cx="810" cy="980"/>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anchor="ctr"/>
            <a:lstStyle/>
            <a:p>
              <a:endParaRPr lang="en-US" sz="1747" noProof="1">
                <a:latin typeface="Verdana" pitchFamily="34" charset="0"/>
              </a:endParaRPr>
            </a:p>
          </p:txBody>
        </p:sp>
        <p:sp>
          <p:nvSpPr>
            <p:cNvPr id="66613" name="Rectangle 50"/>
            <p:cNvSpPr>
              <a:spLocks noChangeArrowheads="1"/>
            </p:cNvSpPr>
            <p:nvPr/>
          </p:nvSpPr>
          <p:spPr bwMode="gray">
            <a:xfrm>
              <a:off x="2026" y="976"/>
              <a:ext cx="811" cy="980"/>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anchor="ctr"/>
            <a:lstStyle/>
            <a:p>
              <a:endParaRPr lang="en-US" sz="1747" noProof="1">
                <a:latin typeface="Verdana" pitchFamily="34" charset="0"/>
              </a:endParaRPr>
            </a:p>
          </p:txBody>
        </p:sp>
        <p:sp>
          <p:nvSpPr>
            <p:cNvPr id="66614" name="Rectangle 51"/>
            <p:cNvSpPr>
              <a:spLocks noChangeArrowheads="1"/>
            </p:cNvSpPr>
            <p:nvPr/>
          </p:nvSpPr>
          <p:spPr bwMode="gray">
            <a:xfrm>
              <a:off x="1117" y="976"/>
              <a:ext cx="810" cy="980"/>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anchor="ctr"/>
            <a:lstStyle/>
            <a:p>
              <a:endParaRPr lang="en-US" sz="1747" noProof="1">
                <a:latin typeface="Verdana" pitchFamily="34" charset="0"/>
              </a:endParaRPr>
            </a:p>
          </p:txBody>
        </p:sp>
        <p:sp>
          <p:nvSpPr>
            <p:cNvPr id="66615" name="Rectangle 52"/>
            <p:cNvSpPr>
              <a:spLocks noChangeArrowheads="1"/>
            </p:cNvSpPr>
            <p:nvPr/>
          </p:nvSpPr>
          <p:spPr bwMode="gray">
            <a:xfrm>
              <a:off x="207" y="976"/>
              <a:ext cx="811" cy="980"/>
            </a:xfrm>
            <a:prstGeom prst="rect">
              <a:avLst/>
            </a:prstGeom>
            <a:gradFill rotWithShape="1">
              <a:gsLst>
                <a:gs pos="0">
                  <a:srgbClr val="EAEAEA"/>
                </a:gs>
                <a:gs pos="100000">
                  <a:srgbClr val="FFFFFF"/>
                </a:gs>
              </a:gsLst>
              <a:lin ang="5400000" scaled="1"/>
            </a:gradFill>
            <a:ln w="19050">
              <a:solidFill>
                <a:srgbClr val="FFFFFF"/>
              </a:solidFill>
              <a:miter lim="800000"/>
              <a:headEnd/>
              <a:tailEnd/>
            </a:ln>
          </p:spPr>
          <p:txBody>
            <a:bodyPr wrap="none" anchor="ctr"/>
            <a:lstStyle/>
            <a:p>
              <a:endParaRPr lang="en-US" sz="1747" noProof="1">
                <a:latin typeface="Verdana" pitchFamily="34" charset="0"/>
              </a:endParaRPr>
            </a:p>
          </p:txBody>
        </p:sp>
      </p:grpSp>
      <p:sp>
        <p:nvSpPr>
          <p:cNvPr id="66567" name="Text Box 53"/>
          <p:cNvSpPr txBox="1">
            <a:spLocks noChangeArrowheads="1"/>
          </p:cNvSpPr>
          <p:nvPr/>
        </p:nvSpPr>
        <p:spPr bwMode="gray">
          <a:xfrm>
            <a:off x="1702154" y="1177839"/>
            <a:ext cx="1907495" cy="1233145"/>
          </a:xfrm>
          <a:prstGeom prst="rect">
            <a:avLst/>
          </a:prstGeom>
          <a:noFill/>
          <a:ln w="9525">
            <a:noFill/>
            <a:miter lim="800000"/>
            <a:headEnd/>
            <a:tailEnd/>
          </a:ln>
        </p:spPr>
        <p:txBody>
          <a:bodyPr lIns="112470" tIns="67481" rIns="131214" bIns="47612">
            <a:spAutoFit/>
          </a:bodyPr>
          <a:lstStyle/>
          <a:p>
            <a:pPr>
              <a:spcBef>
                <a:spcPct val="50000"/>
              </a:spcBef>
            </a:pPr>
            <a:r>
              <a:rPr lang="en-US" sz="1650" b="1" noProof="1">
                <a:latin typeface="Verdana" pitchFamily="34" charset="0"/>
              </a:rPr>
              <a:t>Description</a:t>
            </a:r>
          </a:p>
          <a:p>
            <a:pPr>
              <a:spcBef>
                <a:spcPct val="50000"/>
              </a:spcBef>
            </a:pPr>
            <a:r>
              <a:rPr lang="en-US" sz="1359" noProof="1">
                <a:latin typeface="Verdana" pitchFamily="34" charset="0"/>
              </a:rPr>
              <a:t>All phrases can be replaced with your own text.</a:t>
            </a:r>
          </a:p>
        </p:txBody>
      </p:sp>
      <p:sp>
        <p:nvSpPr>
          <p:cNvPr id="66568" name="Text Box 54"/>
          <p:cNvSpPr txBox="1">
            <a:spLocks noChangeArrowheads="1"/>
          </p:cNvSpPr>
          <p:nvPr/>
        </p:nvSpPr>
        <p:spPr bwMode="gray">
          <a:xfrm>
            <a:off x="3859728" y="1177839"/>
            <a:ext cx="1909220" cy="1233145"/>
          </a:xfrm>
          <a:prstGeom prst="rect">
            <a:avLst/>
          </a:prstGeom>
          <a:noFill/>
          <a:ln w="9525">
            <a:noFill/>
            <a:miter lim="800000"/>
            <a:headEnd/>
            <a:tailEnd/>
          </a:ln>
        </p:spPr>
        <p:txBody>
          <a:bodyPr lIns="112470" tIns="67481" rIns="131214" bIns="47612">
            <a:spAutoFit/>
          </a:bodyPr>
          <a:lstStyle/>
          <a:p>
            <a:pPr>
              <a:spcBef>
                <a:spcPct val="50000"/>
              </a:spcBef>
            </a:pPr>
            <a:r>
              <a:rPr lang="en-US" sz="1650" b="1" noProof="1">
                <a:latin typeface="Verdana" pitchFamily="34" charset="0"/>
              </a:rPr>
              <a:t>Placeholder</a:t>
            </a:r>
          </a:p>
          <a:p>
            <a:pPr>
              <a:spcBef>
                <a:spcPct val="50000"/>
              </a:spcBef>
            </a:pPr>
            <a:r>
              <a:rPr lang="en-US" sz="1359" noProof="1">
                <a:latin typeface="Verdana" pitchFamily="34" charset="0"/>
              </a:rPr>
              <a:t>All phrases can be replaced with your own text.</a:t>
            </a:r>
          </a:p>
        </p:txBody>
      </p:sp>
      <p:sp>
        <p:nvSpPr>
          <p:cNvPr id="66569" name="Text Box 55"/>
          <p:cNvSpPr txBox="1">
            <a:spLocks noChangeArrowheads="1"/>
          </p:cNvSpPr>
          <p:nvPr/>
        </p:nvSpPr>
        <p:spPr bwMode="gray">
          <a:xfrm>
            <a:off x="6022475" y="1177839"/>
            <a:ext cx="1909220" cy="1233145"/>
          </a:xfrm>
          <a:prstGeom prst="rect">
            <a:avLst/>
          </a:prstGeom>
          <a:noFill/>
          <a:ln w="9525">
            <a:noFill/>
            <a:miter lim="800000"/>
            <a:headEnd/>
            <a:tailEnd/>
          </a:ln>
        </p:spPr>
        <p:txBody>
          <a:bodyPr lIns="112470" tIns="67481" rIns="131214" bIns="47612">
            <a:spAutoFit/>
          </a:bodyPr>
          <a:lstStyle/>
          <a:p>
            <a:pPr>
              <a:spcBef>
                <a:spcPct val="50000"/>
              </a:spcBef>
            </a:pPr>
            <a:r>
              <a:rPr lang="en-US" sz="1650" b="1" noProof="1">
                <a:latin typeface="Verdana" pitchFamily="34" charset="0"/>
              </a:rPr>
              <a:t>Description</a:t>
            </a:r>
          </a:p>
          <a:p>
            <a:pPr>
              <a:spcBef>
                <a:spcPct val="50000"/>
              </a:spcBef>
            </a:pPr>
            <a:r>
              <a:rPr lang="en-US" sz="1359" noProof="1">
                <a:latin typeface="Verdana" pitchFamily="34" charset="0"/>
              </a:rPr>
              <a:t>All phrases can be replaced with your own text.</a:t>
            </a:r>
          </a:p>
        </p:txBody>
      </p:sp>
      <p:sp>
        <p:nvSpPr>
          <p:cNvPr id="66570" name="Text Box 56"/>
          <p:cNvSpPr txBox="1">
            <a:spLocks noChangeArrowheads="1"/>
          </p:cNvSpPr>
          <p:nvPr/>
        </p:nvSpPr>
        <p:spPr bwMode="gray">
          <a:xfrm>
            <a:off x="8188672" y="1177839"/>
            <a:ext cx="1909220" cy="1233145"/>
          </a:xfrm>
          <a:prstGeom prst="rect">
            <a:avLst/>
          </a:prstGeom>
          <a:noFill/>
          <a:ln w="9525">
            <a:noFill/>
            <a:miter lim="800000"/>
            <a:headEnd/>
            <a:tailEnd/>
          </a:ln>
        </p:spPr>
        <p:txBody>
          <a:bodyPr lIns="112470" tIns="67481" rIns="131214" bIns="47612">
            <a:spAutoFit/>
          </a:bodyPr>
          <a:lstStyle/>
          <a:p>
            <a:pPr>
              <a:spcBef>
                <a:spcPct val="50000"/>
              </a:spcBef>
            </a:pPr>
            <a:r>
              <a:rPr lang="en-US" sz="1650" b="1" noProof="1">
                <a:latin typeface="Verdana" pitchFamily="34" charset="0"/>
              </a:rPr>
              <a:t>Placeholder</a:t>
            </a:r>
          </a:p>
          <a:p>
            <a:pPr>
              <a:spcBef>
                <a:spcPct val="50000"/>
              </a:spcBef>
            </a:pPr>
            <a:r>
              <a:rPr lang="en-US" sz="1359" noProof="1">
                <a:latin typeface="Verdana" pitchFamily="34" charset="0"/>
              </a:rPr>
              <a:t>All phrases can be replaced with your own text.</a:t>
            </a:r>
          </a:p>
        </p:txBody>
      </p:sp>
      <p:sp>
        <p:nvSpPr>
          <p:cNvPr id="989243" name="AutoShape 59"/>
          <p:cNvSpPr>
            <a:spLocks noChangeArrowheads="1"/>
          </p:cNvSpPr>
          <p:nvPr/>
        </p:nvSpPr>
        <p:spPr bwMode="gray">
          <a:xfrm flipV="1">
            <a:off x="1574888" y="3427623"/>
            <a:ext cx="412911" cy="533518"/>
          </a:xfrm>
          <a:prstGeom prst="chevron">
            <a:avLst>
              <a:gd name="adj" fmla="val 39616"/>
            </a:avLst>
          </a:prstGeom>
          <a:solidFill>
            <a:schemeClr val="accent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44" name="AutoShape 60"/>
          <p:cNvSpPr>
            <a:spLocks noChangeArrowheads="1"/>
          </p:cNvSpPr>
          <p:nvPr/>
        </p:nvSpPr>
        <p:spPr bwMode="gray">
          <a:xfrm flipV="1">
            <a:off x="1883195" y="3427623"/>
            <a:ext cx="412911"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45" name="AutoShape 61"/>
          <p:cNvSpPr>
            <a:spLocks noChangeArrowheads="1"/>
          </p:cNvSpPr>
          <p:nvPr/>
        </p:nvSpPr>
        <p:spPr bwMode="gray">
          <a:xfrm flipV="1">
            <a:off x="2195174" y="3427623"/>
            <a:ext cx="412911"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46" name="AutoShape 62"/>
          <p:cNvSpPr>
            <a:spLocks noChangeArrowheads="1"/>
          </p:cNvSpPr>
          <p:nvPr/>
        </p:nvSpPr>
        <p:spPr bwMode="gray">
          <a:xfrm flipV="1">
            <a:off x="2503481" y="3427623"/>
            <a:ext cx="414747"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47" name="AutoShape 63"/>
          <p:cNvSpPr>
            <a:spLocks noChangeArrowheads="1"/>
          </p:cNvSpPr>
          <p:nvPr/>
        </p:nvSpPr>
        <p:spPr bwMode="gray">
          <a:xfrm flipV="1">
            <a:off x="2815460" y="3427623"/>
            <a:ext cx="412911"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48" name="AutoShape 64"/>
          <p:cNvSpPr>
            <a:spLocks noChangeArrowheads="1"/>
          </p:cNvSpPr>
          <p:nvPr/>
        </p:nvSpPr>
        <p:spPr bwMode="gray">
          <a:xfrm flipV="1">
            <a:off x="3121932" y="3427623"/>
            <a:ext cx="412912"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49" name="AutoShape 65"/>
          <p:cNvSpPr>
            <a:spLocks noChangeArrowheads="1"/>
          </p:cNvSpPr>
          <p:nvPr/>
        </p:nvSpPr>
        <p:spPr bwMode="gray">
          <a:xfrm flipV="1">
            <a:off x="3433910" y="3427623"/>
            <a:ext cx="412912"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50" name="AutoShape 66"/>
          <p:cNvSpPr>
            <a:spLocks noChangeArrowheads="1"/>
          </p:cNvSpPr>
          <p:nvPr/>
        </p:nvSpPr>
        <p:spPr bwMode="gray">
          <a:xfrm flipV="1">
            <a:off x="3742218" y="3427623"/>
            <a:ext cx="412912" cy="533518"/>
          </a:xfrm>
          <a:prstGeom prst="chevron">
            <a:avLst>
              <a:gd name="adj" fmla="val 39616"/>
            </a:avLst>
          </a:prstGeom>
          <a:solidFill>
            <a:schemeClr val="accent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51" name="AutoShape 67"/>
          <p:cNvSpPr>
            <a:spLocks noChangeArrowheads="1"/>
          </p:cNvSpPr>
          <p:nvPr/>
        </p:nvSpPr>
        <p:spPr bwMode="gray">
          <a:xfrm flipV="1">
            <a:off x="4054196" y="3427623"/>
            <a:ext cx="412912"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52" name="AutoShape 68"/>
          <p:cNvSpPr>
            <a:spLocks noChangeArrowheads="1"/>
          </p:cNvSpPr>
          <p:nvPr/>
        </p:nvSpPr>
        <p:spPr bwMode="gray">
          <a:xfrm flipV="1">
            <a:off x="4360670" y="3427623"/>
            <a:ext cx="412911"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53" name="AutoShape 69"/>
          <p:cNvSpPr>
            <a:spLocks noChangeArrowheads="1"/>
          </p:cNvSpPr>
          <p:nvPr/>
        </p:nvSpPr>
        <p:spPr bwMode="gray">
          <a:xfrm flipV="1">
            <a:off x="4672648" y="3427623"/>
            <a:ext cx="412911" cy="533518"/>
          </a:xfrm>
          <a:prstGeom prst="chevron">
            <a:avLst>
              <a:gd name="adj" fmla="val 39616"/>
            </a:avLst>
          </a:prstGeom>
          <a:solidFill>
            <a:schemeClr val="accent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54" name="AutoShape 70"/>
          <p:cNvSpPr>
            <a:spLocks noChangeArrowheads="1"/>
          </p:cNvSpPr>
          <p:nvPr/>
        </p:nvSpPr>
        <p:spPr bwMode="gray">
          <a:xfrm flipV="1">
            <a:off x="4980957" y="3427623"/>
            <a:ext cx="412911"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55" name="AutoShape 71"/>
          <p:cNvSpPr>
            <a:spLocks noChangeArrowheads="1"/>
          </p:cNvSpPr>
          <p:nvPr/>
        </p:nvSpPr>
        <p:spPr bwMode="gray">
          <a:xfrm flipV="1">
            <a:off x="5292934" y="3427623"/>
            <a:ext cx="407406"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56" name="AutoShape 72"/>
          <p:cNvSpPr>
            <a:spLocks noChangeArrowheads="1"/>
          </p:cNvSpPr>
          <p:nvPr/>
        </p:nvSpPr>
        <p:spPr bwMode="gray">
          <a:xfrm flipV="1">
            <a:off x="5595737" y="3427623"/>
            <a:ext cx="414747"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57" name="AutoShape 73"/>
          <p:cNvSpPr>
            <a:spLocks noChangeArrowheads="1"/>
          </p:cNvSpPr>
          <p:nvPr/>
        </p:nvSpPr>
        <p:spPr bwMode="gray">
          <a:xfrm flipV="1">
            <a:off x="5907714" y="3427623"/>
            <a:ext cx="411077" cy="533518"/>
          </a:xfrm>
          <a:prstGeom prst="chevron">
            <a:avLst>
              <a:gd name="adj" fmla="val 39616"/>
            </a:avLst>
          </a:prstGeom>
          <a:solidFill>
            <a:schemeClr val="accent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58" name="AutoShape 74"/>
          <p:cNvSpPr>
            <a:spLocks noChangeArrowheads="1"/>
          </p:cNvSpPr>
          <p:nvPr/>
        </p:nvSpPr>
        <p:spPr bwMode="gray">
          <a:xfrm flipV="1">
            <a:off x="6216023" y="3427623"/>
            <a:ext cx="414747"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59" name="AutoShape 75"/>
          <p:cNvSpPr>
            <a:spLocks noChangeArrowheads="1"/>
          </p:cNvSpPr>
          <p:nvPr/>
        </p:nvSpPr>
        <p:spPr bwMode="gray">
          <a:xfrm flipV="1">
            <a:off x="6528000" y="3427623"/>
            <a:ext cx="411077"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60" name="AutoShape 76"/>
          <p:cNvSpPr>
            <a:spLocks noChangeArrowheads="1"/>
          </p:cNvSpPr>
          <p:nvPr/>
        </p:nvSpPr>
        <p:spPr bwMode="gray">
          <a:xfrm flipV="1">
            <a:off x="6834474" y="3427623"/>
            <a:ext cx="411077" cy="533518"/>
          </a:xfrm>
          <a:prstGeom prst="chevron">
            <a:avLst>
              <a:gd name="adj" fmla="val 39616"/>
            </a:avLst>
          </a:prstGeom>
          <a:solidFill>
            <a:schemeClr val="accent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61" name="AutoShape 77"/>
          <p:cNvSpPr>
            <a:spLocks noChangeArrowheads="1"/>
          </p:cNvSpPr>
          <p:nvPr/>
        </p:nvSpPr>
        <p:spPr bwMode="gray">
          <a:xfrm flipV="1">
            <a:off x="7142781" y="3427623"/>
            <a:ext cx="411077"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62" name="AutoShape 78"/>
          <p:cNvSpPr>
            <a:spLocks noChangeArrowheads="1"/>
          </p:cNvSpPr>
          <p:nvPr/>
        </p:nvSpPr>
        <p:spPr bwMode="gray">
          <a:xfrm flipV="1">
            <a:off x="7452925" y="3427623"/>
            <a:ext cx="411077"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63" name="AutoShape 79"/>
          <p:cNvSpPr>
            <a:spLocks noChangeArrowheads="1"/>
          </p:cNvSpPr>
          <p:nvPr/>
        </p:nvSpPr>
        <p:spPr bwMode="gray">
          <a:xfrm flipV="1">
            <a:off x="7761232" y="3427623"/>
            <a:ext cx="411077"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64" name="AutoShape 80"/>
          <p:cNvSpPr>
            <a:spLocks noChangeArrowheads="1"/>
          </p:cNvSpPr>
          <p:nvPr/>
        </p:nvSpPr>
        <p:spPr bwMode="gray">
          <a:xfrm flipV="1">
            <a:off x="8067707" y="3427623"/>
            <a:ext cx="412911" cy="533518"/>
          </a:xfrm>
          <a:prstGeom prst="chevron">
            <a:avLst>
              <a:gd name="adj" fmla="val 39616"/>
            </a:avLst>
          </a:prstGeom>
          <a:solidFill>
            <a:schemeClr val="accent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65" name="AutoShape 81"/>
          <p:cNvSpPr>
            <a:spLocks noChangeArrowheads="1"/>
          </p:cNvSpPr>
          <p:nvPr/>
        </p:nvSpPr>
        <p:spPr bwMode="gray">
          <a:xfrm flipV="1">
            <a:off x="8379684" y="3427623"/>
            <a:ext cx="411077"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66" name="AutoShape 82"/>
          <p:cNvSpPr>
            <a:spLocks noChangeArrowheads="1"/>
          </p:cNvSpPr>
          <p:nvPr/>
        </p:nvSpPr>
        <p:spPr bwMode="gray">
          <a:xfrm flipV="1">
            <a:off x="8687993" y="3427623"/>
            <a:ext cx="412911"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67" name="AutoShape 83"/>
          <p:cNvSpPr>
            <a:spLocks noChangeArrowheads="1"/>
          </p:cNvSpPr>
          <p:nvPr/>
        </p:nvSpPr>
        <p:spPr bwMode="gray">
          <a:xfrm flipV="1">
            <a:off x="8999970" y="3427623"/>
            <a:ext cx="411077" cy="533518"/>
          </a:xfrm>
          <a:prstGeom prst="chevron">
            <a:avLst>
              <a:gd name="adj" fmla="val 39616"/>
            </a:avLst>
          </a:prstGeom>
          <a:solidFill>
            <a:schemeClr val="accent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68" name="AutoShape 84"/>
          <p:cNvSpPr>
            <a:spLocks noChangeArrowheads="1"/>
          </p:cNvSpPr>
          <p:nvPr/>
        </p:nvSpPr>
        <p:spPr bwMode="gray">
          <a:xfrm flipV="1">
            <a:off x="9306442" y="3427623"/>
            <a:ext cx="412912"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69" name="AutoShape 85"/>
          <p:cNvSpPr>
            <a:spLocks noChangeArrowheads="1"/>
          </p:cNvSpPr>
          <p:nvPr/>
        </p:nvSpPr>
        <p:spPr bwMode="gray">
          <a:xfrm flipV="1">
            <a:off x="9618421" y="3427623"/>
            <a:ext cx="411077"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70" name="AutoShape 86"/>
          <p:cNvSpPr>
            <a:spLocks noChangeArrowheads="1"/>
          </p:cNvSpPr>
          <p:nvPr/>
        </p:nvSpPr>
        <p:spPr bwMode="gray">
          <a:xfrm flipV="1">
            <a:off x="9926729" y="3427623"/>
            <a:ext cx="412912"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71" name="AutoShape 87"/>
          <p:cNvSpPr>
            <a:spLocks noChangeArrowheads="1"/>
          </p:cNvSpPr>
          <p:nvPr/>
        </p:nvSpPr>
        <p:spPr bwMode="gray">
          <a:xfrm flipV="1">
            <a:off x="10238707" y="3427623"/>
            <a:ext cx="411077"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72" name="AutoShape 88"/>
          <p:cNvSpPr>
            <a:spLocks noChangeArrowheads="1"/>
          </p:cNvSpPr>
          <p:nvPr/>
        </p:nvSpPr>
        <p:spPr bwMode="gray">
          <a:xfrm flipV="1">
            <a:off x="10545181" y="3427623"/>
            <a:ext cx="412911" cy="533518"/>
          </a:xfrm>
          <a:prstGeom prst="chevron">
            <a:avLst>
              <a:gd name="adj" fmla="val 39616"/>
            </a:avLst>
          </a:prstGeom>
          <a:solidFill>
            <a:srgbClr val="A3A3A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989273" name="AutoShape 89"/>
          <p:cNvSpPr>
            <a:spLocks noChangeArrowheads="1"/>
          </p:cNvSpPr>
          <p:nvPr/>
        </p:nvSpPr>
        <p:spPr bwMode="gray">
          <a:xfrm flipV="1">
            <a:off x="10855323" y="3427623"/>
            <a:ext cx="411077" cy="533518"/>
          </a:xfrm>
          <a:prstGeom prst="chevron">
            <a:avLst>
              <a:gd name="adj" fmla="val 39616"/>
            </a:avLst>
          </a:prstGeom>
          <a:solidFill>
            <a:schemeClr val="accent3"/>
          </a:solidFill>
          <a:ln w="9525">
            <a:solidFill>
              <a:srgbClr val="F8F8F8"/>
            </a:solidFill>
            <a:miter lim="800000"/>
            <a:headEnd/>
            <a:tailEnd/>
          </a:ln>
          <a:effectLst>
            <a:reflection blurRad="6350" stA="50000" endA="300" endPos="55000" dir="5400000" sy="-100000" algn="bl" rotWithShape="0"/>
          </a:effectLst>
        </p:spPr>
        <p:txBody>
          <a:bodyPr wrap="none" lIns="95224" tIns="47612" rIns="95224" bIns="47612" anchor="ctr"/>
          <a:lstStyle/>
          <a:p>
            <a:pPr>
              <a:defRPr/>
            </a:pPr>
            <a:endParaRPr lang="en-CA" sz="1747" dirty="0">
              <a:solidFill>
                <a:srgbClr val="FFFFFF"/>
              </a:solidFill>
            </a:endParaRPr>
          </a:p>
        </p:txBody>
      </p:sp>
      <p:sp>
        <p:nvSpPr>
          <p:cNvPr id="66602" name="Line 90"/>
          <p:cNvSpPr>
            <a:spLocks noChangeShapeType="1"/>
          </p:cNvSpPr>
          <p:nvPr/>
        </p:nvSpPr>
        <p:spPr bwMode="gray">
          <a:xfrm flipV="1">
            <a:off x="1610745" y="1134721"/>
            <a:ext cx="0" cy="2250707"/>
          </a:xfrm>
          <a:prstGeom prst="line">
            <a:avLst/>
          </a:prstGeom>
          <a:noFill/>
          <a:ln w="19050">
            <a:solidFill>
              <a:srgbClr val="808080"/>
            </a:solidFill>
            <a:prstDash val="sysDot"/>
            <a:round/>
            <a:headEnd/>
            <a:tailEnd/>
          </a:ln>
        </p:spPr>
        <p:txBody>
          <a:bodyPr lIns="95224" tIns="47612" rIns="95224" bIns="47612"/>
          <a:lstStyle/>
          <a:p>
            <a:endParaRPr lang="en-US" sz="1747" dirty="0">
              <a:latin typeface="Verdana" pitchFamily="34" charset="0"/>
            </a:endParaRPr>
          </a:p>
        </p:txBody>
      </p:sp>
      <p:sp>
        <p:nvSpPr>
          <p:cNvPr id="66603" name="Line 91"/>
          <p:cNvSpPr>
            <a:spLocks noChangeShapeType="1"/>
          </p:cNvSpPr>
          <p:nvPr/>
        </p:nvSpPr>
        <p:spPr bwMode="gray">
          <a:xfrm flipV="1">
            <a:off x="3780392" y="1134721"/>
            <a:ext cx="0" cy="2250707"/>
          </a:xfrm>
          <a:prstGeom prst="line">
            <a:avLst/>
          </a:prstGeom>
          <a:noFill/>
          <a:ln w="19050">
            <a:solidFill>
              <a:srgbClr val="808080"/>
            </a:solidFill>
            <a:prstDash val="sysDot"/>
            <a:round/>
            <a:headEnd/>
            <a:tailEnd/>
          </a:ln>
        </p:spPr>
        <p:txBody>
          <a:bodyPr lIns="95224" tIns="47612" rIns="95224" bIns="47612"/>
          <a:lstStyle/>
          <a:p>
            <a:endParaRPr lang="en-US" sz="1747" dirty="0">
              <a:latin typeface="Verdana" pitchFamily="34" charset="0"/>
            </a:endParaRPr>
          </a:p>
        </p:txBody>
      </p:sp>
      <p:sp>
        <p:nvSpPr>
          <p:cNvPr id="66604" name="Line 92"/>
          <p:cNvSpPr>
            <a:spLocks noChangeShapeType="1"/>
          </p:cNvSpPr>
          <p:nvPr/>
        </p:nvSpPr>
        <p:spPr bwMode="gray">
          <a:xfrm flipV="1">
            <a:off x="5927618" y="1134721"/>
            <a:ext cx="0" cy="2250707"/>
          </a:xfrm>
          <a:prstGeom prst="line">
            <a:avLst/>
          </a:prstGeom>
          <a:noFill/>
          <a:ln w="19050">
            <a:solidFill>
              <a:srgbClr val="808080"/>
            </a:solidFill>
            <a:prstDash val="sysDot"/>
            <a:round/>
            <a:headEnd/>
            <a:tailEnd/>
          </a:ln>
        </p:spPr>
        <p:txBody>
          <a:bodyPr lIns="95224" tIns="47612" rIns="95224" bIns="47612"/>
          <a:lstStyle/>
          <a:p>
            <a:endParaRPr lang="en-US" sz="1747" dirty="0">
              <a:latin typeface="Verdana" pitchFamily="34" charset="0"/>
            </a:endParaRPr>
          </a:p>
        </p:txBody>
      </p:sp>
      <p:sp>
        <p:nvSpPr>
          <p:cNvPr id="66605" name="Line 93"/>
          <p:cNvSpPr>
            <a:spLocks noChangeShapeType="1"/>
          </p:cNvSpPr>
          <p:nvPr/>
        </p:nvSpPr>
        <p:spPr bwMode="gray">
          <a:xfrm flipV="1">
            <a:off x="8074842" y="1134721"/>
            <a:ext cx="0" cy="2250707"/>
          </a:xfrm>
          <a:prstGeom prst="line">
            <a:avLst/>
          </a:prstGeom>
          <a:noFill/>
          <a:ln w="19050">
            <a:solidFill>
              <a:srgbClr val="808080"/>
            </a:solidFill>
            <a:prstDash val="sysDot"/>
            <a:round/>
            <a:headEnd/>
            <a:tailEnd/>
          </a:ln>
        </p:spPr>
        <p:txBody>
          <a:bodyPr lIns="95224" tIns="47612" rIns="95224" bIns="47612"/>
          <a:lstStyle/>
          <a:p>
            <a:endParaRPr lang="en-US" sz="1747" dirty="0">
              <a:latin typeface="Verdana" pitchFamily="34" charset="0"/>
            </a:endParaRPr>
          </a:p>
        </p:txBody>
      </p:sp>
      <p:sp>
        <p:nvSpPr>
          <p:cNvPr id="66606" name="Line 94"/>
          <p:cNvSpPr>
            <a:spLocks noChangeShapeType="1"/>
          </p:cNvSpPr>
          <p:nvPr/>
        </p:nvSpPr>
        <p:spPr bwMode="gray">
          <a:xfrm flipV="1">
            <a:off x="11224107" y="4025283"/>
            <a:ext cx="0" cy="2117906"/>
          </a:xfrm>
          <a:prstGeom prst="line">
            <a:avLst/>
          </a:prstGeom>
          <a:noFill/>
          <a:ln w="19050">
            <a:solidFill>
              <a:srgbClr val="808080"/>
            </a:solidFill>
            <a:prstDash val="sysDot"/>
            <a:round/>
            <a:headEnd/>
            <a:tailEnd/>
          </a:ln>
        </p:spPr>
        <p:txBody>
          <a:bodyPr lIns="95224" tIns="47612" rIns="95224" bIns="47612"/>
          <a:lstStyle/>
          <a:p>
            <a:endParaRPr lang="en-US" sz="1747" dirty="0">
              <a:latin typeface="Verdana" pitchFamily="34" charset="0"/>
            </a:endParaRPr>
          </a:p>
        </p:txBody>
      </p:sp>
      <p:sp>
        <p:nvSpPr>
          <p:cNvPr id="66607" name="Line 95"/>
          <p:cNvSpPr>
            <a:spLocks noChangeShapeType="1"/>
          </p:cNvSpPr>
          <p:nvPr/>
        </p:nvSpPr>
        <p:spPr bwMode="gray">
          <a:xfrm flipV="1">
            <a:off x="9071707" y="4025283"/>
            <a:ext cx="0" cy="2117906"/>
          </a:xfrm>
          <a:prstGeom prst="line">
            <a:avLst/>
          </a:prstGeom>
          <a:noFill/>
          <a:ln w="19050">
            <a:solidFill>
              <a:srgbClr val="808080"/>
            </a:solidFill>
            <a:prstDash val="sysDot"/>
            <a:round/>
            <a:headEnd/>
            <a:tailEnd/>
          </a:ln>
        </p:spPr>
        <p:txBody>
          <a:bodyPr lIns="95224" tIns="47612" rIns="95224" bIns="47612"/>
          <a:lstStyle/>
          <a:p>
            <a:endParaRPr lang="en-US" sz="1747" dirty="0">
              <a:latin typeface="Verdana" pitchFamily="34" charset="0"/>
            </a:endParaRPr>
          </a:p>
        </p:txBody>
      </p:sp>
      <p:sp>
        <p:nvSpPr>
          <p:cNvPr id="66608" name="Line 96"/>
          <p:cNvSpPr>
            <a:spLocks noChangeShapeType="1"/>
          </p:cNvSpPr>
          <p:nvPr/>
        </p:nvSpPr>
        <p:spPr bwMode="gray">
          <a:xfrm flipV="1">
            <a:off x="6917583" y="4025283"/>
            <a:ext cx="0" cy="2117906"/>
          </a:xfrm>
          <a:prstGeom prst="line">
            <a:avLst/>
          </a:prstGeom>
          <a:noFill/>
          <a:ln w="19050">
            <a:solidFill>
              <a:srgbClr val="808080"/>
            </a:solidFill>
            <a:prstDash val="sysDot"/>
            <a:round/>
            <a:headEnd/>
            <a:tailEnd/>
          </a:ln>
        </p:spPr>
        <p:txBody>
          <a:bodyPr lIns="95224" tIns="47612" rIns="95224" bIns="47612"/>
          <a:lstStyle/>
          <a:p>
            <a:endParaRPr lang="en-US" sz="1747" dirty="0">
              <a:latin typeface="Verdana" pitchFamily="34" charset="0"/>
            </a:endParaRPr>
          </a:p>
        </p:txBody>
      </p:sp>
      <p:sp>
        <p:nvSpPr>
          <p:cNvPr id="66609" name="Line 97"/>
          <p:cNvSpPr>
            <a:spLocks noChangeShapeType="1"/>
          </p:cNvSpPr>
          <p:nvPr/>
        </p:nvSpPr>
        <p:spPr bwMode="gray">
          <a:xfrm flipV="1">
            <a:off x="4772083" y="4025283"/>
            <a:ext cx="0" cy="2117906"/>
          </a:xfrm>
          <a:prstGeom prst="line">
            <a:avLst/>
          </a:prstGeom>
          <a:noFill/>
          <a:ln w="19050">
            <a:solidFill>
              <a:srgbClr val="808080"/>
            </a:solidFill>
            <a:prstDash val="sysDot"/>
            <a:round/>
            <a:headEnd/>
            <a:tailEnd/>
          </a:ln>
        </p:spPr>
        <p:txBody>
          <a:bodyPr lIns="95224" tIns="47612" rIns="95224" bIns="47612"/>
          <a:lstStyle/>
          <a:p>
            <a:endParaRPr lang="en-US" sz="1747" dirty="0">
              <a:latin typeface="Verdana" pitchFamily="34" charset="0"/>
            </a:endParaRPr>
          </a:p>
        </p:txBody>
      </p:sp>
      <p:sp>
        <p:nvSpPr>
          <p:cNvPr id="66610" name="Title 97"/>
          <p:cNvSpPr>
            <a:spLocks noGrp="1"/>
          </p:cNvSpPr>
          <p:nvPr>
            <p:ph type="title"/>
          </p:nvPr>
        </p:nvSpPr>
        <p:spPr bwMode="gray"/>
        <p:txBody>
          <a:bodyPr/>
          <a:lstStyle/>
          <a:p>
            <a:r>
              <a:rPr lang="en-CA" dirty="0" smtClean="0"/>
              <a:t>Timeline – arrows</a:t>
            </a:r>
          </a:p>
        </p:txBody>
      </p:sp>
      <p:sp>
        <p:nvSpPr>
          <p:cNvPr id="4" name="BainBulletsConfiguration" hidden="1"/>
          <p:cNvSpPr txBox="1"/>
          <p:nvPr/>
        </p:nvSpPr>
        <p:spPr>
          <a:xfrm>
            <a:off x="1712288" y="12323"/>
            <a:ext cx="8626466" cy="107722"/>
          </a:xfrm>
          <a:prstGeom prst="rect">
            <a:avLst/>
          </a:prstGeom>
          <a:noFill/>
        </p:spPr>
        <p:txBody>
          <a:bodyPr vert="horz" wrap="square" lIns="44365" rIns="44365" rtlCol="0">
            <a:spAutoFit/>
          </a:bodyPr>
          <a:lstStyle/>
          <a:p>
            <a:r>
              <a:rPr lang="en-CA" sz="100" smtClean="0">
                <a:solidFill>
                  <a:srgbClr val="FFFFFF"/>
                </a:solidFill>
              </a:rPr>
              <a:t>2_84 3_84</a:t>
            </a:r>
            <a:endParaRPr lang="en-CA" sz="100" dirty="0">
              <a:solidFill>
                <a:srgbClr val="FFFFFF"/>
              </a:solidFill>
            </a:endParaRPr>
          </a:p>
        </p:txBody>
      </p:sp>
    </p:spTree>
    <p:extLst>
      <p:ext uri="{BB962C8B-B14F-4D97-AF65-F5344CB8AC3E}">
        <p14:creationId xmlns:p14="http://schemas.microsoft.com/office/powerpoint/2010/main" val="1872677719"/>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3" name="Title 1"/>
          <p:cNvSpPr>
            <a:spLocks noGrp="1"/>
          </p:cNvSpPr>
          <p:nvPr>
            <p:ph type="title"/>
          </p:nvPr>
        </p:nvSpPr>
        <p:spPr bwMode="gray"/>
        <p:txBody>
          <a:bodyPr/>
          <a:lstStyle/>
          <a:p>
            <a:r>
              <a:rPr lang="en-US" smtClean="0"/>
              <a:t>Value chain loop</a:t>
            </a:r>
          </a:p>
        </p:txBody>
      </p:sp>
      <p:sp>
        <p:nvSpPr>
          <p:cNvPr id="197637" name="Freeform 11"/>
          <p:cNvSpPr>
            <a:spLocks/>
          </p:cNvSpPr>
          <p:nvPr/>
        </p:nvSpPr>
        <p:spPr bwMode="gray">
          <a:xfrm>
            <a:off x="6969761" y="376264"/>
            <a:ext cx="6008245" cy="5357822"/>
          </a:xfrm>
          <a:custGeom>
            <a:avLst/>
            <a:gdLst>
              <a:gd name="T0" fmla="*/ 0 w 3234"/>
              <a:gd name="T1" fmla="*/ 1721 h 2573"/>
              <a:gd name="T2" fmla="*/ 338 w 3234"/>
              <a:gd name="T3" fmla="*/ 2064 h 2573"/>
              <a:gd name="T4" fmla="*/ 18 w 3234"/>
              <a:gd name="T5" fmla="*/ 2397 h 2573"/>
              <a:gd name="T6" fmla="*/ 1827 w 3234"/>
              <a:gd name="T7" fmla="*/ 2396 h 2573"/>
              <a:gd name="T8" fmla="*/ 2743 w 3234"/>
              <a:gd name="T9" fmla="*/ 923 h 2573"/>
              <a:gd name="T10" fmla="*/ 607 w 3234"/>
              <a:gd name="T11" fmla="*/ 1718 h 2573"/>
              <a:gd name="T12" fmla="*/ 610 w 3234"/>
              <a:gd name="T13" fmla="*/ 1972 h 2573"/>
              <a:gd name="T14" fmla="*/ 314 w 3234"/>
              <a:gd name="T15" fmla="*/ 1967 h 2573"/>
              <a:gd name="T16" fmla="*/ 992 w 3234"/>
              <a:gd name="T17" fmla="*/ 2573 h 2573"/>
              <a:gd name="T18" fmla="*/ 1685 w 3234"/>
              <a:gd name="T19" fmla="*/ 1972 h 2573"/>
              <a:gd name="T20" fmla="*/ 1369 w 3234"/>
              <a:gd name="T21" fmla="*/ 1967 h 2573"/>
              <a:gd name="T22" fmla="*/ 1369 w 3234"/>
              <a:gd name="T23" fmla="*/ 1709 h 2573"/>
              <a:gd name="T24" fmla="*/ 2071 w 3234"/>
              <a:gd name="T25" fmla="*/ 1290 h 2573"/>
              <a:gd name="T26" fmla="*/ 1713 w 3234"/>
              <a:gd name="T27" fmla="*/ 1722 h 2573"/>
              <a:gd name="T28" fmla="*/ 0 w 3234"/>
              <a:gd name="T29" fmla="*/ 1721 h 25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34"/>
              <a:gd name="T46" fmla="*/ 0 h 2573"/>
              <a:gd name="T47" fmla="*/ 3234 w 3234"/>
              <a:gd name="T48" fmla="*/ 2573 h 25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34" h="2573">
                <a:moveTo>
                  <a:pt x="0" y="1721"/>
                </a:moveTo>
                <a:lnTo>
                  <a:pt x="338" y="2064"/>
                </a:lnTo>
                <a:lnTo>
                  <a:pt x="18" y="2397"/>
                </a:lnTo>
                <a:lnTo>
                  <a:pt x="1827" y="2396"/>
                </a:lnTo>
                <a:cubicBezTo>
                  <a:pt x="2326" y="2428"/>
                  <a:pt x="3234" y="1846"/>
                  <a:pt x="2743" y="923"/>
                </a:cubicBezTo>
                <a:cubicBezTo>
                  <a:pt x="2253" y="0"/>
                  <a:pt x="403" y="200"/>
                  <a:pt x="607" y="1718"/>
                </a:cubicBezTo>
                <a:lnTo>
                  <a:pt x="610" y="1972"/>
                </a:lnTo>
                <a:lnTo>
                  <a:pt x="314" y="1967"/>
                </a:lnTo>
                <a:lnTo>
                  <a:pt x="992" y="2573"/>
                </a:lnTo>
                <a:lnTo>
                  <a:pt x="1685" y="1972"/>
                </a:lnTo>
                <a:lnTo>
                  <a:pt x="1369" y="1967"/>
                </a:lnTo>
                <a:lnTo>
                  <a:pt x="1369" y="1709"/>
                </a:lnTo>
                <a:cubicBezTo>
                  <a:pt x="1283" y="930"/>
                  <a:pt x="1960" y="978"/>
                  <a:pt x="2071" y="1290"/>
                </a:cubicBezTo>
                <a:cubicBezTo>
                  <a:pt x="2184" y="1602"/>
                  <a:pt x="1855" y="1718"/>
                  <a:pt x="1713" y="1722"/>
                </a:cubicBezTo>
                <a:lnTo>
                  <a:pt x="0" y="1721"/>
                </a:lnTo>
                <a:close/>
              </a:path>
            </a:pathLst>
          </a:custGeom>
          <a:solidFill>
            <a:srgbClr val="BEBEBE"/>
          </a:solidFill>
          <a:ln w="19050" cap="flat" cmpd="sng">
            <a:solidFill>
              <a:schemeClr val="accent2"/>
            </a:solidFill>
            <a:prstDash val="solid"/>
            <a:round/>
            <a:headEnd type="none" w="sm" len="sm"/>
            <a:tailEnd type="none" w="sm" len="sm"/>
          </a:ln>
        </p:spPr>
        <p:txBody>
          <a:bodyPr wrap="none" lIns="98862" tIns="49431" rIns="98862" bIns="49431" anchor="ctr"/>
          <a:lstStyle/>
          <a:p>
            <a:endParaRPr lang="en-US" sz="1747" dirty="0">
              <a:latin typeface="Verdana" pitchFamily="34" charset="0"/>
            </a:endParaRPr>
          </a:p>
        </p:txBody>
      </p:sp>
      <p:sp>
        <p:nvSpPr>
          <p:cNvPr id="197634" name="AutoShape 3"/>
          <p:cNvSpPr>
            <a:spLocks noChangeArrowheads="1"/>
          </p:cNvSpPr>
          <p:nvPr/>
        </p:nvSpPr>
        <p:spPr bwMode="gray">
          <a:xfrm>
            <a:off x="328496" y="3963373"/>
            <a:ext cx="2817046" cy="1407435"/>
          </a:xfrm>
          <a:prstGeom prst="homePlate">
            <a:avLst>
              <a:gd name="adj" fmla="val 43274"/>
            </a:avLst>
          </a:prstGeom>
          <a:solidFill>
            <a:srgbClr val="BEBEBE"/>
          </a:solidFill>
          <a:ln w="19050">
            <a:solidFill>
              <a:schemeClr val="accent2"/>
            </a:solidFill>
            <a:miter lim="800000"/>
            <a:headEnd type="none" w="sm" len="sm"/>
            <a:tailEnd type="none" w="sm" len="sm"/>
          </a:ln>
        </p:spPr>
        <p:txBody>
          <a:bodyPr wrap="none" lIns="95174" tIns="47587" rIns="95174" bIns="47587" anchor="ctr"/>
          <a:lstStyle/>
          <a:p>
            <a:pPr algn="ctr" defTabSz="952035"/>
            <a:r>
              <a:rPr lang="en-US" sz="1941" dirty="0">
                <a:solidFill>
                  <a:srgbClr val="000000"/>
                </a:solidFill>
                <a:latin typeface="Verdana" pitchFamily="34" charset="0"/>
              </a:rPr>
              <a:t>Text</a:t>
            </a:r>
          </a:p>
        </p:txBody>
      </p:sp>
      <p:sp>
        <p:nvSpPr>
          <p:cNvPr id="197635" name="AutoShape 4"/>
          <p:cNvSpPr>
            <a:spLocks noChangeArrowheads="1"/>
          </p:cNvSpPr>
          <p:nvPr/>
        </p:nvSpPr>
        <p:spPr bwMode="gray">
          <a:xfrm>
            <a:off x="2532099" y="3963373"/>
            <a:ext cx="2819220" cy="1407435"/>
          </a:xfrm>
          <a:prstGeom prst="chevron">
            <a:avLst>
              <a:gd name="adj" fmla="val 42918"/>
            </a:avLst>
          </a:prstGeom>
          <a:solidFill>
            <a:srgbClr val="BEBEBE"/>
          </a:solidFill>
          <a:ln w="19050">
            <a:solidFill>
              <a:schemeClr val="accent2"/>
            </a:solidFill>
            <a:miter lim="800000"/>
            <a:headEnd type="none" w="sm" len="sm"/>
            <a:tailEnd type="none" w="sm" len="sm"/>
          </a:ln>
        </p:spPr>
        <p:txBody>
          <a:bodyPr wrap="none" lIns="95174" tIns="47587" rIns="95174" bIns="47587" anchor="ctr"/>
          <a:lstStyle/>
          <a:p>
            <a:pPr algn="ctr" defTabSz="952035"/>
            <a:r>
              <a:rPr lang="en-US" sz="1941" dirty="0">
                <a:solidFill>
                  <a:srgbClr val="000000"/>
                </a:solidFill>
                <a:latin typeface="Verdana" pitchFamily="34" charset="0"/>
              </a:rPr>
              <a:t>Text</a:t>
            </a:r>
          </a:p>
        </p:txBody>
      </p:sp>
      <p:sp>
        <p:nvSpPr>
          <p:cNvPr id="197636" name="AutoShape 5"/>
          <p:cNvSpPr>
            <a:spLocks noChangeArrowheads="1"/>
          </p:cNvSpPr>
          <p:nvPr/>
        </p:nvSpPr>
        <p:spPr bwMode="gray">
          <a:xfrm>
            <a:off x="4737880" y="3963373"/>
            <a:ext cx="2873602" cy="1407435"/>
          </a:xfrm>
          <a:prstGeom prst="chevron">
            <a:avLst>
              <a:gd name="adj" fmla="val 43689"/>
            </a:avLst>
          </a:prstGeom>
          <a:solidFill>
            <a:schemeClr val="accent3"/>
          </a:solidFill>
          <a:ln w="19050">
            <a:solidFill>
              <a:schemeClr val="accent2"/>
            </a:solidFill>
            <a:miter lim="800000"/>
            <a:headEnd type="none" w="sm" len="sm"/>
            <a:tailEnd type="none" w="sm" len="sm"/>
          </a:ln>
        </p:spPr>
        <p:txBody>
          <a:bodyPr wrap="none" lIns="95174" tIns="47587" rIns="95174" bIns="47587" anchor="ctr"/>
          <a:lstStyle/>
          <a:p>
            <a:pPr algn="ctr" defTabSz="952035"/>
            <a:r>
              <a:rPr lang="en-US" sz="1941" dirty="0">
                <a:solidFill>
                  <a:srgbClr val="000000"/>
                </a:solidFill>
                <a:latin typeface="Verdana" pitchFamily="34" charset="0"/>
              </a:rPr>
              <a:t>Text</a:t>
            </a:r>
          </a:p>
        </p:txBody>
      </p:sp>
      <p:sp>
        <p:nvSpPr>
          <p:cNvPr id="197638" name="Text Box 12"/>
          <p:cNvSpPr txBox="1">
            <a:spLocks noChangeArrowheads="1"/>
          </p:cNvSpPr>
          <p:nvPr/>
        </p:nvSpPr>
        <p:spPr bwMode="gray">
          <a:xfrm>
            <a:off x="9780280" y="1681587"/>
            <a:ext cx="858222" cy="543571"/>
          </a:xfrm>
          <a:prstGeom prst="rect">
            <a:avLst/>
          </a:prstGeom>
          <a:noFill/>
          <a:ln w="12700">
            <a:noFill/>
            <a:miter lim="800000"/>
            <a:headEnd type="none" w="sm" len="sm"/>
            <a:tailEnd type="none" w="sm" len="sm"/>
          </a:ln>
        </p:spPr>
        <p:txBody>
          <a:bodyPr wrap="none" lIns="42710" tIns="42710" rIns="42710" bIns="42710" anchor="ctr">
            <a:spAutoFit/>
          </a:bodyPr>
          <a:lstStyle/>
          <a:p>
            <a:pPr defTabSz="854984">
              <a:spcBef>
                <a:spcPct val="50000"/>
              </a:spcBef>
              <a:buClr>
                <a:schemeClr val="tx1"/>
              </a:buClr>
            </a:pPr>
            <a:r>
              <a:rPr lang="en-US" sz="1941" dirty="0">
                <a:latin typeface="Verdana" pitchFamily="34" charset="0"/>
              </a:rPr>
              <a:t>Text</a:t>
            </a:r>
          </a:p>
        </p:txBody>
      </p:sp>
      <p:sp>
        <p:nvSpPr>
          <p:cNvPr id="197639" name="Freeform 17"/>
          <p:cNvSpPr>
            <a:spLocks/>
          </p:cNvSpPr>
          <p:nvPr/>
        </p:nvSpPr>
        <p:spPr bwMode="gray">
          <a:xfrm>
            <a:off x="9841190" y="3954671"/>
            <a:ext cx="613441" cy="1413960"/>
          </a:xfrm>
          <a:custGeom>
            <a:avLst/>
            <a:gdLst>
              <a:gd name="T0" fmla="*/ 0 w 282"/>
              <a:gd name="T1" fmla="*/ 0 h 650"/>
              <a:gd name="T2" fmla="*/ 282 w 282"/>
              <a:gd name="T3" fmla="*/ 330 h 650"/>
              <a:gd name="T4" fmla="*/ 2 w 282"/>
              <a:gd name="T5" fmla="*/ 650 h 650"/>
              <a:gd name="T6" fmla="*/ 0 60000 65536"/>
              <a:gd name="T7" fmla="*/ 0 60000 65536"/>
              <a:gd name="T8" fmla="*/ 0 60000 65536"/>
              <a:gd name="T9" fmla="*/ 0 w 282"/>
              <a:gd name="T10" fmla="*/ 0 h 650"/>
              <a:gd name="T11" fmla="*/ 282 w 282"/>
              <a:gd name="T12" fmla="*/ 650 h 650"/>
            </a:gdLst>
            <a:ahLst/>
            <a:cxnLst>
              <a:cxn ang="T6">
                <a:pos x="T0" y="T1"/>
              </a:cxn>
              <a:cxn ang="T7">
                <a:pos x="T2" y="T3"/>
              </a:cxn>
              <a:cxn ang="T8">
                <a:pos x="T4" y="T5"/>
              </a:cxn>
            </a:cxnLst>
            <a:rect l="T9" t="T10" r="T11" b="T12"/>
            <a:pathLst>
              <a:path w="282" h="650">
                <a:moveTo>
                  <a:pt x="0" y="0"/>
                </a:moveTo>
                <a:lnTo>
                  <a:pt x="282" y="330"/>
                </a:lnTo>
                <a:lnTo>
                  <a:pt x="2" y="650"/>
                </a:lnTo>
              </a:path>
            </a:pathLst>
          </a:custGeom>
          <a:noFill/>
          <a:ln w="19050" cap="flat" cmpd="sng">
            <a:noFill/>
            <a:prstDash val="solid"/>
            <a:round/>
            <a:headEnd/>
            <a:tailEnd/>
          </a:ln>
        </p:spPr>
        <p:txBody>
          <a:bodyPr lIns="45413" tIns="45413" rIns="45413" bIns="45413" anchor="ctr"/>
          <a:lstStyle/>
          <a:p>
            <a:endParaRPr lang="en-US" sz="1747" dirty="0">
              <a:latin typeface="Verdana" pitchFamily="34" charset="0"/>
            </a:endParaRPr>
          </a:p>
        </p:txBody>
      </p:sp>
      <p:sp>
        <p:nvSpPr>
          <p:cNvPr id="197640" name="Text Box 18"/>
          <p:cNvSpPr txBox="1">
            <a:spLocks noChangeArrowheads="1"/>
          </p:cNvSpPr>
          <p:nvPr/>
        </p:nvSpPr>
        <p:spPr bwMode="gray">
          <a:xfrm>
            <a:off x="8436126" y="4466459"/>
            <a:ext cx="613201" cy="390384"/>
          </a:xfrm>
          <a:prstGeom prst="rect">
            <a:avLst/>
          </a:prstGeom>
          <a:noFill/>
          <a:ln w="19050">
            <a:noFill/>
            <a:miter lim="800000"/>
            <a:headEnd/>
            <a:tailEnd/>
          </a:ln>
        </p:spPr>
        <p:txBody>
          <a:bodyPr wrap="none" lIns="45413" tIns="45413" rIns="45413" bIns="45413">
            <a:spAutoFit/>
          </a:bodyPr>
          <a:lstStyle/>
          <a:p>
            <a:pPr algn="ctr"/>
            <a:r>
              <a:rPr lang="en-US" altLang="zh-CN" sz="1941" dirty="0">
                <a:latin typeface="Verdana" pitchFamily="34" charset="0"/>
                <a:ea typeface="SimSun" pitchFamily="2" charset="-122"/>
              </a:rPr>
              <a:t>Text</a:t>
            </a:r>
            <a:endParaRPr lang="en-US" altLang="zh-CN" sz="1747" dirty="0">
              <a:latin typeface="Verdana" pitchFamily="34" charset="0"/>
              <a:ea typeface="SimSun" pitchFamily="2" charset="-122"/>
            </a:endParaRPr>
          </a:p>
        </p:txBody>
      </p:sp>
      <p:sp>
        <p:nvSpPr>
          <p:cNvPr id="2" name="BainBulletsConfiguration" hidden="1"/>
          <p:cNvSpPr txBox="1"/>
          <p:nvPr/>
        </p:nvSpPr>
        <p:spPr>
          <a:xfrm>
            <a:off x="1712288" y="12323"/>
            <a:ext cx="8626466" cy="107722"/>
          </a:xfrm>
          <a:prstGeom prst="rect">
            <a:avLst/>
          </a:prstGeom>
          <a:noFill/>
        </p:spPr>
        <p:txBody>
          <a:bodyPr vert="horz" wrap="square" lIns="44365" rIns="44365" rtlCol="0">
            <a:spAutoFit/>
          </a:bodyPr>
          <a:lstStyle/>
          <a:p>
            <a:endParaRPr lang="en-CA" sz="100" dirty="0">
              <a:solidFill>
                <a:srgbClr val="FFFFFF"/>
              </a:solidFill>
            </a:endParaRPr>
          </a:p>
        </p:txBody>
      </p:sp>
    </p:spTree>
    <p:extLst>
      <p:ext uri="{BB962C8B-B14F-4D97-AF65-F5344CB8AC3E}">
        <p14:creationId xmlns:p14="http://schemas.microsoft.com/office/powerpoint/2010/main" val="1752950412"/>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etitive matrix (AXES)</a:t>
            </a:r>
            <a:endParaRPr lang="en-US" dirty="0"/>
          </a:p>
        </p:txBody>
      </p:sp>
      <p:cxnSp>
        <p:nvCxnSpPr>
          <p:cNvPr id="4" name="Straight Arrow Connector 3"/>
          <p:cNvCxnSpPr/>
          <p:nvPr/>
        </p:nvCxnSpPr>
        <p:spPr>
          <a:xfrm>
            <a:off x="6420644" y="1214203"/>
            <a:ext cx="0" cy="4871804"/>
          </a:xfrm>
          <a:prstGeom prst="straightConnector1">
            <a:avLst/>
          </a:prstGeom>
          <a:ln w="28575">
            <a:solidFill>
              <a:srgbClr val="080808"/>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p:nvPr/>
        </p:nvCxnSpPr>
        <p:spPr>
          <a:xfrm>
            <a:off x="1255212" y="3650105"/>
            <a:ext cx="10330865" cy="0"/>
          </a:xfrm>
          <a:prstGeom prst="straightConnector1">
            <a:avLst/>
          </a:prstGeom>
          <a:ln w="28575">
            <a:solidFill>
              <a:srgbClr val="080808"/>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374754" y="3777521"/>
            <a:ext cx="1334125" cy="7944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dirty="0" smtClean="0">
                <a:solidFill>
                  <a:schemeClr val="accent6"/>
                </a:solidFill>
              </a:rPr>
              <a:t>Vector X (low)</a:t>
            </a:r>
          </a:p>
        </p:txBody>
      </p:sp>
      <p:sp>
        <p:nvSpPr>
          <p:cNvPr id="8" name="Rectangle 7"/>
          <p:cNvSpPr/>
          <p:nvPr/>
        </p:nvSpPr>
        <p:spPr>
          <a:xfrm>
            <a:off x="10919014" y="3777521"/>
            <a:ext cx="1334125" cy="7944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dirty="0" smtClean="0">
                <a:solidFill>
                  <a:schemeClr val="accent6"/>
                </a:solidFill>
              </a:rPr>
              <a:t>Vector X (high)</a:t>
            </a:r>
          </a:p>
        </p:txBody>
      </p:sp>
      <p:sp>
        <p:nvSpPr>
          <p:cNvPr id="9" name="Rectangle 8"/>
          <p:cNvSpPr/>
          <p:nvPr/>
        </p:nvSpPr>
        <p:spPr>
          <a:xfrm>
            <a:off x="4961744" y="5501390"/>
            <a:ext cx="1334125" cy="7944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dirty="0" smtClean="0">
                <a:solidFill>
                  <a:schemeClr val="accent6"/>
                </a:solidFill>
              </a:rPr>
              <a:t>Vector Y (low)</a:t>
            </a:r>
          </a:p>
        </p:txBody>
      </p:sp>
      <p:sp>
        <p:nvSpPr>
          <p:cNvPr id="10" name="Rectangle 9"/>
          <p:cNvSpPr/>
          <p:nvPr/>
        </p:nvSpPr>
        <p:spPr>
          <a:xfrm>
            <a:off x="6545420" y="1004342"/>
            <a:ext cx="1334125" cy="79447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2000" dirty="0" smtClean="0">
                <a:solidFill>
                  <a:schemeClr val="accent6"/>
                </a:solidFill>
              </a:rPr>
              <a:t>Vector Y (high)</a:t>
            </a:r>
          </a:p>
        </p:txBody>
      </p:sp>
      <p:sp>
        <p:nvSpPr>
          <p:cNvPr id="11" name="Oval 10"/>
          <p:cNvSpPr/>
          <p:nvPr/>
        </p:nvSpPr>
        <p:spPr>
          <a:xfrm>
            <a:off x="9578712" y="1214203"/>
            <a:ext cx="1169236" cy="1169236"/>
          </a:xfrm>
          <a:prstGeom prst="ellipse">
            <a:avLst/>
          </a:prstGeom>
          <a:solidFill>
            <a:schemeClr val="accent3"/>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dirty="0" smtClean="0">
                <a:solidFill>
                  <a:schemeClr val="tx2"/>
                </a:solidFill>
                <a:latin typeface="+mj-lt"/>
              </a:rPr>
              <a:t>Good Company</a:t>
            </a:r>
          </a:p>
        </p:txBody>
      </p:sp>
      <p:sp>
        <p:nvSpPr>
          <p:cNvPr id="12" name="Oval 11"/>
          <p:cNvSpPr/>
          <p:nvPr/>
        </p:nvSpPr>
        <p:spPr>
          <a:xfrm>
            <a:off x="2127942" y="4572000"/>
            <a:ext cx="1169236" cy="1169236"/>
          </a:xfrm>
          <a:prstGeom prst="ellipse">
            <a:avLst/>
          </a:prstGeom>
          <a:solidFill>
            <a:schemeClr val="accent4"/>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500" dirty="0" smtClean="0">
                <a:solidFill>
                  <a:schemeClr val="tx2"/>
                </a:solidFill>
                <a:latin typeface="+mj-lt"/>
              </a:rPr>
              <a:t>Poor</a:t>
            </a:r>
            <a:br>
              <a:rPr lang="en-US" sz="1500" dirty="0" smtClean="0">
                <a:solidFill>
                  <a:schemeClr val="tx2"/>
                </a:solidFill>
                <a:latin typeface="+mj-lt"/>
              </a:rPr>
            </a:br>
            <a:r>
              <a:rPr lang="en-US" sz="1500" dirty="0" smtClean="0">
                <a:solidFill>
                  <a:schemeClr val="tx2"/>
                </a:solidFill>
                <a:latin typeface="+mj-lt"/>
              </a:rPr>
              <a:t>Company</a:t>
            </a:r>
          </a:p>
        </p:txBody>
      </p:sp>
      <p:sp>
        <p:nvSpPr>
          <p:cNvPr id="14"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41916565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03895" y="1214203"/>
            <a:ext cx="5716749" cy="2428157"/>
          </a:xfrm>
          <a:prstGeom prst="rect">
            <a:avLst/>
          </a:prstGeom>
          <a:solidFill>
            <a:schemeClr val="accent4"/>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b"/>
          <a:lstStyle/>
          <a:p>
            <a:pPr algn="r"/>
            <a:r>
              <a:rPr lang="en-US" sz="2000" dirty="0" smtClean="0">
                <a:solidFill>
                  <a:schemeClr val="tx1"/>
                </a:solidFill>
              </a:rPr>
              <a:t>Group 2</a:t>
            </a:r>
          </a:p>
        </p:txBody>
      </p:sp>
      <p:sp>
        <p:nvSpPr>
          <p:cNvPr id="13" name="Rectangle 12"/>
          <p:cNvSpPr/>
          <p:nvPr/>
        </p:nvSpPr>
        <p:spPr>
          <a:xfrm>
            <a:off x="6420644" y="1214203"/>
            <a:ext cx="5716749" cy="2428157"/>
          </a:xfrm>
          <a:prstGeom prst="rect">
            <a:avLst/>
          </a:prstGeom>
          <a:solidFill>
            <a:schemeClr val="accent3"/>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b"/>
          <a:lstStyle/>
          <a:p>
            <a:r>
              <a:rPr lang="en-US" sz="2000" dirty="0" smtClean="0">
                <a:solidFill>
                  <a:schemeClr val="tx1"/>
                </a:solidFill>
              </a:rPr>
              <a:t>Group 4</a:t>
            </a:r>
          </a:p>
        </p:txBody>
      </p:sp>
      <p:sp>
        <p:nvSpPr>
          <p:cNvPr id="14" name="Rectangle 13"/>
          <p:cNvSpPr/>
          <p:nvPr/>
        </p:nvSpPr>
        <p:spPr>
          <a:xfrm>
            <a:off x="703895" y="3642360"/>
            <a:ext cx="5716749" cy="2428157"/>
          </a:xfrm>
          <a:prstGeom prst="rect">
            <a:avLst/>
          </a:prstGeom>
          <a:solidFill>
            <a:schemeClr val="accent4"/>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pPr algn="r"/>
            <a:r>
              <a:rPr lang="en-US" sz="2000" dirty="0" smtClean="0">
                <a:solidFill>
                  <a:schemeClr val="tx1"/>
                </a:solidFill>
              </a:rPr>
              <a:t>Group 1</a:t>
            </a:r>
          </a:p>
        </p:txBody>
      </p:sp>
      <p:sp>
        <p:nvSpPr>
          <p:cNvPr id="15" name="Rectangle 14"/>
          <p:cNvSpPr/>
          <p:nvPr/>
        </p:nvSpPr>
        <p:spPr>
          <a:xfrm>
            <a:off x="6420644" y="3642360"/>
            <a:ext cx="5716749" cy="2428157"/>
          </a:xfrm>
          <a:prstGeom prst="rect">
            <a:avLst/>
          </a:prstGeom>
          <a:solidFill>
            <a:schemeClr val="accent4"/>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t"/>
          <a:lstStyle/>
          <a:p>
            <a:r>
              <a:rPr lang="en-US" sz="2000" dirty="0" smtClean="0">
                <a:solidFill>
                  <a:schemeClr val="tx1"/>
                </a:solidFill>
              </a:rPr>
              <a:t>Group 3</a:t>
            </a:r>
          </a:p>
        </p:txBody>
      </p:sp>
      <p:sp>
        <p:nvSpPr>
          <p:cNvPr id="2" name="Title 1"/>
          <p:cNvSpPr>
            <a:spLocks noGrp="1"/>
          </p:cNvSpPr>
          <p:nvPr>
            <p:ph type="title"/>
          </p:nvPr>
        </p:nvSpPr>
        <p:spPr>
          <a:xfrm>
            <a:off x="3998230" y="222376"/>
            <a:ext cx="4844828" cy="800219"/>
          </a:xfrm>
        </p:spPr>
        <p:txBody>
          <a:bodyPr/>
          <a:lstStyle/>
          <a:p>
            <a:r>
              <a:rPr lang="en-US" dirty="0" smtClean="0"/>
              <a:t>Competitive matrix </a:t>
            </a:r>
            <a:br>
              <a:rPr lang="en-US" dirty="0" smtClean="0"/>
            </a:br>
            <a:r>
              <a:rPr lang="en-US" dirty="0" smtClean="0"/>
              <a:t>(Use Transparent logos)</a:t>
            </a:r>
            <a:endParaRPr lang="en-US" dirty="0"/>
          </a:p>
        </p:txBody>
      </p:sp>
      <p:sp>
        <p:nvSpPr>
          <p:cNvPr id="16"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29444321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Seesaw</a:t>
            </a:r>
            <a:endParaRPr lang="en-CA" dirty="0"/>
          </a:p>
        </p:txBody>
      </p:sp>
      <p:sp>
        <p:nvSpPr>
          <p:cNvPr id="3" name="BainBulletsConfiguration" hidden="1"/>
          <p:cNvSpPr txBox="1"/>
          <p:nvPr/>
        </p:nvSpPr>
        <p:spPr>
          <a:xfrm>
            <a:off x="1712288" y="12323"/>
            <a:ext cx="8626466" cy="107722"/>
          </a:xfrm>
          <a:prstGeom prst="rect">
            <a:avLst/>
          </a:prstGeom>
          <a:noFill/>
        </p:spPr>
        <p:txBody>
          <a:bodyPr vert="horz" wrap="square" lIns="44365" rIns="44365" rtlCol="0">
            <a:spAutoFit/>
          </a:bodyPr>
          <a:lstStyle/>
          <a:p>
            <a:r>
              <a:rPr lang="en-CA" sz="100" smtClean="0">
                <a:solidFill>
                  <a:srgbClr val="FFFFFF"/>
                </a:solidFill>
              </a:rPr>
              <a:t>51_84 63_84 54_84</a:t>
            </a:r>
            <a:endParaRPr lang="en-CA" sz="100" dirty="0">
              <a:solidFill>
                <a:srgbClr val="FFFFFF"/>
              </a:solidFill>
            </a:endParaRPr>
          </a:p>
        </p:txBody>
      </p:sp>
      <p:sp>
        <p:nvSpPr>
          <p:cNvPr id="44" name="Ellipse 289"/>
          <p:cNvSpPr>
            <a:spLocks noChangeArrowheads="1"/>
          </p:cNvSpPr>
          <p:nvPr/>
        </p:nvSpPr>
        <p:spPr bwMode="gray">
          <a:xfrm>
            <a:off x="5995164" y="4928049"/>
            <a:ext cx="737202" cy="737204"/>
          </a:xfrm>
          <a:prstGeom prst="ellipse">
            <a:avLst/>
          </a:prstGeom>
          <a:solidFill>
            <a:srgbClr val="5F5F5F"/>
          </a:solidFill>
          <a:ln w="14351" algn="ctr">
            <a:solidFill>
              <a:srgbClr val="919191"/>
            </a:solidFill>
            <a:round/>
            <a:headEnd/>
            <a:tailEnd/>
          </a:ln>
          <a:effectLst/>
        </p:spPr>
        <p:txBody>
          <a:bodyPr/>
          <a:lstStyle/>
          <a:p>
            <a:pPr algn="ctr" defTabSz="887334">
              <a:defRPr/>
            </a:pPr>
            <a:endParaRPr lang="en-CA" sz="1747" kern="0" noProof="1">
              <a:solidFill>
                <a:srgbClr val="FFFFFF"/>
              </a:solidFill>
            </a:endParaRPr>
          </a:p>
        </p:txBody>
      </p:sp>
      <p:pic>
        <p:nvPicPr>
          <p:cNvPr id="49" name="Picture 117"/>
          <p:cNvPicPr>
            <a:picLocks noChangeAspect="1" noChangeArrowheads="1"/>
          </p:cNvPicPr>
          <p:nvPr/>
        </p:nvPicPr>
        <p:blipFill>
          <a:blip r:embed="rId7" cstate="print"/>
          <a:srcRect/>
          <a:stretch>
            <a:fillRect/>
          </a:stretch>
        </p:blipFill>
        <p:spPr bwMode="gray">
          <a:xfrm>
            <a:off x="739218" y="5665253"/>
            <a:ext cx="11820166" cy="510850"/>
          </a:xfrm>
          <a:prstGeom prst="rect">
            <a:avLst/>
          </a:prstGeom>
          <a:noFill/>
          <a:ln w="9525">
            <a:noFill/>
            <a:miter lim="800000"/>
            <a:headEnd/>
            <a:tailEnd/>
          </a:ln>
        </p:spPr>
      </p:pic>
      <p:sp>
        <p:nvSpPr>
          <p:cNvPr id="50" name="Ellipse 289"/>
          <p:cNvSpPr>
            <a:spLocks noChangeArrowheads="1"/>
          </p:cNvSpPr>
          <p:nvPr/>
        </p:nvSpPr>
        <p:spPr bwMode="gray">
          <a:xfrm>
            <a:off x="5970246" y="5073413"/>
            <a:ext cx="784965" cy="784965"/>
          </a:xfrm>
          <a:prstGeom prst="ellipse">
            <a:avLst/>
          </a:prstGeom>
          <a:gradFill rotWithShape="1">
            <a:gsLst>
              <a:gs pos="0">
                <a:srgbClr val="C0C0C0"/>
              </a:gs>
              <a:gs pos="100000">
                <a:srgbClr val="C0C0C0">
                  <a:gamma/>
                  <a:shade val="46275"/>
                  <a:invGamma/>
                </a:srgbClr>
              </a:gs>
            </a:gsLst>
            <a:lin ang="5400000" scaled="1"/>
          </a:gradFill>
          <a:ln w="14351" algn="ctr">
            <a:solidFill>
              <a:srgbClr val="919191"/>
            </a:solidFill>
            <a:round/>
            <a:headEnd/>
            <a:tailEnd/>
          </a:ln>
          <a:effectLst/>
        </p:spPr>
        <p:txBody>
          <a:bodyPr/>
          <a:lstStyle/>
          <a:p>
            <a:pPr algn="ctr" defTabSz="887334">
              <a:defRPr/>
            </a:pPr>
            <a:endParaRPr lang="en-CA" sz="1747" kern="0" noProof="1">
              <a:solidFill>
                <a:srgbClr val="FFFFFF"/>
              </a:solidFill>
            </a:endParaRPr>
          </a:p>
        </p:txBody>
      </p:sp>
      <p:grpSp>
        <p:nvGrpSpPr>
          <p:cNvPr id="51" name="Group 21"/>
          <p:cNvGrpSpPr>
            <a:grpSpLocks/>
          </p:cNvGrpSpPr>
          <p:nvPr>
            <p:custDataLst>
              <p:tags r:id="rId1"/>
            </p:custDataLst>
          </p:nvPr>
        </p:nvGrpSpPr>
        <p:grpSpPr bwMode="auto">
          <a:xfrm>
            <a:off x="1571948" y="4817988"/>
            <a:ext cx="9888902" cy="263732"/>
            <a:chOff x="469" y="2811"/>
            <a:chExt cx="4762" cy="127"/>
          </a:xfrm>
        </p:grpSpPr>
        <p:sp>
          <p:nvSpPr>
            <p:cNvPr id="73" name="Rectangle 14"/>
            <p:cNvSpPr>
              <a:spLocks noChangeArrowheads="1"/>
            </p:cNvSpPr>
            <p:nvPr/>
          </p:nvSpPr>
          <p:spPr bwMode="gray">
            <a:xfrm rot="-532840">
              <a:off x="479" y="2882"/>
              <a:ext cx="4752" cy="56"/>
            </a:xfrm>
            <a:prstGeom prst="rect">
              <a:avLst/>
            </a:prstGeom>
            <a:solidFill>
              <a:srgbClr val="919191"/>
            </a:solidFill>
            <a:ln w="6350" algn="ctr">
              <a:solidFill>
                <a:srgbClr val="919191"/>
              </a:solidFill>
              <a:miter lim="800000"/>
              <a:headEnd/>
              <a:tailEnd/>
            </a:ln>
            <a:effectLst/>
          </p:spPr>
          <p:txBody>
            <a:bodyPr/>
            <a:lstStyle/>
            <a:p>
              <a:pPr defTabSz="887334">
                <a:defRPr/>
              </a:pPr>
              <a:endParaRPr lang="en-CA" sz="1747" kern="0">
                <a:solidFill>
                  <a:sysClr val="windowText" lastClr="000000"/>
                </a:solidFill>
              </a:endParaRPr>
            </a:p>
          </p:txBody>
        </p:sp>
        <p:sp>
          <p:nvSpPr>
            <p:cNvPr id="74" name="Freeform 15"/>
            <p:cNvSpPr>
              <a:spLocks/>
            </p:cNvSpPr>
            <p:nvPr/>
          </p:nvSpPr>
          <p:spPr bwMode="gray">
            <a:xfrm rot="-532840">
              <a:off x="469" y="2811"/>
              <a:ext cx="4752" cy="72"/>
            </a:xfrm>
            <a:custGeom>
              <a:avLst/>
              <a:gdLst/>
              <a:ahLst/>
              <a:cxnLst>
                <a:cxn ang="0">
                  <a:pos x="0" y="72"/>
                </a:cxn>
                <a:cxn ang="0">
                  <a:pos x="204" y="0"/>
                </a:cxn>
                <a:cxn ang="0">
                  <a:pos x="4548" y="0"/>
                </a:cxn>
                <a:cxn ang="0">
                  <a:pos x="4752" y="72"/>
                </a:cxn>
                <a:cxn ang="0">
                  <a:pos x="0" y="72"/>
                </a:cxn>
              </a:cxnLst>
              <a:rect l="0" t="0" r="r" b="b"/>
              <a:pathLst>
                <a:path w="4752" h="72">
                  <a:moveTo>
                    <a:pt x="0" y="72"/>
                  </a:moveTo>
                  <a:lnTo>
                    <a:pt x="204" y="0"/>
                  </a:lnTo>
                  <a:lnTo>
                    <a:pt x="4548" y="0"/>
                  </a:lnTo>
                  <a:lnTo>
                    <a:pt x="4752" y="72"/>
                  </a:lnTo>
                  <a:lnTo>
                    <a:pt x="0" y="72"/>
                  </a:lnTo>
                  <a:close/>
                </a:path>
              </a:pathLst>
            </a:custGeom>
            <a:solidFill>
              <a:srgbClr val="5F5F5F"/>
            </a:solidFill>
            <a:ln w="14351" cap="flat" cmpd="sng">
              <a:solidFill>
                <a:srgbClr val="919191"/>
              </a:solidFill>
              <a:prstDash val="solid"/>
              <a:round/>
              <a:headEnd type="none" w="med" len="med"/>
              <a:tailEnd type="none" w="med" len="med"/>
            </a:ln>
            <a:effectLst/>
          </p:spPr>
          <p:txBody>
            <a:bodyPr/>
            <a:lstStyle/>
            <a:p>
              <a:pPr defTabSz="887334">
                <a:defRPr/>
              </a:pPr>
              <a:endParaRPr lang="en-CA" sz="1747" kern="0">
                <a:solidFill>
                  <a:sysClr val="windowText" lastClr="000000"/>
                </a:solidFill>
              </a:endParaRPr>
            </a:p>
          </p:txBody>
        </p:sp>
      </p:grpSp>
      <p:sp>
        <p:nvSpPr>
          <p:cNvPr id="70" name="Oval 103"/>
          <p:cNvSpPr>
            <a:spLocks noChangeArrowheads="1"/>
          </p:cNvSpPr>
          <p:nvPr/>
        </p:nvSpPr>
        <p:spPr bwMode="gray">
          <a:xfrm>
            <a:off x="2585341" y="3669611"/>
            <a:ext cx="1694528" cy="1694528"/>
          </a:xfrm>
          <a:prstGeom prst="ellipse">
            <a:avLst/>
          </a:prstGeom>
          <a:solidFill>
            <a:schemeClr val="accent3"/>
          </a:solidFill>
          <a:ln w="9525" algn="ctr">
            <a:solidFill>
              <a:srgbClr val="FFFFFF"/>
            </a:solidFill>
            <a:round/>
            <a:headEnd/>
            <a:tailEnd/>
          </a:ln>
          <a:effectLst/>
        </p:spPr>
        <p:txBody>
          <a:bodyPr wrap="none" anchor="ctr"/>
          <a:lstStyle/>
          <a:p>
            <a:pPr defTabSz="887334">
              <a:defRPr/>
            </a:pPr>
            <a:endParaRPr lang="en-CA" sz="1553" kern="0" noProof="1">
              <a:solidFill>
                <a:srgbClr val="FFFFFF"/>
              </a:solidFill>
            </a:endParaRPr>
          </a:p>
        </p:txBody>
      </p:sp>
      <p:sp>
        <p:nvSpPr>
          <p:cNvPr id="71" name="Oval 104"/>
          <p:cNvSpPr>
            <a:spLocks noChangeArrowheads="1"/>
          </p:cNvSpPr>
          <p:nvPr/>
        </p:nvSpPr>
        <p:spPr bwMode="gray">
          <a:xfrm>
            <a:off x="2628406" y="3684591"/>
            <a:ext cx="1606526" cy="1606526"/>
          </a:xfrm>
          <a:prstGeom prst="ellipse">
            <a:avLst/>
          </a:prstGeom>
          <a:gradFill rotWithShape="1">
            <a:gsLst>
              <a:gs pos="0">
                <a:srgbClr val="FFFFFF"/>
              </a:gs>
              <a:gs pos="89000">
                <a:schemeClr val="accent3"/>
              </a:gs>
            </a:gsLst>
            <a:path path="shape">
              <a:fillToRect l="50000" t="50000" r="50000" b="50000"/>
            </a:path>
          </a:gradFill>
          <a:ln w="9525">
            <a:noFill/>
            <a:round/>
            <a:headEnd/>
            <a:tailEnd/>
          </a:ln>
        </p:spPr>
        <p:txBody>
          <a:bodyPr wrap="none" anchor="ctr"/>
          <a:lstStyle/>
          <a:p>
            <a:pPr algn="ctr" defTabSz="887334" eaLnBrk="0" hangingPunct="0">
              <a:defRPr/>
            </a:pPr>
            <a:endParaRPr lang="en-CA" sz="1553" kern="0" noProof="1">
              <a:solidFill>
                <a:sysClr val="windowText" lastClr="000000"/>
              </a:solidFill>
            </a:endParaRPr>
          </a:p>
        </p:txBody>
      </p:sp>
      <p:pic>
        <p:nvPicPr>
          <p:cNvPr id="72" name="Picture 105"/>
          <p:cNvPicPr>
            <a:picLocks noChangeAspect="1" noChangeArrowheads="1"/>
          </p:cNvPicPr>
          <p:nvPr/>
        </p:nvPicPr>
        <p:blipFill>
          <a:blip r:embed="rId8" cstate="print"/>
          <a:srcRect/>
          <a:stretch>
            <a:fillRect/>
          </a:stretch>
        </p:blipFill>
        <p:spPr bwMode="gray">
          <a:xfrm>
            <a:off x="2969185" y="3693952"/>
            <a:ext cx="924969" cy="496188"/>
          </a:xfrm>
          <a:prstGeom prst="rect">
            <a:avLst/>
          </a:prstGeom>
          <a:noFill/>
          <a:ln w="9525">
            <a:noFill/>
            <a:miter lim="800000"/>
            <a:headEnd/>
            <a:tailEnd/>
          </a:ln>
        </p:spPr>
      </p:pic>
      <p:sp>
        <p:nvSpPr>
          <p:cNvPr id="69" name="Text Box 14"/>
          <p:cNvSpPr txBox="1">
            <a:spLocks noChangeArrowheads="1"/>
          </p:cNvSpPr>
          <p:nvPr/>
        </p:nvSpPr>
        <p:spPr bwMode="gray">
          <a:xfrm rot="21040584">
            <a:off x="2689172" y="4357912"/>
            <a:ext cx="1507632" cy="322085"/>
          </a:xfrm>
          <a:prstGeom prst="rect">
            <a:avLst/>
          </a:prstGeom>
          <a:noFill/>
          <a:ln w="9525">
            <a:noFill/>
            <a:miter lim="800000"/>
            <a:headEnd/>
            <a:tailEnd/>
          </a:ln>
        </p:spPr>
        <p:txBody>
          <a:bodyPr lIns="0" tIns="0" rIns="0" bIns="0">
            <a:spAutoFit/>
          </a:bodyPr>
          <a:lstStyle/>
          <a:p>
            <a:pPr algn="ctr" defTabSz="777958">
              <a:spcAft>
                <a:spcPct val="40000"/>
              </a:spcAft>
              <a:defRPr/>
            </a:pPr>
            <a:r>
              <a:rPr lang="de-DE" sz="1553" kern="0" dirty="0">
                <a:solidFill>
                  <a:srgbClr val="080808"/>
                </a:solidFill>
              </a:rPr>
              <a:t>Text</a:t>
            </a:r>
            <a:endParaRPr lang="de-DE" sz="1553" kern="0" noProof="1">
              <a:solidFill>
                <a:srgbClr val="080808"/>
              </a:solidFill>
            </a:endParaRPr>
          </a:p>
        </p:txBody>
      </p:sp>
      <p:grpSp>
        <p:nvGrpSpPr>
          <p:cNvPr id="63" name="Group 34"/>
          <p:cNvGrpSpPr>
            <a:grpSpLocks/>
          </p:cNvGrpSpPr>
          <p:nvPr>
            <p:custDataLst>
              <p:tags r:id="rId2"/>
            </p:custDataLst>
          </p:nvPr>
        </p:nvGrpSpPr>
        <p:grpSpPr bwMode="auto">
          <a:xfrm>
            <a:off x="1499264" y="4448348"/>
            <a:ext cx="1179524" cy="1179524"/>
            <a:chOff x="4267" y="1053"/>
            <a:chExt cx="905" cy="905"/>
          </a:xfrm>
        </p:grpSpPr>
        <p:sp>
          <p:nvSpPr>
            <p:cNvPr id="65" name="Oval 103"/>
            <p:cNvSpPr>
              <a:spLocks noChangeArrowheads="1"/>
            </p:cNvSpPr>
            <p:nvPr/>
          </p:nvSpPr>
          <p:spPr bwMode="gray">
            <a:xfrm>
              <a:off x="4267" y="1053"/>
              <a:ext cx="905" cy="905"/>
            </a:xfrm>
            <a:prstGeom prst="ellipse">
              <a:avLst/>
            </a:prstGeom>
            <a:solidFill>
              <a:srgbClr val="919191"/>
            </a:solidFill>
            <a:ln w="9525" algn="ctr">
              <a:solidFill>
                <a:srgbClr val="FFFFFF"/>
              </a:solidFill>
              <a:round/>
              <a:headEnd/>
              <a:tailEnd/>
            </a:ln>
            <a:effectLst/>
          </p:spPr>
          <p:txBody>
            <a:bodyPr wrap="none" anchor="ctr"/>
            <a:lstStyle/>
            <a:p>
              <a:pPr defTabSz="887334">
                <a:defRPr/>
              </a:pPr>
              <a:endParaRPr lang="en-CA" sz="1553" kern="0" noProof="1">
                <a:solidFill>
                  <a:sysClr val="windowText" lastClr="000000"/>
                </a:solidFill>
              </a:endParaRPr>
            </a:p>
          </p:txBody>
        </p:sp>
        <p:sp>
          <p:nvSpPr>
            <p:cNvPr id="66" name="Oval 104"/>
            <p:cNvSpPr>
              <a:spLocks noChangeArrowheads="1"/>
            </p:cNvSpPr>
            <p:nvPr/>
          </p:nvSpPr>
          <p:spPr bwMode="gray">
            <a:xfrm>
              <a:off x="4290" y="1061"/>
              <a:ext cx="858" cy="858"/>
            </a:xfrm>
            <a:prstGeom prst="ellipse">
              <a:avLst/>
            </a:prstGeom>
            <a:gradFill rotWithShape="1">
              <a:gsLst>
                <a:gs pos="0">
                  <a:srgbClr val="FFFFFF"/>
                </a:gs>
                <a:gs pos="100000">
                  <a:srgbClr val="9D9D9D"/>
                </a:gs>
              </a:gsLst>
              <a:path path="shape">
                <a:fillToRect l="50000" t="50000" r="50000" b="50000"/>
              </a:path>
            </a:gradFill>
            <a:ln w="9525">
              <a:noFill/>
              <a:round/>
              <a:headEnd/>
              <a:tailEnd/>
            </a:ln>
          </p:spPr>
          <p:txBody>
            <a:bodyPr wrap="none" anchor="ctr"/>
            <a:lstStyle/>
            <a:p>
              <a:pPr algn="ctr" defTabSz="887334" eaLnBrk="0" hangingPunct="0">
                <a:defRPr/>
              </a:pPr>
              <a:endParaRPr lang="en-CA" sz="1553" kern="0" noProof="1">
                <a:solidFill>
                  <a:sysClr val="windowText" lastClr="000000"/>
                </a:solidFill>
              </a:endParaRPr>
            </a:p>
          </p:txBody>
        </p:sp>
        <p:pic>
          <p:nvPicPr>
            <p:cNvPr id="67" name="Picture 105"/>
            <p:cNvPicPr>
              <a:picLocks noChangeAspect="1" noChangeArrowheads="1"/>
            </p:cNvPicPr>
            <p:nvPr/>
          </p:nvPicPr>
          <p:blipFill>
            <a:blip r:embed="rId9" cstate="print"/>
            <a:srcRect/>
            <a:stretch>
              <a:fillRect/>
            </a:stretch>
          </p:blipFill>
          <p:spPr bwMode="gray">
            <a:xfrm>
              <a:off x="4472" y="1066"/>
              <a:ext cx="494" cy="265"/>
            </a:xfrm>
            <a:prstGeom prst="rect">
              <a:avLst/>
            </a:prstGeom>
            <a:noFill/>
            <a:ln w="9525">
              <a:noFill/>
              <a:miter lim="800000"/>
              <a:headEnd/>
              <a:tailEnd/>
            </a:ln>
          </p:spPr>
        </p:pic>
      </p:grpSp>
      <p:sp>
        <p:nvSpPr>
          <p:cNvPr id="64" name="Text Box 14"/>
          <p:cNvSpPr txBox="1">
            <a:spLocks noChangeArrowheads="1"/>
          </p:cNvSpPr>
          <p:nvPr/>
        </p:nvSpPr>
        <p:spPr bwMode="gray">
          <a:xfrm rot="21040584">
            <a:off x="1713158" y="4879147"/>
            <a:ext cx="718513" cy="322085"/>
          </a:xfrm>
          <a:prstGeom prst="rect">
            <a:avLst/>
          </a:prstGeom>
          <a:noFill/>
          <a:ln w="9525">
            <a:noFill/>
            <a:miter lim="800000"/>
            <a:headEnd/>
            <a:tailEnd/>
          </a:ln>
        </p:spPr>
        <p:txBody>
          <a:bodyPr lIns="0" tIns="0" rIns="0" bIns="0">
            <a:spAutoFit/>
          </a:bodyPr>
          <a:lstStyle/>
          <a:p>
            <a:pPr algn="ctr" defTabSz="777958">
              <a:spcAft>
                <a:spcPct val="40000"/>
              </a:spcAft>
              <a:defRPr/>
            </a:pPr>
            <a:r>
              <a:rPr lang="de-DE" sz="1553" kern="0">
                <a:solidFill>
                  <a:srgbClr val="080808"/>
                </a:solidFill>
              </a:rPr>
              <a:t>Text</a:t>
            </a:r>
            <a:endParaRPr lang="de-DE" sz="1553" kern="0" noProof="1">
              <a:solidFill>
                <a:srgbClr val="080808"/>
              </a:solidFill>
            </a:endParaRPr>
          </a:p>
        </p:txBody>
      </p:sp>
      <p:grpSp>
        <p:nvGrpSpPr>
          <p:cNvPr id="54" name="Group 58"/>
          <p:cNvGrpSpPr>
            <a:grpSpLocks/>
          </p:cNvGrpSpPr>
          <p:nvPr>
            <p:custDataLst>
              <p:tags r:id="rId3"/>
            </p:custDataLst>
          </p:nvPr>
        </p:nvGrpSpPr>
        <p:grpSpPr bwMode="auto">
          <a:xfrm>
            <a:off x="10061202" y="3046623"/>
            <a:ext cx="1179524" cy="1179524"/>
            <a:chOff x="4557" y="1958"/>
            <a:chExt cx="568" cy="568"/>
          </a:xfrm>
        </p:grpSpPr>
        <p:grpSp>
          <p:nvGrpSpPr>
            <p:cNvPr id="58" name="Group 38"/>
            <p:cNvGrpSpPr>
              <a:grpSpLocks/>
            </p:cNvGrpSpPr>
            <p:nvPr/>
          </p:nvGrpSpPr>
          <p:grpSpPr bwMode="auto">
            <a:xfrm>
              <a:off x="4557" y="1958"/>
              <a:ext cx="568" cy="568"/>
              <a:chOff x="4267" y="1053"/>
              <a:chExt cx="905" cy="905"/>
            </a:xfrm>
          </p:grpSpPr>
          <p:sp>
            <p:nvSpPr>
              <p:cNvPr id="60" name="Oval 103"/>
              <p:cNvSpPr>
                <a:spLocks noChangeArrowheads="1"/>
              </p:cNvSpPr>
              <p:nvPr/>
            </p:nvSpPr>
            <p:spPr bwMode="gray">
              <a:xfrm>
                <a:off x="4267" y="1053"/>
                <a:ext cx="905" cy="905"/>
              </a:xfrm>
              <a:prstGeom prst="ellipse">
                <a:avLst/>
              </a:prstGeom>
              <a:solidFill>
                <a:srgbClr val="919191"/>
              </a:solidFill>
              <a:ln w="9525" algn="ctr">
                <a:solidFill>
                  <a:srgbClr val="FFFFFF"/>
                </a:solidFill>
                <a:round/>
                <a:headEnd/>
                <a:tailEnd/>
              </a:ln>
              <a:effectLst/>
            </p:spPr>
            <p:txBody>
              <a:bodyPr wrap="none" anchor="ctr"/>
              <a:lstStyle/>
              <a:p>
                <a:pPr defTabSz="887334">
                  <a:defRPr/>
                </a:pPr>
                <a:endParaRPr lang="en-CA" sz="1553" kern="0" noProof="1">
                  <a:solidFill>
                    <a:sysClr val="windowText" lastClr="000000"/>
                  </a:solidFill>
                </a:endParaRPr>
              </a:p>
            </p:txBody>
          </p:sp>
          <p:sp>
            <p:nvSpPr>
              <p:cNvPr id="61" name="Oval 104"/>
              <p:cNvSpPr>
                <a:spLocks noChangeArrowheads="1"/>
              </p:cNvSpPr>
              <p:nvPr/>
            </p:nvSpPr>
            <p:spPr bwMode="gray">
              <a:xfrm>
                <a:off x="4290" y="1061"/>
                <a:ext cx="858" cy="858"/>
              </a:xfrm>
              <a:prstGeom prst="ellipse">
                <a:avLst/>
              </a:prstGeom>
              <a:gradFill rotWithShape="1">
                <a:gsLst>
                  <a:gs pos="0">
                    <a:srgbClr val="FFFFFF"/>
                  </a:gs>
                  <a:gs pos="100000">
                    <a:srgbClr val="9D9D9D"/>
                  </a:gs>
                </a:gsLst>
                <a:path path="shape">
                  <a:fillToRect l="50000" t="50000" r="50000" b="50000"/>
                </a:path>
              </a:gradFill>
              <a:ln w="9525">
                <a:noFill/>
                <a:round/>
                <a:headEnd/>
                <a:tailEnd/>
              </a:ln>
            </p:spPr>
            <p:txBody>
              <a:bodyPr wrap="none" anchor="ctr"/>
              <a:lstStyle/>
              <a:p>
                <a:pPr algn="ctr" defTabSz="887334" eaLnBrk="0" hangingPunct="0">
                  <a:defRPr/>
                </a:pPr>
                <a:endParaRPr lang="en-CA" sz="1553" kern="0" noProof="1">
                  <a:solidFill>
                    <a:sysClr val="windowText" lastClr="000000"/>
                  </a:solidFill>
                </a:endParaRPr>
              </a:p>
            </p:txBody>
          </p:sp>
          <p:pic>
            <p:nvPicPr>
              <p:cNvPr id="62" name="Picture 105"/>
              <p:cNvPicPr>
                <a:picLocks noChangeAspect="1" noChangeArrowheads="1"/>
              </p:cNvPicPr>
              <p:nvPr/>
            </p:nvPicPr>
            <p:blipFill>
              <a:blip r:embed="rId9" cstate="print"/>
              <a:srcRect/>
              <a:stretch>
                <a:fillRect/>
              </a:stretch>
            </p:blipFill>
            <p:spPr bwMode="gray">
              <a:xfrm>
                <a:off x="4472" y="1066"/>
                <a:ext cx="494" cy="265"/>
              </a:xfrm>
              <a:prstGeom prst="rect">
                <a:avLst/>
              </a:prstGeom>
              <a:noFill/>
              <a:ln w="9525">
                <a:noFill/>
                <a:miter lim="800000"/>
                <a:headEnd/>
                <a:tailEnd/>
              </a:ln>
            </p:spPr>
          </p:pic>
        </p:grpSp>
        <p:sp>
          <p:nvSpPr>
            <p:cNvPr id="59" name="Text Box 14"/>
            <p:cNvSpPr txBox="1">
              <a:spLocks noChangeArrowheads="1"/>
            </p:cNvSpPr>
            <p:nvPr/>
          </p:nvSpPr>
          <p:spPr bwMode="gray">
            <a:xfrm rot="21040584">
              <a:off x="4666" y="2165"/>
              <a:ext cx="346" cy="155"/>
            </a:xfrm>
            <a:prstGeom prst="rect">
              <a:avLst/>
            </a:prstGeom>
            <a:noFill/>
            <a:ln w="9525">
              <a:noFill/>
              <a:miter lim="800000"/>
              <a:headEnd/>
              <a:tailEnd/>
            </a:ln>
          </p:spPr>
          <p:txBody>
            <a:bodyPr lIns="0" tIns="0" rIns="0" bIns="0">
              <a:spAutoFit/>
            </a:bodyPr>
            <a:lstStyle/>
            <a:p>
              <a:pPr algn="ctr" defTabSz="777958">
                <a:spcAft>
                  <a:spcPct val="40000"/>
                </a:spcAft>
                <a:defRPr/>
              </a:pPr>
              <a:r>
                <a:rPr lang="de-DE" sz="1553" kern="0" dirty="0">
                  <a:solidFill>
                    <a:srgbClr val="080808"/>
                  </a:solidFill>
                </a:rPr>
                <a:t>Text</a:t>
              </a:r>
              <a:endParaRPr lang="de-DE" sz="1553" kern="0" noProof="1">
                <a:solidFill>
                  <a:srgbClr val="080808"/>
                </a:solidFill>
              </a:endParaRPr>
            </a:p>
          </p:txBody>
        </p:sp>
      </p:grpSp>
      <p:sp>
        <p:nvSpPr>
          <p:cNvPr id="56" name="AutoShape 53"/>
          <p:cNvSpPr>
            <a:spLocks noChangeArrowheads="1"/>
          </p:cNvSpPr>
          <p:nvPr/>
        </p:nvSpPr>
        <p:spPr bwMode="gray">
          <a:xfrm rot="4793246" flipV="1">
            <a:off x="4931931" y="3333198"/>
            <a:ext cx="1057005" cy="1748521"/>
          </a:xfrm>
          <a:prstGeom prst="upArrow">
            <a:avLst>
              <a:gd name="adj1" fmla="val 59741"/>
              <a:gd name="adj2" fmla="val 61237"/>
            </a:avLst>
          </a:prstGeom>
          <a:solidFill>
            <a:schemeClr val="accent5"/>
          </a:solidFill>
          <a:ln w="9525">
            <a:solidFill>
              <a:srgbClr val="AEAEAE"/>
            </a:solidFill>
            <a:miter lim="800000"/>
            <a:headEnd/>
            <a:tailEnd/>
          </a:ln>
          <a:effectLst/>
        </p:spPr>
        <p:txBody>
          <a:bodyPr vert="eaVert" wrap="none" anchor="ctr"/>
          <a:lstStyle/>
          <a:p>
            <a:pPr defTabSz="887334">
              <a:defRPr/>
            </a:pPr>
            <a:endParaRPr lang="en-CA" sz="1747" kern="0">
              <a:solidFill>
                <a:sysClr val="windowText" lastClr="000000"/>
              </a:solidFill>
            </a:endParaRPr>
          </a:p>
        </p:txBody>
      </p:sp>
      <p:sp>
        <p:nvSpPr>
          <p:cNvPr id="57" name="Text Box 14"/>
          <p:cNvSpPr txBox="1">
            <a:spLocks noChangeArrowheads="1"/>
          </p:cNvSpPr>
          <p:nvPr/>
        </p:nvSpPr>
        <p:spPr bwMode="gray">
          <a:xfrm rot="21040584">
            <a:off x="4828099" y="4045781"/>
            <a:ext cx="1507632" cy="281824"/>
          </a:xfrm>
          <a:prstGeom prst="rect">
            <a:avLst/>
          </a:prstGeom>
          <a:noFill/>
          <a:ln w="9525">
            <a:noFill/>
            <a:miter lim="800000"/>
            <a:headEnd/>
            <a:tailEnd/>
          </a:ln>
        </p:spPr>
        <p:txBody>
          <a:bodyPr lIns="0" tIns="0" rIns="0" bIns="0">
            <a:spAutoFit/>
          </a:bodyPr>
          <a:lstStyle/>
          <a:p>
            <a:pPr algn="ctr" defTabSz="777958">
              <a:spcAft>
                <a:spcPct val="40000"/>
              </a:spcAft>
              <a:defRPr/>
            </a:pPr>
            <a:r>
              <a:rPr lang="en-CA" sz="1359" kern="0" noProof="1">
                <a:solidFill>
                  <a:srgbClr val="FFFFFF"/>
                </a:solidFill>
              </a:rPr>
              <a:t>Text</a:t>
            </a:r>
          </a:p>
        </p:txBody>
      </p:sp>
      <p:sp>
        <p:nvSpPr>
          <p:cNvPr id="6" name="TextBox 5"/>
          <p:cNvSpPr txBox="1"/>
          <p:nvPr>
            <p:custDataLst>
              <p:tags r:id="rId4"/>
            </p:custDataLst>
          </p:nvPr>
        </p:nvSpPr>
        <p:spPr>
          <a:xfrm>
            <a:off x="736124" y="1449333"/>
            <a:ext cx="5126196" cy="366767"/>
          </a:xfrm>
          <a:prstGeom prst="rect">
            <a:avLst/>
          </a:prstGeom>
          <a:blipFill dpi="0" rotWithShape="1">
            <a:blip r:embed="rId10"/>
            <a:srcRect/>
            <a:tile tx="0" ty="0" sx="100000" sy="100000" flip="xy" algn="b"/>
          </a:blipFill>
        </p:spPr>
        <p:txBody>
          <a:bodyPr vert="horz" wrap="square" lIns="0" tIns="0" rIns="0" bIns="88900" rtlCol="0" anchor="b">
            <a:spAutoFit/>
          </a:bodyPr>
          <a:lstStyle/>
          <a:p>
            <a:pPr algn="ctr"/>
            <a:r>
              <a:rPr lang="en-US" b="1" cap="all" dirty="0" smtClean="0"/>
              <a:t>Insert text here</a:t>
            </a:r>
          </a:p>
        </p:txBody>
      </p:sp>
      <p:sp>
        <p:nvSpPr>
          <p:cNvPr id="7" name="TextBox 6"/>
          <p:cNvSpPr txBox="1"/>
          <p:nvPr>
            <p:custDataLst>
              <p:tags r:id="rId5"/>
            </p:custDataLst>
          </p:nvPr>
        </p:nvSpPr>
        <p:spPr>
          <a:xfrm>
            <a:off x="6978968" y="1449333"/>
            <a:ext cx="5126196" cy="366767"/>
          </a:xfrm>
          <a:prstGeom prst="rect">
            <a:avLst/>
          </a:prstGeom>
          <a:blipFill dpi="0" rotWithShape="1">
            <a:blip r:embed="rId10"/>
            <a:srcRect/>
            <a:tile tx="0" ty="0" sx="100000" sy="100000" flip="xy" algn="b"/>
          </a:blipFill>
        </p:spPr>
        <p:txBody>
          <a:bodyPr vert="horz" wrap="square" lIns="0" tIns="0" rIns="0" bIns="88900" rtlCol="0" anchor="b">
            <a:spAutoFit/>
          </a:bodyPr>
          <a:lstStyle/>
          <a:p>
            <a:pPr algn="ctr"/>
            <a:r>
              <a:rPr lang="en-US" b="1" cap="all" smtClean="0"/>
              <a:t>Insert text here</a:t>
            </a:r>
            <a:endParaRPr lang="en-US" b="1" cap="all" dirty="0" err="1" smtClean="0"/>
          </a:p>
        </p:txBody>
      </p:sp>
    </p:spTree>
    <p:extLst>
      <p:ext uri="{BB962C8B-B14F-4D97-AF65-F5344CB8AC3E}">
        <p14:creationId xmlns:p14="http://schemas.microsoft.com/office/powerpoint/2010/main" val="17804145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SECTION HEADER</a:t>
            </a:r>
            <a:endParaRPr lang="en-US" dirty="0"/>
          </a:p>
        </p:txBody>
      </p:sp>
      <p:sp>
        <p:nvSpPr>
          <p:cNvPr id="4" name="Subtitle 3"/>
          <p:cNvSpPr>
            <a:spLocks noGrp="1"/>
          </p:cNvSpPr>
          <p:nvPr>
            <p:ph type="subTitle" idx="1"/>
          </p:nvPr>
        </p:nvSpPr>
        <p:spPr/>
        <p:txBody>
          <a:bodyPr/>
          <a:lstStyle/>
          <a:p>
            <a:r>
              <a:rPr lang="en-US" dirty="0" smtClean="0">
                <a:latin typeface="Roboto Regular" pitchFamily="2" charset="0"/>
                <a:ea typeface="Roboto Regular" pitchFamily="2" charset="0"/>
              </a:rPr>
              <a:t>SLIDE EXAMAPLE</a:t>
            </a:r>
            <a:endParaRPr lang="en-US" dirty="0">
              <a:latin typeface="Roboto Regular" pitchFamily="2" charset="0"/>
              <a:ea typeface="Roboto Regular" pitchFamily="2" charset="0"/>
            </a:endParaRPr>
          </a:p>
        </p:txBody>
      </p:sp>
      <p:sp>
        <p:nvSpPr>
          <p:cNvPr id="5"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243631772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5" name="Title 1"/>
          <p:cNvSpPr>
            <a:spLocks noGrp="1"/>
          </p:cNvSpPr>
          <p:nvPr>
            <p:ph type="title"/>
          </p:nvPr>
        </p:nvSpPr>
        <p:spPr bwMode="gray"/>
        <p:txBody>
          <a:bodyPr/>
          <a:lstStyle/>
          <a:p>
            <a:r>
              <a:rPr lang="en-US" smtClean="0"/>
              <a:t>Six prong spider chart 1</a:t>
            </a:r>
          </a:p>
        </p:txBody>
      </p:sp>
      <p:grpSp>
        <p:nvGrpSpPr>
          <p:cNvPr id="251907" name="Group 4"/>
          <p:cNvGrpSpPr>
            <a:grpSpLocks/>
          </p:cNvGrpSpPr>
          <p:nvPr>
            <p:custDataLst>
              <p:tags r:id="rId1"/>
            </p:custDataLst>
          </p:nvPr>
        </p:nvGrpSpPr>
        <p:grpSpPr bwMode="gray">
          <a:xfrm>
            <a:off x="6299445" y="1155778"/>
            <a:ext cx="250739" cy="5069617"/>
            <a:chOff x="2902" y="1064"/>
            <a:chExt cx="89" cy="3426"/>
          </a:xfrm>
        </p:grpSpPr>
        <p:sp>
          <p:nvSpPr>
            <p:cNvPr id="251935" name="Line 5"/>
            <p:cNvSpPr>
              <a:spLocks noChangeShapeType="1"/>
            </p:cNvSpPr>
            <p:nvPr/>
          </p:nvSpPr>
          <p:spPr bwMode="gray">
            <a:xfrm>
              <a:off x="2947" y="1064"/>
              <a:ext cx="0" cy="3426"/>
            </a:xfrm>
            <a:prstGeom prst="line">
              <a:avLst/>
            </a:prstGeom>
            <a:noFill/>
            <a:ln w="34925">
              <a:solidFill>
                <a:schemeClr val="tx1"/>
              </a:solidFill>
              <a:round/>
              <a:headEnd type="triangle" w="med" len="med"/>
              <a:tailEnd type="triangle" w="med" len="med"/>
            </a:ln>
          </p:spPr>
          <p:txBody>
            <a:bodyPr lIns="45413" tIns="45413" rIns="45413" bIns="45413" anchor="ctr"/>
            <a:lstStyle/>
            <a:p>
              <a:pPr algn="ctr"/>
              <a:endParaRPr lang="en-US" sz="1747" dirty="0">
                <a:latin typeface="Verdana" pitchFamily="34" charset="0"/>
              </a:endParaRPr>
            </a:p>
          </p:txBody>
        </p:sp>
        <p:sp>
          <p:nvSpPr>
            <p:cNvPr id="251936" name="Line 6"/>
            <p:cNvSpPr>
              <a:spLocks noChangeShapeType="1"/>
            </p:cNvSpPr>
            <p:nvPr/>
          </p:nvSpPr>
          <p:spPr bwMode="gray">
            <a:xfrm>
              <a:off x="2902" y="410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37" name="Line 7"/>
            <p:cNvSpPr>
              <a:spLocks noChangeShapeType="1"/>
            </p:cNvSpPr>
            <p:nvPr/>
          </p:nvSpPr>
          <p:spPr bwMode="gray">
            <a:xfrm>
              <a:off x="2902" y="372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38" name="Line 8"/>
            <p:cNvSpPr>
              <a:spLocks noChangeShapeType="1"/>
            </p:cNvSpPr>
            <p:nvPr/>
          </p:nvSpPr>
          <p:spPr bwMode="gray">
            <a:xfrm>
              <a:off x="2902" y="334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39" name="Line 9"/>
            <p:cNvSpPr>
              <a:spLocks noChangeShapeType="1"/>
            </p:cNvSpPr>
            <p:nvPr/>
          </p:nvSpPr>
          <p:spPr bwMode="gray">
            <a:xfrm>
              <a:off x="2902" y="296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40" name="Line 10"/>
            <p:cNvSpPr>
              <a:spLocks noChangeShapeType="1"/>
            </p:cNvSpPr>
            <p:nvPr/>
          </p:nvSpPr>
          <p:spPr bwMode="gray">
            <a:xfrm>
              <a:off x="2902" y="258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41" name="Line 11"/>
            <p:cNvSpPr>
              <a:spLocks noChangeShapeType="1"/>
            </p:cNvSpPr>
            <p:nvPr/>
          </p:nvSpPr>
          <p:spPr bwMode="gray">
            <a:xfrm>
              <a:off x="2902" y="220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42" name="Line 12"/>
            <p:cNvSpPr>
              <a:spLocks noChangeShapeType="1"/>
            </p:cNvSpPr>
            <p:nvPr/>
          </p:nvSpPr>
          <p:spPr bwMode="gray">
            <a:xfrm>
              <a:off x="2902" y="182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43" name="Line 13"/>
            <p:cNvSpPr>
              <a:spLocks noChangeShapeType="1"/>
            </p:cNvSpPr>
            <p:nvPr/>
          </p:nvSpPr>
          <p:spPr bwMode="gray">
            <a:xfrm>
              <a:off x="2902" y="144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grpSp>
      <p:grpSp>
        <p:nvGrpSpPr>
          <p:cNvPr id="251908" name="Group 14"/>
          <p:cNvGrpSpPr>
            <a:grpSpLocks/>
          </p:cNvGrpSpPr>
          <p:nvPr>
            <p:custDataLst>
              <p:tags r:id="rId2"/>
            </p:custDataLst>
          </p:nvPr>
        </p:nvGrpSpPr>
        <p:grpSpPr bwMode="gray">
          <a:xfrm rot="3600000">
            <a:off x="6357555" y="-1134705"/>
            <a:ext cx="131697" cy="9652062"/>
            <a:chOff x="2902" y="1064"/>
            <a:chExt cx="89" cy="3426"/>
          </a:xfrm>
        </p:grpSpPr>
        <p:sp>
          <p:nvSpPr>
            <p:cNvPr id="251926" name="Line 15"/>
            <p:cNvSpPr>
              <a:spLocks noChangeShapeType="1"/>
            </p:cNvSpPr>
            <p:nvPr/>
          </p:nvSpPr>
          <p:spPr bwMode="gray">
            <a:xfrm>
              <a:off x="2947" y="1064"/>
              <a:ext cx="0" cy="3426"/>
            </a:xfrm>
            <a:prstGeom prst="line">
              <a:avLst/>
            </a:prstGeom>
            <a:noFill/>
            <a:ln w="34925">
              <a:solidFill>
                <a:schemeClr val="tx1"/>
              </a:solidFill>
              <a:round/>
              <a:headEnd type="triangle" w="med" len="med"/>
              <a:tailEnd type="triangle" w="med" len="med"/>
            </a:ln>
          </p:spPr>
          <p:txBody>
            <a:bodyPr lIns="45413" tIns="45413" rIns="45413" bIns="45413" anchor="ctr"/>
            <a:lstStyle/>
            <a:p>
              <a:pPr algn="ctr"/>
              <a:endParaRPr lang="en-US" sz="1747" dirty="0">
                <a:latin typeface="Verdana" pitchFamily="34" charset="0"/>
              </a:endParaRPr>
            </a:p>
          </p:txBody>
        </p:sp>
        <p:sp>
          <p:nvSpPr>
            <p:cNvPr id="251927" name="Line 16"/>
            <p:cNvSpPr>
              <a:spLocks noChangeShapeType="1"/>
            </p:cNvSpPr>
            <p:nvPr/>
          </p:nvSpPr>
          <p:spPr bwMode="gray">
            <a:xfrm>
              <a:off x="2902" y="410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28" name="Line 17"/>
            <p:cNvSpPr>
              <a:spLocks noChangeShapeType="1"/>
            </p:cNvSpPr>
            <p:nvPr/>
          </p:nvSpPr>
          <p:spPr bwMode="gray">
            <a:xfrm>
              <a:off x="2902" y="372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29" name="Line 18"/>
            <p:cNvSpPr>
              <a:spLocks noChangeShapeType="1"/>
            </p:cNvSpPr>
            <p:nvPr/>
          </p:nvSpPr>
          <p:spPr bwMode="gray">
            <a:xfrm>
              <a:off x="2902" y="334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30" name="Line 19"/>
            <p:cNvSpPr>
              <a:spLocks noChangeShapeType="1"/>
            </p:cNvSpPr>
            <p:nvPr/>
          </p:nvSpPr>
          <p:spPr bwMode="gray">
            <a:xfrm>
              <a:off x="2902" y="296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31" name="Line 20"/>
            <p:cNvSpPr>
              <a:spLocks noChangeShapeType="1"/>
            </p:cNvSpPr>
            <p:nvPr/>
          </p:nvSpPr>
          <p:spPr bwMode="gray">
            <a:xfrm>
              <a:off x="2902" y="258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32" name="Line 21"/>
            <p:cNvSpPr>
              <a:spLocks noChangeShapeType="1"/>
            </p:cNvSpPr>
            <p:nvPr/>
          </p:nvSpPr>
          <p:spPr bwMode="gray">
            <a:xfrm>
              <a:off x="2902" y="220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33" name="Line 22"/>
            <p:cNvSpPr>
              <a:spLocks noChangeShapeType="1"/>
            </p:cNvSpPr>
            <p:nvPr/>
          </p:nvSpPr>
          <p:spPr bwMode="gray">
            <a:xfrm>
              <a:off x="2902" y="182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34" name="Line 23"/>
            <p:cNvSpPr>
              <a:spLocks noChangeShapeType="1"/>
            </p:cNvSpPr>
            <p:nvPr/>
          </p:nvSpPr>
          <p:spPr bwMode="gray">
            <a:xfrm>
              <a:off x="2902" y="144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grpSp>
      <p:grpSp>
        <p:nvGrpSpPr>
          <p:cNvPr id="251909" name="Group 24"/>
          <p:cNvGrpSpPr>
            <a:grpSpLocks/>
          </p:cNvGrpSpPr>
          <p:nvPr>
            <p:custDataLst>
              <p:tags r:id="rId3"/>
            </p:custDataLst>
          </p:nvPr>
        </p:nvGrpSpPr>
        <p:grpSpPr bwMode="gray">
          <a:xfrm rot="18000000" flipH="1">
            <a:off x="6357555" y="-1134705"/>
            <a:ext cx="131697" cy="9652062"/>
            <a:chOff x="2902" y="1064"/>
            <a:chExt cx="89" cy="3426"/>
          </a:xfrm>
        </p:grpSpPr>
        <p:sp>
          <p:nvSpPr>
            <p:cNvPr id="251917" name="Line 25"/>
            <p:cNvSpPr>
              <a:spLocks noChangeShapeType="1"/>
            </p:cNvSpPr>
            <p:nvPr/>
          </p:nvSpPr>
          <p:spPr bwMode="gray">
            <a:xfrm>
              <a:off x="2947" y="1064"/>
              <a:ext cx="0" cy="3426"/>
            </a:xfrm>
            <a:prstGeom prst="line">
              <a:avLst/>
            </a:prstGeom>
            <a:noFill/>
            <a:ln w="34925">
              <a:solidFill>
                <a:schemeClr val="tx1"/>
              </a:solidFill>
              <a:round/>
              <a:headEnd type="triangle" w="med" len="med"/>
              <a:tailEnd type="triangle" w="med" len="med"/>
            </a:ln>
          </p:spPr>
          <p:txBody>
            <a:bodyPr lIns="45413" tIns="45413" rIns="45413" bIns="45413" anchor="ctr"/>
            <a:lstStyle/>
            <a:p>
              <a:pPr algn="ctr"/>
              <a:endParaRPr lang="en-US" sz="1747" dirty="0">
                <a:latin typeface="Verdana" pitchFamily="34" charset="0"/>
              </a:endParaRPr>
            </a:p>
          </p:txBody>
        </p:sp>
        <p:sp>
          <p:nvSpPr>
            <p:cNvPr id="251918" name="Line 26"/>
            <p:cNvSpPr>
              <a:spLocks noChangeShapeType="1"/>
            </p:cNvSpPr>
            <p:nvPr/>
          </p:nvSpPr>
          <p:spPr bwMode="gray">
            <a:xfrm>
              <a:off x="2902" y="410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19" name="Line 27"/>
            <p:cNvSpPr>
              <a:spLocks noChangeShapeType="1"/>
            </p:cNvSpPr>
            <p:nvPr/>
          </p:nvSpPr>
          <p:spPr bwMode="gray">
            <a:xfrm>
              <a:off x="2902" y="372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20" name="Line 28"/>
            <p:cNvSpPr>
              <a:spLocks noChangeShapeType="1"/>
            </p:cNvSpPr>
            <p:nvPr/>
          </p:nvSpPr>
          <p:spPr bwMode="gray">
            <a:xfrm>
              <a:off x="2902" y="334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21" name="Line 29"/>
            <p:cNvSpPr>
              <a:spLocks noChangeShapeType="1"/>
            </p:cNvSpPr>
            <p:nvPr/>
          </p:nvSpPr>
          <p:spPr bwMode="gray">
            <a:xfrm>
              <a:off x="2902" y="296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22" name="Line 30"/>
            <p:cNvSpPr>
              <a:spLocks noChangeShapeType="1"/>
            </p:cNvSpPr>
            <p:nvPr/>
          </p:nvSpPr>
          <p:spPr bwMode="gray">
            <a:xfrm>
              <a:off x="2902" y="258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23" name="Line 31"/>
            <p:cNvSpPr>
              <a:spLocks noChangeShapeType="1"/>
            </p:cNvSpPr>
            <p:nvPr/>
          </p:nvSpPr>
          <p:spPr bwMode="gray">
            <a:xfrm>
              <a:off x="2902" y="220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24" name="Line 32"/>
            <p:cNvSpPr>
              <a:spLocks noChangeShapeType="1"/>
            </p:cNvSpPr>
            <p:nvPr/>
          </p:nvSpPr>
          <p:spPr bwMode="gray">
            <a:xfrm>
              <a:off x="2902" y="182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sp>
          <p:nvSpPr>
            <p:cNvPr id="251925" name="Line 33"/>
            <p:cNvSpPr>
              <a:spLocks noChangeShapeType="1"/>
            </p:cNvSpPr>
            <p:nvPr/>
          </p:nvSpPr>
          <p:spPr bwMode="gray">
            <a:xfrm>
              <a:off x="2902" y="1449"/>
              <a:ext cx="89" cy="0"/>
            </a:xfrm>
            <a:prstGeom prst="line">
              <a:avLst/>
            </a:prstGeom>
            <a:noFill/>
            <a:ln w="34925">
              <a:solidFill>
                <a:schemeClr val="tx1"/>
              </a:solidFill>
              <a:round/>
              <a:headEnd/>
              <a:tailEnd/>
            </a:ln>
          </p:spPr>
          <p:txBody>
            <a:bodyPr lIns="45413" tIns="45413" rIns="45413" bIns="45413" anchor="ctr"/>
            <a:lstStyle/>
            <a:p>
              <a:pPr algn="ctr"/>
              <a:endParaRPr lang="en-US" sz="1747" dirty="0">
                <a:latin typeface="Verdana" pitchFamily="34" charset="0"/>
              </a:endParaRPr>
            </a:p>
          </p:txBody>
        </p:sp>
      </p:grpSp>
      <p:sp>
        <p:nvSpPr>
          <p:cNvPr id="251910" name="Text Box 34"/>
          <p:cNvSpPr txBox="1">
            <a:spLocks noChangeArrowheads="1"/>
          </p:cNvSpPr>
          <p:nvPr/>
        </p:nvSpPr>
        <p:spPr bwMode="gray">
          <a:xfrm>
            <a:off x="5339763" y="1059335"/>
            <a:ext cx="596659" cy="399490"/>
          </a:xfrm>
          <a:prstGeom prst="rect">
            <a:avLst/>
          </a:prstGeom>
          <a:noFill/>
          <a:ln w="19050">
            <a:noFill/>
            <a:miter lim="800000"/>
            <a:headEnd/>
            <a:tailEnd/>
          </a:ln>
        </p:spPr>
        <p:txBody>
          <a:bodyPr wrap="none" lIns="45413" tIns="45413" rIns="45413" bIns="45413">
            <a:spAutoFit/>
          </a:bodyPr>
          <a:lstStyle/>
          <a:p>
            <a:pPr algn="ctr"/>
            <a:r>
              <a:rPr lang="en-US" sz="2000" dirty="0">
                <a:latin typeface="+mj-lt"/>
              </a:rPr>
              <a:t>Text</a:t>
            </a:r>
          </a:p>
        </p:txBody>
      </p:sp>
      <p:sp>
        <p:nvSpPr>
          <p:cNvPr id="251911" name="Text Box 35"/>
          <p:cNvSpPr txBox="1">
            <a:spLocks noChangeArrowheads="1"/>
          </p:cNvSpPr>
          <p:nvPr/>
        </p:nvSpPr>
        <p:spPr bwMode="gray">
          <a:xfrm>
            <a:off x="10729278" y="1458825"/>
            <a:ext cx="596659" cy="399490"/>
          </a:xfrm>
          <a:prstGeom prst="rect">
            <a:avLst/>
          </a:prstGeom>
          <a:noFill/>
          <a:ln w="19050">
            <a:noFill/>
            <a:miter lim="800000"/>
            <a:headEnd/>
            <a:tailEnd/>
          </a:ln>
        </p:spPr>
        <p:txBody>
          <a:bodyPr wrap="none" lIns="45413" tIns="45413" rIns="45413" bIns="45413">
            <a:spAutoFit/>
          </a:bodyPr>
          <a:lstStyle/>
          <a:p>
            <a:pPr algn="ctr"/>
            <a:r>
              <a:rPr lang="en-US" sz="2000" dirty="0">
                <a:latin typeface="+mj-lt"/>
              </a:rPr>
              <a:t>Text</a:t>
            </a:r>
          </a:p>
        </p:txBody>
      </p:sp>
      <p:sp>
        <p:nvSpPr>
          <p:cNvPr id="251912" name="Text Box 36"/>
          <p:cNvSpPr txBox="1">
            <a:spLocks noChangeArrowheads="1"/>
          </p:cNvSpPr>
          <p:nvPr/>
        </p:nvSpPr>
        <p:spPr bwMode="gray">
          <a:xfrm>
            <a:off x="1560407" y="1369586"/>
            <a:ext cx="596659" cy="399490"/>
          </a:xfrm>
          <a:prstGeom prst="rect">
            <a:avLst/>
          </a:prstGeom>
          <a:noFill/>
          <a:ln w="19050">
            <a:noFill/>
            <a:miter lim="800000"/>
            <a:headEnd/>
            <a:tailEnd/>
          </a:ln>
        </p:spPr>
        <p:txBody>
          <a:bodyPr wrap="none" lIns="45413" tIns="45413" rIns="45413" bIns="45413">
            <a:spAutoFit/>
          </a:bodyPr>
          <a:lstStyle/>
          <a:p>
            <a:pPr algn="ctr"/>
            <a:r>
              <a:rPr lang="en-US" sz="2000" dirty="0">
                <a:latin typeface="+mj-lt"/>
              </a:rPr>
              <a:t>Text</a:t>
            </a:r>
          </a:p>
        </p:txBody>
      </p:sp>
      <p:sp>
        <p:nvSpPr>
          <p:cNvPr id="251913" name="Text Box 37"/>
          <p:cNvSpPr txBox="1">
            <a:spLocks noChangeArrowheads="1"/>
          </p:cNvSpPr>
          <p:nvPr/>
        </p:nvSpPr>
        <p:spPr bwMode="gray">
          <a:xfrm>
            <a:off x="10680886" y="5561553"/>
            <a:ext cx="596659" cy="399490"/>
          </a:xfrm>
          <a:prstGeom prst="rect">
            <a:avLst/>
          </a:prstGeom>
          <a:noFill/>
          <a:ln w="19050">
            <a:noFill/>
            <a:miter lim="800000"/>
            <a:headEnd/>
            <a:tailEnd/>
          </a:ln>
        </p:spPr>
        <p:txBody>
          <a:bodyPr wrap="none" lIns="45413" tIns="45413" rIns="45413" bIns="45413">
            <a:spAutoFit/>
          </a:bodyPr>
          <a:lstStyle/>
          <a:p>
            <a:pPr algn="ctr"/>
            <a:r>
              <a:rPr lang="en-US" sz="2000" dirty="0">
                <a:latin typeface="+mj-lt"/>
              </a:rPr>
              <a:t>Text</a:t>
            </a:r>
          </a:p>
        </p:txBody>
      </p:sp>
      <p:sp>
        <p:nvSpPr>
          <p:cNvPr id="251914" name="Text Box 38"/>
          <p:cNvSpPr txBox="1">
            <a:spLocks noChangeArrowheads="1"/>
          </p:cNvSpPr>
          <p:nvPr/>
        </p:nvSpPr>
        <p:spPr bwMode="gray">
          <a:xfrm>
            <a:off x="1452975" y="5561553"/>
            <a:ext cx="596659" cy="399490"/>
          </a:xfrm>
          <a:prstGeom prst="rect">
            <a:avLst/>
          </a:prstGeom>
          <a:noFill/>
          <a:ln w="19050">
            <a:noFill/>
            <a:miter lim="800000"/>
            <a:headEnd/>
            <a:tailEnd/>
          </a:ln>
        </p:spPr>
        <p:txBody>
          <a:bodyPr wrap="none" lIns="45413" tIns="45413" rIns="45413" bIns="45413">
            <a:spAutoFit/>
          </a:bodyPr>
          <a:lstStyle/>
          <a:p>
            <a:pPr algn="ctr"/>
            <a:r>
              <a:rPr lang="en-US" sz="2000" dirty="0">
                <a:latin typeface="+mj-lt"/>
              </a:rPr>
              <a:t>Text</a:t>
            </a:r>
          </a:p>
        </p:txBody>
      </p:sp>
      <p:sp>
        <p:nvSpPr>
          <p:cNvPr id="251915" name="Text Box 39"/>
          <p:cNvSpPr txBox="1">
            <a:spLocks noChangeArrowheads="1"/>
          </p:cNvSpPr>
          <p:nvPr/>
        </p:nvSpPr>
        <p:spPr bwMode="gray">
          <a:xfrm>
            <a:off x="7079048" y="6009847"/>
            <a:ext cx="596659" cy="399490"/>
          </a:xfrm>
          <a:prstGeom prst="rect">
            <a:avLst/>
          </a:prstGeom>
          <a:noFill/>
          <a:ln w="19050">
            <a:noFill/>
            <a:miter lim="800000"/>
            <a:headEnd/>
            <a:tailEnd/>
          </a:ln>
        </p:spPr>
        <p:txBody>
          <a:bodyPr wrap="none" lIns="45413" tIns="45413" rIns="45413" bIns="45413">
            <a:spAutoFit/>
          </a:bodyPr>
          <a:lstStyle/>
          <a:p>
            <a:pPr algn="ctr"/>
            <a:r>
              <a:rPr lang="en-US" sz="2000" dirty="0">
                <a:latin typeface="+mj-lt"/>
              </a:rPr>
              <a:t>Text</a:t>
            </a:r>
          </a:p>
        </p:txBody>
      </p:sp>
      <p:sp>
        <p:nvSpPr>
          <p:cNvPr id="251916" name="Oval 40"/>
          <p:cNvSpPr>
            <a:spLocks noChangeArrowheads="1"/>
          </p:cNvSpPr>
          <p:nvPr/>
        </p:nvSpPr>
        <p:spPr bwMode="gray">
          <a:xfrm>
            <a:off x="6255068" y="3535568"/>
            <a:ext cx="331152" cy="331152"/>
          </a:xfrm>
          <a:prstGeom prst="ellipse">
            <a:avLst/>
          </a:prstGeom>
          <a:solidFill>
            <a:schemeClr val="tx1"/>
          </a:solidFill>
          <a:ln w="19050">
            <a:solidFill>
              <a:schemeClr val="tx1"/>
            </a:solidFill>
            <a:round/>
            <a:headEnd/>
            <a:tailEnd/>
          </a:ln>
        </p:spPr>
        <p:txBody>
          <a:bodyPr wrap="none" lIns="45413" tIns="45413" rIns="45413" bIns="45413" anchor="ctr"/>
          <a:lstStyle/>
          <a:p>
            <a:pPr algn="ctr"/>
            <a:endParaRPr lang="en-HK" sz="1747" dirty="0">
              <a:latin typeface="Verdana" pitchFamily="34" charset="0"/>
            </a:endParaRPr>
          </a:p>
        </p:txBody>
      </p:sp>
      <p:sp>
        <p:nvSpPr>
          <p:cNvPr id="2" name="BainBulletsConfiguration" hidden="1"/>
          <p:cNvSpPr txBox="1"/>
          <p:nvPr/>
        </p:nvSpPr>
        <p:spPr>
          <a:xfrm>
            <a:off x="1712288" y="12323"/>
            <a:ext cx="8626466" cy="107722"/>
          </a:xfrm>
          <a:prstGeom prst="rect">
            <a:avLst/>
          </a:prstGeom>
          <a:noFill/>
        </p:spPr>
        <p:txBody>
          <a:bodyPr vert="horz" wrap="square" lIns="44365" rIns="44365" rtlCol="0">
            <a:spAutoFit/>
          </a:bodyPr>
          <a:lstStyle/>
          <a:p>
            <a:r>
              <a:rPr lang="en-CA" sz="100" smtClean="0">
                <a:solidFill>
                  <a:srgbClr val="FFFFFF"/>
                </a:solidFill>
              </a:rPr>
              <a:t>251907_84 251908_84 251909_84</a:t>
            </a:r>
            <a:endParaRPr lang="en-CA" sz="100" dirty="0">
              <a:solidFill>
                <a:srgbClr val="FFFFFF"/>
              </a:solidFill>
            </a:endParaRPr>
          </a:p>
        </p:txBody>
      </p:sp>
    </p:spTree>
    <p:extLst>
      <p:ext uri="{BB962C8B-B14F-4D97-AF65-F5344CB8AC3E}">
        <p14:creationId xmlns:p14="http://schemas.microsoft.com/office/powerpoint/2010/main" val="2585000269"/>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29" name="Title 1"/>
          <p:cNvSpPr>
            <a:spLocks noGrp="1"/>
          </p:cNvSpPr>
          <p:nvPr>
            <p:ph type="title"/>
          </p:nvPr>
        </p:nvSpPr>
        <p:spPr bwMode="gray"/>
        <p:txBody>
          <a:bodyPr/>
          <a:lstStyle/>
          <a:p>
            <a:r>
              <a:rPr lang="en-US" smtClean="0"/>
              <a:t>Six prong spider chart 2</a:t>
            </a:r>
          </a:p>
        </p:txBody>
      </p:sp>
      <p:sp>
        <p:nvSpPr>
          <p:cNvPr id="252930" name="Line 5"/>
          <p:cNvSpPr>
            <a:spLocks noChangeShapeType="1"/>
          </p:cNvSpPr>
          <p:nvPr/>
        </p:nvSpPr>
        <p:spPr bwMode="gray">
          <a:xfrm>
            <a:off x="3462228" y="4153027"/>
            <a:ext cx="6024663" cy="0"/>
          </a:xfrm>
          <a:prstGeom prst="line">
            <a:avLst/>
          </a:prstGeom>
          <a:noFill/>
          <a:ln w="19050">
            <a:solidFill>
              <a:schemeClr val="tx1"/>
            </a:solidFill>
            <a:round/>
            <a:headEnd type="triangle" w="med" len="med"/>
            <a:tailEnd type="triangle" w="med" len="med"/>
          </a:ln>
        </p:spPr>
        <p:txBody>
          <a:bodyPr lIns="45413" tIns="45413" rIns="45413" bIns="45413" anchor="ctr"/>
          <a:lstStyle/>
          <a:p>
            <a:endParaRPr lang="en-US" sz="1747" dirty="0">
              <a:latin typeface="Verdana" pitchFamily="34" charset="0"/>
            </a:endParaRPr>
          </a:p>
        </p:txBody>
      </p:sp>
      <p:sp>
        <p:nvSpPr>
          <p:cNvPr id="252931" name="Text Box 6"/>
          <p:cNvSpPr txBox="1">
            <a:spLocks noChangeArrowheads="1"/>
          </p:cNvSpPr>
          <p:nvPr/>
        </p:nvSpPr>
        <p:spPr bwMode="gray">
          <a:xfrm>
            <a:off x="6852738" y="3669329"/>
            <a:ext cx="337356"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32" name="Text Box 7"/>
          <p:cNvSpPr txBox="1">
            <a:spLocks noChangeArrowheads="1"/>
          </p:cNvSpPr>
          <p:nvPr/>
        </p:nvSpPr>
        <p:spPr bwMode="gray">
          <a:xfrm>
            <a:off x="7052995" y="3353539"/>
            <a:ext cx="337356" cy="226444"/>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33" name="Text Box 8"/>
          <p:cNvSpPr txBox="1">
            <a:spLocks noChangeArrowheads="1"/>
          </p:cNvSpPr>
          <p:nvPr/>
        </p:nvSpPr>
        <p:spPr bwMode="gray">
          <a:xfrm>
            <a:off x="7485859" y="2715796"/>
            <a:ext cx="337357" cy="226444"/>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34" name="Text Box 9"/>
          <p:cNvSpPr txBox="1">
            <a:spLocks noChangeArrowheads="1"/>
          </p:cNvSpPr>
          <p:nvPr/>
        </p:nvSpPr>
        <p:spPr bwMode="gray">
          <a:xfrm>
            <a:off x="7703061" y="2398466"/>
            <a:ext cx="337356" cy="226444"/>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35" name="Text Box 10"/>
          <p:cNvSpPr txBox="1">
            <a:spLocks noChangeArrowheads="1"/>
          </p:cNvSpPr>
          <p:nvPr/>
        </p:nvSpPr>
        <p:spPr bwMode="gray">
          <a:xfrm>
            <a:off x="7929506" y="2081135"/>
            <a:ext cx="337357" cy="226444"/>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36" name="Text Box 11"/>
          <p:cNvSpPr txBox="1">
            <a:spLocks noChangeArrowheads="1"/>
          </p:cNvSpPr>
          <p:nvPr/>
        </p:nvSpPr>
        <p:spPr bwMode="gray">
          <a:xfrm>
            <a:off x="8177516" y="1765345"/>
            <a:ext cx="337356"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37" name="Text Box 12"/>
          <p:cNvSpPr txBox="1">
            <a:spLocks noChangeArrowheads="1"/>
          </p:cNvSpPr>
          <p:nvPr/>
        </p:nvSpPr>
        <p:spPr bwMode="gray">
          <a:xfrm>
            <a:off x="7277899" y="3034667"/>
            <a:ext cx="337356"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38" name="Text Box 13"/>
          <p:cNvSpPr txBox="1">
            <a:spLocks noChangeArrowheads="1"/>
          </p:cNvSpPr>
          <p:nvPr/>
        </p:nvSpPr>
        <p:spPr bwMode="gray">
          <a:xfrm>
            <a:off x="6253506" y="3509123"/>
            <a:ext cx="337357"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39" name="Text Box 14"/>
          <p:cNvSpPr txBox="1">
            <a:spLocks noChangeArrowheads="1"/>
          </p:cNvSpPr>
          <p:nvPr/>
        </p:nvSpPr>
        <p:spPr bwMode="gray">
          <a:xfrm>
            <a:off x="6085598" y="3256491"/>
            <a:ext cx="337356"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40" name="Text Box 15"/>
          <p:cNvSpPr txBox="1">
            <a:spLocks noChangeArrowheads="1"/>
          </p:cNvSpPr>
          <p:nvPr/>
        </p:nvSpPr>
        <p:spPr bwMode="gray">
          <a:xfrm>
            <a:off x="5880720" y="2953024"/>
            <a:ext cx="337357" cy="226444"/>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41" name="Text Box 16"/>
          <p:cNvSpPr txBox="1">
            <a:spLocks noChangeArrowheads="1"/>
          </p:cNvSpPr>
          <p:nvPr/>
        </p:nvSpPr>
        <p:spPr bwMode="gray">
          <a:xfrm>
            <a:off x="5675841" y="2611046"/>
            <a:ext cx="337356" cy="226444"/>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42" name="Text Box 17"/>
          <p:cNvSpPr txBox="1">
            <a:spLocks noChangeArrowheads="1"/>
          </p:cNvSpPr>
          <p:nvPr/>
        </p:nvSpPr>
        <p:spPr bwMode="gray">
          <a:xfrm>
            <a:off x="5466341" y="2292175"/>
            <a:ext cx="337356"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43" name="Text Box 18"/>
          <p:cNvSpPr txBox="1">
            <a:spLocks noChangeArrowheads="1"/>
          </p:cNvSpPr>
          <p:nvPr/>
        </p:nvSpPr>
        <p:spPr bwMode="gray">
          <a:xfrm>
            <a:off x="5001129" y="1717591"/>
            <a:ext cx="1545061" cy="226444"/>
          </a:xfrm>
          <a:prstGeom prst="rect">
            <a:avLst/>
          </a:prstGeom>
          <a:noFill/>
          <a:ln w="19050">
            <a:noFill/>
            <a:miter lim="800000"/>
            <a:headEnd/>
            <a:tailEnd/>
          </a:ln>
        </p:spPr>
        <p:txBody>
          <a:bodyPr lIns="45413" tIns="45413" rIns="45413" bIns="45413">
            <a:spAutoFit/>
          </a:bodyPr>
          <a:lstStyle/>
          <a:p>
            <a:pPr>
              <a:spcBef>
                <a:spcPct val="50000"/>
              </a:spcBef>
            </a:pPr>
            <a:r>
              <a:rPr lang="en-US" sz="873" dirty="0">
                <a:latin typeface="Verdana" pitchFamily="34" charset="0"/>
              </a:rPr>
              <a:t>Text</a:t>
            </a:r>
          </a:p>
        </p:txBody>
      </p:sp>
      <p:sp>
        <p:nvSpPr>
          <p:cNvPr id="252944" name="Text Box 19"/>
          <p:cNvSpPr txBox="1">
            <a:spLocks noChangeArrowheads="1"/>
          </p:cNvSpPr>
          <p:nvPr/>
        </p:nvSpPr>
        <p:spPr bwMode="gray">
          <a:xfrm>
            <a:off x="5249139" y="2016436"/>
            <a:ext cx="1298592" cy="226444"/>
          </a:xfrm>
          <a:prstGeom prst="rect">
            <a:avLst/>
          </a:prstGeom>
          <a:noFill/>
          <a:ln w="19050">
            <a:noFill/>
            <a:miter lim="800000"/>
            <a:headEnd/>
            <a:tailEnd/>
          </a:ln>
        </p:spPr>
        <p:txBody>
          <a:bodyPr lIns="45413" tIns="45413" rIns="45413" bIns="45413">
            <a:spAutoFit/>
          </a:bodyPr>
          <a:lstStyle/>
          <a:p>
            <a:pPr>
              <a:spcBef>
                <a:spcPct val="50000"/>
              </a:spcBef>
            </a:pPr>
            <a:r>
              <a:rPr lang="en-US" sz="873" dirty="0">
                <a:latin typeface="Verdana" pitchFamily="34" charset="0"/>
              </a:rPr>
              <a:t>Text</a:t>
            </a:r>
          </a:p>
        </p:txBody>
      </p:sp>
      <p:sp>
        <p:nvSpPr>
          <p:cNvPr id="252945" name="Text Box 20"/>
          <p:cNvSpPr txBox="1">
            <a:spLocks noChangeArrowheads="1"/>
          </p:cNvSpPr>
          <p:nvPr/>
        </p:nvSpPr>
        <p:spPr bwMode="gray">
          <a:xfrm>
            <a:off x="7037591" y="4189998"/>
            <a:ext cx="337356"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46" name="Text Box 21"/>
          <p:cNvSpPr txBox="1">
            <a:spLocks noChangeArrowheads="1"/>
          </p:cNvSpPr>
          <p:nvPr/>
        </p:nvSpPr>
        <p:spPr bwMode="gray">
          <a:xfrm>
            <a:off x="8015770" y="4189998"/>
            <a:ext cx="337357"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47" name="Text Box 22"/>
          <p:cNvSpPr txBox="1">
            <a:spLocks noChangeArrowheads="1"/>
          </p:cNvSpPr>
          <p:nvPr/>
        </p:nvSpPr>
        <p:spPr bwMode="gray">
          <a:xfrm>
            <a:off x="9024759" y="4189998"/>
            <a:ext cx="337356"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48" name="Text Box 23"/>
          <p:cNvSpPr txBox="1">
            <a:spLocks noChangeArrowheads="1"/>
          </p:cNvSpPr>
          <p:nvPr/>
        </p:nvSpPr>
        <p:spPr bwMode="gray">
          <a:xfrm>
            <a:off x="6476870" y="4642887"/>
            <a:ext cx="337356" cy="224904"/>
          </a:xfrm>
          <a:prstGeom prst="rect">
            <a:avLst/>
          </a:prstGeom>
          <a:noFill/>
          <a:ln w="19050">
            <a:noFill/>
            <a:miter lim="800000"/>
            <a:headEnd/>
            <a:tailEnd/>
          </a:ln>
        </p:spPr>
        <p:txBody>
          <a:bodyPr wrap="none" lIns="45413" tIns="45413" rIns="45413" bIns="45413">
            <a:spAutoFit/>
          </a:bodyPr>
          <a:lstStyle/>
          <a:p>
            <a:pPr algn="r">
              <a:spcBef>
                <a:spcPct val="50000"/>
              </a:spcBef>
            </a:pPr>
            <a:r>
              <a:rPr lang="en-US" sz="873" dirty="0">
                <a:latin typeface="Verdana" pitchFamily="34" charset="0"/>
              </a:rPr>
              <a:t>Text</a:t>
            </a:r>
          </a:p>
        </p:txBody>
      </p:sp>
      <p:sp>
        <p:nvSpPr>
          <p:cNvPr id="252949" name="Text Box 24"/>
          <p:cNvSpPr txBox="1">
            <a:spLocks noChangeArrowheads="1"/>
          </p:cNvSpPr>
          <p:nvPr/>
        </p:nvSpPr>
        <p:spPr bwMode="gray">
          <a:xfrm>
            <a:off x="6814227" y="5134288"/>
            <a:ext cx="337357" cy="224904"/>
          </a:xfrm>
          <a:prstGeom prst="rect">
            <a:avLst/>
          </a:prstGeom>
          <a:noFill/>
          <a:ln w="19050">
            <a:noFill/>
            <a:miter lim="800000"/>
            <a:headEnd/>
            <a:tailEnd/>
          </a:ln>
        </p:spPr>
        <p:txBody>
          <a:bodyPr wrap="none" lIns="45413" tIns="45413" rIns="45413" bIns="45413">
            <a:spAutoFit/>
          </a:bodyPr>
          <a:lstStyle/>
          <a:p>
            <a:pPr algn="r">
              <a:spcBef>
                <a:spcPct val="50000"/>
              </a:spcBef>
            </a:pPr>
            <a:r>
              <a:rPr lang="en-US" sz="873" dirty="0">
                <a:latin typeface="Verdana" pitchFamily="34" charset="0"/>
              </a:rPr>
              <a:t>Text</a:t>
            </a:r>
          </a:p>
        </p:txBody>
      </p:sp>
      <p:sp>
        <p:nvSpPr>
          <p:cNvPr id="252950" name="Text Box 25"/>
          <p:cNvSpPr txBox="1">
            <a:spLocks noChangeArrowheads="1"/>
          </p:cNvSpPr>
          <p:nvPr/>
        </p:nvSpPr>
        <p:spPr bwMode="gray">
          <a:xfrm>
            <a:off x="7142341" y="5648795"/>
            <a:ext cx="338897" cy="226444"/>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51" name="Text Box 26"/>
          <p:cNvSpPr txBox="1">
            <a:spLocks noChangeArrowheads="1"/>
          </p:cNvSpPr>
          <p:nvPr/>
        </p:nvSpPr>
        <p:spPr bwMode="gray">
          <a:xfrm>
            <a:off x="7527451" y="6200272"/>
            <a:ext cx="337356" cy="226444"/>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52" name="Text Box 27"/>
          <p:cNvSpPr txBox="1">
            <a:spLocks noChangeArrowheads="1"/>
          </p:cNvSpPr>
          <p:nvPr/>
        </p:nvSpPr>
        <p:spPr bwMode="gray">
          <a:xfrm>
            <a:off x="5805238" y="4431847"/>
            <a:ext cx="337356" cy="224904"/>
          </a:xfrm>
          <a:prstGeom prst="rect">
            <a:avLst/>
          </a:prstGeom>
          <a:noFill/>
          <a:ln w="19050">
            <a:noFill/>
            <a:miter lim="800000"/>
            <a:headEnd/>
            <a:tailEnd/>
          </a:ln>
        </p:spPr>
        <p:txBody>
          <a:bodyPr wrap="none" lIns="45413" tIns="45413" rIns="45413" bIns="45413">
            <a:spAutoFit/>
          </a:bodyPr>
          <a:lstStyle/>
          <a:p>
            <a:pPr algn="r">
              <a:spcBef>
                <a:spcPct val="50000"/>
              </a:spcBef>
            </a:pPr>
            <a:r>
              <a:rPr lang="en-US" sz="873" dirty="0">
                <a:latin typeface="Verdana" pitchFamily="34" charset="0"/>
              </a:rPr>
              <a:t>Text</a:t>
            </a:r>
          </a:p>
        </p:txBody>
      </p:sp>
      <p:sp>
        <p:nvSpPr>
          <p:cNvPr id="252953" name="Text Box 28"/>
          <p:cNvSpPr txBox="1">
            <a:spLocks noChangeArrowheads="1"/>
          </p:cNvSpPr>
          <p:nvPr/>
        </p:nvSpPr>
        <p:spPr bwMode="gray">
          <a:xfrm>
            <a:off x="5457099" y="4912464"/>
            <a:ext cx="337356" cy="226444"/>
          </a:xfrm>
          <a:prstGeom prst="rect">
            <a:avLst/>
          </a:prstGeom>
          <a:noFill/>
          <a:ln w="19050">
            <a:noFill/>
            <a:miter lim="800000"/>
            <a:headEnd/>
            <a:tailEnd/>
          </a:ln>
        </p:spPr>
        <p:txBody>
          <a:bodyPr wrap="none" lIns="45413" tIns="45413" rIns="45413" bIns="45413">
            <a:spAutoFit/>
          </a:bodyPr>
          <a:lstStyle/>
          <a:p>
            <a:pPr algn="r">
              <a:spcBef>
                <a:spcPct val="50000"/>
              </a:spcBef>
            </a:pPr>
            <a:r>
              <a:rPr lang="en-US" sz="873" dirty="0">
                <a:latin typeface="Verdana" pitchFamily="34" charset="0"/>
              </a:rPr>
              <a:t>Text</a:t>
            </a:r>
          </a:p>
        </p:txBody>
      </p:sp>
      <p:sp>
        <p:nvSpPr>
          <p:cNvPr id="252954" name="Text Box 29"/>
          <p:cNvSpPr txBox="1">
            <a:spLocks noChangeArrowheads="1"/>
          </p:cNvSpPr>
          <p:nvPr/>
        </p:nvSpPr>
        <p:spPr bwMode="gray">
          <a:xfrm>
            <a:off x="5219871" y="5246740"/>
            <a:ext cx="338897" cy="226445"/>
          </a:xfrm>
          <a:prstGeom prst="rect">
            <a:avLst/>
          </a:prstGeom>
          <a:noFill/>
          <a:ln w="19050">
            <a:noFill/>
            <a:miter lim="800000"/>
            <a:headEnd/>
            <a:tailEnd/>
          </a:ln>
        </p:spPr>
        <p:txBody>
          <a:bodyPr wrap="none" lIns="45413" tIns="45413" rIns="45413" bIns="45413">
            <a:spAutoFit/>
          </a:bodyPr>
          <a:lstStyle/>
          <a:p>
            <a:pPr algn="r">
              <a:spcBef>
                <a:spcPct val="50000"/>
              </a:spcBef>
            </a:pPr>
            <a:r>
              <a:rPr lang="en-US" sz="873" dirty="0">
                <a:latin typeface="Verdana" pitchFamily="34" charset="0"/>
              </a:rPr>
              <a:t>Text</a:t>
            </a:r>
          </a:p>
        </p:txBody>
      </p:sp>
      <p:sp>
        <p:nvSpPr>
          <p:cNvPr id="252955" name="Text Box 30"/>
          <p:cNvSpPr txBox="1">
            <a:spLocks noChangeArrowheads="1"/>
          </p:cNvSpPr>
          <p:nvPr/>
        </p:nvSpPr>
        <p:spPr bwMode="gray">
          <a:xfrm>
            <a:off x="4947213" y="5636471"/>
            <a:ext cx="337357" cy="226444"/>
          </a:xfrm>
          <a:prstGeom prst="rect">
            <a:avLst/>
          </a:prstGeom>
          <a:noFill/>
          <a:ln w="19050">
            <a:noFill/>
            <a:miter lim="800000"/>
            <a:headEnd/>
            <a:tailEnd/>
          </a:ln>
        </p:spPr>
        <p:txBody>
          <a:bodyPr wrap="none" lIns="45413" tIns="45413" rIns="45413" bIns="45413">
            <a:spAutoFit/>
          </a:bodyPr>
          <a:lstStyle/>
          <a:p>
            <a:pPr algn="r">
              <a:spcBef>
                <a:spcPct val="50000"/>
              </a:spcBef>
            </a:pPr>
            <a:r>
              <a:rPr lang="en-US" sz="873" dirty="0">
                <a:latin typeface="Verdana" pitchFamily="34" charset="0"/>
              </a:rPr>
              <a:t>Text</a:t>
            </a:r>
          </a:p>
        </p:txBody>
      </p:sp>
      <p:sp>
        <p:nvSpPr>
          <p:cNvPr id="252956" name="Text Box 31"/>
          <p:cNvSpPr txBox="1">
            <a:spLocks noChangeArrowheads="1"/>
          </p:cNvSpPr>
          <p:nvPr/>
        </p:nvSpPr>
        <p:spPr bwMode="gray">
          <a:xfrm>
            <a:off x="4646827" y="6013879"/>
            <a:ext cx="337356" cy="224904"/>
          </a:xfrm>
          <a:prstGeom prst="rect">
            <a:avLst/>
          </a:prstGeom>
          <a:noFill/>
          <a:ln w="19050">
            <a:noFill/>
            <a:miter lim="800000"/>
            <a:headEnd/>
            <a:tailEnd/>
          </a:ln>
        </p:spPr>
        <p:txBody>
          <a:bodyPr wrap="none" lIns="45413" tIns="45413" rIns="45413" bIns="45413">
            <a:spAutoFit/>
          </a:bodyPr>
          <a:lstStyle/>
          <a:p>
            <a:pPr algn="r">
              <a:spcBef>
                <a:spcPct val="50000"/>
              </a:spcBef>
            </a:pPr>
            <a:r>
              <a:rPr lang="en-US" sz="873" dirty="0">
                <a:latin typeface="Verdana" pitchFamily="34" charset="0"/>
              </a:rPr>
              <a:t>Text</a:t>
            </a:r>
          </a:p>
        </p:txBody>
      </p:sp>
      <p:sp>
        <p:nvSpPr>
          <p:cNvPr id="252957" name="Line 32"/>
          <p:cNvSpPr>
            <a:spLocks noChangeShapeType="1"/>
          </p:cNvSpPr>
          <p:nvPr/>
        </p:nvSpPr>
        <p:spPr bwMode="gray">
          <a:xfrm rot="-3330868">
            <a:off x="3516914" y="4090639"/>
            <a:ext cx="6027743" cy="0"/>
          </a:xfrm>
          <a:prstGeom prst="line">
            <a:avLst/>
          </a:prstGeom>
          <a:noFill/>
          <a:ln w="19050">
            <a:solidFill>
              <a:schemeClr val="tx1"/>
            </a:solidFill>
            <a:round/>
            <a:headEnd type="triangle" w="med" len="med"/>
            <a:tailEnd type="triangle" w="med" len="med"/>
          </a:ln>
        </p:spPr>
        <p:txBody>
          <a:bodyPr lIns="45413" tIns="45413" rIns="45413" bIns="45413" anchor="ctr"/>
          <a:lstStyle/>
          <a:p>
            <a:endParaRPr lang="en-US" sz="1747" dirty="0">
              <a:latin typeface="Verdana" pitchFamily="34" charset="0"/>
            </a:endParaRPr>
          </a:p>
        </p:txBody>
      </p:sp>
      <p:sp>
        <p:nvSpPr>
          <p:cNvPr id="252958" name="Line 33"/>
          <p:cNvSpPr>
            <a:spLocks noChangeShapeType="1"/>
          </p:cNvSpPr>
          <p:nvPr/>
        </p:nvSpPr>
        <p:spPr bwMode="gray">
          <a:xfrm>
            <a:off x="5016533" y="6203353"/>
            <a:ext cx="104750" cy="60077"/>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59" name="Line 34"/>
          <p:cNvSpPr>
            <a:spLocks noChangeShapeType="1"/>
          </p:cNvSpPr>
          <p:nvPr/>
        </p:nvSpPr>
        <p:spPr bwMode="gray">
          <a:xfrm>
            <a:off x="5295352" y="5792055"/>
            <a:ext cx="104750"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60" name="Line 35"/>
          <p:cNvSpPr>
            <a:spLocks noChangeShapeType="1"/>
          </p:cNvSpPr>
          <p:nvPr/>
        </p:nvSpPr>
        <p:spPr bwMode="gray">
          <a:xfrm>
            <a:off x="5574172" y="5382298"/>
            <a:ext cx="103209"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61" name="Line 36"/>
          <p:cNvSpPr>
            <a:spLocks noChangeShapeType="1"/>
          </p:cNvSpPr>
          <p:nvPr/>
        </p:nvSpPr>
        <p:spPr bwMode="gray">
          <a:xfrm>
            <a:off x="5851451" y="4974082"/>
            <a:ext cx="104750" cy="58537"/>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62" name="Line 37"/>
          <p:cNvSpPr>
            <a:spLocks noChangeShapeType="1"/>
          </p:cNvSpPr>
          <p:nvPr/>
        </p:nvSpPr>
        <p:spPr bwMode="gray">
          <a:xfrm>
            <a:off x="6130271" y="4562784"/>
            <a:ext cx="103210" cy="6161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63" name="Line 38"/>
          <p:cNvSpPr>
            <a:spLocks noChangeShapeType="1"/>
          </p:cNvSpPr>
          <p:nvPr/>
        </p:nvSpPr>
        <p:spPr bwMode="gray">
          <a:xfrm>
            <a:off x="6732583" y="3672409"/>
            <a:ext cx="103209"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64" name="Line 39"/>
          <p:cNvSpPr>
            <a:spLocks noChangeShapeType="1"/>
          </p:cNvSpPr>
          <p:nvPr/>
        </p:nvSpPr>
        <p:spPr bwMode="gray">
          <a:xfrm>
            <a:off x="6946704" y="3361241"/>
            <a:ext cx="104750"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65" name="Line 40"/>
          <p:cNvSpPr>
            <a:spLocks noChangeShapeType="1"/>
          </p:cNvSpPr>
          <p:nvPr/>
        </p:nvSpPr>
        <p:spPr bwMode="gray">
          <a:xfrm>
            <a:off x="7163907" y="3053152"/>
            <a:ext cx="104750"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66" name="Line 41"/>
          <p:cNvSpPr>
            <a:spLocks noChangeShapeType="1"/>
          </p:cNvSpPr>
          <p:nvPr/>
        </p:nvSpPr>
        <p:spPr bwMode="gray">
          <a:xfrm>
            <a:off x="7381108" y="2741983"/>
            <a:ext cx="104750"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67" name="Line 42"/>
          <p:cNvSpPr>
            <a:spLocks noChangeShapeType="1"/>
          </p:cNvSpPr>
          <p:nvPr/>
        </p:nvSpPr>
        <p:spPr bwMode="gray">
          <a:xfrm>
            <a:off x="7598311" y="2432355"/>
            <a:ext cx="103209" cy="6161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68" name="Line 43"/>
          <p:cNvSpPr>
            <a:spLocks noChangeShapeType="1"/>
          </p:cNvSpPr>
          <p:nvPr/>
        </p:nvSpPr>
        <p:spPr bwMode="gray">
          <a:xfrm>
            <a:off x="7813973" y="2122726"/>
            <a:ext cx="104750"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69" name="Line 44"/>
          <p:cNvSpPr>
            <a:spLocks noChangeShapeType="1"/>
          </p:cNvSpPr>
          <p:nvPr/>
        </p:nvSpPr>
        <p:spPr bwMode="gray">
          <a:xfrm>
            <a:off x="8031175" y="1814638"/>
            <a:ext cx="103210"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70" name="Text Box 45"/>
          <p:cNvSpPr txBox="1">
            <a:spLocks noChangeArrowheads="1"/>
          </p:cNvSpPr>
          <p:nvPr/>
        </p:nvSpPr>
        <p:spPr bwMode="gray">
          <a:xfrm>
            <a:off x="3497659" y="3844939"/>
            <a:ext cx="338897"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71" name="Text Box 46"/>
          <p:cNvSpPr txBox="1">
            <a:spLocks noChangeArrowheads="1"/>
          </p:cNvSpPr>
          <p:nvPr/>
        </p:nvSpPr>
        <p:spPr bwMode="gray">
          <a:xfrm>
            <a:off x="4059919" y="3844939"/>
            <a:ext cx="338897"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72" name="Text Box 47"/>
          <p:cNvSpPr txBox="1">
            <a:spLocks noChangeArrowheads="1"/>
          </p:cNvSpPr>
          <p:nvPr/>
        </p:nvSpPr>
        <p:spPr bwMode="gray">
          <a:xfrm>
            <a:off x="4603695" y="3844939"/>
            <a:ext cx="338897"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73" name="Text Box 48"/>
          <p:cNvSpPr txBox="1">
            <a:spLocks noChangeArrowheads="1"/>
          </p:cNvSpPr>
          <p:nvPr/>
        </p:nvSpPr>
        <p:spPr bwMode="gray">
          <a:xfrm>
            <a:off x="5688165" y="3844939"/>
            <a:ext cx="338897"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74" name="Text Box 49"/>
          <p:cNvSpPr txBox="1">
            <a:spLocks noChangeArrowheads="1"/>
          </p:cNvSpPr>
          <p:nvPr/>
        </p:nvSpPr>
        <p:spPr bwMode="gray">
          <a:xfrm>
            <a:off x="5156712" y="3844939"/>
            <a:ext cx="338897" cy="226445"/>
          </a:xfrm>
          <a:prstGeom prst="rect">
            <a:avLst/>
          </a:prstGeom>
          <a:noFill/>
          <a:ln w="19050">
            <a:noFill/>
            <a:miter lim="800000"/>
            <a:headEnd/>
            <a:tailEnd/>
          </a:ln>
        </p:spPr>
        <p:txBody>
          <a:bodyPr wrap="none" lIns="45413" tIns="45413" rIns="45413" bIns="45413">
            <a:spAutoFit/>
          </a:bodyPr>
          <a:lstStyle/>
          <a:p>
            <a:pPr>
              <a:spcBef>
                <a:spcPct val="50000"/>
              </a:spcBef>
            </a:pPr>
            <a:r>
              <a:rPr lang="en-US" sz="873" dirty="0">
                <a:latin typeface="Verdana" pitchFamily="34" charset="0"/>
              </a:rPr>
              <a:t>Text</a:t>
            </a:r>
          </a:p>
        </p:txBody>
      </p:sp>
      <p:sp>
        <p:nvSpPr>
          <p:cNvPr id="252975" name="Line 50"/>
          <p:cNvSpPr>
            <a:spLocks noChangeShapeType="1"/>
          </p:cNvSpPr>
          <p:nvPr/>
        </p:nvSpPr>
        <p:spPr bwMode="gray">
          <a:xfrm>
            <a:off x="7187013" y="4069843"/>
            <a:ext cx="0" cy="143261"/>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76" name="Line 51"/>
          <p:cNvSpPr>
            <a:spLocks noChangeShapeType="1"/>
          </p:cNvSpPr>
          <p:nvPr/>
        </p:nvSpPr>
        <p:spPr bwMode="gray">
          <a:xfrm>
            <a:off x="8191380" y="4069843"/>
            <a:ext cx="0" cy="143261"/>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77" name="Line 52"/>
          <p:cNvSpPr>
            <a:spLocks noChangeShapeType="1"/>
          </p:cNvSpPr>
          <p:nvPr/>
        </p:nvSpPr>
        <p:spPr bwMode="gray">
          <a:xfrm>
            <a:off x="9194207" y="4069843"/>
            <a:ext cx="0" cy="143261"/>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78" name="Line 53"/>
          <p:cNvSpPr>
            <a:spLocks noChangeShapeType="1"/>
          </p:cNvSpPr>
          <p:nvPr/>
        </p:nvSpPr>
        <p:spPr bwMode="gray">
          <a:xfrm>
            <a:off x="5860694" y="4069843"/>
            <a:ext cx="0" cy="143261"/>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79" name="Line 54"/>
          <p:cNvSpPr>
            <a:spLocks noChangeShapeType="1"/>
          </p:cNvSpPr>
          <p:nvPr/>
        </p:nvSpPr>
        <p:spPr bwMode="gray">
          <a:xfrm>
            <a:off x="5315378" y="4069843"/>
            <a:ext cx="0" cy="143261"/>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80" name="Line 55"/>
          <p:cNvSpPr>
            <a:spLocks noChangeShapeType="1"/>
          </p:cNvSpPr>
          <p:nvPr/>
        </p:nvSpPr>
        <p:spPr bwMode="gray">
          <a:xfrm>
            <a:off x="4771602" y="4069843"/>
            <a:ext cx="0" cy="143261"/>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81" name="Line 56"/>
          <p:cNvSpPr>
            <a:spLocks noChangeShapeType="1"/>
          </p:cNvSpPr>
          <p:nvPr/>
        </p:nvSpPr>
        <p:spPr bwMode="gray">
          <a:xfrm>
            <a:off x="4226286" y="4069843"/>
            <a:ext cx="0" cy="143261"/>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82" name="Line 57"/>
          <p:cNvSpPr>
            <a:spLocks noChangeShapeType="1"/>
          </p:cNvSpPr>
          <p:nvPr/>
        </p:nvSpPr>
        <p:spPr bwMode="gray">
          <a:xfrm>
            <a:off x="3682511" y="4069843"/>
            <a:ext cx="0" cy="143261"/>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83" name="Text Box 58"/>
          <p:cNvSpPr txBox="1">
            <a:spLocks noChangeArrowheads="1"/>
          </p:cNvSpPr>
          <p:nvPr/>
        </p:nvSpPr>
        <p:spPr bwMode="gray">
          <a:xfrm>
            <a:off x="4306390" y="1290889"/>
            <a:ext cx="522210" cy="300386"/>
          </a:xfrm>
          <a:prstGeom prst="rect">
            <a:avLst/>
          </a:prstGeom>
          <a:noFill/>
          <a:ln w="19050">
            <a:noFill/>
            <a:miter lim="800000"/>
            <a:headEnd/>
            <a:tailEnd/>
          </a:ln>
        </p:spPr>
        <p:txBody>
          <a:bodyPr wrap="none" lIns="45413" tIns="45413" rIns="45413" bIns="45413">
            <a:spAutoFit/>
          </a:bodyPr>
          <a:lstStyle/>
          <a:p>
            <a:pPr>
              <a:spcBef>
                <a:spcPct val="50000"/>
              </a:spcBef>
            </a:pPr>
            <a:r>
              <a:rPr lang="en-US" sz="1359" b="1" dirty="0">
                <a:latin typeface="Verdana" pitchFamily="34" charset="0"/>
              </a:rPr>
              <a:t>Text</a:t>
            </a:r>
          </a:p>
        </p:txBody>
      </p:sp>
      <p:sp>
        <p:nvSpPr>
          <p:cNvPr id="252984" name="Text Box 59"/>
          <p:cNvSpPr txBox="1">
            <a:spLocks noChangeArrowheads="1"/>
          </p:cNvSpPr>
          <p:nvPr/>
        </p:nvSpPr>
        <p:spPr bwMode="gray">
          <a:xfrm>
            <a:off x="8362370" y="1290889"/>
            <a:ext cx="520669" cy="300386"/>
          </a:xfrm>
          <a:prstGeom prst="rect">
            <a:avLst/>
          </a:prstGeom>
          <a:noFill/>
          <a:ln w="19050">
            <a:noFill/>
            <a:miter lim="800000"/>
            <a:headEnd/>
            <a:tailEnd/>
          </a:ln>
        </p:spPr>
        <p:txBody>
          <a:bodyPr wrap="none" lIns="45413" tIns="45413" rIns="45413" bIns="45413">
            <a:spAutoFit/>
          </a:bodyPr>
          <a:lstStyle/>
          <a:p>
            <a:pPr>
              <a:spcBef>
                <a:spcPct val="50000"/>
              </a:spcBef>
            </a:pPr>
            <a:r>
              <a:rPr lang="en-US" sz="1359" b="1" dirty="0">
                <a:latin typeface="Verdana" pitchFamily="34" charset="0"/>
              </a:rPr>
              <a:t>Text</a:t>
            </a:r>
          </a:p>
        </p:txBody>
      </p:sp>
      <p:sp>
        <p:nvSpPr>
          <p:cNvPr id="252985" name="Text Box 60"/>
          <p:cNvSpPr txBox="1">
            <a:spLocks noChangeArrowheads="1"/>
          </p:cNvSpPr>
          <p:nvPr/>
        </p:nvSpPr>
        <p:spPr bwMode="gray">
          <a:xfrm>
            <a:off x="9908972" y="4003605"/>
            <a:ext cx="520669" cy="300385"/>
          </a:xfrm>
          <a:prstGeom prst="rect">
            <a:avLst/>
          </a:prstGeom>
          <a:noFill/>
          <a:ln w="19050">
            <a:noFill/>
            <a:miter lim="800000"/>
            <a:headEnd/>
            <a:tailEnd/>
          </a:ln>
        </p:spPr>
        <p:txBody>
          <a:bodyPr wrap="none" lIns="45413" tIns="45413" rIns="45413" bIns="45413">
            <a:spAutoFit/>
          </a:bodyPr>
          <a:lstStyle/>
          <a:p>
            <a:pPr>
              <a:spcBef>
                <a:spcPct val="50000"/>
              </a:spcBef>
            </a:pPr>
            <a:r>
              <a:rPr lang="en-US" sz="1359" b="1" dirty="0">
                <a:latin typeface="Verdana" pitchFamily="34" charset="0"/>
              </a:rPr>
              <a:t>Text</a:t>
            </a:r>
          </a:p>
        </p:txBody>
      </p:sp>
      <p:sp>
        <p:nvSpPr>
          <p:cNvPr id="252986" name="Text Box 61"/>
          <p:cNvSpPr txBox="1">
            <a:spLocks noChangeArrowheads="1"/>
          </p:cNvSpPr>
          <p:nvPr/>
        </p:nvSpPr>
        <p:spPr bwMode="gray">
          <a:xfrm>
            <a:off x="8362369" y="6365100"/>
            <a:ext cx="2025679" cy="300386"/>
          </a:xfrm>
          <a:prstGeom prst="rect">
            <a:avLst/>
          </a:prstGeom>
          <a:noFill/>
          <a:ln w="19050">
            <a:noFill/>
            <a:miter lim="800000"/>
            <a:headEnd/>
            <a:tailEnd/>
          </a:ln>
        </p:spPr>
        <p:txBody>
          <a:bodyPr lIns="45413" tIns="45413" rIns="45413" bIns="45413">
            <a:spAutoFit/>
          </a:bodyPr>
          <a:lstStyle/>
          <a:p>
            <a:pPr>
              <a:spcBef>
                <a:spcPct val="50000"/>
              </a:spcBef>
            </a:pPr>
            <a:r>
              <a:rPr lang="en-US" sz="1359" b="1" dirty="0">
                <a:latin typeface="Verdana" pitchFamily="34" charset="0"/>
              </a:rPr>
              <a:t>Text</a:t>
            </a:r>
          </a:p>
        </p:txBody>
      </p:sp>
      <p:sp>
        <p:nvSpPr>
          <p:cNvPr id="252987" name="Text Box 62"/>
          <p:cNvSpPr txBox="1">
            <a:spLocks noChangeArrowheads="1"/>
          </p:cNvSpPr>
          <p:nvPr/>
        </p:nvSpPr>
        <p:spPr bwMode="gray">
          <a:xfrm>
            <a:off x="4306390" y="6365100"/>
            <a:ext cx="522210" cy="300386"/>
          </a:xfrm>
          <a:prstGeom prst="rect">
            <a:avLst/>
          </a:prstGeom>
          <a:noFill/>
          <a:ln w="19050">
            <a:noFill/>
            <a:miter lim="800000"/>
            <a:headEnd/>
            <a:tailEnd/>
          </a:ln>
        </p:spPr>
        <p:txBody>
          <a:bodyPr wrap="none" lIns="45413" tIns="45413" rIns="45413" bIns="45413">
            <a:spAutoFit/>
          </a:bodyPr>
          <a:lstStyle/>
          <a:p>
            <a:pPr>
              <a:spcBef>
                <a:spcPct val="50000"/>
              </a:spcBef>
            </a:pPr>
            <a:r>
              <a:rPr lang="en-US" sz="1359" b="1" dirty="0">
                <a:latin typeface="Verdana" pitchFamily="34" charset="0"/>
              </a:rPr>
              <a:t>Text</a:t>
            </a:r>
          </a:p>
        </p:txBody>
      </p:sp>
      <p:sp>
        <p:nvSpPr>
          <p:cNvPr id="252988" name="Text Box 63"/>
          <p:cNvSpPr txBox="1">
            <a:spLocks noChangeArrowheads="1"/>
          </p:cNvSpPr>
          <p:nvPr/>
        </p:nvSpPr>
        <p:spPr bwMode="gray">
          <a:xfrm>
            <a:off x="2414729" y="4003605"/>
            <a:ext cx="520669" cy="300385"/>
          </a:xfrm>
          <a:prstGeom prst="rect">
            <a:avLst/>
          </a:prstGeom>
          <a:noFill/>
          <a:ln w="19050">
            <a:noFill/>
            <a:miter lim="800000"/>
            <a:headEnd/>
            <a:tailEnd/>
          </a:ln>
        </p:spPr>
        <p:txBody>
          <a:bodyPr wrap="none" lIns="45413" tIns="45413" rIns="45413" bIns="45413">
            <a:spAutoFit/>
          </a:bodyPr>
          <a:lstStyle/>
          <a:p>
            <a:pPr>
              <a:spcBef>
                <a:spcPct val="50000"/>
              </a:spcBef>
            </a:pPr>
            <a:r>
              <a:rPr lang="en-US" sz="1359" b="1" dirty="0">
                <a:latin typeface="Verdana" pitchFamily="34" charset="0"/>
              </a:rPr>
              <a:t>Text</a:t>
            </a:r>
          </a:p>
        </p:txBody>
      </p:sp>
      <p:sp>
        <p:nvSpPr>
          <p:cNvPr id="252989" name="Line 64"/>
          <p:cNvSpPr>
            <a:spLocks noChangeShapeType="1"/>
          </p:cNvSpPr>
          <p:nvPr/>
        </p:nvSpPr>
        <p:spPr bwMode="gray">
          <a:xfrm rot="3330868" flipH="1">
            <a:off x="3470701" y="4090639"/>
            <a:ext cx="6027743" cy="0"/>
          </a:xfrm>
          <a:prstGeom prst="line">
            <a:avLst/>
          </a:prstGeom>
          <a:noFill/>
          <a:ln w="19050">
            <a:solidFill>
              <a:schemeClr val="tx1"/>
            </a:solidFill>
            <a:round/>
            <a:headEnd type="triangle" w="med" len="med"/>
            <a:tailEnd type="triangle" w="med" len="med"/>
          </a:ln>
        </p:spPr>
        <p:txBody>
          <a:bodyPr lIns="45413" tIns="45413" rIns="45413" bIns="45413" anchor="ctr"/>
          <a:lstStyle/>
          <a:p>
            <a:endParaRPr lang="en-US" sz="1747" dirty="0">
              <a:latin typeface="Verdana" pitchFamily="34" charset="0"/>
            </a:endParaRPr>
          </a:p>
        </p:txBody>
      </p:sp>
      <p:sp>
        <p:nvSpPr>
          <p:cNvPr id="252990" name="Line 65"/>
          <p:cNvSpPr>
            <a:spLocks noChangeShapeType="1"/>
          </p:cNvSpPr>
          <p:nvPr/>
        </p:nvSpPr>
        <p:spPr bwMode="gray">
          <a:xfrm flipH="1">
            <a:off x="7894075" y="6203353"/>
            <a:ext cx="104750" cy="60077"/>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91" name="Line 66"/>
          <p:cNvSpPr>
            <a:spLocks noChangeShapeType="1"/>
          </p:cNvSpPr>
          <p:nvPr/>
        </p:nvSpPr>
        <p:spPr bwMode="gray">
          <a:xfrm flipH="1">
            <a:off x="7545936" y="5693467"/>
            <a:ext cx="104750"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92" name="Line 67"/>
          <p:cNvSpPr>
            <a:spLocks noChangeShapeType="1"/>
          </p:cNvSpPr>
          <p:nvPr/>
        </p:nvSpPr>
        <p:spPr bwMode="gray">
          <a:xfrm flipH="1">
            <a:off x="7197796" y="5171258"/>
            <a:ext cx="104750" cy="58537"/>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93" name="Line 68"/>
          <p:cNvSpPr>
            <a:spLocks noChangeShapeType="1"/>
          </p:cNvSpPr>
          <p:nvPr/>
        </p:nvSpPr>
        <p:spPr bwMode="gray">
          <a:xfrm flipH="1">
            <a:off x="6851197" y="4673695"/>
            <a:ext cx="103210" cy="6161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94" name="Line 69"/>
          <p:cNvSpPr>
            <a:spLocks noChangeShapeType="1"/>
          </p:cNvSpPr>
          <p:nvPr/>
        </p:nvSpPr>
        <p:spPr bwMode="gray">
          <a:xfrm flipH="1">
            <a:off x="6179565" y="3672409"/>
            <a:ext cx="103210"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95" name="Line 70"/>
          <p:cNvSpPr>
            <a:spLocks noChangeShapeType="1"/>
          </p:cNvSpPr>
          <p:nvPr/>
        </p:nvSpPr>
        <p:spPr bwMode="gray">
          <a:xfrm flipH="1">
            <a:off x="5963903" y="3361241"/>
            <a:ext cx="104750"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96" name="Line 71"/>
          <p:cNvSpPr>
            <a:spLocks noChangeShapeType="1"/>
          </p:cNvSpPr>
          <p:nvPr/>
        </p:nvSpPr>
        <p:spPr bwMode="gray">
          <a:xfrm flipH="1">
            <a:off x="5746702" y="3053152"/>
            <a:ext cx="104750"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97" name="Line 72"/>
          <p:cNvSpPr>
            <a:spLocks noChangeShapeType="1"/>
          </p:cNvSpPr>
          <p:nvPr/>
        </p:nvSpPr>
        <p:spPr bwMode="gray">
          <a:xfrm flipH="1">
            <a:off x="5529499" y="2741983"/>
            <a:ext cx="104750"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98" name="Line 73"/>
          <p:cNvSpPr>
            <a:spLocks noChangeShapeType="1"/>
          </p:cNvSpPr>
          <p:nvPr/>
        </p:nvSpPr>
        <p:spPr bwMode="gray">
          <a:xfrm flipH="1">
            <a:off x="5313838" y="2432355"/>
            <a:ext cx="103210" cy="6161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2999" name="Line 74"/>
          <p:cNvSpPr>
            <a:spLocks noChangeShapeType="1"/>
          </p:cNvSpPr>
          <p:nvPr/>
        </p:nvSpPr>
        <p:spPr bwMode="gray">
          <a:xfrm flipH="1">
            <a:off x="5096636" y="2122726"/>
            <a:ext cx="104750"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3000" name="Line 75"/>
          <p:cNvSpPr>
            <a:spLocks noChangeShapeType="1"/>
          </p:cNvSpPr>
          <p:nvPr/>
        </p:nvSpPr>
        <p:spPr bwMode="gray">
          <a:xfrm flipH="1">
            <a:off x="4880974" y="1814638"/>
            <a:ext cx="103209" cy="60078"/>
          </a:xfrm>
          <a:prstGeom prst="line">
            <a:avLst/>
          </a:prstGeom>
          <a:noFill/>
          <a:ln w="19050">
            <a:solidFill>
              <a:schemeClr val="tx1"/>
            </a:solidFill>
            <a:round/>
            <a:headEnd/>
            <a:tailEnd/>
          </a:ln>
        </p:spPr>
        <p:txBody>
          <a:bodyPr lIns="45413" tIns="45413" rIns="45413" bIns="45413" anchor="ctr"/>
          <a:lstStyle/>
          <a:p>
            <a:endParaRPr lang="en-US" sz="1747" dirty="0">
              <a:latin typeface="Verdana" pitchFamily="34" charset="0"/>
            </a:endParaRPr>
          </a:p>
        </p:txBody>
      </p:sp>
      <p:sp>
        <p:nvSpPr>
          <p:cNvPr id="253001" name="Oval 76"/>
          <p:cNvSpPr>
            <a:spLocks noChangeArrowheads="1"/>
          </p:cNvSpPr>
          <p:nvPr/>
        </p:nvSpPr>
        <p:spPr bwMode="gray">
          <a:xfrm>
            <a:off x="6182646" y="3815670"/>
            <a:ext cx="653147" cy="651606"/>
          </a:xfrm>
          <a:prstGeom prst="ellipse">
            <a:avLst/>
          </a:prstGeom>
          <a:solidFill>
            <a:schemeClr val="accent1"/>
          </a:solidFill>
          <a:ln w="19050">
            <a:solidFill>
              <a:srgbClr val="FFFFFF"/>
            </a:solidFill>
            <a:round/>
            <a:headEnd/>
            <a:tailEnd/>
          </a:ln>
        </p:spPr>
        <p:txBody>
          <a:bodyPr wrap="none" lIns="45413" tIns="45413" rIns="45413" bIns="45413" anchor="ctr"/>
          <a:lstStyle/>
          <a:p>
            <a:pPr algn="ctr">
              <a:spcBef>
                <a:spcPct val="50000"/>
              </a:spcBef>
            </a:pPr>
            <a:r>
              <a:rPr lang="en-US" sz="776" b="1" dirty="0">
                <a:latin typeface="Verdana" pitchFamily="34" charset="0"/>
              </a:rPr>
              <a:t>Text</a:t>
            </a:r>
          </a:p>
        </p:txBody>
      </p:sp>
      <p:sp>
        <p:nvSpPr>
          <p:cNvPr id="2" name="BainBulletsConfiguration" hidden="1"/>
          <p:cNvSpPr txBox="1"/>
          <p:nvPr/>
        </p:nvSpPr>
        <p:spPr>
          <a:xfrm>
            <a:off x="1712288" y="12323"/>
            <a:ext cx="8626466" cy="107722"/>
          </a:xfrm>
          <a:prstGeom prst="rect">
            <a:avLst/>
          </a:prstGeom>
          <a:noFill/>
        </p:spPr>
        <p:txBody>
          <a:bodyPr vert="horz" wrap="square" lIns="44365" rIns="44365" rtlCol="0">
            <a:spAutoFit/>
          </a:bodyPr>
          <a:lstStyle/>
          <a:p>
            <a:endParaRPr lang="en-CA" sz="100" dirty="0">
              <a:solidFill>
                <a:srgbClr val="FFFFFF"/>
              </a:solidFill>
            </a:endParaRPr>
          </a:p>
        </p:txBody>
      </p:sp>
    </p:spTree>
    <p:extLst>
      <p:ext uri="{BB962C8B-B14F-4D97-AF65-F5344CB8AC3E}">
        <p14:creationId xmlns:p14="http://schemas.microsoft.com/office/powerpoint/2010/main" val="967491810"/>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rget strategies</a:t>
            </a:r>
            <a:endParaRPr lang="en-US" dirty="0"/>
          </a:p>
        </p:txBody>
      </p:sp>
      <p:grpSp>
        <p:nvGrpSpPr>
          <p:cNvPr id="36" name="Group 35"/>
          <p:cNvGrpSpPr/>
          <p:nvPr>
            <p:custDataLst>
              <p:tags r:id="rId1"/>
            </p:custDataLst>
          </p:nvPr>
        </p:nvGrpSpPr>
        <p:grpSpPr>
          <a:xfrm>
            <a:off x="10598123" y="3518909"/>
            <a:ext cx="1009308" cy="1009571"/>
            <a:chOff x="16793639" y="9032323"/>
            <a:chExt cx="1529720" cy="1530119"/>
          </a:xfrm>
        </p:grpSpPr>
        <p:sp>
          <p:nvSpPr>
            <p:cNvPr id="3" name="Oval 2"/>
            <p:cNvSpPr/>
            <p:nvPr/>
          </p:nvSpPr>
          <p:spPr bwMode="auto">
            <a:xfrm>
              <a:off x="16793639" y="9032323"/>
              <a:ext cx="1529720" cy="1530119"/>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984">
                <a:defRPr/>
              </a:pPr>
              <a:endParaRPr lang="en-US" dirty="0">
                <a:latin typeface="Calibri Light"/>
              </a:endParaRPr>
            </a:p>
          </p:txBody>
        </p:sp>
        <p:sp>
          <p:nvSpPr>
            <p:cNvPr id="4" name="Freeform 127"/>
            <p:cNvSpPr>
              <a:spLocks noChangeArrowheads="1"/>
            </p:cNvSpPr>
            <p:nvPr/>
          </p:nvSpPr>
          <p:spPr bwMode="auto">
            <a:xfrm>
              <a:off x="17166707" y="9458650"/>
              <a:ext cx="828417" cy="667132"/>
            </a:xfrm>
            <a:custGeom>
              <a:avLst/>
              <a:gdLst>
                <a:gd name="T0" fmla="*/ 169 w 497"/>
                <a:gd name="T1" fmla="*/ 196 h 400"/>
                <a:gd name="T2" fmla="*/ 169 w 497"/>
                <a:gd name="T3" fmla="*/ 196 h 400"/>
                <a:gd name="T4" fmla="*/ 248 w 497"/>
                <a:gd name="T5" fmla="*/ 275 h 400"/>
                <a:gd name="T6" fmla="*/ 328 w 497"/>
                <a:gd name="T7" fmla="*/ 196 h 400"/>
                <a:gd name="T8" fmla="*/ 248 w 497"/>
                <a:gd name="T9" fmla="*/ 116 h 400"/>
                <a:gd name="T10" fmla="*/ 169 w 497"/>
                <a:gd name="T11" fmla="*/ 196 h 400"/>
                <a:gd name="T12" fmla="*/ 116 w 497"/>
                <a:gd name="T13" fmla="*/ 169 h 400"/>
                <a:gd name="T14" fmla="*/ 116 w 497"/>
                <a:gd name="T15" fmla="*/ 169 h 400"/>
                <a:gd name="T16" fmla="*/ 248 w 497"/>
                <a:gd name="T17" fmla="*/ 63 h 400"/>
                <a:gd name="T18" fmla="*/ 345 w 497"/>
                <a:gd name="T19" fmla="*/ 98 h 400"/>
                <a:gd name="T20" fmla="*/ 390 w 497"/>
                <a:gd name="T21" fmla="*/ 98 h 400"/>
                <a:gd name="T22" fmla="*/ 390 w 497"/>
                <a:gd name="T23" fmla="*/ 54 h 400"/>
                <a:gd name="T24" fmla="*/ 248 w 497"/>
                <a:gd name="T25" fmla="*/ 0 h 400"/>
                <a:gd name="T26" fmla="*/ 62 w 497"/>
                <a:gd name="T27" fmla="*/ 143 h 400"/>
                <a:gd name="T28" fmla="*/ 0 w 497"/>
                <a:gd name="T29" fmla="*/ 143 h 400"/>
                <a:gd name="T30" fmla="*/ 0 w 497"/>
                <a:gd name="T31" fmla="*/ 196 h 400"/>
                <a:gd name="T32" fmla="*/ 80 w 497"/>
                <a:gd name="T33" fmla="*/ 196 h 400"/>
                <a:gd name="T34" fmla="*/ 116 w 497"/>
                <a:gd name="T35" fmla="*/ 169 h 400"/>
                <a:gd name="T36" fmla="*/ 416 w 497"/>
                <a:gd name="T37" fmla="*/ 196 h 400"/>
                <a:gd name="T38" fmla="*/ 416 w 497"/>
                <a:gd name="T39" fmla="*/ 196 h 400"/>
                <a:gd name="T40" fmla="*/ 381 w 497"/>
                <a:gd name="T41" fmla="*/ 231 h 400"/>
                <a:gd name="T42" fmla="*/ 248 w 497"/>
                <a:gd name="T43" fmla="*/ 337 h 400"/>
                <a:gd name="T44" fmla="*/ 151 w 497"/>
                <a:gd name="T45" fmla="*/ 293 h 400"/>
                <a:gd name="T46" fmla="*/ 107 w 497"/>
                <a:gd name="T47" fmla="*/ 293 h 400"/>
                <a:gd name="T48" fmla="*/ 107 w 497"/>
                <a:gd name="T49" fmla="*/ 337 h 400"/>
                <a:gd name="T50" fmla="*/ 248 w 497"/>
                <a:gd name="T51" fmla="*/ 399 h 400"/>
                <a:gd name="T52" fmla="*/ 435 w 497"/>
                <a:gd name="T53" fmla="*/ 257 h 400"/>
                <a:gd name="T54" fmla="*/ 496 w 497"/>
                <a:gd name="T55" fmla="*/ 257 h 400"/>
                <a:gd name="T56" fmla="*/ 496 w 497"/>
                <a:gd name="T57" fmla="*/ 196 h 400"/>
                <a:gd name="T58" fmla="*/ 416 w 497"/>
                <a:gd name="T59" fmla="*/ 19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7" h="400">
                  <a:moveTo>
                    <a:pt x="169" y="196"/>
                  </a:moveTo>
                  <a:lnTo>
                    <a:pt x="169" y="196"/>
                  </a:lnTo>
                  <a:cubicBezTo>
                    <a:pt x="169" y="240"/>
                    <a:pt x="204" y="275"/>
                    <a:pt x="248" y="275"/>
                  </a:cubicBezTo>
                  <a:cubicBezTo>
                    <a:pt x="292" y="275"/>
                    <a:pt x="328" y="240"/>
                    <a:pt x="328" y="196"/>
                  </a:cubicBezTo>
                  <a:cubicBezTo>
                    <a:pt x="328" y="151"/>
                    <a:pt x="292" y="116"/>
                    <a:pt x="248" y="116"/>
                  </a:cubicBezTo>
                  <a:cubicBezTo>
                    <a:pt x="204" y="116"/>
                    <a:pt x="169" y="151"/>
                    <a:pt x="169" y="196"/>
                  </a:cubicBezTo>
                  <a:close/>
                  <a:moveTo>
                    <a:pt x="116" y="169"/>
                  </a:moveTo>
                  <a:lnTo>
                    <a:pt x="116" y="169"/>
                  </a:lnTo>
                  <a:cubicBezTo>
                    <a:pt x="124" y="107"/>
                    <a:pt x="186" y="63"/>
                    <a:pt x="248" y="63"/>
                  </a:cubicBezTo>
                  <a:cubicBezTo>
                    <a:pt x="284" y="63"/>
                    <a:pt x="319" y="71"/>
                    <a:pt x="345" y="98"/>
                  </a:cubicBezTo>
                  <a:cubicBezTo>
                    <a:pt x="354" y="107"/>
                    <a:pt x="381" y="107"/>
                    <a:pt x="390" y="98"/>
                  </a:cubicBezTo>
                  <a:cubicBezTo>
                    <a:pt x="399" y="89"/>
                    <a:pt x="399" y="71"/>
                    <a:pt x="390" y="54"/>
                  </a:cubicBezTo>
                  <a:cubicBezTo>
                    <a:pt x="354" y="18"/>
                    <a:pt x="301" y="0"/>
                    <a:pt x="248" y="0"/>
                  </a:cubicBezTo>
                  <a:cubicBezTo>
                    <a:pt x="160" y="0"/>
                    <a:pt x="80" y="54"/>
                    <a:pt x="62" y="143"/>
                  </a:cubicBezTo>
                  <a:cubicBezTo>
                    <a:pt x="0" y="143"/>
                    <a:pt x="0" y="143"/>
                    <a:pt x="0" y="143"/>
                  </a:cubicBezTo>
                  <a:cubicBezTo>
                    <a:pt x="0" y="196"/>
                    <a:pt x="0" y="196"/>
                    <a:pt x="0" y="196"/>
                  </a:cubicBezTo>
                  <a:cubicBezTo>
                    <a:pt x="80" y="196"/>
                    <a:pt x="80" y="196"/>
                    <a:pt x="80" y="196"/>
                  </a:cubicBezTo>
                  <a:cubicBezTo>
                    <a:pt x="107" y="196"/>
                    <a:pt x="107" y="178"/>
                    <a:pt x="116" y="169"/>
                  </a:cubicBezTo>
                  <a:close/>
                  <a:moveTo>
                    <a:pt x="416" y="196"/>
                  </a:moveTo>
                  <a:lnTo>
                    <a:pt x="416" y="196"/>
                  </a:lnTo>
                  <a:cubicBezTo>
                    <a:pt x="390" y="196"/>
                    <a:pt x="390" y="222"/>
                    <a:pt x="381" y="231"/>
                  </a:cubicBezTo>
                  <a:cubicBezTo>
                    <a:pt x="372" y="293"/>
                    <a:pt x="319" y="337"/>
                    <a:pt x="248" y="337"/>
                  </a:cubicBezTo>
                  <a:cubicBezTo>
                    <a:pt x="213" y="337"/>
                    <a:pt x="177" y="319"/>
                    <a:pt x="151" y="293"/>
                  </a:cubicBezTo>
                  <a:cubicBezTo>
                    <a:pt x="142" y="284"/>
                    <a:pt x="116" y="284"/>
                    <a:pt x="107" y="293"/>
                  </a:cubicBezTo>
                  <a:cubicBezTo>
                    <a:pt x="97" y="310"/>
                    <a:pt x="97" y="328"/>
                    <a:pt x="107" y="337"/>
                  </a:cubicBezTo>
                  <a:cubicBezTo>
                    <a:pt x="142" y="373"/>
                    <a:pt x="195" y="399"/>
                    <a:pt x="248" y="399"/>
                  </a:cubicBezTo>
                  <a:cubicBezTo>
                    <a:pt x="337" y="399"/>
                    <a:pt x="416" y="337"/>
                    <a:pt x="435" y="257"/>
                  </a:cubicBezTo>
                  <a:cubicBezTo>
                    <a:pt x="496" y="257"/>
                    <a:pt x="496" y="257"/>
                    <a:pt x="496" y="257"/>
                  </a:cubicBezTo>
                  <a:cubicBezTo>
                    <a:pt x="496" y="196"/>
                    <a:pt x="496" y="196"/>
                    <a:pt x="496" y="196"/>
                  </a:cubicBezTo>
                  <a:lnTo>
                    <a:pt x="416" y="196"/>
                  </a:ln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33" name="Group 32"/>
          <p:cNvGrpSpPr/>
          <p:nvPr>
            <p:custDataLst>
              <p:tags r:id="rId2"/>
            </p:custDataLst>
          </p:nvPr>
        </p:nvGrpSpPr>
        <p:grpSpPr>
          <a:xfrm>
            <a:off x="1233857" y="3518909"/>
            <a:ext cx="1009308" cy="1009571"/>
            <a:chOff x="6016889" y="9009754"/>
            <a:chExt cx="1529720" cy="1530119"/>
          </a:xfrm>
        </p:grpSpPr>
        <p:sp>
          <p:nvSpPr>
            <p:cNvPr id="5" name="Oval 4"/>
            <p:cNvSpPr/>
            <p:nvPr/>
          </p:nvSpPr>
          <p:spPr bwMode="auto">
            <a:xfrm>
              <a:off x="6016889" y="9009754"/>
              <a:ext cx="1529720" cy="153011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984">
                <a:defRPr/>
              </a:pPr>
              <a:endParaRPr lang="en-US" dirty="0">
                <a:latin typeface="Calibri Light"/>
              </a:endParaRPr>
            </a:p>
          </p:txBody>
        </p:sp>
        <p:sp>
          <p:nvSpPr>
            <p:cNvPr id="6" name="Freeform 36"/>
            <p:cNvSpPr>
              <a:spLocks noChangeArrowheads="1"/>
            </p:cNvSpPr>
            <p:nvPr/>
          </p:nvSpPr>
          <p:spPr bwMode="auto">
            <a:xfrm>
              <a:off x="6513721" y="9420673"/>
              <a:ext cx="545389" cy="709746"/>
            </a:xfrm>
            <a:custGeom>
              <a:avLst/>
              <a:gdLst>
                <a:gd name="T0" fmla="*/ 115 w 320"/>
                <a:gd name="T1" fmla="*/ 62 h 417"/>
                <a:gd name="T2" fmla="*/ 115 w 320"/>
                <a:gd name="T3" fmla="*/ 62 h 417"/>
                <a:gd name="T4" fmla="*/ 62 w 320"/>
                <a:gd name="T5" fmla="*/ 0 h 417"/>
                <a:gd name="T6" fmla="*/ 0 w 320"/>
                <a:gd name="T7" fmla="*/ 62 h 417"/>
                <a:gd name="T8" fmla="*/ 36 w 320"/>
                <a:gd name="T9" fmla="*/ 115 h 417"/>
                <a:gd name="T10" fmla="*/ 36 w 320"/>
                <a:gd name="T11" fmla="*/ 301 h 417"/>
                <a:gd name="T12" fmla="*/ 0 w 320"/>
                <a:gd name="T13" fmla="*/ 354 h 417"/>
                <a:gd name="T14" fmla="*/ 62 w 320"/>
                <a:gd name="T15" fmla="*/ 416 h 417"/>
                <a:gd name="T16" fmla="*/ 115 w 320"/>
                <a:gd name="T17" fmla="*/ 354 h 417"/>
                <a:gd name="T18" fmla="*/ 80 w 320"/>
                <a:gd name="T19" fmla="*/ 301 h 417"/>
                <a:gd name="T20" fmla="*/ 80 w 320"/>
                <a:gd name="T21" fmla="*/ 115 h 417"/>
                <a:gd name="T22" fmla="*/ 115 w 320"/>
                <a:gd name="T23" fmla="*/ 62 h 417"/>
                <a:gd name="T24" fmla="*/ 98 w 320"/>
                <a:gd name="T25" fmla="*/ 354 h 417"/>
                <a:gd name="T26" fmla="*/ 98 w 320"/>
                <a:gd name="T27" fmla="*/ 354 h 417"/>
                <a:gd name="T28" fmla="*/ 62 w 320"/>
                <a:gd name="T29" fmla="*/ 390 h 417"/>
                <a:gd name="T30" fmla="*/ 27 w 320"/>
                <a:gd name="T31" fmla="*/ 354 h 417"/>
                <a:gd name="T32" fmla="*/ 62 w 320"/>
                <a:gd name="T33" fmla="*/ 319 h 417"/>
                <a:gd name="T34" fmla="*/ 98 w 320"/>
                <a:gd name="T35" fmla="*/ 354 h 417"/>
                <a:gd name="T36" fmla="*/ 62 w 320"/>
                <a:gd name="T37" fmla="*/ 88 h 417"/>
                <a:gd name="T38" fmla="*/ 62 w 320"/>
                <a:gd name="T39" fmla="*/ 88 h 417"/>
                <a:gd name="T40" fmla="*/ 27 w 320"/>
                <a:gd name="T41" fmla="*/ 62 h 417"/>
                <a:gd name="T42" fmla="*/ 62 w 320"/>
                <a:gd name="T43" fmla="*/ 27 h 417"/>
                <a:gd name="T44" fmla="*/ 98 w 320"/>
                <a:gd name="T45" fmla="*/ 62 h 417"/>
                <a:gd name="T46" fmla="*/ 62 w 320"/>
                <a:gd name="T47" fmla="*/ 88 h 417"/>
                <a:gd name="T48" fmla="*/ 284 w 320"/>
                <a:gd name="T49" fmla="*/ 301 h 417"/>
                <a:gd name="T50" fmla="*/ 284 w 320"/>
                <a:gd name="T51" fmla="*/ 301 h 417"/>
                <a:gd name="T52" fmla="*/ 284 w 320"/>
                <a:gd name="T53" fmla="*/ 115 h 417"/>
                <a:gd name="T54" fmla="*/ 319 w 320"/>
                <a:gd name="T55" fmla="*/ 62 h 417"/>
                <a:gd name="T56" fmla="*/ 257 w 320"/>
                <a:gd name="T57" fmla="*/ 0 h 417"/>
                <a:gd name="T58" fmla="*/ 195 w 320"/>
                <a:gd name="T59" fmla="*/ 62 h 417"/>
                <a:gd name="T60" fmla="*/ 239 w 320"/>
                <a:gd name="T61" fmla="*/ 115 h 417"/>
                <a:gd name="T62" fmla="*/ 239 w 320"/>
                <a:gd name="T63" fmla="*/ 301 h 417"/>
                <a:gd name="T64" fmla="*/ 195 w 320"/>
                <a:gd name="T65" fmla="*/ 354 h 417"/>
                <a:gd name="T66" fmla="*/ 257 w 320"/>
                <a:gd name="T67" fmla="*/ 416 h 417"/>
                <a:gd name="T68" fmla="*/ 319 w 320"/>
                <a:gd name="T69" fmla="*/ 354 h 417"/>
                <a:gd name="T70" fmla="*/ 284 w 320"/>
                <a:gd name="T71" fmla="*/ 301 h 417"/>
                <a:gd name="T72" fmla="*/ 221 w 320"/>
                <a:gd name="T73" fmla="*/ 62 h 417"/>
                <a:gd name="T74" fmla="*/ 221 w 320"/>
                <a:gd name="T75" fmla="*/ 62 h 417"/>
                <a:gd name="T76" fmla="*/ 257 w 320"/>
                <a:gd name="T77" fmla="*/ 27 h 417"/>
                <a:gd name="T78" fmla="*/ 292 w 320"/>
                <a:gd name="T79" fmla="*/ 62 h 417"/>
                <a:gd name="T80" fmla="*/ 257 w 320"/>
                <a:gd name="T81" fmla="*/ 88 h 417"/>
                <a:gd name="T82" fmla="*/ 221 w 320"/>
                <a:gd name="T83" fmla="*/ 62 h 417"/>
                <a:gd name="T84" fmla="*/ 257 w 320"/>
                <a:gd name="T85" fmla="*/ 390 h 417"/>
                <a:gd name="T86" fmla="*/ 257 w 320"/>
                <a:gd name="T87" fmla="*/ 390 h 417"/>
                <a:gd name="T88" fmla="*/ 221 w 320"/>
                <a:gd name="T89" fmla="*/ 354 h 417"/>
                <a:gd name="T90" fmla="*/ 257 w 320"/>
                <a:gd name="T91" fmla="*/ 319 h 417"/>
                <a:gd name="T92" fmla="*/ 292 w 320"/>
                <a:gd name="T93" fmla="*/ 354 h 417"/>
                <a:gd name="T94" fmla="*/ 257 w 320"/>
                <a:gd name="T95" fmla="*/ 39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0" h="417">
                  <a:moveTo>
                    <a:pt x="115" y="62"/>
                  </a:moveTo>
                  <a:lnTo>
                    <a:pt x="115" y="62"/>
                  </a:lnTo>
                  <a:cubicBezTo>
                    <a:pt x="115" y="27"/>
                    <a:pt x="89" y="0"/>
                    <a:pt x="62" y="0"/>
                  </a:cubicBezTo>
                  <a:cubicBezTo>
                    <a:pt x="27" y="0"/>
                    <a:pt x="0" y="27"/>
                    <a:pt x="0" y="62"/>
                  </a:cubicBezTo>
                  <a:cubicBezTo>
                    <a:pt x="0" y="80"/>
                    <a:pt x="18" y="106"/>
                    <a:pt x="36" y="115"/>
                  </a:cubicBezTo>
                  <a:cubicBezTo>
                    <a:pt x="36" y="301"/>
                    <a:pt x="36" y="301"/>
                    <a:pt x="36" y="301"/>
                  </a:cubicBezTo>
                  <a:cubicBezTo>
                    <a:pt x="18" y="310"/>
                    <a:pt x="0" y="328"/>
                    <a:pt x="0" y="354"/>
                  </a:cubicBezTo>
                  <a:cubicBezTo>
                    <a:pt x="0" y="390"/>
                    <a:pt x="27" y="416"/>
                    <a:pt x="62" y="416"/>
                  </a:cubicBezTo>
                  <a:cubicBezTo>
                    <a:pt x="89" y="416"/>
                    <a:pt x="115" y="390"/>
                    <a:pt x="115" y="354"/>
                  </a:cubicBezTo>
                  <a:cubicBezTo>
                    <a:pt x="115" y="328"/>
                    <a:pt x="106" y="310"/>
                    <a:pt x="80" y="301"/>
                  </a:cubicBezTo>
                  <a:cubicBezTo>
                    <a:pt x="80" y="115"/>
                    <a:pt x="80" y="115"/>
                    <a:pt x="80" y="115"/>
                  </a:cubicBezTo>
                  <a:cubicBezTo>
                    <a:pt x="106" y="106"/>
                    <a:pt x="115" y="80"/>
                    <a:pt x="115" y="62"/>
                  </a:cubicBezTo>
                  <a:close/>
                  <a:moveTo>
                    <a:pt x="98" y="354"/>
                  </a:moveTo>
                  <a:lnTo>
                    <a:pt x="98" y="354"/>
                  </a:lnTo>
                  <a:cubicBezTo>
                    <a:pt x="98" y="372"/>
                    <a:pt x="80" y="390"/>
                    <a:pt x="62" y="390"/>
                  </a:cubicBezTo>
                  <a:cubicBezTo>
                    <a:pt x="44" y="390"/>
                    <a:pt x="27" y="372"/>
                    <a:pt x="27" y="354"/>
                  </a:cubicBezTo>
                  <a:cubicBezTo>
                    <a:pt x="27" y="337"/>
                    <a:pt x="44" y="319"/>
                    <a:pt x="62" y="319"/>
                  </a:cubicBezTo>
                  <a:cubicBezTo>
                    <a:pt x="80" y="319"/>
                    <a:pt x="98" y="337"/>
                    <a:pt x="98" y="354"/>
                  </a:cubicBezTo>
                  <a:close/>
                  <a:moveTo>
                    <a:pt x="62" y="88"/>
                  </a:moveTo>
                  <a:lnTo>
                    <a:pt x="62" y="88"/>
                  </a:lnTo>
                  <a:cubicBezTo>
                    <a:pt x="44" y="88"/>
                    <a:pt x="27" y="80"/>
                    <a:pt x="27" y="62"/>
                  </a:cubicBezTo>
                  <a:cubicBezTo>
                    <a:pt x="27" y="35"/>
                    <a:pt x="44" y="27"/>
                    <a:pt x="62" y="27"/>
                  </a:cubicBezTo>
                  <a:cubicBezTo>
                    <a:pt x="80" y="27"/>
                    <a:pt x="98" y="35"/>
                    <a:pt x="98" y="62"/>
                  </a:cubicBezTo>
                  <a:cubicBezTo>
                    <a:pt x="98" y="80"/>
                    <a:pt x="80" y="88"/>
                    <a:pt x="62" y="88"/>
                  </a:cubicBezTo>
                  <a:close/>
                  <a:moveTo>
                    <a:pt x="284" y="301"/>
                  </a:moveTo>
                  <a:lnTo>
                    <a:pt x="284" y="301"/>
                  </a:lnTo>
                  <a:cubicBezTo>
                    <a:pt x="284" y="115"/>
                    <a:pt x="284" y="115"/>
                    <a:pt x="284" y="115"/>
                  </a:cubicBezTo>
                  <a:cubicBezTo>
                    <a:pt x="302" y="106"/>
                    <a:pt x="319" y="80"/>
                    <a:pt x="319" y="62"/>
                  </a:cubicBezTo>
                  <a:cubicBezTo>
                    <a:pt x="319" y="27"/>
                    <a:pt x="292" y="0"/>
                    <a:pt x="257" y="0"/>
                  </a:cubicBezTo>
                  <a:cubicBezTo>
                    <a:pt x="221" y="0"/>
                    <a:pt x="195" y="27"/>
                    <a:pt x="195" y="62"/>
                  </a:cubicBezTo>
                  <a:cubicBezTo>
                    <a:pt x="195" y="80"/>
                    <a:pt x="212" y="106"/>
                    <a:pt x="239" y="115"/>
                  </a:cubicBezTo>
                  <a:cubicBezTo>
                    <a:pt x="239" y="301"/>
                    <a:pt x="239" y="301"/>
                    <a:pt x="239" y="301"/>
                  </a:cubicBezTo>
                  <a:cubicBezTo>
                    <a:pt x="212" y="310"/>
                    <a:pt x="195" y="328"/>
                    <a:pt x="195" y="354"/>
                  </a:cubicBezTo>
                  <a:cubicBezTo>
                    <a:pt x="195" y="390"/>
                    <a:pt x="221" y="416"/>
                    <a:pt x="257" y="416"/>
                  </a:cubicBezTo>
                  <a:cubicBezTo>
                    <a:pt x="292" y="416"/>
                    <a:pt x="319" y="390"/>
                    <a:pt x="319" y="354"/>
                  </a:cubicBezTo>
                  <a:cubicBezTo>
                    <a:pt x="319" y="328"/>
                    <a:pt x="302" y="310"/>
                    <a:pt x="284" y="301"/>
                  </a:cubicBezTo>
                  <a:close/>
                  <a:moveTo>
                    <a:pt x="221" y="62"/>
                  </a:moveTo>
                  <a:lnTo>
                    <a:pt x="221" y="62"/>
                  </a:lnTo>
                  <a:cubicBezTo>
                    <a:pt x="221" y="35"/>
                    <a:pt x="239" y="27"/>
                    <a:pt x="257" y="27"/>
                  </a:cubicBezTo>
                  <a:cubicBezTo>
                    <a:pt x="275" y="27"/>
                    <a:pt x="292" y="35"/>
                    <a:pt x="292" y="62"/>
                  </a:cubicBezTo>
                  <a:cubicBezTo>
                    <a:pt x="292" y="80"/>
                    <a:pt x="275" y="88"/>
                    <a:pt x="257" y="88"/>
                  </a:cubicBezTo>
                  <a:cubicBezTo>
                    <a:pt x="239" y="88"/>
                    <a:pt x="221" y="80"/>
                    <a:pt x="221" y="62"/>
                  </a:cubicBezTo>
                  <a:close/>
                  <a:moveTo>
                    <a:pt x="257" y="390"/>
                  </a:moveTo>
                  <a:lnTo>
                    <a:pt x="257" y="390"/>
                  </a:lnTo>
                  <a:cubicBezTo>
                    <a:pt x="239" y="390"/>
                    <a:pt x="221" y="372"/>
                    <a:pt x="221" y="354"/>
                  </a:cubicBezTo>
                  <a:cubicBezTo>
                    <a:pt x="221" y="337"/>
                    <a:pt x="239" y="319"/>
                    <a:pt x="257" y="319"/>
                  </a:cubicBezTo>
                  <a:cubicBezTo>
                    <a:pt x="275" y="319"/>
                    <a:pt x="292" y="337"/>
                    <a:pt x="292" y="354"/>
                  </a:cubicBezTo>
                  <a:cubicBezTo>
                    <a:pt x="292" y="372"/>
                    <a:pt x="275" y="390"/>
                    <a:pt x="257" y="390"/>
                  </a:cubicBezTo>
                  <a:close/>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sp>
        <p:nvSpPr>
          <p:cNvPr id="7" name="TextBox 6"/>
          <p:cNvSpPr txBox="1"/>
          <p:nvPr/>
        </p:nvSpPr>
        <p:spPr>
          <a:xfrm>
            <a:off x="1086374" y="4701310"/>
            <a:ext cx="1218849" cy="430851"/>
          </a:xfrm>
          <a:prstGeom prst="rect">
            <a:avLst/>
          </a:prstGeom>
          <a:noFill/>
        </p:spPr>
        <p:txBody>
          <a:bodyPr wrap="none" lIns="182843" tIns="91422" rIns="182843" bIns="91422" rtlCol="0">
            <a:spAutoFit/>
          </a:bodyPr>
          <a:lstStyle/>
          <a:p>
            <a:pPr algn="ctr"/>
            <a:r>
              <a:rPr lang="id-ID" sz="1600" b="1" dirty="0" smtClean="0">
                <a:latin typeface="+mj-lt"/>
                <a:cs typeface="Lato Regular"/>
              </a:rPr>
              <a:t>Business</a:t>
            </a:r>
            <a:endParaRPr lang="id-ID" sz="3600" b="1" dirty="0">
              <a:latin typeface="+mj-lt"/>
              <a:cs typeface="Lato Regular"/>
            </a:endParaRPr>
          </a:p>
        </p:txBody>
      </p:sp>
      <p:sp>
        <p:nvSpPr>
          <p:cNvPr id="8" name="TextBox 7"/>
          <p:cNvSpPr txBox="1"/>
          <p:nvPr/>
        </p:nvSpPr>
        <p:spPr>
          <a:xfrm>
            <a:off x="560406" y="5243436"/>
            <a:ext cx="2356211" cy="701694"/>
          </a:xfrm>
          <a:prstGeom prst="rect">
            <a:avLst/>
          </a:prstGeom>
          <a:noFill/>
        </p:spPr>
        <p:txBody>
          <a:bodyPr wrap="square" lIns="182843" tIns="91422" rIns="182843" bIns="91422" rtlCol="0">
            <a:spAutoFit/>
          </a:bodyPr>
          <a:lstStyle/>
          <a:p>
            <a:pPr algn="ctr" defTabSz="647570">
              <a:lnSpc>
                <a:spcPct val="120000"/>
              </a:lnSpc>
              <a:spcBef>
                <a:spcPts val="1700"/>
              </a:spcBef>
              <a:defRPr/>
            </a:pPr>
            <a:r>
              <a:rPr lang="en-US" sz="1400" dirty="0">
                <a:latin typeface="+mj-lt"/>
                <a:ea typeface="Roboto Light" pitchFamily="2" charset="0"/>
                <a:cs typeface="Calibri Light"/>
              </a:rPr>
              <a:t>Creativity is the key to success </a:t>
            </a:r>
            <a:r>
              <a:rPr lang="en-US" sz="1400" dirty="0">
                <a:latin typeface="+mj-lt"/>
                <a:ea typeface="Roboto Light" pitchFamily="2" charset="0"/>
                <a:cs typeface="Lato Regular"/>
              </a:rPr>
              <a:t>Lorem </a:t>
            </a:r>
            <a:r>
              <a:rPr lang="en-US" sz="1400" dirty="0" smtClean="0">
                <a:latin typeface="+mj-lt"/>
                <a:ea typeface="Roboto Light" pitchFamily="2" charset="0"/>
                <a:cs typeface="Lato Regular"/>
              </a:rPr>
              <a:t>ipsum</a:t>
            </a:r>
            <a:endParaRPr lang="es-ES" sz="1400" dirty="0">
              <a:latin typeface="+mj-lt"/>
              <a:ea typeface="Roboto Light" pitchFamily="2" charset="0"/>
              <a:cs typeface="Calibri Light"/>
            </a:endParaRPr>
          </a:p>
        </p:txBody>
      </p:sp>
      <p:grpSp>
        <p:nvGrpSpPr>
          <p:cNvPr id="34" name="Group 33"/>
          <p:cNvGrpSpPr/>
          <p:nvPr>
            <p:custDataLst>
              <p:tags r:id="rId3"/>
            </p:custDataLst>
          </p:nvPr>
        </p:nvGrpSpPr>
        <p:grpSpPr>
          <a:xfrm>
            <a:off x="4355279" y="3518909"/>
            <a:ext cx="1009308" cy="1009571"/>
            <a:chOff x="9630212" y="9009754"/>
            <a:chExt cx="1529720" cy="1530119"/>
          </a:xfrm>
        </p:grpSpPr>
        <p:sp>
          <p:nvSpPr>
            <p:cNvPr id="9" name="Oval 8"/>
            <p:cNvSpPr/>
            <p:nvPr/>
          </p:nvSpPr>
          <p:spPr bwMode="auto">
            <a:xfrm>
              <a:off x="9630212" y="9009754"/>
              <a:ext cx="1529720" cy="1530119"/>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984">
                <a:defRPr/>
              </a:pPr>
              <a:endParaRPr lang="en-US" dirty="0">
                <a:latin typeface="Calibri Light"/>
              </a:endParaRPr>
            </a:p>
          </p:txBody>
        </p:sp>
        <p:sp>
          <p:nvSpPr>
            <p:cNvPr id="10" name="Freeform 39"/>
            <p:cNvSpPr>
              <a:spLocks noChangeArrowheads="1"/>
            </p:cNvSpPr>
            <p:nvPr/>
          </p:nvSpPr>
          <p:spPr bwMode="auto">
            <a:xfrm>
              <a:off x="10070536" y="9425552"/>
              <a:ext cx="632624" cy="632629"/>
            </a:xfrm>
            <a:custGeom>
              <a:avLst/>
              <a:gdLst>
                <a:gd name="T0" fmla="*/ 399 w 444"/>
                <a:gd name="T1" fmla="*/ 53 h 444"/>
                <a:gd name="T2" fmla="*/ 399 w 444"/>
                <a:gd name="T3" fmla="*/ 53 h 444"/>
                <a:gd name="T4" fmla="*/ 372 w 444"/>
                <a:gd name="T5" fmla="*/ 53 h 444"/>
                <a:gd name="T6" fmla="*/ 372 w 444"/>
                <a:gd name="T7" fmla="*/ 98 h 444"/>
                <a:gd name="T8" fmla="*/ 293 w 444"/>
                <a:gd name="T9" fmla="*/ 98 h 444"/>
                <a:gd name="T10" fmla="*/ 293 w 444"/>
                <a:gd name="T11" fmla="*/ 53 h 444"/>
                <a:gd name="T12" fmla="*/ 151 w 444"/>
                <a:gd name="T13" fmla="*/ 53 h 444"/>
                <a:gd name="T14" fmla="*/ 151 w 444"/>
                <a:gd name="T15" fmla="*/ 98 h 444"/>
                <a:gd name="T16" fmla="*/ 71 w 444"/>
                <a:gd name="T17" fmla="*/ 98 h 444"/>
                <a:gd name="T18" fmla="*/ 71 w 444"/>
                <a:gd name="T19" fmla="*/ 53 h 444"/>
                <a:gd name="T20" fmla="*/ 45 w 444"/>
                <a:gd name="T21" fmla="*/ 53 h 444"/>
                <a:gd name="T22" fmla="*/ 0 w 444"/>
                <a:gd name="T23" fmla="*/ 98 h 444"/>
                <a:gd name="T24" fmla="*/ 0 w 444"/>
                <a:gd name="T25" fmla="*/ 399 h 444"/>
                <a:gd name="T26" fmla="*/ 45 w 444"/>
                <a:gd name="T27" fmla="*/ 443 h 444"/>
                <a:gd name="T28" fmla="*/ 399 w 444"/>
                <a:gd name="T29" fmla="*/ 443 h 444"/>
                <a:gd name="T30" fmla="*/ 443 w 444"/>
                <a:gd name="T31" fmla="*/ 399 h 444"/>
                <a:gd name="T32" fmla="*/ 443 w 444"/>
                <a:gd name="T33" fmla="*/ 98 h 444"/>
                <a:gd name="T34" fmla="*/ 399 w 444"/>
                <a:gd name="T35" fmla="*/ 53 h 444"/>
                <a:gd name="T36" fmla="*/ 399 w 444"/>
                <a:gd name="T37" fmla="*/ 399 h 444"/>
                <a:gd name="T38" fmla="*/ 399 w 444"/>
                <a:gd name="T39" fmla="*/ 399 h 444"/>
                <a:gd name="T40" fmla="*/ 45 w 444"/>
                <a:gd name="T41" fmla="*/ 399 h 444"/>
                <a:gd name="T42" fmla="*/ 45 w 444"/>
                <a:gd name="T43" fmla="*/ 196 h 444"/>
                <a:gd name="T44" fmla="*/ 399 w 444"/>
                <a:gd name="T45" fmla="*/ 196 h 444"/>
                <a:gd name="T46" fmla="*/ 399 w 444"/>
                <a:gd name="T47" fmla="*/ 399 h 444"/>
                <a:gd name="T48" fmla="*/ 124 w 444"/>
                <a:gd name="T49" fmla="*/ 0 h 444"/>
                <a:gd name="T50" fmla="*/ 124 w 444"/>
                <a:gd name="T51" fmla="*/ 0 h 444"/>
                <a:gd name="T52" fmla="*/ 89 w 444"/>
                <a:gd name="T53" fmla="*/ 0 h 444"/>
                <a:gd name="T54" fmla="*/ 89 w 444"/>
                <a:gd name="T55" fmla="*/ 89 h 444"/>
                <a:gd name="T56" fmla="*/ 124 w 444"/>
                <a:gd name="T57" fmla="*/ 89 h 444"/>
                <a:gd name="T58" fmla="*/ 124 w 444"/>
                <a:gd name="T59" fmla="*/ 0 h 444"/>
                <a:gd name="T60" fmla="*/ 354 w 444"/>
                <a:gd name="T61" fmla="*/ 0 h 444"/>
                <a:gd name="T62" fmla="*/ 354 w 444"/>
                <a:gd name="T63" fmla="*/ 0 h 444"/>
                <a:gd name="T64" fmla="*/ 319 w 444"/>
                <a:gd name="T65" fmla="*/ 0 h 444"/>
                <a:gd name="T66" fmla="*/ 319 w 444"/>
                <a:gd name="T67" fmla="*/ 89 h 444"/>
                <a:gd name="T68" fmla="*/ 354 w 444"/>
                <a:gd name="T69" fmla="*/ 89 h 444"/>
                <a:gd name="T70" fmla="*/ 354 w 444"/>
                <a:gd name="T71"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4" h="444">
                  <a:moveTo>
                    <a:pt x="399" y="53"/>
                  </a:moveTo>
                  <a:lnTo>
                    <a:pt x="399" y="53"/>
                  </a:lnTo>
                  <a:cubicBezTo>
                    <a:pt x="372" y="53"/>
                    <a:pt x="372" y="53"/>
                    <a:pt x="372" y="53"/>
                  </a:cubicBezTo>
                  <a:cubicBezTo>
                    <a:pt x="372" y="98"/>
                    <a:pt x="372" y="98"/>
                    <a:pt x="372" y="98"/>
                  </a:cubicBezTo>
                  <a:cubicBezTo>
                    <a:pt x="293" y="98"/>
                    <a:pt x="293" y="98"/>
                    <a:pt x="293" y="98"/>
                  </a:cubicBezTo>
                  <a:cubicBezTo>
                    <a:pt x="293" y="53"/>
                    <a:pt x="293" y="53"/>
                    <a:pt x="293" y="53"/>
                  </a:cubicBezTo>
                  <a:cubicBezTo>
                    <a:pt x="151" y="53"/>
                    <a:pt x="151" y="53"/>
                    <a:pt x="151" y="53"/>
                  </a:cubicBezTo>
                  <a:cubicBezTo>
                    <a:pt x="151" y="98"/>
                    <a:pt x="151" y="98"/>
                    <a:pt x="151" y="98"/>
                  </a:cubicBezTo>
                  <a:cubicBezTo>
                    <a:pt x="71" y="98"/>
                    <a:pt x="71" y="98"/>
                    <a:pt x="71" y="98"/>
                  </a:cubicBezTo>
                  <a:cubicBezTo>
                    <a:pt x="71" y="53"/>
                    <a:pt x="71" y="53"/>
                    <a:pt x="71" y="53"/>
                  </a:cubicBezTo>
                  <a:cubicBezTo>
                    <a:pt x="45" y="53"/>
                    <a:pt x="45" y="53"/>
                    <a:pt x="45" y="53"/>
                  </a:cubicBezTo>
                  <a:cubicBezTo>
                    <a:pt x="18" y="53"/>
                    <a:pt x="0" y="71"/>
                    <a:pt x="0" y="98"/>
                  </a:cubicBezTo>
                  <a:cubicBezTo>
                    <a:pt x="0" y="399"/>
                    <a:pt x="0" y="399"/>
                    <a:pt x="0" y="399"/>
                  </a:cubicBezTo>
                  <a:cubicBezTo>
                    <a:pt x="0" y="425"/>
                    <a:pt x="18" y="443"/>
                    <a:pt x="45" y="443"/>
                  </a:cubicBezTo>
                  <a:cubicBezTo>
                    <a:pt x="399" y="443"/>
                    <a:pt x="399" y="443"/>
                    <a:pt x="399" y="443"/>
                  </a:cubicBezTo>
                  <a:cubicBezTo>
                    <a:pt x="425" y="443"/>
                    <a:pt x="443" y="425"/>
                    <a:pt x="443" y="399"/>
                  </a:cubicBezTo>
                  <a:cubicBezTo>
                    <a:pt x="443" y="98"/>
                    <a:pt x="443" y="98"/>
                    <a:pt x="443" y="98"/>
                  </a:cubicBezTo>
                  <a:cubicBezTo>
                    <a:pt x="443" y="71"/>
                    <a:pt x="425" y="53"/>
                    <a:pt x="399" y="53"/>
                  </a:cubicBezTo>
                  <a:close/>
                  <a:moveTo>
                    <a:pt x="399" y="399"/>
                  </a:moveTo>
                  <a:lnTo>
                    <a:pt x="399" y="399"/>
                  </a:lnTo>
                  <a:cubicBezTo>
                    <a:pt x="45" y="399"/>
                    <a:pt x="45" y="399"/>
                    <a:pt x="45" y="399"/>
                  </a:cubicBezTo>
                  <a:cubicBezTo>
                    <a:pt x="45" y="196"/>
                    <a:pt x="45" y="196"/>
                    <a:pt x="45" y="196"/>
                  </a:cubicBezTo>
                  <a:cubicBezTo>
                    <a:pt x="399" y="196"/>
                    <a:pt x="399" y="196"/>
                    <a:pt x="399" y="196"/>
                  </a:cubicBezTo>
                  <a:lnTo>
                    <a:pt x="399" y="399"/>
                  </a:lnTo>
                  <a:close/>
                  <a:moveTo>
                    <a:pt x="124" y="0"/>
                  </a:moveTo>
                  <a:lnTo>
                    <a:pt x="124" y="0"/>
                  </a:lnTo>
                  <a:cubicBezTo>
                    <a:pt x="89" y="0"/>
                    <a:pt x="89" y="0"/>
                    <a:pt x="89" y="0"/>
                  </a:cubicBezTo>
                  <a:cubicBezTo>
                    <a:pt x="89" y="89"/>
                    <a:pt x="89" y="89"/>
                    <a:pt x="89" y="89"/>
                  </a:cubicBezTo>
                  <a:cubicBezTo>
                    <a:pt x="124" y="89"/>
                    <a:pt x="124" y="89"/>
                    <a:pt x="124" y="89"/>
                  </a:cubicBezTo>
                  <a:lnTo>
                    <a:pt x="124" y="0"/>
                  </a:lnTo>
                  <a:close/>
                  <a:moveTo>
                    <a:pt x="354" y="0"/>
                  </a:moveTo>
                  <a:lnTo>
                    <a:pt x="354" y="0"/>
                  </a:lnTo>
                  <a:cubicBezTo>
                    <a:pt x="319" y="0"/>
                    <a:pt x="319" y="0"/>
                    <a:pt x="319" y="0"/>
                  </a:cubicBezTo>
                  <a:cubicBezTo>
                    <a:pt x="319" y="89"/>
                    <a:pt x="319" y="89"/>
                    <a:pt x="319" y="89"/>
                  </a:cubicBezTo>
                  <a:cubicBezTo>
                    <a:pt x="354" y="89"/>
                    <a:pt x="354" y="89"/>
                    <a:pt x="354" y="89"/>
                  </a:cubicBezTo>
                  <a:lnTo>
                    <a:pt x="354" y="0"/>
                  </a:ln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sp>
        <p:nvSpPr>
          <p:cNvPr id="11" name="TextBox 10"/>
          <p:cNvSpPr txBox="1"/>
          <p:nvPr/>
        </p:nvSpPr>
        <p:spPr>
          <a:xfrm>
            <a:off x="4237685" y="4687919"/>
            <a:ext cx="1244497" cy="430851"/>
          </a:xfrm>
          <a:prstGeom prst="rect">
            <a:avLst/>
          </a:prstGeom>
          <a:noFill/>
        </p:spPr>
        <p:txBody>
          <a:bodyPr wrap="none" lIns="182843" tIns="91422" rIns="182843" bIns="91422" rtlCol="0">
            <a:spAutoFit/>
          </a:bodyPr>
          <a:lstStyle/>
          <a:p>
            <a:pPr algn="ctr"/>
            <a:r>
              <a:rPr lang="id-ID" sz="1600" b="1" dirty="0" smtClean="0">
                <a:latin typeface="+mj-lt"/>
                <a:cs typeface="Lato Regular"/>
              </a:rPr>
              <a:t>Research</a:t>
            </a:r>
            <a:endParaRPr lang="id-ID" sz="3600" b="1" dirty="0">
              <a:latin typeface="+mj-lt"/>
              <a:cs typeface="Lato Regular"/>
            </a:endParaRPr>
          </a:p>
        </p:txBody>
      </p:sp>
      <p:sp>
        <p:nvSpPr>
          <p:cNvPr id="12" name="TextBox 11"/>
          <p:cNvSpPr txBox="1"/>
          <p:nvPr/>
        </p:nvSpPr>
        <p:spPr>
          <a:xfrm>
            <a:off x="3681828" y="5240419"/>
            <a:ext cx="2356211" cy="701694"/>
          </a:xfrm>
          <a:prstGeom prst="rect">
            <a:avLst/>
          </a:prstGeom>
          <a:noFill/>
        </p:spPr>
        <p:txBody>
          <a:bodyPr wrap="square" lIns="182843" tIns="91422" rIns="182843" bIns="91422" rtlCol="0">
            <a:spAutoFit/>
          </a:bodyPr>
          <a:lstStyle/>
          <a:p>
            <a:pPr algn="ctr" defTabSz="647570">
              <a:lnSpc>
                <a:spcPct val="120000"/>
              </a:lnSpc>
              <a:spcBef>
                <a:spcPts val="1700"/>
              </a:spcBef>
              <a:defRPr/>
            </a:pPr>
            <a:r>
              <a:rPr lang="en-US" sz="1400" dirty="0">
                <a:latin typeface="+mj-lt"/>
                <a:ea typeface="Roboto Light" pitchFamily="2" charset="0"/>
                <a:cs typeface="Calibri Light"/>
              </a:rPr>
              <a:t>Creativity is the key to success </a:t>
            </a:r>
            <a:r>
              <a:rPr lang="en-US" sz="1400" dirty="0">
                <a:latin typeface="+mj-lt"/>
                <a:ea typeface="Roboto Light" pitchFamily="2" charset="0"/>
                <a:cs typeface="Lato Regular"/>
              </a:rPr>
              <a:t>Lorem </a:t>
            </a:r>
            <a:r>
              <a:rPr lang="en-US" sz="1400" dirty="0" smtClean="0">
                <a:latin typeface="+mj-lt"/>
                <a:ea typeface="Roboto Light" pitchFamily="2" charset="0"/>
                <a:cs typeface="Lato Regular"/>
              </a:rPr>
              <a:t>ipsum</a:t>
            </a:r>
            <a:endParaRPr lang="es-ES" sz="1400" dirty="0">
              <a:latin typeface="+mj-lt"/>
              <a:ea typeface="Roboto Light" pitchFamily="2" charset="0"/>
              <a:cs typeface="Calibri Light"/>
            </a:endParaRPr>
          </a:p>
        </p:txBody>
      </p:sp>
      <p:grpSp>
        <p:nvGrpSpPr>
          <p:cNvPr id="35" name="Group 34"/>
          <p:cNvGrpSpPr/>
          <p:nvPr>
            <p:custDataLst>
              <p:tags r:id="rId4"/>
            </p:custDataLst>
          </p:nvPr>
        </p:nvGrpSpPr>
        <p:grpSpPr>
          <a:xfrm>
            <a:off x="7476701" y="3518909"/>
            <a:ext cx="1009308" cy="1009571"/>
            <a:chOff x="13182698" y="9009754"/>
            <a:chExt cx="1529720" cy="1530119"/>
          </a:xfrm>
        </p:grpSpPr>
        <p:sp>
          <p:nvSpPr>
            <p:cNvPr id="13" name="Oval 12"/>
            <p:cNvSpPr/>
            <p:nvPr/>
          </p:nvSpPr>
          <p:spPr bwMode="auto">
            <a:xfrm>
              <a:off x="13182698" y="9009754"/>
              <a:ext cx="1529720" cy="1530119"/>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984">
                <a:defRPr/>
              </a:pPr>
              <a:endParaRPr lang="en-US" dirty="0">
                <a:latin typeface="Calibri Light"/>
              </a:endParaRPr>
            </a:p>
          </p:txBody>
        </p:sp>
        <p:sp>
          <p:nvSpPr>
            <p:cNvPr id="14" name="Freeform 21"/>
            <p:cNvSpPr>
              <a:spLocks noChangeArrowheads="1"/>
            </p:cNvSpPr>
            <p:nvPr/>
          </p:nvSpPr>
          <p:spPr bwMode="auto">
            <a:xfrm>
              <a:off x="13453765" y="9516914"/>
              <a:ext cx="987585" cy="550603"/>
            </a:xfrm>
            <a:custGeom>
              <a:avLst/>
              <a:gdLst>
                <a:gd name="T0" fmla="*/ 249 w 497"/>
                <a:gd name="T1" fmla="*/ 0 h 276"/>
                <a:gd name="T2" fmla="*/ 249 w 497"/>
                <a:gd name="T3" fmla="*/ 0 h 276"/>
                <a:gd name="T4" fmla="*/ 0 w 497"/>
                <a:gd name="T5" fmla="*/ 133 h 276"/>
                <a:gd name="T6" fmla="*/ 249 w 497"/>
                <a:gd name="T7" fmla="*/ 275 h 276"/>
                <a:gd name="T8" fmla="*/ 496 w 497"/>
                <a:gd name="T9" fmla="*/ 133 h 276"/>
                <a:gd name="T10" fmla="*/ 249 w 497"/>
                <a:gd name="T11" fmla="*/ 0 h 276"/>
                <a:gd name="T12" fmla="*/ 249 w 497"/>
                <a:gd name="T13" fmla="*/ 239 h 276"/>
                <a:gd name="T14" fmla="*/ 249 w 497"/>
                <a:gd name="T15" fmla="*/ 239 h 276"/>
                <a:gd name="T16" fmla="*/ 142 w 497"/>
                <a:gd name="T17" fmla="*/ 133 h 276"/>
                <a:gd name="T18" fmla="*/ 249 w 497"/>
                <a:gd name="T19" fmla="*/ 26 h 276"/>
                <a:gd name="T20" fmla="*/ 355 w 497"/>
                <a:gd name="T21" fmla="*/ 133 h 276"/>
                <a:gd name="T22" fmla="*/ 249 w 497"/>
                <a:gd name="T23" fmla="*/ 239 h 276"/>
                <a:gd name="T24" fmla="*/ 249 w 497"/>
                <a:gd name="T25" fmla="*/ 133 h 276"/>
                <a:gd name="T26" fmla="*/ 249 w 497"/>
                <a:gd name="T27" fmla="*/ 133 h 276"/>
                <a:gd name="T28" fmla="*/ 249 w 497"/>
                <a:gd name="T29" fmla="*/ 79 h 276"/>
                <a:gd name="T30" fmla="*/ 195 w 497"/>
                <a:gd name="T31" fmla="*/ 133 h 276"/>
                <a:gd name="T32" fmla="*/ 249 w 497"/>
                <a:gd name="T33" fmla="*/ 186 h 276"/>
                <a:gd name="T34" fmla="*/ 302 w 497"/>
                <a:gd name="T35" fmla="*/ 133 h 276"/>
                <a:gd name="T36" fmla="*/ 249 w 497"/>
                <a:gd name="T37" fmla="*/ 13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97" h="276">
                  <a:moveTo>
                    <a:pt x="249" y="0"/>
                  </a:moveTo>
                  <a:lnTo>
                    <a:pt x="249" y="0"/>
                  </a:lnTo>
                  <a:cubicBezTo>
                    <a:pt x="89" y="0"/>
                    <a:pt x="0" y="115"/>
                    <a:pt x="0" y="133"/>
                  </a:cubicBezTo>
                  <a:cubicBezTo>
                    <a:pt x="0" y="151"/>
                    <a:pt x="89" y="275"/>
                    <a:pt x="249" y="275"/>
                  </a:cubicBezTo>
                  <a:cubicBezTo>
                    <a:pt x="408" y="275"/>
                    <a:pt x="496" y="151"/>
                    <a:pt x="496" y="133"/>
                  </a:cubicBezTo>
                  <a:cubicBezTo>
                    <a:pt x="496" y="115"/>
                    <a:pt x="408" y="0"/>
                    <a:pt x="249" y="0"/>
                  </a:cubicBezTo>
                  <a:close/>
                  <a:moveTo>
                    <a:pt x="249" y="239"/>
                  </a:moveTo>
                  <a:lnTo>
                    <a:pt x="249" y="239"/>
                  </a:lnTo>
                  <a:cubicBezTo>
                    <a:pt x="186" y="239"/>
                    <a:pt x="142" y="195"/>
                    <a:pt x="142" y="133"/>
                  </a:cubicBezTo>
                  <a:cubicBezTo>
                    <a:pt x="142" y="79"/>
                    <a:pt x="186" y="26"/>
                    <a:pt x="249" y="26"/>
                  </a:cubicBezTo>
                  <a:cubicBezTo>
                    <a:pt x="310" y="26"/>
                    <a:pt x="355" y="79"/>
                    <a:pt x="355" y="133"/>
                  </a:cubicBezTo>
                  <a:cubicBezTo>
                    <a:pt x="355" y="195"/>
                    <a:pt x="310" y="239"/>
                    <a:pt x="249" y="239"/>
                  </a:cubicBezTo>
                  <a:close/>
                  <a:moveTo>
                    <a:pt x="249" y="133"/>
                  </a:moveTo>
                  <a:lnTo>
                    <a:pt x="249" y="133"/>
                  </a:lnTo>
                  <a:cubicBezTo>
                    <a:pt x="239" y="123"/>
                    <a:pt x="266" y="79"/>
                    <a:pt x="249" y="79"/>
                  </a:cubicBezTo>
                  <a:cubicBezTo>
                    <a:pt x="221" y="79"/>
                    <a:pt x="195" y="107"/>
                    <a:pt x="195" y="133"/>
                  </a:cubicBezTo>
                  <a:cubicBezTo>
                    <a:pt x="195" y="168"/>
                    <a:pt x="221" y="186"/>
                    <a:pt x="249" y="186"/>
                  </a:cubicBezTo>
                  <a:cubicBezTo>
                    <a:pt x="274" y="186"/>
                    <a:pt x="302" y="168"/>
                    <a:pt x="302" y="133"/>
                  </a:cubicBezTo>
                  <a:cubicBezTo>
                    <a:pt x="302" y="123"/>
                    <a:pt x="257" y="142"/>
                    <a:pt x="249" y="133"/>
                  </a:cubicBez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sp>
        <p:nvSpPr>
          <p:cNvPr id="15" name="TextBox 14"/>
          <p:cNvSpPr txBox="1"/>
          <p:nvPr/>
        </p:nvSpPr>
        <p:spPr>
          <a:xfrm>
            <a:off x="7198806" y="4662328"/>
            <a:ext cx="1565098" cy="430851"/>
          </a:xfrm>
          <a:prstGeom prst="rect">
            <a:avLst/>
          </a:prstGeom>
          <a:noFill/>
        </p:spPr>
        <p:txBody>
          <a:bodyPr wrap="none" lIns="182843" tIns="91422" rIns="182843" bIns="91422" rtlCol="0">
            <a:spAutoFit/>
          </a:bodyPr>
          <a:lstStyle/>
          <a:p>
            <a:pPr algn="ctr"/>
            <a:r>
              <a:rPr lang="id-ID" sz="1600" b="1" dirty="0" smtClean="0">
                <a:latin typeface="+mj-lt"/>
                <a:cs typeface="Lato Regular"/>
              </a:rPr>
              <a:t>Social Media</a:t>
            </a:r>
            <a:endParaRPr lang="id-ID" sz="3600" b="1" dirty="0">
              <a:latin typeface="+mj-lt"/>
              <a:cs typeface="Lato Regular"/>
            </a:endParaRPr>
          </a:p>
        </p:txBody>
      </p:sp>
      <p:sp>
        <p:nvSpPr>
          <p:cNvPr id="16" name="TextBox 15"/>
          <p:cNvSpPr txBox="1"/>
          <p:nvPr/>
        </p:nvSpPr>
        <p:spPr>
          <a:xfrm>
            <a:off x="6812321" y="5227028"/>
            <a:ext cx="2356211" cy="701694"/>
          </a:xfrm>
          <a:prstGeom prst="rect">
            <a:avLst/>
          </a:prstGeom>
          <a:noFill/>
        </p:spPr>
        <p:txBody>
          <a:bodyPr wrap="square" lIns="182843" tIns="91422" rIns="182843" bIns="91422" rtlCol="0">
            <a:spAutoFit/>
          </a:bodyPr>
          <a:lstStyle/>
          <a:p>
            <a:pPr algn="ctr" defTabSz="647570">
              <a:lnSpc>
                <a:spcPct val="120000"/>
              </a:lnSpc>
              <a:spcBef>
                <a:spcPts val="1700"/>
              </a:spcBef>
              <a:defRPr/>
            </a:pPr>
            <a:r>
              <a:rPr lang="en-US" sz="1400" dirty="0">
                <a:latin typeface="+mj-lt"/>
                <a:ea typeface="Roboto Light" pitchFamily="2" charset="0"/>
                <a:cs typeface="Calibri Light"/>
              </a:rPr>
              <a:t>Creativity is the key to success </a:t>
            </a:r>
            <a:r>
              <a:rPr lang="en-US" sz="1400" dirty="0">
                <a:latin typeface="+mj-lt"/>
                <a:ea typeface="Roboto Light" pitchFamily="2" charset="0"/>
                <a:cs typeface="Lato Regular"/>
              </a:rPr>
              <a:t>Lorem </a:t>
            </a:r>
            <a:r>
              <a:rPr lang="en-US" sz="1400" dirty="0" smtClean="0">
                <a:latin typeface="+mj-lt"/>
                <a:ea typeface="Roboto Light" pitchFamily="2" charset="0"/>
                <a:cs typeface="Lato Regular"/>
              </a:rPr>
              <a:t>ipsum</a:t>
            </a:r>
            <a:endParaRPr lang="es-ES" sz="1400" dirty="0">
              <a:latin typeface="+mj-lt"/>
              <a:ea typeface="Roboto Light" pitchFamily="2" charset="0"/>
              <a:cs typeface="Calibri Light"/>
            </a:endParaRPr>
          </a:p>
        </p:txBody>
      </p:sp>
      <p:sp>
        <p:nvSpPr>
          <p:cNvPr id="17" name="TextBox 16"/>
          <p:cNvSpPr txBox="1"/>
          <p:nvPr/>
        </p:nvSpPr>
        <p:spPr>
          <a:xfrm>
            <a:off x="10381143" y="4662327"/>
            <a:ext cx="1443269" cy="430851"/>
          </a:xfrm>
          <a:prstGeom prst="rect">
            <a:avLst/>
          </a:prstGeom>
          <a:noFill/>
        </p:spPr>
        <p:txBody>
          <a:bodyPr wrap="none" lIns="182843" tIns="91422" rIns="182843" bIns="91422" rtlCol="0">
            <a:spAutoFit/>
          </a:bodyPr>
          <a:lstStyle/>
          <a:p>
            <a:pPr algn="ctr"/>
            <a:r>
              <a:rPr lang="id-ID" sz="1600" b="1" dirty="0" smtClean="0">
                <a:latin typeface="+mj-lt"/>
                <a:cs typeface="Lato Regular"/>
              </a:rPr>
              <a:t>Advertising</a:t>
            </a:r>
            <a:endParaRPr lang="id-ID" sz="3600" b="1" dirty="0">
              <a:latin typeface="+mj-lt"/>
              <a:cs typeface="Lato Regular"/>
            </a:endParaRPr>
          </a:p>
        </p:txBody>
      </p:sp>
      <p:sp>
        <p:nvSpPr>
          <p:cNvPr id="18" name="TextBox 17"/>
          <p:cNvSpPr txBox="1"/>
          <p:nvPr/>
        </p:nvSpPr>
        <p:spPr>
          <a:xfrm>
            <a:off x="9924672" y="5240419"/>
            <a:ext cx="2356211" cy="701694"/>
          </a:xfrm>
          <a:prstGeom prst="rect">
            <a:avLst/>
          </a:prstGeom>
          <a:noFill/>
        </p:spPr>
        <p:txBody>
          <a:bodyPr wrap="square" lIns="182843" tIns="91422" rIns="182843" bIns="91422" rtlCol="0">
            <a:spAutoFit/>
          </a:bodyPr>
          <a:lstStyle/>
          <a:p>
            <a:pPr algn="ctr" defTabSz="647570">
              <a:lnSpc>
                <a:spcPct val="120000"/>
              </a:lnSpc>
              <a:spcBef>
                <a:spcPts val="1700"/>
              </a:spcBef>
              <a:defRPr/>
            </a:pPr>
            <a:r>
              <a:rPr lang="en-US" sz="1400" dirty="0">
                <a:latin typeface="+mj-lt"/>
                <a:ea typeface="Roboto Light" pitchFamily="2" charset="0"/>
                <a:cs typeface="Calibri Light"/>
              </a:rPr>
              <a:t>Creativity is the key to success </a:t>
            </a:r>
            <a:r>
              <a:rPr lang="en-US" sz="1400" dirty="0">
                <a:latin typeface="+mj-lt"/>
                <a:ea typeface="Roboto Light" pitchFamily="2" charset="0"/>
                <a:cs typeface="Lato Regular"/>
              </a:rPr>
              <a:t>Lorem </a:t>
            </a:r>
            <a:r>
              <a:rPr lang="en-US" sz="1400" dirty="0" smtClean="0">
                <a:latin typeface="+mj-lt"/>
                <a:ea typeface="Roboto Light" pitchFamily="2" charset="0"/>
                <a:cs typeface="Lato Regular"/>
              </a:rPr>
              <a:t>ipsum</a:t>
            </a:r>
            <a:endParaRPr lang="es-ES" sz="1400" dirty="0">
              <a:latin typeface="+mj-lt"/>
              <a:ea typeface="Roboto Light" pitchFamily="2" charset="0"/>
              <a:cs typeface="Calibri Light"/>
            </a:endParaRPr>
          </a:p>
        </p:txBody>
      </p:sp>
      <p:sp>
        <p:nvSpPr>
          <p:cNvPr id="21" name="Freeform 13"/>
          <p:cNvSpPr>
            <a:spLocks noChangeArrowheads="1"/>
          </p:cNvSpPr>
          <p:nvPr/>
        </p:nvSpPr>
        <p:spPr bwMode="auto">
          <a:xfrm>
            <a:off x="5334023" y="1121361"/>
            <a:ext cx="2173242" cy="2173137"/>
          </a:xfrm>
          <a:custGeom>
            <a:avLst/>
            <a:gdLst>
              <a:gd name="G0" fmla="+- 1 0 0"/>
              <a:gd name="G1" fmla="+- 1 0 0"/>
              <a:gd name="G2" fmla="+- 1 0 0"/>
              <a:gd name="G3" fmla="+- 1 0 0"/>
              <a:gd name="G4" fmla="+- 1 0 0"/>
              <a:gd name="G5" fmla="+- 1 0 0"/>
              <a:gd name="G6" fmla="+- 3523 0 0"/>
              <a:gd name="G7" fmla="+- 2269 0 0"/>
              <a:gd name="G8" fmla="+- 1016 0 0"/>
              <a:gd name="G9" fmla="+- 1 0 0"/>
              <a:gd name="G10" fmla="+- 1 0 0"/>
              <a:gd name="G11" fmla="+- 1 0 0"/>
              <a:gd name="G12" fmla="+- 1 0 0"/>
              <a:gd name="G13" fmla="+- 1 0 0"/>
              <a:gd name="T0" fmla="*/ 1634765 w 4540"/>
              <a:gd name="T1" fmla="*/ 817202 h 4540"/>
              <a:gd name="T2" fmla="*/ 1634765 w 4540"/>
              <a:gd name="T3" fmla="*/ 817202 h 4540"/>
              <a:gd name="T4" fmla="*/ 817563 w 4540"/>
              <a:gd name="T5" fmla="*/ 1634765 h 4540"/>
              <a:gd name="T6" fmla="*/ 0 w 4540"/>
              <a:gd name="T7" fmla="*/ 817202 h 4540"/>
              <a:gd name="T8" fmla="*/ 817563 w 4540"/>
              <a:gd name="T9" fmla="*/ 0 h 4540"/>
              <a:gd name="T10" fmla="*/ 1634765 w 4540"/>
              <a:gd name="T11" fmla="*/ 817202 h 4540"/>
            </a:gdLst>
            <a:ahLst/>
            <a:cxnLst>
              <a:cxn ang="0">
                <a:pos x="T0" y="T1"/>
              </a:cxn>
              <a:cxn ang="0">
                <a:pos x="T2" y="T3"/>
              </a:cxn>
              <a:cxn ang="0">
                <a:pos x="T4" y="T5"/>
              </a:cxn>
              <a:cxn ang="0">
                <a:pos x="T6" y="T7"/>
              </a:cxn>
              <a:cxn ang="0">
                <a:pos x="T8" y="T9"/>
              </a:cxn>
              <a:cxn ang="0">
                <a:pos x="T10" y="T11"/>
              </a:cxn>
            </a:cxnLst>
            <a:rect l="0" t="0" r="r" b="b"/>
            <a:pathLst>
              <a:path w="4540" h="4540">
                <a:moveTo>
                  <a:pt x="4539" y="2269"/>
                </a:moveTo>
                <a:lnTo>
                  <a:pt x="4539" y="2269"/>
                </a:lnTo>
                <a:cubicBezTo>
                  <a:pt x="4539" y="3523"/>
                  <a:pt x="3523" y="4539"/>
                  <a:pt x="2270" y="4539"/>
                </a:cubicBezTo>
                <a:cubicBezTo>
                  <a:pt x="1016" y="4539"/>
                  <a:pt x="0" y="3523"/>
                  <a:pt x="0" y="2269"/>
                </a:cubicBezTo>
                <a:cubicBezTo>
                  <a:pt x="0" y="1016"/>
                  <a:pt x="1016" y="0"/>
                  <a:pt x="2270" y="0"/>
                </a:cubicBezTo>
                <a:cubicBezTo>
                  <a:pt x="3523" y="0"/>
                  <a:pt x="4539" y="1016"/>
                  <a:pt x="4539" y="2269"/>
                </a:cubicBezTo>
              </a:path>
            </a:pathLst>
          </a:custGeom>
          <a:solidFill>
            <a:srgbClr val="DDDDDD"/>
          </a:solid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lIns="243756" tIns="121878" rIns="243756" bIns="121878" anchor="ctr"/>
          <a:lstStyle/>
          <a:p>
            <a:endParaRPr lang="en-US" dirty="0">
              <a:latin typeface="Calibri Light"/>
            </a:endParaRPr>
          </a:p>
        </p:txBody>
      </p:sp>
      <p:sp>
        <p:nvSpPr>
          <p:cNvPr id="22" name="Freeform 14"/>
          <p:cNvSpPr>
            <a:spLocks noChangeArrowheads="1"/>
          </p:cNvSpPr>
          <p:nvPr/>
        </p:nvSpPr>
        <p:spPr bwMode="auto">
          <a:xfrm>
            <a:off x="5574556" y="1359772"/>
            <a:ext cx="1692175" cy="1692092"/>
          </a:xfrm>
          <a:custGeom>
            <a:avLst/>
            <a:gdLst>
              <a:gd name="G0" fmla="+- 1 0 0"/>
              <a:gd name="G1" fmla="+- 1 0 0"/>
              <a:gd name="G2" fmla="+- 1 0 0"/>
              <a:gd name="G3" fmla="+- 1 0 0"/>
              <a:gd name="G4" fmla="+- 1 0 0"/>
              <a:gd name="G5" fmla="+- 1 0 0"/>
              <a:gd name="G6" fmla="+- 2745 0 0"/>
              <a:gd name="G7" fmla="+- 1768 0 0"/>
              <a:gd name="G8" fmla="+- 792 0 0"/>
              <a:gd name="G9" fmla="+- 1 0 0"/>
              <a:gd name="G10" fmla="+- 1 0 0"/>
              <a:gd name="G11" fmla="+- 1 0 0"/>
              <a:gd name="G12" fmla="+- 1 0 0"/>
              <a:gd name="G13" fmla="+- 1 0 0"/>
              <a:gd name="T0" fmla="*/ 1272815 w 3538"/>
              <a:gd name="T1" fmla="*/ 636228 h 3538"/>
              <a:gd name="T2" fmla="*/ 1272815 w 3538"/>
              <a:gd name="T3" fmla="*/ 636228 h 3538"/>
              <a:gd name="T4" fmla="*/ 636588 w 3538"/>
              <a:gd name="T5" fmla="*/ 1272815 h 3538"/>
              <a:gd name="T6" fmla="*/ 0 w 3538"/>
              <a:gd name="T7" fmla="*/ 636228 h 3538"/>
              <a:gd name="T8" fmla="*/ 636588 w 3538"/>
              <a:gd name="T9" fmla="*/ 0 h 3538"/>
              <a:gd name="T10" fmla="*/ 1272815 w 3538"/>
              <a:gd name="T11" fmla="*/ 636228 h 3538"/>
            </a:gdLst>
            <a:ahLst/>
            <a:cxnLst>
              <a:cxn ang="0">
                <a:pos x="T0" y="T1"/>
              </a:cxn>
              <a:cxn ang="0">
                <a:pos x="T2" y="T3"/>
              </a:cxn>
              <a:cxn ang="0">
                <a:pos x="T4" y="T5"/>
              </a:cxn>
              <a:cxn ang="0">
                <a:pos x="T6" y="T7"/>
              </a:cxn>
              <a:cxn ang="0">
                <a:pos x="T8" y="T9"/>
              </a:cxn>
              <a:cxn ang="0">
                <a:pos x="T10" y="T11"/>
              </a:cxn>
            </a:cxnLst>
            <a:rect l="0" t="0" r="r" b="b"/>
            <a:pathLst>
              <a:path w="3538" h="3538">
                <a:moveTo>
                  <a:pt x="3537" y="1768"/>
                </a:moveTo>
                <a:lnTo>
                  <a:pt x="3537" y="1768"/>
                </a:lnTo>
                <a:cubicBezTo>
                  <a:pt x="3537" y="2745"/>
                  <a:pt x="2745" y="3537"/>
                  <a:pt x="1769" y="3537"/>
                </a:cubicBezTo>
                <a:cubicBezTo>
                  <a:pt x="792" y="3537"/>
                  <a:pt x="0" y="2745"/>
                  <a:pt x="0" y="1768"/>
                </a:cubicBezTo>
                <a:cubicBezTo>
                  <a:pt x="0" y="792"/>
                  <a:pt x="792" y="0"/>
                  <a:pt x="1769" y="0"/>
                </a:cubicBezTo>
                <a:cubicBezTo>
                  <a:pt x="2745" y="0"/>
                  <a:pt x="3537" y="792"/>
                  <a:pt x="3537" y="1768"/>
                </a:cubicBezTo>
              </a:path>
            </a:pathLst>
          </a:custGeom>
          <a:solidFill>
            <a:srgbClr val="58595B"/>
          </a:solid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lIns="243756" tIns="121878" rIns="243756" bIns="121878" anchor="ctr"/>
          <a:lstStyle/>
          <a:p>
            <a:endParaRPr lang="en-US" dirty="0">
              <a:latin typeface="Calibri Light"/>
            </a:endParaRPr>
          </a:p>
        </p:txBody>
      </p:sp>
      <p:sp>
        <p:nvSpPr>
          <p:cNvPr id="23" name="Freeform 15"/>
          <p:cNvSpPr>
            <a:spLocks noChangeArrowheads="1"/>
          </p:cNvSpPr>
          <p:nvPr/>
        </p:nvSpPr>
        <p:spPr bwMode="auto">
          <a:xfrm>
            <a:off x="5812980" y="1600294"/>
            <a:ext cx="1213217" cy="1213160"/>
          </a:xfrm>
          <a:custGeom>
            <a:avLst/>
            <a:gdLst>
              <a:gd name="G0" fmla="+- 1 0 0"/>
              <a:gd name="G1" fmla="+- 1 0 0"/>
              <a:gd name="G2" fmla="+- 1 0 0"/>
              <a:gd name="G3" fmla="+- 1 0 0"/>
              <a:gd name="G4" fmla="+- 1 0 0"/>
              <a:gd name="G5" fmla="+- 1 0 0"/>
              <a:gd name="G6" fmla="+- 1966 0 0"/>
              <a:gd name="G7" fmla="+- 1267 0 0"/>
              <a:gd name="G8" fmla="+- 566 0 0"/>
              <a:gd name="G9" fmla="+- 1 0 0"/>
              <a:gd name="G10" fmla="+- 1 0 0"/>
              <a:gd name="G11" fmla="+- 1 0 0"/>
              <a:gd name="G12" fmla="+- 1 0 0"/>
              <a:gd name="G13" fmla="+- 1 0 0"/>
              <a:gd name="T0" fmla="*/ 912452 w 2536"/>
              <a:gd name="T1" fmla="*/ 456047 h 2536"/>
              <a:gd name="T2" fmla="*/ 912452 w 2536"/>
              <a:gd name="T3" fmla="*/ 456047 h 2536"/>
              <a:gd name="T4" fmla="*/ 456406 w 2536"/>
              <a:gd name="T5" fmla="*/ 912453 h 2536"/>
              <a:gd name="T6" fmla="*/ 0 w 2536"/>
              <a:gd name="T7" fmla="*/ 456047 h 2536"/>
              <a:gd name="T8" fmla="*/ 456406 w 2536"/>
              <a:gd name="T9" fmla="*/ 0 h 2536"/>
              <a:gd name="T10" fmla="*/ 912452 w 2536"/>
              <a:gd name="T11" fmla="*/ 456047 h 2536"/>
            </a:gdLst>
            <a:ahLst/>
            <a:cxnLst>
              <a:cxn ang="0">
                <a:pos x="T0" y="T1"/>
              </a:cxn>
              <a:cxn ang="0">
                <a:pos x="T2" y="T3"/>
              </a:cxn>
              <a:cxn ang="0">
                <a:pos x="T4" y="T5"/>
              </a:cxn>
              <a:cxn ang="0">
                <a:pos x="T6" y="T7"/>
              </a:cxn>
              <a:cxn ang="0">
                <a:pos x="T8" y="T9"/>
              </a:cxn>
              <a:cxn ang="0">
                <a:pos x="T10" y="T11"/>
              </a:cxn>
            </a:cxnLst>
            <a:rect l="0" t="0" r="r" b="b"/>
            <a:pathLst>
              <a:path w="2536" h="2536">
                <a:moveTo>
                  <a:pt x="2535" y="1267"/>
                </a:moveTo>
                <a:lnTo>
                  <a:pt x="2535" y="1267"/>
                </a:lnTo>
                <a:cubicBezTo>
                  <a:pt x="2535" y="1966"/>
                  <a:pt x="1969" y="2535"/>
                  <a:pt x="1268" y="2535"/>
                </a:cubicBezTo>
                <a:cubicBezTo>
                  <a:pt x="569" y="2535"/>
                  <a:pt x="0" y="1966"/>
                  <a:pt x="0" y="1267"/>
                </a:cubicBezTo>
                <a:cubicBezTo>
                  <a:pt x="0" y="566"/>
                  <a:pt x="569" y="0"/>
                  <a:pt x="1268" y="0"/>
                </a:cubicBezTo>
                <a:cubicBezTo>
                  <a:pt x="1969" y="0"/>
                  <a:pt x="2535" y="566"/>
                  <a:pt x="2535" y="1267"/>
                </a:cubicBezTo>
              </a:path>
            </a:pathLst>
          </a:custGeom>
          <a:solidFill>
            <a:srgbClr val="41B5E8"/>
          </a:solid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lIns="243756" tIns="121878" rIns="243756" bIns="121878" anchor="ctr"/>
          <a:lstStyle/>
          <a:p>
            <a:endParaRPr lang="en-US" dirty="0">
              <a:latin typeface="Calibri Light"/>
            </a:endParaRPr>
          </a:p>
        </p:txBody>
      </p:sp>
      <p:sp>
        <p:nvSpPr>
          <p:cNvPr id="24" name="Freeform 16"/>
          <p:cNvSpPr>
            <a:spLocks noChangeArrowheads="1"/>
          </p:cNvSpPr>
          <p:nvPr/>
        </p:nvSpPr>
        <p:spPr bwMode="auto">
          <a:xfrm>
            <a:off x="6053514" y="1838707"/>
            <a:ext cx="734260" cy="736334"/>
          </a:xfrm>
          <a:custGeom>
            <a:avLst/>
            <a:gdLst>
              <a:gd name="G0" fmla="+- 1 0 0"/>
              <a:gd name="G1" fmla="+- 1 0 0"/>
              <a:gd name="G2" fmla="+- 1 0 0"/>
              <a:gd name="G3" fmla="+- 1 0 0"/>
              <a:gd name="G4" fmla="+- 1 0 0"/>
              <a:gd name="G5" fmla="+- 1 0 0"/>
              <a:gd name="G6" fmla="+- 1193 0 0"/>
              <a:gd name="G7" fmla="+- 769 0 0"/>
              <a:gd name="G8" fmla="+- 345 0 0"/>
              <a:gd name="G9" fmla="+- 1 0 0"/>
              <a:gd name="G10" fmla="+- 1 0 0"/>
              <a:gd name="G11" fmla="+- 1 0 0"/>
              <a:gd name="G12" fmla="+- 1 0 0"/>
              <a:gd name="G13" fmla="+- 1 0 0"/>
              <a:gd name="T0" fmla="*/ 552090 w 1534"/>
              <a:gd name="T1" fmla="*/ 277199 h 1537"/>
              <a:gd name="T2" fmla="*/ 552090 w 1534"/>
              <a:gd name="T3" fmla="*/ 277199 h 1537"/>
              <a:gd name="T4" fmla="*/ 276225 w 1534"/>
              <a:gd name="T5" fmla="*/ 553677 h 1537"/>
              <a:gd name="T6" fmla="*/ 0 w 1534"/>
              <a:gd name="T7" fmla="*/ 277199 h 1537"/>
              <a:gd name="T8" fmla="*/ 276225 w 1534"/>
              <a:gd name="T9" fmla="*/ 0 h 1537"/>
              <a:gd name="T10" fmla="*/ 552090 w 1534"/>
              <a:gd name="T11" fmla="*/ 277199 h 1537"/>
            </a:gdLst>
            <a:ahLst/>
            <a:cxnLst>
              <a:cxn ang="0">
                <a:pos x="T0" y="T1"/>
              </a:cxn>
              <a:cxn ang="0">
                <a:pos x="T2" y="T3"/>
              </a:cxn>
              <a:cxn ang="0">
                <a:pos x="T4" y="T5"/>
              </a:cxn>
              <a:cxn ang="0">
                <a:pos x="T6" y="T7"/>
              </a:cxn>
              <a:cxn ang="0">
                <a:pos x="T8" y="T9"/>
              </a:cxn>
              <a:cxn ang="0">
                <a:pos x="T10" y="T11"/>
              </a:cxn>
            </a:cxnLst>
            <a:rect l="0" t="0" r="r" b="b"/>
            <a:pathLst>
              <a:path w="1534" h="1537">
                <a:moveTo>
                  <a:pt x="1533" y="769"/>
                </a:moveTo>
                <a:lnTo>
                  <a:pt x="1533" y="769"/>
                </a:lnTo>
                <a:cubicBezTo>
                  <a:pt x="1533" y="1193"/>
                  <a:pt x="1191" y="1536"/>
                  <a:pt x="767" y="1536"/>
                </a:cubicBezTo>
                <a:cubicBezTo>
                  <a:pt x="342" y="1536"/>
                  <a:pt x="0" y="1193"/>
                  <a:pt x="0" y="769"/>
                </a:cubicBezTo>
                <a:cubicBezTo>
                  <a:pt x="0" y="345"/>
                  <a:pt x="342" y="0"/>
                  <a:pt x="767" y="0"/>
                </a:cubicBezTo>
                <a:cubicBezTo>
                  <a:pt x="1191" y="0"/>
                  <a:pt x="1533" y="345"/>
                  <a:pt x="1533" y="769"/>
                </a:cubicBezTo>
              </a:path>
            </a:pathLst>
          </a:custGeom>
          <a:solidFill>
            <a:schemeClr val="bg2"/>
          </a:solid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lIns="243756" tIns="121878" rIns="243756" bIns="121878" anchor="ctr"/>
          <a:lstStyle/>
          <a:p>
            <a:endParaRPr lang="en-US" dirty="0">
              <a:latin typeface="Calibri Light"/>
            </a:endParaRPr>
          </a:p>
        </p:txBody>
      </p:sp>
      <p:sp>
        <p:nvSpPr>
          <p:cNvPr id="25" name="Freeform 17"/>
          <p:cNvSpPr>
            <a:spLocks noChangeArrowheads="1"/>
          </p:cNvSpPr>
          <p:nvPr/>
        </p:nvSpPr>
        <p:spPr bwMode="auto">
          <a:xfrm>
            <a:off x="6291937" y="2077118"/>
            <a:ext cx="255304" cy="255292"/>
          </a:xfrm>
          <a:custGeom>
            <a:avLst/>
            <a:gdLst>
              <a:gd name="G0" fmla="+- 1 0 0"/>
              <a:gd name="G1" fmla="+- 1 0 0"/>
              <a:gd name="G2" fmla="+- 1 0 0"/>
              <a:gd name="G3" fmla="+- 1 0 0"/>
              <a:gd name="G4" fmla="*/ 1 0 0"/>
              <a:gd name="T0" fmla="*/ 534 256 1"/>
              <a:gd name="T1" fmla="*/ 0 256 1"/>
              <a:gd name="G5" fmla="+- 0 T0 T1"/>
              <a:gd name="G6" fmla="cos G4 G5"/>
              <a:gd name="G7" fmla="+- 1 0 0"/>
              <a:gd name="G8" fmla="+- 415 0 0"/>
              <a:gd name="G9" fmla="+- 268 0 0"/>
              <a:gd name="G10" fmla="+- 121 0 0"/>
              <a:gd name="G11" fmla="+- 1 0 0"/>
              <a:gd name="G12" fmla="*/ 1 0 0"/>
              <a:gd name="G13" fmla="*/ 1 0 0"/>
              <a:gd name="G14" fmla="cos G12 G13"/>
              <a:gd name="G15" fmla="+- 1 0 0"/>
              <a:gd name="G16" fmla="+- 1 0 0"/>
              <a:gd name="G17" fmla="+- 1 0 0"/>
              <a:gd name="T2" fmla="*/ 191729 w 535"/>
              <a:gd name="T3" fmla="*/ 96224 h 535"/>
              <a:gd name="T4" fmla="*/ 191729 w 535"/>
              <a:gd name="T5" fmla="*/ 96224 h 535"/>
              <a:gd name="T6" fmla="*/ 95505 w 535"/>
              <a:gd name="T7" fmla="*/ 191729 h 535"/>
              <a:gd name="T8" fmla="*/ 0 w 535"/>
              <a:gd name="T9" fmla="*/ 96224 h 535"/>
              <a:gd name="T10" fmla="*/ 95505 w 535"/>
              <a:gd name="T11" fmla="*/ 0 h 535"/>
              <a:gd name="T12" fmla="*/ 191729 w 535"/>
              <a:gd name="T13" fmla="*/ 96224 h 535"/>
            </a:gdLst>
            <a:ahLst/>
            <a:cxnLst>
              <a:cxn ang="0">
                <a:pos x="T2" y="T3"/>
              </a:cxn>
              <a:cxn ang="0">
                <a:pos x="T4" y="T5"/>
              </a:cxn>
              <a:cxn ang="0">
                <a:pos x="T6" y="T7"/>
              </a:cxn>
              <a:cxn ang="0">
                <a:pos x="T8" y="T9"/>
              </a:cxn>
              <a:cxn ang="0">
                <a:pos x="T10" y="T11"/>
              </a:cxn>
              <a:cxn ang="0">
                <a:pos x="T12" y="T13"/>
              </a:cxn>
            </a:cxnLst>
            <a:rect l="0" t="0" r="r" b="b"/>
            <a:pathLst>
              <a:path w="535" h="535">
                <a:moveTo>
                  <a:pt x="534" y="268"/>
                </a:moveTo>
                <a:lnTo>
                  <a:pt x="534" y="268"/>
                </a:lnTo>
                <a:cubicBezTo>
                  <a:pt x="534" y="415"/>
                  <a:pt x="412" y="534"/>
                  <a:pt x="266" y="534"/>
                </a:cubicBezTo>
                <a:cubicBezTo>
                  <a:pt x="119" y="534"/>
                  <a:pt x="0" y="415"/>
                  <a:pt x="0" y="268"/>
                </a:cubicBezTo>
                <a:cubicBezTo>
                  <a:pt x="0" y="121"/>
                  <a:pt x="119" y="0"/>
                  <a:pt x="266" y="0"/>
                </a:cubicBezTo>
                <a:cubicBezTo>
                  <a:pt x="412" y="0"/>
                  <a:pt x="534" y="121"/>
                  <a:pt x="534" y="268"/>
                </a:cubicBezTo>
              </a:path>
            </a:pathLst>
          </a:custGeom>
          <a:solidFill>
            <a:srgbClr val="0070C0"/>
          </a:solidFill>
          <a:ln>
            <a:noFill/>
          </a:ln>
          <a:effectLst/>
          <a:extLs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lIns="243756" tIns="121878" rIns="243756" bIns="121878" anchor="ctr"/>
          <a:lstStyle/>
          <a:p>
            <a:endParaRPr lang="en-US" dirty="0">
              <a:latin typeface="Calibri Light"/>
            </a:endParaRPr>
          </a:p>
        </p:txBody>
      </p:sp>
      <p:sp>
        <p:nvSpPr>
          <p:cNvPr id="41"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36_84 33_84 34_84 35_84</a:t>
            </a:r>
            <a:endParaRPr lang="en-US" sz="100" dirty="0" err="1" smtClean="0">
              <a:solidFill>
                <a:srgbClr val="FFFFFF"/>
              </a:solidFill>
            </a:endParaRPr>
          </a:p>
        </p:txBody>
      </p:sp>
    </p:spTree>
    <p:extLst>
      <p:ext uri="{BB962C8B-B14F-4D97-AF65-F5344CB8AC3E}">
        <p14:creationId xmlns:p14="http://schemas.microsoft.com/office/powerpoint/2010/main" val="71068868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alysis</a:t>
            </a:r>
            <a:endParaRPr lang="en-US" dirty="0"/>
          </a:p>
        </p:txBody>
      </p:sp>
      <p:sp>
        <p:nvSpPr>
          <p:cNvPr id="5" name="TextBox 4"/>
          <p:cNvSpPr txBox="1"/>
          <p:nvPr/>
        </p:nvSpPr>
        <p:spPr>
          <a:xfrm>
            <a:off x="1958106" y="1577584"/>
            <a:ext cx="9452167" cy="861738"/>
          </a:xfrm>
          <a:prstGeom prst="rect">
            <a:avLst/>
          </a:prstGeom>
          <a:noFill/>
        </p:spPr>
        <p:txBody>
          <a:bodyPr wrap="square" lIns="182843" tIns="91422" rIns="182843" bIns="91422" rtlCol="0">
            <a:spAutoFit/>
          </a:bodyPr>
          <a:lstStyle/>
          <a:p>
            <a:pPr>
              <a:lnSpc>
                <a:spcPct val="110000"/>
              </a:lnSpc>
            </a:pPr>
            <a:r>
              <a:rPr lang="en-US" sz="2000" dirty="0">
                <a:solidFill>
                  <a:srgbClr val="0A3E56"/>
                </a:solidFill>
                <a:latin typeface="+mj-lt"/>
                <a:cs typeface="Calibri Light"/>
              </a:rPr>
              <a:t>Creativity is the key </a:t>
            </a:r>
            <a:r>
              <a:rPr lang="en-US" sz="2000" dirty="0">
                <a:latin typeface="+mj-lt"/>
                <a:cs typeface="Calibri Light"/>
              </a:rPr>
              <a:t>to success in the future, and primary education where teachers can bring creativity in children at that level keep growing</a:t>
            </a:r>
            <a:r>
              <a:rPr lang="en-US" sz="2000" dirty="0" smtClean="0">
                <a:latin typeface="+mj-lt"/>
                <a:cs typeface="Calibri Light"/>
              </a:rPr>
              <a:t>.</a:t>
            </a:r>
            <a:endParaRPr lang="en-US" sz="2000" dirty="0">
              <a:latin typeface="+mj-lt"/>
              <a:cs typeface="Calibri Light"/>
            </a:endParaRPr>
          </a:p>
        </p:txBody>
      </p:sp>
      <p:grpSp>
        <p:nvGrpSpPr>
          <p:cNvPr id="58" name="Group 57"/>
          <p:cNvGrpSpPr/>
          <p:nvPr>
            <p:custDataLst>
              <p:tags r:id="rId1"/>
            </p:custDataLst>
          </p:nvPr>
        </p:nvGrpSpPr>
        <p:grpSpPr>
          <a:xfrm>
            <a:off x="3296636" y="3011764"/>
            <a:ext cx="3162761" cy="809437"/>
            <a:chOff x="3296636" y="2910166"/>
            <a:chExt cx="3162761" cy="809437"/>
          </a:xfrm>
        </p:grpSpPr>
        <p:sp>
          <p:nvSpPr>
            <p:cNvPr id="7" name="Freeform 83"/>
            <p:cNvSpPr>
              <a:spLocks noChangeArrowheads="1"/>
            </p:cNvSpPr>
            <p:nvPr/>
          </p:nvSpPr>
          <p:spPr bwMode="auto">
            <a:xfrm>
              <a:off x="3296636" y="2910166"/>
              <a:ext cx="266136" cy="809437"/>
            </a:xfrm>
            <a:custGeom>
              <a:avLst/>
              <a:gdLst>
                <a:gd name="T0" fmla="*/ 305 w 306"/>
                <a:gd name="T1" fmla="*/ 375 h 925"/>
                <a:gd name="T2" fmla="*/ 305 w 306"/>
                <a:gd name="T3" fmla="*/ 375 h 925"/>
                <a:gd name="T4" fmla="*/ 196 w 306"/>
                <a:gd name="T5" fmla="*/ 206 h 925"/>
                <a:gd name="T6" fmla="*/ 261 w 306"/>
                <a:gd name="T7" fmla="*/ 109 h 925"/>
                <a:gd name="T8" fmla="*/ 152 w 306"/>
                <a:gd name="T9" fmla="*/ 0 h 925"/>
                <a:gd name="T10" fmla="*/ 44 w 306"/>
                <a:gd name="T11" fmla="*/ 109 h 925"/>
                <a:gd name="T12" fmla="*/ 109 w 306"/>
                <a:gd name="T13" fmla="*/ 206 h 925"/>
                <a:gd name="T14" fmla="*/ 0 w 306"/>
                <a:gd name="T15" fmla="*/ 375 h 925"/>
                <a:gd name="T16" fmla="*/ 0 w 306"/>
                <a:gd name="T17" fmla="*/ 636 h 925"/>
                <a:gd name="T18" fmla="*/ 93 w 306"/>
                <a:gd name="T19" fmla="*/ 636 h 925"/>
                <a:gd name="T20" fmla="*/ 93 w 306"/>
                <a:gd name="T21" fmla="*/ 924 h 925"/>
                <a:gd name="T22" fmla="*/ 131 w 306"/>
                <a:gd name="T23" fmla="*/ 924 h 925"/>
                <a:gd name="T24" fmla="*/ 152 w 306"/>
                <a:gd name="T25" fmla="*/ 674 h 925"/>
                <a:gd name="T26" fmla="*/ 180 w 306"/>
                <a:gd name="T27" fmla="*/ 924 h 925"/>
                <a:gd name="T28" fmla="*/ 212 w 306"/>
                <a:gd name="T29" fmla="*/ 924 h 925"/>
                <a:gd name="T30" fmla="*/ 212 w 306"/>
                <a:gd name="T31" fmla="*/ 636 h 925"/>
                <a:gd name="T32" fmla="*/ 305 w 306"/>
                <a:gd name="T33" fmla="*/ 636 h 925"/>
                <a:gd name="T34" fmla="*/ 305 w 306"/>
                <a:gd name="T35" fmla="*/ 37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925">
                  <a:moveTo>
                    <a:pt x="305" y="375"/>
                  </a:moveTo>
                  <a:lnTo>
                    <a:pt x="305" y="375"/>
                  </a:lnTo>
                  <a:cubicBezTo>
                    <a:pt x="305" y="288"/>
                    <a:pt x="261" y="223"/>
                    <a:pt x="196" y="206"/>
                  </a:cubicBezTo>
                  <a:cubicBezTo>
                    <a:pt x="234" y="190"/>
                    <a:pt x="261" y="152"/>
                    <a:pt x="261" y="109"/>
                  </a:cubicBezTo>
                  <a:cubicBezTo>
                    <a:pt x="261" y="49"/>
                    <a:pt x="212" y="0"/>
                    <a:pt x="152" y="0"/>
                  </a:cubicBezTo>
                  <a:cubicBezTo>
                    <a:pt x="93" y="0"/>
                    <a:pt x="44" y="49"/>
                    <a:pt x="44" y="109"/>
                  </a:cubicBezTo>
                  <a:cubicBezTo>
                    <a:pt x="44" y="152"/>
                    <a:pt x="71" y="190"/>
                    <a:pt x="109" y="206"/>
                  </a:cubicBezTo>
                  <a:cubicBezTo>
                    <a:pt x="49" y="223"/>
                    <a:pt x="0" y="288"/>
                    <a:pt x="0" y="375"/>
                  </a:cubicBezTo>
                  <a:cubicBezTo>
                    <a:pt x="0" y="636"/>
                    <a:pt x="0" y="636"/>
                    <a:pt x="0" y="636"/>
                  </a:cubicBezTo>
                  <a:cubicBezTo>
                    <a:pt x="93" y="636"/>
                    <a:pt x="93" y="636"/>
                    <a:pt x="93" y="636"/>
                  </a:cubicBezTo>
                  <a:cubicBezTo>
                    <a:pt x="93" y="924"/>
                    <a:pt x="93" y="924"/>
                    <a:pt x="93" y="924"/>
                  </a:cubicBezTo>
                  <a:cubicBezTo>
                    <a:pt x="131" y="924"/>
                    <a:pt x="131" y="924"/>
                    <a:pt x="131" y="924"/>
                  </a:cubicBezTo>
                  <a:cubicBezTo>
                    <a:pt x="152" y="674"/>
                    <a:pt x="152" y="674"/>
                    <a:pt x="152" y="674"/>
                  </a:cubicBezTo>
                  <a:cubicBezTo>
                    <a:pt x="180" y="924"/>
                    <a:pt x="180" y="924"/>
                    <a:pt x="180" y="924"/>
                  </a:cubicBezTo>
                  <a:cubicBezTo>
                    <a:pt x="212" y="924"/>
                    <a:pt x="212" y="924"/>
                    <a:pt x="212" y="924"/>
                  </a:cubicBezTo>
                  <a:cubicBezTo>
                    <a:pt x="212" y="636"/>
                    <a:pt x="212" y="636"/>
                    <a:pt x="212" y="636"/>
                  </a:cubicBezTo>
                  <a:cubicBezTo>
                    <a:pt x="305" y="636"/>
                    <a:pt x="305" y="636"/>
                    <a:pt x="305" y="636"/>
                  </a:cubicBezTo>
                  <a:lnTo>
                    <a:pt x="305" y="375"/>
                  </a:lnTo>
                </a:path>
              </a:pathLst>
            </a:custGeom>
            <a:solidFill>
              <a:srgbClr val="0A3E56"/>
            </a:solidFill>
            <a:ln>
              <a:noFill/>
            </a:ln>
            <a:effectLst/>
          </p:spPr>
          <p:txBody>
            <a:bodyPr wrap="none" lIns="121853" tIns="60926" rIns="121853" bIns="60926" anchor="ctr"/>
            <a:lstStyle/>
            <a:p>
              <a:endParaRPr lang="en-US" dirty="0">
                <a:latin typeface="Calibri Light"/>
              </a:endParaRPr>
            </a:p>
          </p:txBody>
        </p:sp>
        <p:sp>
          <p:nvSpPr>
            <p:cNvPr id="8" name="Freeform 84"/>
            <p:cNvSpPr>
              <a:spLocks noChangeArrowheads="1"/>
            </p:cNvSpPr>
            <p:nvPr/>
          </p:nvSpPr>
          <p:spPr bwMode="auto">
            <a:xfrm>
              <a:off x="3620627" y="2910166"/>
              <a:ext cx="266136" cy="809437"/>
            </a:xfrm>
            <a:custGeom>
              <a:avLst/>
              <a:gdLst>
                <a:gd name="T0" fmla="*/ 304 w 305"/>
                <a:gd name="T1" fmla="*/ 375 h 925"/>
                <a:gd name="T2" fmla="*/ 304 w 305"/>
                <a:gd name="T3" fmla="*/ 375 h 925"/>
                <a:gd name="T4" fmla="*/ 195 w 305"/>
                <a:gd name="T5" fmla="*/ 206 h 925"/>
                <a:gd name="T6" fmla="*/ 261 w 305"/>
                <a:gd name="T7" fmla="*/ 109 h 925"/>
                <a:gd name="T8" fmla="*/ 152 w 305"/>
                <a:gd name="T9" fmla="*/ 0 h 925"/>
                <a:gd name="T10" fmla="*/ 43 w 305"/>
                <a:gd name="T11" fmla="*/ 109 h 925"/>
                <a:gd name="T12" fmla="*/ 108 w 305"/>
                <a:gd name="T13" fmla="*/ 206 h 925"/>
                <a:gd name="T14" fmla="*/ 0 w 305"/>
                <a:gd name="T15" fmla="*/ 375 h 925"/>
                <a:gd name="T16" fmla="*/ 0 w 305"/>
                <a:gd name="T17" fmla="*/ 636 h 925"/>
                <a:gd name="T18" fmla="*/ 87 w 305"/>
                <a:gd name="T19" fmla="*/ 636 h 925"/>
                <a:gd name="T20" fmla="*/ 87 w 305"/>
                <a:gd name="T21" fmla="*/ 924 h 925"/>
                <a:gd name="T22" fmla="*/ 125 w 305"/>
                <a:gd name="T23" fmla="*/ 924 h 925"/>
                <a:gd name="T24" fmla="*/ 152 w 305"/>
                <a:gd name="T25" fmla="*/ 674 h 925"/>
                <a:gd name="T26" fmla="*/ 174 w 305"/>
                <a:gd name="T27" fmla="*/ 924 h 925"/>
                <a:gd name="T28" fmla="*/ 212 w 305"/>
                <a:gd name="T29" fmla="*/ 924 h 925"/>
                <a:gd name="T30" fmla="*/ 212 w 305"/>
                <a:gd name="T31" fmla="*/ 636 h 925"/>
                <a:gd name="T32" fmla="*/ 304 w 305"/>
                <a:gd name="T33" fmla="*/ 636 h 925"/>
                <a:gd name="T34" fmla="*/ 304 w 305"/>
                <a:gd name="T35" fmla="*/ 37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925">
                  <a:moveTo>
                    <a:pt x="304" y="375"/>
                  </a:moveTo>
                  <a:lnTo>
                    <a:pt x="304" y="375"/>
                  </a:lnTo>
                  <a:cubicBezTo>
                    <a:pt x="304" y="288"/>
                    <a:pt x="255" y="223"/>
                    <a:pt x="195" y="206"/>
                  </a:cubicBezTo>
                  <a:cubicBezTo>
                    <a:pt x="233" y="190"/>
                    <a:pt x="261" y="152"/>
                    <a:pt x="261" y="109"/>
                  </a:cubicBezTo>
                  <a:cubicBezTo>
                    <a:pt x="261" y="49"/>
                    <a:pt x="212" y="0"/>
                    <a:pt x="152" y="0"/>
                  </a:cubicBezTo>
                  <a:cubicBezTo>
                    <a:pt x="92" y="0"/>
                    <a:pt x="43" y="49"/>
                    <a:pt x="43" y="109"/>
                  </a:cubicBezTo>
                  <a:cubicBezTo>
                    <a:pt x="43" y="152"/>
                    <a:pt x="70" y="190"/>
                    <a:pt x="108" y="206"/>
                  </a:cubicBezTo>
                  <a:cubicBezTo>
                    <a:pt x="43" y="223"/>
                    <a:pt x="0" y="288"/>
                    <a:pt x="0" y="375"/>
                  </a:cubicBezTo>
                  <a:cubicBezTo>
                    <a:pt x="0" y="636"/>
                    <a:pt x="0" y="636"/>
                    <a:pt x="0" y="636"/>
                  </a:cubicBezTo>
                  <a:cubicBezTo>
                    <a:pt x="87" y="636"/>
                    <a:pt x="87" y="636"/>
                    <a:pt x="87" y="636"/>
                  </a:cubicBezTo>
                  <a:cubicBezTo>
                    <a:pt x="87" y="924"/>
                    <a:pt x="87" y="924"/>
                    <a:pt x="87" y="924"/>
                  </a:cubicBezTo>
                  <a:cubicBezTo>
                    <a:pt x="125" y="924"/>
                    <a:pt x="125" y="924"/>
                    <a:pt x="125" y="924"/>
                  </a:cubicBezTo>
                  <a:cubicBezTo>
                    <a:pt x="152" y="674"/>
                    <a:pt x="152" y="674"/>
                    <a:pt x="152" y="674"/>
                  </a:cubicBezTo>
                  <a:cubicBezTo>
                    <a:pt x="174" y="924"/>
                    <a:pt x="174" y="924"/>
                    <a:pt x="174" y="924"/>
                  </a:cubicBezTo>
                  <a:cubicBezTo>
                    <a:pt x="212" y="924"/>
                    <a:pt x="212" y="924"/>
                    <a:pt x="212" y="924"/>
                  </a:cubicBezTo>
                  <a:cubicBezTo>
                    <a:pt x="212" y="636"/>
                    <a:pt x="212" y="636"/>
                    <a:pt x="212" y="636"/>
                  </a:cubicBezTo>
                  <a:cubicBezTo>
                    <a:pt x="304" y="636"/>
                    <a:pt x="304" y="636"/>
                    <a:pt x="304" y="636"/>
                  </a:cubicBezTo>
                  <a:lnTo>
                    <a:pt x="304" y="375"/>
                  </a:lnTo>
                </a:path>
              </a:pathLst>
            </a:custGeom>
            <a:solidFill>
              <a:srgbClr val="0A3E56"/>
            </a:solidFill>
            <a:ln>
              <a:noFill/>
            </a:ln>
            <a:effectLst/>
          </p:spPr>
          <p:txBody>
            <a:bodyPr wrap="none" lIns="121853" tIns="60926" rIns="121853" bIns="60926" anchor="ctr"/>
            <a:lstStyle/>
            <a:p>
              <a:endParaRPr lang="en-US" dirty="0">
                <a:latin typeface="Calibri Light"/>
              </a:endParaRPr>
            </a:p>
          </p:txBody>
        </p:sp>
        <p:sp>
          <p:nvSpPr>
            <p:cNvPr id="9" name="Freeform 85"/>
            <p:cNvSpPr>
              <a:spLocks noChangeArrowheads="1"/>
            </p:cNvSpPr>
            <p:nvPr/>
          </p:nvSpPr>
          <p:spPr bwMode="auto">
            <a:xfrm>
              <a:off x="3940762" y="2910166"/>
              <a:ext cx="266133" cy="809437"/>
            </a:xfrm>
            <a:custGeom>
              <a:avLst/>
              <a:gdLst>
                <a:gd name="T0" fmla="*/ 304 w 305"/>
                <a:gd name="T1" fmla="*/ 375 h 925"/>
                <a:gd name="T2" fmla="*/ 304 w 305"/>
                <a:gd name="T3" fmla="*/ 375 h 925"/>
                <a:gd name="T4" fmla="*/ 196 w 305"/>
                <a:gd name="T5" fmla="*/ 206 h 925"/>
                <a:gd name="T6" fmla="*/ 261 w 305"/>
                <a:gd name="T7" fmla="*/ 109 h 925"/>
                <a:gd name="T8" fmla="*/ 152 w 305"/>
                <a:gd name="T9" fmla="*/ 0 h 925"/>
                <a:gd name="T10" fmla="*/ 43 w 305"/>
                <a:gd name="T11" fmla="*/ 109 h 925"/>
                <a:gd name="T12" fmla="*/ 109 w 305"/>
                <a:gd name="T13" fmla="*/ 206 h 925"/>
                <a:gd name="T14" fmla="*/ 0 w 305"/>
                <a:gd name="T15" fmla="*/ 375 h 925"/>
                <a:gd name="T16" fmla="*/ 0 w 305"/>
                <a:gd name="T17" fmla="*/ 636 h 925"/>
                <a:gd name="T18" fmla="*/ 92 w 305"/>
                <a:gd name="T19" fmla="*/ 636 h 925"/>
                <a:gd name="T20" fmla="*/ 92 w 305"/>
                <a:gd name="T21" fmla="*/ 924 h 925"/>
                <a:gd name="T22" fmla="*/ 130 w 305"/>
                <a:gd name="T23" fmla="*/ 924 h 925"/>
                <a:gd name="T24" fmla="*/ 152 w 305"/>
                <a:gd name="T25" fmla="*/ 674 h 925"/>
                <a:gd name="T26" fmla="*/ 179 w 305"/>
                <a:gd name="T27" fmla="*/ 924 h 925"/>
                <a:gd name="T28" fmla="*/ 217 w 305"/>
                <a:gd name="T29" fmla="*/ 924 h 925"/>
                <a:gd name="T30" fmla="*/ 217 w 305"/>
                <a:gd name="T31" fmla="*/ 636 h 925"/>
                <a:gd name="T32" fmla="*/ 304 w 305"/>
                <a:gd name="T33" fmla="*/ 636 h 925"/>
                <a:gd name="T34" fmla="*/ 304 w 305"/>
                <a:gd name="T35" fmla="*/ 37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925">
                  <a:moveTo>
                    <a:pt x="304" y="375"/>
                  </a:moveTo>
                  <a:lnTo>
                    <a:pt x="304" y="375"/>
                  </a:lnTo>
                  <a:cubicBezTo>
                    <a:pt x="304" y="288"/>
                    <a:pt x="261" y="223"/>
                    <a:pt x="196" y="206"/>
                  </a:cubicBezTo>
                  <a:cubicBezTo>
                    <a:pt x="233" y="190"/>
                    <a:pt x="261" y="152"/>
                    <a:pt x="261" y="109"/>
                  </a:cubicBezTo>
                  <a:cubicBezTo>
                    <a:pt x="261" y="49"/>
                    <a:pt x="212" y="0"/>
                    <a:pt x="152" y="0"/>
                  </a:cubicBezTo>
                  <a:cubicBezTo>
                    <a:pt x="92" y="0"/>
                    <a:pt x="43" y="49"/>
                    <a:pt x="43" y="109"/>
                  </a:cubicBezTo>
                  <a:cubicBezTo>
                    <a:pt x="43" y="152"/>
                    <a:pt x="70" y="190"/>
                    <a:pt x="109" y="206"/>
                  </a:cubicBezTo>
                  <a:cubicBezTo>
                    <a:pt x="49" y="223"/>
                    <a:pt x="0" y="288"/>
                    <a:pt x="0" y="375"/>
                  </a:cubicBezTo>
                  <a:cubicBezTo>
                    <a:pt x="0" y="636"/>
                    <a:pt x="0" y="636"/>
                    <a:pt x="0" y="636"/>
                  </a:cubicBezTo>
                  <a:cubicBezTo>
                    <a:pt x="92" y="636"/>
                    <a:pt x="92" y="636"/>
                    <a:pt x="92" y="636"/>
                  </a:cubicBezTo>
                  <a:cubicBezTo>
                    <a:pt x="92" y="924"/>
                    <a:pt x="92" y="924"/>
                    <a:pt x="92" y="924"/>
                  </a:cubicBezTo>
                  <a:cubicBezTo>
                    <a:pt x="130" y="924"/>
                    <a:pt x="130" y="924"/>
                    <a:pt x="130" y="924"/>
                  </a:cubicBezTo>
                  <a:cubicBezTo>
                    <a:pt x="152" y="674"/>
                    <a:pt x="152" y="674"/>
                    <a:pt x="152" y="674"/>
                  </a:cubicBezTo>
                  <a:cubicBezTo>
                    <a:pt x="179" y="924"/>
                    <a:pt x="179" y="924"/>
                    <a:pt x="179" y="924"/>
                  </a:cubicBezTo>
                  <a:cubicBezTo>
                    <a:pt x="217" y="924"/>
                    <a:pt x="217" y="924"/>
                    <a:pt x="217" y="924"/>
                  </a:cubicBezTo>
                  <a:cubicBezTo>
                    <a:pt x="217" y="636"/>
                    <a:pt x="217" y="636"/>
                    <a:pt x="217" y="636"/>
                  </a:cubicBezTo>
                  <a:cubicBezTo>
                    <a:pt x="304" y="636"/>
                    <a:pt x="304" y="636"/>
                    <a:pt x="304" y="636"/>
                  </a:cubicBezTo>
                  <a:lnTo>
                    <a:pt x="304" y="375"/>
                  </a:lnTo>
                </a:path>
              </a:pathLst>
            </a:custGeom>
            <a:solidFill>
              <a:srgbClr val="0A3E56"/>
            </a:solidFill>
            <a:ln>
              <a:noFill/>
            </a:ln>
            <a:effectLst/>
          </p:spPr>
          <p:txBody>
            <a:bodyPr wrap="none" lIns="121853" tIns="60926" rIns="121853" bIns="60926" anchor="ctr"/>
            <a:lstStyle/>
            <a:p>
              <a:endParaRPr lang="en-US" dirty="0">
                <a:latin typeface="Calibri Light"/>
              </a:endParaRPr>
            </a:p>
          </p:txBody>
        </p:sp>
        <p:sp>
          <p:nvSpPr>
            <p:cNvPr id="10" name="Freeform 86"/>
            <p:cNvSpPr>
              <a:spLocks noChangeArrowheads="1"/>
            </p:cNvSpPr>
            <p:nvPr/>
          </p:nvSpPr>
          <p:spPr bwMode="auto">
            <a:xfrm>
              <a:off x="4260892" y="2910166"/>
              <a:ext cx="266136" cy="809437"/>
            </a:xfrm>
            <a:custGeom>
              <a:avLst/>
              <a:gdLst>
                <a:gd name="T0" fmla="*/ 305 w 306"/>
                <a:gd name="T1" fmla="*/ 375 h 925"/>
                <a:gd name="T2" fmla="*/ 305 w 306"/>
                <a:gd name="T3" fmla="*/ 375 h 925"/>
                <a:gd name="T4" fmla="*/ 196 w 306"/>
                <a:gd name="T5" fmla="*/ 206 h 925"/>
                <a:gd name="T6" fmla="*/ 261 w 306"/>
                <a:gd name="T7" fmla="*/ 109 h 925"/>
                <a:gd name="T8" fmla="*/ 153 w 306"/>
                <a:gd name="T9" fmla="*/ 0 h 925"/>
                <a:gd name="T10" fmla="*/ 44 w 306"/>
                <a:gd name="T11" fmla="*/ 109 h 925"/>
                <a:gd name="T12" fmla="*/ 109 w 306"/>
                <a:gd name="T13" fmla="*/ 206 h 925"/>
                <a:gd name="T14" fmla="*/ 0 w 306"/>
                <a:gd name="T15" fmla="*/ 375 h 925"/>
                <a:gd name="T16" fmla="*/ 0 w 306"/>
                <a:gd name="T17" fmla="*/ 636 h 925"/>
                <a:gd name="T18" fmla="*/ 93 w 306"/>
                <a:gd name="T19" fmla="*/ 636 h 925"/>
                <a:gd name="T20" fmla="*/ 93 w 306"/>
                <a:gd name="T21" fmla="*/ 924 h 925"/>
                <a:gd name="T22" fmla="*/ 125 w 306"/>
                <a:gd name="T23" fmla="*/ 924 h 925"/>
                <a:gd name="T24" fmla="*/ 153 w 306"/>
                <a:gd name="T25" fmla="*/ 674 h 925"/>
                <a:gd name="T26" fmla="*/ 174 w 306"/>
                <a:gd name="T27" fmla="*/ 924 h 925"/>
                <a:gd name="T28" fmla="*/ 212 w 306"/>
                <a:gd name="T29" fmla="*/ 924 h 925"/>
                <a:gd name="T30" fmla="*/ 212 w 306"/>
                <a:gd name="T31" fmla="*/ 636 h 925"/>
                <a:gd name="T32" fmla="*/ 305 w 306"/>
                <a:gd name="T33" fmla="*/ 636 h 925"/>
                <a:gd name="T34" fmla="*/ 305 w 306"/>
                <a:gd name="T35" fmla="*/ 37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925">
                  <a:moveTo>
                    <a:pt x="305" y="375"/>
                  </a:moveTo>
                  <a:lnTo>
                    <a:pt x="305" y="375"/>
                  </a:lnTo>
                  <a:cubicBezTo>
                    <a:pt x="305" y="288"/>
                    <a:pt x="256" y="223"/>
                    <a:pt x="196" y="206"/>
                  </a:cubicBezTo>
                  <a:cubicBezTo>
                    <a:pt x="234" y="190"/>
                    <a:pt x="261" y="152"/>
                    <a:pt x="261" y="109"/>
                  </a:cubicBezTo>
                  <a:cubicBezTo>
                    <a:pt x="261" y="49"/>
                    <a:pt x="212" y="0"/>
                    <a:pt x="153" y="0"/>
                  </a:cubicBezTo>
                  <a:cubicBezTo>
                    <a:pt x="93" y="0"/>
                    <a:pt x="44" y="49"/>
                    <a:pt x="44" y="109"/>
                  </a:cubicBezTo>
                  <a:cubicBezTo>
                    <a:pt x="44" y="152"/>
                    <a:pt x="71" y="190"/>
                    <a:pt x="109" y="206"/>
                  </a:cubicBezTo>
                  <a:cubicBezTo>
                    <a:pt x="44" y="223"/>
                    <a:pt x="0" y="288"/>
                    <a:pt x="0" y="375"/>
                  </a:cubicBezTo>
                  <a:cubicBezTo>
                    <a:pt x="0" y="636"/>
                    <a:pt x="0" y="636"/>
                    <a:pt x="0" y="636"/>
                  </a:cubicBezTo>
                  <a:cubicBezTo>
                    <a:pt x="93" y="636"/>
                    <a:pt x="93" y="636"/>
                    <a:pt x="93" y="636"/>
                  </a:cubicBezTo>
                  <a:cubicBezTo>
                    <a:pt x="93" y="924"/>
                    <a:pt x="93" y="924"/>
                    <a:pt x="93" y="924"/>
                  </a:cubicBezTo>
                  <a:cubicBezTo>
                    <a:pt x="125" y="924"/>
                    <a:pt x="125" y="924"/>
                    <a:pt x="125" y="924"/>
                  </a:cubicBezTo>
                  <a:cubicBezTo>
                    <a:pt x="153" y="674"/>
                    <a:pt x="153" y="674"/>
                    <a:pt x="153" y="674"/>
                  </a:cubicBezTo>
                  <a:cubicBezTo>
                    <a:pt x="174" y="924"/>
                    <a:pt x="174" y="924"/>
                    <a:pt x="174" y="924"/>
                  </a:cubicBezTo>
                  <a:cubicBezTo>
                    <a:pt x="212" y="924"/>
                    <a:pt x="212" y="924"/>
                    <a:pt x="212" y="924"/>
                  </a:cubicBezTo>
                  <a:cubicBezTo>
                    <a:pt x="212" y="636"/>
                    <a:pt x="212" y="636"/>
                    <a:pt x="212" y="636"/>
                  </a:cubicBezTo>
                  <a:cubicBezTo>
                    <a:pt x="305" y="636"/>
                    <a:pt x="305" y="636"/>
                    <a:pt x="305" y="636"/>
                  </a:cubicBezTo>
                  <a:lnTo>
                    <a:pt x="305" y="375"/>
                  </a:lnTo>
                </a:path>
              </a:pathLst>
            </a:custGeom>
            <a:solidFill>
              <a:srgbClr val="0A3E56"/>
            </a:solidFill>
            <a:ln>
              <a:noFill/>
            </a:ln>
            <a:effectLst/>
          </p:spPr>
          <p:txBody>
            <a:bodyPr wrap="none" lIns="121853" tIns="60926" rIns="121853" bIns="60926" anchor="ctr"/>
            <a:lstStyle/>
            <a:p>
              <a:endParaRPr lang="en-US" dirty="0">
                <a:latin typeface="Calibri Light"/>
              </a:endParaRPr>
            </a:p>
          </p:txBody>
        </p:sp>
        <p:sp>
          <p:nvSpPr>
            <p:cNvPr id="11" name="Freeform 87"/>
            <p:cNvSpPr>
              <a:spLocks noChangeArrowheads="1"/>
            </p:cNvSpPr>
            <p:nvPr/>
          </p:nvSpPr>
          <p:spPr bwMode="auto">
            <a:xfrm>
              <a:off x="4581029" y="2910166"/>
              <a:ext cx="266133" cy="809437"/>
            </a:xfrm>
            <a:custGeom>
              <a:avLst/>
              <a:gdLst>
                <a:gd name="T0" fmla="*/ 305 w 306"/>
                <a:gd name="T1" fmla="*/ 375 h 925"/>
                <a:gd name="T2" fmla="*/ 305 w 306"/>
                <a:gd name="T3" fmla="*/ 375 h 925"/>
                <a:gd name="T4" fmla="*/ 196 w 306"/>
                <a:gd name="T5" fmla="*/ 206 h 925"/>
                <a:gd name="T6" fmla="*/ 261 w 306"/>
                <a:gd name="T7" fmla="*/ 109 h 925"/>
                <a:gd name="T8" fmla="*/ 153 w 306"/>
                <a:gd name="T9" fmla="*/ 0 h 925"/>
                <a:gd name="T10" fmla="*/ 44 w 306"/>
                <a:gd name="T11" fmla="*/ 109 h 925"/>
                <a:gd name="T12" fmla="*/ 109 w 306"/>
                <a:gd name="T13" fmla="*/ 206 h 925"/>
                <a:gd name="T14" fmla="*/ 0 w 306"/>
                <a:gd name="T15" fmla="*/ 375 h 925"/>
                <a:gd name="T16" fmla="*/ 0 w 306"/>
                <a:gd name="T17" fmla="*/ 636 h 925"/>
                <a:gd name="T18" fmla="*/ 93 w 306"/>
                <a:gd name="T19" fmla="*/ 636 h 925"/>
                <a:gd name="T20" fmla="*/ 93 w 306"/>
                <a:gd name="T21" fmla="*/ 924 h 925"/>
                <a:gd name="T22" fmla="*/ 131 w 306"/>
                <a:gd name="T23" fmla="*/ 924 h 925"/>
                <a:gd name="T24" fmla="*/ 153 w 306"/>
                <a:gd name="T25" fmla="*/ 674 h 925"/>
                <a:gd name="T26" fmla="*/ 180 w 306"/>
                <a:gd name="T27" fmla="*/ 924 h 925"/>
                <a:gd name="T28" fmla="*/ 218 w 306"/>
                <a:gd name="T29" fmla="*/ 924 h 925"/>
                <a:gd name="T30" fmla="*/ 218 w 306"/>
                <a:gd name="T31" fmla="*/ 636 h 925"/>
                <a:gd name="T32" fmla="*/ 305 w 306"/>
                <a:gd name="T33" fmla="*/ 636 h 925"/>
                <a:gd name="T34" fmla="*/ 305 w 306"/>
                <a:gd name="T35" fmla="*/ 37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925">
                  <a:moveTo>
                    <a:pt x="305" y="375"/>
                  </a:moveTo>
                  <a:lnTo>
                    <a:pt x="305" y="375"/>
                  </a:lnTo>
                  <a:cubicBezTo>
                    <a:pt x="305" y="288"/>
                    <a:pt x="261" y="223"/>
                    <a:pt x="196" y="206"/>
                  </a:cubicBezTo>
                  <a:cubicBezTo>
                    <a:pt x="234" y="190"/>
                    <a:pt x="261" y="152"/>
                    <a:pt x="261" y="109"/>
                  </a:cubicBezTo>
                  <a:cubicBezTo>
                    <a:pt x="261" y="49"/>
                    <a:pt x="212" y="0"/>
                    <a:pt x="153" y="0"/>
                  </a:cubicBezTo>
                  <a:cubicBezTo>
                    <a:pt x="93" y="0"/>
                    <a:pt x="44" y="49"/>
                    <a:pt x="44" y="109"/>
                  </a:cubicBezTo>
                  <a:cubicBezTo>
                    <a:pt x="44" y="152"/>
                    <a:pt x="71" y="190"/>
                    <a:pt x="109" y="206"/>
                  </a:cubicBezTo>
                  <a:cubicBezTo>
                    <a:pt x="49" y="223"/>
                    <a:pt x="0" y="288"/>
                    <a:pt x="0" y="375"/>
                  </a:cubicBezTo>
                  <a:cubicBezTo>
                    <a:pt x="0" y="636"/>
                    <a:pt x="0" y="636"/>
                    <a:pt x="0" y="636"/>
                  </a:cubicBezTo>
                  <a:cubicBezTo>
                    <a:pt x="93" y="636"/>
                    <a:pt x="93" y="636"/>
                    <a:pt x="93" y="636"/>
                  </a:cubicBezTo>
                  <a:cubicBezTo>
                    <a:pt x="93" y="924"/>
                    <a:pt x="93" y="924"/>
                    <a:pt x="93" y="924"/>
                  </a:cubicBezTo>
                  <a:cubicBezTo>
                    <a:pt x="131" y="924"/>
                    <a:pt x="131" y="924"/>
                    <a:pt x="131" y="924"/>
                  </a:cubicBezTo>
                  <a:cubicBezTo>
                    <a:pt x="153" y="674"/>
                    <a:pt x="153" y="674"/>
                    <a:pt x="153" y="674"/>
                  </a:cubicBezTo>
                  <a:cubicBezTo>
                    <a:pt x="180" y="924"/>
                    <a:pt x="180" y="924"/>
                    <a:pt x="180" y="924"/>
                  </a:cubicBezTo>
                  <a:cubicBezTo>
                    <a:pt x="218" y="924"/>
                    <a:pt x="218" y="924"/>
                    <a:pt x="218" y="924"/>
                  </a:cubicBezTo>
                  <a:cubicBezTo>
                    <a:pt x="218" y="636"/>
                    <a:pt x="218" y="636"/>
                    <a:pt x="218" y="636"/>
                  </a:cubicBezTo>
                  <a:cubicBezTo>
                    <a:pt x="305" y="636"/>
                    <a:pt x="305" y="636"/>
                    <a:pt x="305" y="636"/>
                  </a:cubicBezTo>
                  <a:lnTo>
                    <a:pt x="305" y="375"/>
                  </a:lnTo>
                </a:path>
              </a:pathLst>
            </a:custGeom>
            <a:solidFill>
              <a:srgbClr val="0A3E56"/>
            </a:solidFill>
            <a:ln>
              <a:noFill/>
            </a:ln>
            <a:effectLst/>
          </p:spPr>
          <p:txBody>
            <a:bodyPr wrap="none" lIns="121853" tIns="60926" rIns="121853" bIns="60926" anchor="ctr"/>
            <a:lstStyle/>
            <a:p>
              <a:endParaRPr lang="en-US" dirty="0">
                <a:latin typeface="Calibri Light"/>
              </a:endParaRPr>
            </a:p>
          </p:txBody>
        </p:sp>
        <p:sp>
          <p:nvSpPr>
            <p:cNvPr id="12" name="Freeform 88"/>
            <p:cNvSpPr>
              <a:spLocks noChangeArrowheads="1"/>
            </p:cNvSpPr>
            <p:nvPr/>
          </p:nvSpPr>
          <p:spPr bwMode="auto">
            <a:xfrm>
              <a:off x="4908873" y="2910166"/>
              <a:ext cx="266136" cy="809437"/>
            </a:xfrm>
            <a:custGeom>
              <a:avLst/>
              <a:gdLst>
                <a:gd name="T0" fmla="*/ 305 w 306"/>
                <a:gd name="T1" fmla="*/ 375 h 925"/>
                <a:gd name="T2" fmla="*/ 305 w 306"/>
                <a:gd name="T3" fmla="*/ 375 h 925"/>
                <a:gd name="T4" fmla="*/ 196 w 306"/>
                <a:gd name="T5" fmla="*/ 206 h 925"/>
                <a:gd name="T6" fmla="*/ 261 w 306"/>
                <a:gd name="T7" fmla="*/ 109 h 925"/>
                <a:gd name="T8" fmla="*/ 153 w 306"/>
                <a:gd name="T9" fmla="*/ 0 h 925"/>
                <a:gd name="T10" fmla="*/ 44 w 306"/>
                <a:gd name="T11" fmla="*/ 109 h 925"/>
                <a:gd name="T12" fmla="*/ 109 w 306"/>
                <a:gd name="T13" fmla="*/ 206 h 925"/>
                <a:gd name="T14" fmla="*/ 0 w 306"/>
                <a:gd name="T15" fmla="*/ 375 h 925"/>
                <a:gd name="T16" fmla="*/ 0 w 306"/>
                <a:gd name="T17" fmla="*/ 636 h 925"/>
                <a:gd name="T18" fmla="*/ 93 w 306"/>
                <a:gd name="T19" fmla="*/ 636 h 925"/>
                <a:gd name="T20" fmla="*/ 93 w 306"/>
                <a:gd name="T21" fmla="*/ 924 h 925"/>
                <a:gd name="T22" fmla="*/ 125 w 306"/>
                <a:gd name="T23" fmla="*/ 924 h 925"/>
                <a:gd name="T24" fmla="*/ 153 w 306"/>
                <a:gd name="T25" fmla="*/ 674 h 925"/>
                <a:gd name="T26" fmla="*/ 174 w 306"/>
                <a:gd name="T27" fmla="*/ 924 h 925"/>
                <a:gd name="T28" fmla="*/ 212 w 306"/>
                <a:gd name="T29" fmla="*/ 924 h 925"/>
                <a:gd name="T30" fmla="*/ 212 w 306"/>
                <a:gd name="T31" fmla="*/ 636 h 925"/>
                <a:gd name="T32" fmla="*/ 305 w 306"/>
                <a:gd name="T33" fmla="*/ 636 h 925"/>
                <a:gd name="T34" fmla="*/ 305 w 306"/>
                <a:gd name="T35" fmla="*/ 37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925">
                  <a:moveTo>
                    <a:pt x="305" y="375"/>
                  </a:moveTo>
                  <a:lnTo>
                    <a:pt x="305" y="375"/>
                  </a:lnTo>
                  <a:cubicBezTo>
                    <a:pt x="305" y="288"/>
                    <a:pt x="256" y="223"/>
                    <a:pt x="196" y="206"/>
                  </a:cubicBezTo>
                  <a:cubicBezTo>
                    <a:pt x="234" y="190"/>
                    <a:pt x="261" y="152"/>
                    <a:pt x="261" y="109"/>
                  </a:cubicBezTo>
                  <a:cubicBezTo>
                    <a:pt x="261" y="49"/>
                    <a:pt x="212" y="0"/>
                    <a:pt x="153" y="0"/>
                  </a:cubicBezTo>
                  <a:cubicBezTo>
                    <a:pt x="93" y="0"/>
                    <a:pt x="44" y="49"/>
                    <a:pt x="44" y="109"/>
                  </a:cubicBezTo>
                  <a:cubicBezTo>
                    <a:pt x="44" y="152"/>
                    <a:pt x="71" y="190"/>
                    <a:pt x="109" y="206"/>
                  </a:cubicBezTo>
                  <a:cubicBezTo>
                    <a:pt x="49" y="223"/>
                    <a:pt x="0" y="288"/>
                    <a:pt x="0" y="375"/>
                  </a:cubicBezTo>
                  <a:cubicBezTo>
                    <a:pt x="0" y="636"/>
                    <a:pt x="0" y="636"/>
                    <a:pt x="0" y="636"/>
                  </a:cubicBezTo>
                  <a:cubicBezTo>
                    <a:pt x="93" y="636"/>
                    <a:pt x="93" y="636"/>
                    <a:pt x="93" y="636"/>
                  </a:cubicBezTo>
                  <a:cubicBezTo>
                    <a:pt x="93" y="924"/>
                    <a:pt x="93" y="924"/>
                    <a:pt x="93" y="924"/>
                  </a:cubicBezTo>
                  <a:cubicBezTo>
                    <a:pt x="125" y="924"/>
                    <a:pt x="125" y="924"/>
                    <a:pt x="125" y="924"/>
                  </a:cubicBezTo>
                  <a:cubicBezTo>
                    <a:pt x="153" y="674"/>
                    <a:pt x="153" y="674"/>
                    <a:pt x="153" y="674"/>
                  </a:cubicBezTo>
                  <a:cubicBezTo>
                    <a:pt x="174" y="924"/>
                    <a:pt x="174" y="924"/>
                    <a:pt x="174" y="924"/>
                  </a:cubicBezTo>
                  <a:cubicBezTo>
                    <a:pt x="212" y="924"/>
                    <a:pt x="212" y="924"/>
                    <a:pt x="212" y="924"/>
                  </a:cubicBezTo>
                  <a:cubicBezTo>
                    <a:pt x="212" y="636"/>
                    <a:pt x="212" y="636"/>
                    <a:pt x="212" y="636"/>
                  </a:cubicBezTo>
                  <a:cubicBezTo>
                    <a:pt x="305" y="636"/>
                    <a:pt x="305" y="636"/>
                    <a:pt x="305" y="636"/>
                  </a:cubicBezTo>
                  <a:lnTo>
                    <a:pt x="305" y="375"/>
                  </a:lnTo>
                </a:path>
              </a:pathLst>
            </a:custGeom>
            <a:solidFill>
              <a:schemeClr val="accent3"/>
            </a:solidFill>
            <a:ln>
              <a:noFill/>
            </a:ln>
            <a:effectLst/>
          </p:spPr>
          <p:txBody>
            <a:bodyPr wrap="none" lIns="121853" tIns="60926" rIns="121853" bIns="60926" anchor="ctr"/>
            <a:lstStyle/>
            <a:p>
              <a:endParaRPr lang="en-US" dirty="0">
                <a:latin typeface="Calibri Light"/>
              </a:endParaRPr>
            </a:p>
          </p:txBody>
        </p:sp>
        <p:sp>
          <p:nvSpPr>
            <p:cNvPr id="13" name="Freeform 89"/>
            <p:cNvSpPr>
              <a:spLocks noChangeArrowheads="1"/>
            </p:cNvSpPr>
            <p:nvPr/>
          </p:nvSpPr>
          <p:spPr bwMode="auto">
            <a:xfrm>
              <a:off x="5232864" y="2910166"/>
              <a:ext cx="262278" cy="809437"/>
            </a:xfrm>
            <a:custGeom>
              <a:avLst/>
              <a:gdLst>
                <a:gd name="T0" fmla="*/ 299 w 300"/>
                <a:gd name="T1" fmla="*/ 375 h 925"/>
                <a:gd name="T2" fmla="*/ 299 w 300"/>
                <a:gd name="T3" fmla="*/ 375 h 925"/>
                <a:gd name="T4" fmla="*/ 196 w 300"/>
                <a:gd name="T5" fmla="*/ 206 h 925"/>
                <a:gd name="T6" fmla="*/ 255 w 300"/>
                <a:gd name="T7" fmla="*/ 109 h 925"/>
                <a:gd name="T8" fmla="*/ 147 w 300"/>
                <a:gd name="T9" fmla="*/ 0 h 925"/>
                <a:gd name="T10" fmla="*/ 43 w 300"/>
                <a:gd name="T11" fmla="*/ 109 h 925"/>
                <a:gd name="T12" fmla="*/ 103 w 300"/>
                <a:gd name="T13" fmla="*/ 206 h 925"/>
                <a:gd name="T14" fmla="*/ 0 w 300"/>
                <a:gd name="T15" fmla="*/ 375 h 925"/>
                <a:gd name="T16" fmla="*/ 0 w 300"/>
                <a:gd name="T17" fmla="*/ 636 h 925"/>
                <a:gd name="T18" fmla="*/ 87 w 300"/>
                <a:gd name="T19" fmla="*/ 636 h 925"/>
                <a:gd name="T20" fmla="*/ 87 w 300"/>
                <a:gd name="T21" fmla="*/ 924 h 925"/>
                <a:gd name="T22" fmla="*/ 125 w 300"/>
                <a:gd name="T23" fmla="*/ 924 h 925"/>
                <a:gd name="T24" fmla="*/ 147 w 300"/>
                <a:gd name="T25" fmla="*/ 674 h 925"/>
                <a:gd name="T26" fmla="*/ 174 w 300"/>
                <a:gd name="T27" fmla="*/ 924 h 925"/>
                <a:gd name="T28" fmla="*/ 212 w 300"/>
                <a:gd name="T29" fmla="*/ 924 h 925"/>
                <a:gd name="T30" fmla="*/ 212 w 300"/>
                <a:gd name="T31" fmla="*/ 636 h 925"/>
                <a:gd name="T32" fmla="*/ 299 w 300"/>
                <a:gd name="T33" fmla="*/ 636 h 925"/>
                <a:gd name="T34" fmla="*/ 299 w 300"/>
                <a:gd name="T35" fmla="*/ 37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925">
                  <a:moveTo>
                    <a:pt x="299" y="375"/>
                  </a:moveTo>
                  <a:lnTo>
                    <a:pt x="299" y="375"/>
                  </a:lnTo>
                  <a:cubicBezTo>
                    <a:pt x="299" y="288"/>
                    <a:pt x="255" y="223"/>
                    <a:pt x="196" y="206"/>
                  </a:cubicBezTo>
                  <a:cubicBezTo>
                    <a:pt x="233" y="190"/>
                    <a:pt x="255" y="152"/>
                    <a:pt x="255" y="109"/>
                  </a:cubicBezTo>
                  <a:cubicBezTo>
                    <a:pt x="255" y="49"/>
                    <a:pt x="206" y="0"/>
                    <a:pt x="147" y="0"/>
                  </a:cubicBezTo>
                  <a:cubicBezTo>
                    <a:pt x="87" y="0"/>
                    <a:pt x="43" y="49"/>
                    <a:pt x="43" y="109"/>
                  </a:cubicBezTo>
                  <a:cubicBezTo>
                    <a:pt x="43" y="152"/>
                    <a:pt x="65" y="190"/>
                    <a:pt x="103" y="206"/>
                  </a:cubicBezTo>
                  <a:cubicBezTo>
                    <a:pt x="43" y="223"/>
                    <a:pt x="0" y="288"/>
                    <a:pt x="0" y="375"/>
                  </a:cubicBezTo>
                  <a:cubicBezTo>
                    <a:pt x="0" y="636"/>
                    <a:pt x="0" y="636"/>
                    <a:pt x="0" y="636"/>
                  </a:cubicBezTo>
                  <a:cubicBezTo>
                    <a:pt x="87" y="636"/>
                    <a:pt x="87" y="636"/>
                    <a:pt x="87" y="636"/>
                  </a:cubicBezTo>
                  <a:cubicBezTo>
                    <a:pt x="87" y="924"/>
                    <a:pt x="87" y="924"/>
                    <a:pt x="87" y="924"/>
                  </a:cubicBezTo>
                  <a:cubicBezTo>
                    <a:pt x="125" y="924"/>
                    <a:pt x="125" y="924"/>
                    <a:pt x="125" y="924"/>
                  </a:cubicBezTo>
                  <a:cubicBezTo>
                    <a:pt x="147" y="674"/>
                    <a:pt x="147" y="674"/>
                    <a:pt x="147" y="674"/>
                  </a:cubicBezTo>
                  <a:cubicBezTo>
                    <a:pt x="174" y="924"/>
                    <a:pt x="174" y="924"/>
                    <a:pt x="174" y="924"/>
                  </a:cubicBezTo>
                  <a:cubicBezTo>
                    <a:pt x="212" y="924"/>
                    <a:pt x="212" y="924"/>
                    <a:pt x="212" y="924"/>
                  </a:cubicBezTo>
                  <a:cubicBezTo>
                    <a:pt x="212" y="636"/>
                    <a:pt x="212" y="636"/>
                    <a:pt x="212" y="636"/>
                  </a:cubicBezTo>
                  <a:cubicBezTo>
                    <a:pt x="299" y="636"/>
                    <a:pt x="299" y="636"/>
                    <a:pt x="299" y="636"/>
                  </a:cubicBezTo>
                  <a:lnTo>
                    <a:pt x="299" y="375"/>
                  </a:lnTo>
                </a:path>
              </a:pathLst>
            </a:custGeom>
            <a:solidFill>
              <a:schemeClr val="accent3"/>
            </a:solidFill>
            <a:ln>
              <a:noFill/>
            </a:ln>
            <a:effectLst/>
          </p:spPr>
          <p:txBody>
            <a:bodyPr wrap="none" lIns="121853" tIns="60926" rIns="121853" bIns="60926" anchor="ctr"/>
            <a:lstStyle/>
            <a:p>
              <a:endParaRPr lang="en-US" dirty="0">
                <a:latin typeface="Calibri Light"/>
              </a:endParaRPr>
            </a:p>
          </p:txBody>
        </p:sp>
        <p:sp>
          <p:nvSpPr>
            <p:cNvPr id="14" name="Freeform 90"/>
            <p:cNvSpPr>
              <a:spLocks noChangeArrowheads="1"/>
            </p:cNvSpPr>
            <p:nvPr/>
          </p:nvSpPr>
          <p:spPr bwMode="auto">
            <a:xfrm>
              <a:off x="5549139" y="2910166"/>
              <a:ext cx="266136" cy="809437"/>
            </a:xfrm>
            <a:custGeom>
              <a:avLst/>
              <a:gdLst>
                <a:gd name="T0" fmla="*/ 304 w 305"/>
                <a:gd name="T1" fmla="*/ 375 h 925"/>
                <a:gd name="T2" fmla="*/ 304 w 305"/>
                <a:gd name="T3" fmla="*/ 375 h 925"/>
                <a:gd name="T4" fmla="*/ 196 w 305"/>
                <a:gd name="T5" fmla="*/ 206 h 925"/>
                <a:gd name="T6" fmla="*/ 261 w 305"/>
                <a:gd name="T7" fmla="*/ 109 h 925"/>
                <a:gd name="T8" fmla="*/ 152 w 305"/>
                <a:gd name="T9" fmla="*/ 0 h 925"/>
                <a:gd name="T10" fmla="*/ 43 w 305"/>
                <a:gd name="T11" fmla="*/ 109 h 925"/>
                <a:gd name="T12" fmla="*/ 109 w 305"/>
                <a:gd name="T13" fmla="*/ 206 h 925"/>
                <a:gd name="T14" fmla="*/ 0 w 305"/>
                <a:gd name="T15" fmla="*/ 375 h 925"/>
                <a:gd name="T16" fmla="*/ 0 w 305"/>
                <a:gd name="T17" fmla="*/ 636 h 925"/>
                <a:gd name="T18" fmla="*/ 92 w 305"/>
                <a:gd name="T19" fmla="*/ 636 h 925"/>
                <a:gd name="T20" fmla="*/ 92 w 305"/>
                <a:gd name="T21" fmla="*/ 924 h 925"/>
                <a:gd name="T22" fmla="*/ 130 w 305"/>
                <a:gd name="T23" fmla="*/ 924 h 925"/>
                <a:gd name="T24" fmla="*/ 152 w 305"/>
                <a:gd name="T25" fmla="*/ 674 h 925"/>
                <a:gd name="T26" fmla="*/ 179 w 305"/>
                <a:gd name="T27" fmla="*/ 924 h 925"/>
                <a:gd name="T28" fmla="*/ 212 w 305"/>
                <a:gd name="T29" fmla="*/ 924 h 925"/>
                <a:gd name="T30" fmla="*/ 212 w 305"/>
                <a:gd name="T31" fmla="*/ 636 h 925"/>
                <a:gd name="T32" fmla="*/ 304 w 305"/>
                <a:gd name="T33" fmla="*/ 636 h 925"/>
                <a:gd name="T34" fmla="*/ 304 w 305"/>
                <a:gd name="T35" fmla="*/ 37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925">
                  <a:moveTo>
                    <a:pt x="304" y="375"/>
                  </a:moveTo>
                  <a:lnTo>
                    <a:pt x="304" y="375"/>
                  </a:lnTo>
                  <a:cubicBezTo>
                    <a:pt x="304" y="288"/>
                    <a:pt x="255" y="223"/>
                    <a:pt x="196" y="206"/>
                  </a:cubicBezTo>
                  <a:cubicBezTo>
                    <a:pt x="234" y="190"/>
                    <a:pt x="261" y="152"/>
                    <a:pt x="261" y="109"/>
                  </a:cubicBezTo>
                  <a:cubicBezTo>
                    <a:pt x="261" y="49"/>
                    <a:pt x="212" y="0"/>
                    <a:pt x="152" y="0"/>
                  </a:cubicBezTo>
                  <a:cubicBezTo>
                    <a:pt x="92" y="0"/>
                    <a:pt x="43" y="49"/>
                    <a:pt x="43" y="109"/>
                  </a:cubicBezTo>
                  <a:cubicBezTo>
                    <a:pt x="43" y="152"/>
                    <a:pt x="71" y="190"/>
                    <a:pt x="109" y="206"/>
                  </a:cubicBezTo>
                  <a:cubicBezTo>
                    <a:pt x="49" y="223"/>
                    <a:pt x="0" y="288"/>
                    <a:pt x="0" y="375"/>
                  </a:cubicBezTo>
                  <a:cubicBezTo>
                    <a:pt x="0" y="636"/>
                    <a:pt x="0" y="636"/>
                    <a:pt x="0" y="636"/>
                  </a:cubicBezTo>
                  <a:cubicBezTo>
                    <a:pt x="92" y="636"/>
                    <a:pt x="92" y="636"/>
                    <a:pt x="92" y="636"/>
                  </a:cubicBezTo>
                  <a:cubicBezTo>
                    <a:pt x="92" y="924"/>
                    <a:pt x="92" y="924"/>
                    <a:pt x="92" y="924"/>
                  </a:cubicBezTo>
                  <a:cubicBezTo>
                    <a:pt x="130" y="924"/>
                    <a:pt x="130" y="924"/>
                    <a:pt x="130" y="924"/>
                  </a:cubicBezTo>
                  <a:cubicBezTo>
                    <a:pt x="152" y="674"/>
                    <a:pt x="152" y="674"/>
                    <a:pt x="152" y="674"/>
                  </a:cubicBezTo>
                  <a:cubicBezTo>
                    <a:pt x="179" y="924"/>
                    <a:pt x="179" y="924"/>
                    <a:pt x="179" y="924"/>
                  </a:cubicBezTo>
                  <a:cubicBezTo>
                    <a:pt x="212" y="924"/>
                    <a:pt x="212" y="924"/>
                    <a:pt x="212" y="924"/>
                  </a:cubicBezTo>
                  <a:cubicBezTo>
                    <a:pt x="212" y="636"/>
                    <a:pt x="212" y="636"/>
                    <a:pt x="212" y="636"/>
                  </a:cubicBezTo>
                  <a:cubicBezTo>
                    <a:pt x="304" y="636"/>
                    <a:pt x="304" y="636"/>
                    <a:pt x="304" y="636"/>
                  </a:cubicBezTo>
                  <a:lnTo>
                    <a:pt x="304" y="375"/>
                  </a:lnTo>
                </a:path>
              </a:pathLst>
            </a:custGeom>
            <a:solidFill>
              <a:schemeClr val="accent3"/>
            </a:solidFill>
            <a:ln>
              <a:noFill/>
            </a:ln>
            <a:effectLst/>
          </p:spPr>
          <p:txBody>
            <a:bodyPr wrap="none" lIns="121853" tIns="60926" rIns="121853" bIns="60926" anchor="ctr"/>
            <a:lstStyle/>
            <a:p>
              <a:endParaRPr lang="en-US" dirty="0">
                <a:latin typeface="Calibri Light"/>
              </a:endParaRPr>
            </a:p>
          </p:txBody>
        </p:sp>
        <p:sp>
          <p:nvSpPr>
            <p:cNvPr id="15" name="Freeform 91"/>
            <p:cNvSpPr>
              <a:spLocks noChangeArrowheads="1"/>
            </p:cNvSpPr>
            <p:nvPr/>
          </p:nvSpPr>
          <p:spPr bwMode="auto">
            <a:xfrm>
              <a:off x="5873129" y="2910166"/>
              <a:ext cx="266136" cy="809437"/>
            </a:xfrm>
            <a:custGeom>
              <a:avLst/>
              <a:gdLst>
                <a:gd name="T0" fmla="*/ 305 w 306"/>
                <a:gd name="T1" fmla="*/ 375 h 925"/>
                <a:gd name="T2" fmla="*/ 305 w 306"/>
                <a:gd name="T3" fmla="*/ 375 h 925"/>
                <a:gd name="T4" fmla="*/ 196 w 306"/>
                <a:gd name="T5" fmla="*/ 206 h 925"/>
                <a:gd name="T6" fmla="*/ 256 w 306"/>
                <a:gd name="T7" fmla="*/ 109 h 925"/>
                <a:gd name="T8" fmla="*/ 153 w 306"/>
                <a:gd name="T9" fmla="*/ 0 h 925"/>
                <a:gd name="T10" fmla="*/ 44 w 306"/>
                <a:gd name="T11" fmla="*/ 109 h 925"/>
                <a:gd name="T12" fmla="*/ 104 w 306"/>
                <a:gd name="T13" fmla="*/ 206 h 925"/>
                <a:gd name="T14" fmla="*/ 0 w 306"/>
                <a:gd name="T15" fmla="*/ 375 h 925"/>
                <a:gd name="T16" fmla="*/ 0 w 306"/>
                <a:gd name="T17" fmla="*/ 636 h 925"/>
                <a:gd name="T18" fmla="*/ 87 w 306"/>
                <a:gd name="T19" fmla="*/ 636 h 925"/>
                <a:gd name="T20" fmla="*/ 87 w 306"/>
                <a:gd name="T21" fmla="*/ 924 h 925"/>
                <a:gd name="T22" fmla="*/ 125 w 306"/>
                <a:gd name="T23" fmla="*/ 924 h 925"/>
                <a:gd name="T24" fmla="*/ 153 w 306"/>
                <a:gd name="T25" fmla="*/ 674 h 925"/>
                <a:gd name="T26" fmla="*/ 174 w 306"/>
                <a:gd name="T27" fmla="*/ 924 h 925"/>
                <a:gd name="T28" fmla="*/ 212 w 306"/>
                <a:gd name="T29" fmla="*/ 924 h 925"/>
                <a:gd name="T30" fmla="*/ 212 w 306"/>
                <a:gd name="T31" fmla="*/ 636 h 925"/>
                <a:gd name="T32" fmla="*/ 305 w 306"/>
                <a:gd name="T33" fmla="*/ 636 h 925"/>
                <a:gd name="T34" fmla="*/ 305 w 306"/>
                <a:gd name="T35" fmla="*/ 37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925">
                  <a:moveTo>
                    <a:pt x="305" y="375"/>
                  </a:moveTo>
                  <a:lnTo>
                    <a:pt x="305" y="375"/>
                  </a:lnTo>
                  <a:cubicBezTo>
                    <a:pt x="305" y="288"/>
                    <a:pt x="256" y="223"/>
                    <a:pt x="196" y="206"/>
                  </a:cubicBezTo>
                  <a:cubicBezTo>
                    <a:pt x="234" y="190"/>
                    <a:pt x="256" y="152"/>
                    <a:pt x="256" y="109"/>
                  </a:cubicBezTo>
                  <a:cubicBezTo>
                    <a:pt x="256" y="49"/>
                    <a:pt x="212" y="0"/>
                    <a:pt x="153" y="0"/>
                  </a:cubicBezTo>
                  <a:cubicBezTo>
                    <a:pt x="93" y="0"/>
                    <a:pt x="44" y="49"/>
                    <a:pt x="44" y="109"/>
                  </a:cubicBezTo>
                  <a:cubicBezTo>
                    <a:pt x="44" y="152"/>
                    <a:pt x="71" y="190"/>
                    <a:pt x="104" y="206"/>
                  </a:cubicBezTo>
                  <a:cubicBezTo>
                    <a:pt x="44" y="223"/>
                    <a:pt x="0" y="288"/>
                    <a:pt x="0" y="375"/>
                  </a:cubicBezTo>
                  <a:cubicBezTo>
                    <a:pt x="0" y="636"/>
                    <a:pt x="0" y="636"/>
                    <a:pt x="0" y="636"/>
                  </a:cubicBezTo>
                  <a:cubicBezTo>
                    <a:pt x="87" y="636"/>
                    <a:pt x="87" y="636"/>
                    <a:pt x="87" y="636"/>
                  </a:cubicBezTo>
                  <a:cubicBezTo>
                    <a:pt x="87" y="924"/>
                    <a:pt x="87" y="924"/>
                    <a:pt x="87" y="924"/>
                  </a:cubicBezTo>
                  <a:cubicBezTo>
                    <a:pt x="125" y="924"/>
                    <a:pt x="125" y="924"/>
                    <a:pt x="125" y="924"/>
                  </a:cubicBezTo>
                  <a:cubicBezTo>
                    <a:pt x="153" y="674"/>
                    <a:pt x="153" y="674"/>
                    <a:pt x="153" y="674"/>
                  </a:cubicBezTo>
                  <a:cubicBezTo>
                    <a:pt x="174" y="924"/>
                    <a:pt x="174" y="924"/>
                    <a:pt x="174" y="924"/>
                  </a:cubicBezTo>
                  <a:cubicBezTo>
                    <a:pt x="212" y="924"/>
                    <a:pt x="212" y="924"/>
                    <a:pt x="212" y="924"/>
                  </a:cubicBezTo>
                  <a:cubicBezTo>
                    <a:pt x="212" y="636"/>
                    <a:pt x="212" y="636"/>
                    <a:pt x="212" y="636"/>
                  </a:cubicBezTo>
                  <a:cubicBezTo>
                    <a:pt x="305" y="636"/>
                    <a:pt x="305" y="636"/>
                    <a:pt x="305" y="636"/>
                  </a:cubicBezTo>
                  <a:lnTo>
                    <a:pt x="305" y="375"/>
                  </a:lnTo>
                </a:path>
              </a:pathLst>
            </a:custGeom>
            <a:solidFill>
              <a:schemeClr val="accent3"/>
            </a:solidFill>
            <a:ln>
              <a:noFill/>
            </a:ln>
            <a:effectLst/>
          </p:spPr>
          <p:txBody>
            <a:bodyPr wrap="none" lIns="121853" tIns="60926" rIns="121853" bIns="60926" anchor="ctr"/>
            <a:lstStyle/>
            <a:p>
              <a:endParaRPr lang="en-US" dirty="0">
                <a:latin typeface="Calibri Light"/>
              </a:endParaRPr>
            </a:p>
          </p:txBody>
        </p:sp>
        <p:sp>
          <p:nvSpPr>
            <p:cNvPr id="16" name="Freeform 92"/>
            <p:cNvSpPr>
              <a:spLocks noChangeArrowheads="1"/>
            </p:cNvSpPr>
            <p:nvPr/>
          </p:nvSpPr>
          <p:spPr bwMode="auto">
            <a:xfrm>
              <a:off x="6193264" y="2910166"/>
              <a:ext cx="266133" cy="809437"/>
            </a:xfrm>
            <a:custGeom>
              <a:avLst/>
              <a:gdLst>
                <a:gd name="T0" fmla="*/ 304 w 305"/>
                <a:gd name="T1" fmla="*/ 375 h 925"/>
                <a:gd name="T2" fmla="*/ 304 w 305"/>
                <a:gd name="T3" fmla="*/ 375 h 925"/>
                <a:gd name="T4" fmla="*/ 195 w 305"/>
                <a:gd name="T5" fmla="*/ 206 h 925"/>
                <a:gd name="T6" fmla="*/ 260 w 305"/>
                <a:gd name="T7" fmla="*/ 109 h 925"/>
                <a:gd name="T8" fmla="*/ 152 w 305"/>
                <a:gd name="T9" fmla="*/ 0 h 925"/>
                <a:gd name="T10" fmla="*/ 43 w 305"/>
                <a:gd name="T11" fmla="*/ 109 h 925"/>
                <a:gd name="T12" fmla="*/ 108 w 305"/>
                <a:gd name="T13" fmla="*/ 206 h 925"/>
                <a:gd name="T14" fmla="*/ 0 w 305"/>
                <a:gd name="T15" fmla="*/ 375 h 925"/>
                <a:gd name="T16" fmla="*/ 0 w 305"/>
                <a:gd name="T17" fmla="*/ 636 h 925"/>
                <a:gd name="T18" fmla="*/ 92 w 305"/>
                <a:gd name="T19" fmla="*/ 636 h 925"/>
                <a:gd name="T20" fmla="*/ 92 w 305"/>
                <a:gd name="T21" fmla="*/ 924 h 925"/>
                <a:gd name="T22" fmla="*/ 130 w 305"/>
                <a:gd name="T23" fmla="*/ 924 h 925"/>
                <a:gd name="T24" fmla="*/ 152 w 305"/>
                <a:gd name="T25" fmla="*/ 674 h 925"/>
                <a:gd name="T26" fmla="*/ 179 w 305"/>
                <a:gd name="T27" fmla="*/ 924 h 925"/>
                <a:gd name="T28" fmla="*/ 212 w 305"/>
                <a:gd name="T29" fmla="*/ 924 h 925"/>
                <a:gd name="T30" fmla="*/ 212 w 305"/>
                <a:gd name="T31" fmla="*/ 636 h 925"/>
                <a:gd name="T32" fmla="*/ 304 w 305"/>
                <a:gd name="T33" fmla="*/ 636 h 925"/>
                <a:gd name="T34" fmla="*/ 304 w 305"/>
                <a:gd name="T35" fmla="*/ 375 h 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925">
                  <a:moveTo>
                    <a:pt x="304" y="375"/>
                  </a:moveTo>
                  <a:lnTo>
                    <a:pt x="304" y="375"/>
                  </a:lnTo>
                  <a:cubicBezTo>
                    <a:pt x="304" y="288"/>
                    <a:pt x="255" y="223"/>
                    <a:pt x="195" y="206"/>
                  </a:cubicBezTo>
                  <a:cubicBezTo>
                    <a:pt x="233" y="190"/>
                    <a:pt x="260" y="152"/>
                    <a:pt x="260" y="109"/>
                  </a:cubicBezTo>
                  <a:cubicBezTo>
                    <a:pt x="260" y="49"/>
                    <a:pt x="212" y="0"/>
                    <a:pt x="152" y="0"/>
                  </a:cubicBezTo>
                  <a:cubicBezTo>
                    <a:pt x="92" y="0"/>
                    <a:pt x="43" y="49"/>
                    <a:pt x="43" y="109"/>
                  </a:cubicBezTo>
                  <a:cubicBezTo>
                    <a:pt x="43" y="152"/>
                    <a:pt x="70" y="190"/>
                    <a:pt x="108" y="206"/>
                  </a:cubicBezTo>
                  <a:cubicBezTo>
                    <a:pt x="48" y="223"/>
                    <a:pt x="0" y="288"/>
                    <a:pt x="0" y="375"/>
                  </a:cubicBezTo>
                  <a:cubicBezTo>
                    <a:pt x="0" y="636"/>
                    <a:pt x="0" y="636"/>
                    <a:pt x="0" y="636"/>
                  </a:cubicBezTo>
                  <a:cubicBezTo>
                    <a:pt x="92" y="636"/>
                    <a:pt x="92" y="636"/>
                    <a:pt x="92" y="636"/>
                  </a:cubicBezTo>
                  <a:cubicBezTo>
                    <a:pt x="92" y="924"/>
                    <a:pt x="92" y="924"/>
                    <a:pt x="92" y="924"/>
                  </a:cubicBezTo>
                  <a:cubicBezTo>
                    <a:pt x="130" y="924"/>
                    <a:pt x="130" y="924"/>
                    <a:pt x="130" y="924"/>
                  </a:cubicBezTo>
                  <a:cubicBezTo>
                    <a:pt x="152" y="674"/>
                    <a:pt x="152" y="674"/>
                    <a:pt x="152" y="674"/>
                  </a:cubicBezTo>
                  <a:cubicBezTo>
                    <a:pt x="179" y="924"/>
                    <a:pt x="179" y="924"/>
                    <a:pt x="179" y="924"/>
                  </a:cubicBezTo>
                  <a:cubicBezTo>
                    <a:pt x="212" y="924"/>
                    <a:pt x="212" y="924"/>
                    <a:pt x="212" y="924"/>
                  </a:cubicBezTo>
                  <a:cubicBezTo>
                    <a:pt x="212" y="636"/>
                    <a:pt x="212" y="636"/>
                    <a:pt x="212" y="636"/>
                  </a:cubicBezTo>
                  <a:cubicBezTo>
                    <a:pt x="304" y="636"/>
                    <a:pt x="304" y="636"/>
                    <a:pt x="304" y="636"/>
                  </a:cubicBezTo>
                  <a:lnTo>
                    <a:pt x="304" y="375"/>
                  </a:lnTo>
                </a:path>
              </a:pathLst>
            </a:custGeom>
            <a:solidFill>
              <a:schemeClr val="accent3"/>
            </a:solidFill>
            <a:ln>
              <a:noFill/>
            </a:ln>
            <a:effectLst/>
          </p:spPr>
          <p:txBody>
            <a:bodyPr wrap="none" lIns="121853" tIns="60926" rIns="121853" bIns="60926" anchor="ctr"/>
            <a:lstStyle/>
            <a:p>
              <a:endParaRPr lang="en-US" dirty="0">
                <a:latin typeface="Calibri Light"/>
              </a:endParaRPr>
            </a:p>
          </p:txBody>
        </p:sp>
      </p:grpSp>
      <p:sp>
        <p:nvSpPr>
          <p:cNvPr id="18" name="Freeform 93"/>
          <p:cNvSpPr>
            <a:spLocks noChangeArrowheads="1"/>
          </p:cNvSpPr>
          <p:nvPr/>
        </p:nvSpPr>
        <p:spPr bwMode="auto">
          <a:xfrm>
            <a:off x="3296636" y="4490140"/>
            <a:ext cx="266136" cy="801726"/>
          </a:xfrm>
          <a:custGeom>
            <a:avLst/>
            <a:gdLst>
              <a:gd name="T0" fmla="*/ 305 w 306"/>
              <a:gd name="T1" fmla="*/ 369 h 919"/>
              <a:gd name="T2" fmla="*/ 305 w 306"/>
              <a:gd name="T3" fmla="*/ 369 h 919"/>
              <a:gd name="T4" fmla="*/ 196 w 306"/>
              <a:gd name="T5" fmla="*/ 206 h 919"/>
              <a:gd name="T6" fmla="*/ 261 w 306"/>
              <a:gd name="T7" fmla="*/ 108 h 919"/>
              <a:gd name="T8" fmla="*/ 152 w 306"/>
              <a:gd name="T9" fmla="*/ 0 h 919"/>
              <a:gd name="T10" fmla="*/ 44 w 306"/>
              <a:gd name="T11" fmla="*/ 108 h 919"/>
              <a:gd name="T12" fmla="*/ 109 w 306"/>
              <a:gd name="T13" fmla="*/ 206 h 919"/>
              <a:gd name="T14" fmla="*/ 0 w 306"/>
              <a:gd name="T15" fmla="*/ 369 h 919"/>
              <a:gd name="T16" fmla="*/ 0 w 306"/>
              <a:gd name="T17" fmla="*/ 636 h 919"/>
              <a:gd name="T18" fmla="*/ 93 w 306"/>
              <a:gd name="T19" fmla="*/ 636 h 919"/>
              <a:gd name="T20" fmla="*/ 93 w 306"/>
              <a:gd name="T21" fmla="*/ 918 h 919"/>
              <a:gd name="T22" fmla="*/ 131 w 306"/>
              <a:gd name="T23" fmla="*/ 918 h 919"/>
              <a:gd name="T24" fmla="*/ 152 w 306"/>
              <a:gd name="T25" fmla="*/ 668 h 919"/>
              <a:gd name="T26" fmla="*/ 180 w 306"/>
              <a:gd name="T27" fmla="*/ 918 h 919"/>
              <a:gd name="T28" fmla="*/ 212 w 306"/>
              <a:gd name="T29" fmla="*/ 918 h 919"/>
              <a:gd name="T30" fmla="*/ 212 w 306"/>
              <a:gd name="T31" fmla="*/ 636 h 919"/>
              <a:gd name="T32" fmla="*/ 305 w 306"/>
              <a:gd name="T33" fmla="*/ 636 h 919"/>
              <a:gd name="T34" fmla="*/ 305 w 306"/>
              <a:gd name="T35" fmla="*/ 36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919">
                <a:moveTo>
                  <a:pt x="305" y="369"/>
                </a:moveTo>
                <a:lnTo>
                  <a:pt x="305" y="369"/>
                </a:lnTo>
                <a:cubicBezTo>
                  <a:pt x="305" y="288"/>
                  <a:pt x="261" y="217"/>
                  <a:pt x="196" y="206"/>
                </a:cubicBezTo>
                <a:cubicBezTo>
                  <a:pt x="234" y="190"/>
                  <a:pt x="261" y="152"/>
                  <a:pt x="261" y="108"/>
                </a:cubicBezTo>
                <a:cubicBezTo>
                  <a:pt x="261" y="49"/>
                  <a:pt x="212" y="0"/>
                  <a:pt x="152" y="0"/>
                </a:cubicBezTo>
                <a:cubicBezTo>
                  <a:pt x="93" y="0"/>
                  <a:pt x="44" y="49"/>
                  <a:pt x="44" y="108"/>
                </a:cubicBezTo>
                <a:cubicBezTo>
                  <a:pt x="44" y="152"/>
                  <a:pt x="71" y="190"/>
                  <a:pt x="109" y="206"/>
                </a:cubicBezTo>
                <a:cubicBezTo>
                  <a:pt x="49" y="217"/>
                  <a:pt x="0" y="288"/>
                  <a:pt x="0" y="369"/>
                </a:cubicBezTo>
                <a:cubicBezTo>
                  <a:pt x="0" y="636"/>
                  <a:pt x="0" y="636"/>
                  <a:pt x="0" y="636"/>
                </a:cubicBezTo>
                <a:cubicBezTo>
                  <a:pt x="93" y="636"/>
                  <a:pt x="93" y="636"/>
                  <a:pt x="93" y="636"/>
                </a:cubicBezTo>
                <a:cubicBezTo>
                  <a:pt x="93" y="918"/>
                  <a:pt x="93" y="918"/>
                  <a:pt x="93" y="918"/>
                </a:cubicBezTo>
                <a:cubicBezTo>
                  <a:pt x="131" y="918"/>
                  <a:pt x="131" y="918"/>
                  <a:pt x="131" y="918"/>
                </a:cubicBezTo>
                <a:cubicBezTo>
                  <a:pt x="152" y="668"/>
                  <a:pt x="152" y="668"/>
                  <a:pt x="152" y="668"/>
                </a:cubicBezTo>
                <a:cubicBezTo>
                  <a:pt x="180" y="918"/>
                  <a:pt x="180" y="918"/>
                  <a:pt x="180" y="918"/>
                </a:cubicBezTo>
                <a:cubicBezTo>
                  <a:pt x="212" y="918"/>
                  <a:pt x="212" y="918"/>
                  <a:pt x="212" y="918"/>
                </a:cubicBezTo>
                <a:cubicBezTo>
                  <a:pt x="212" y="636"/>
                  <a:pt x="212" y="636"/>
                  <a:pt x="212" y="636"/>
                </a:cubicBezTo>
                <a:cubicBezTo>
                  <a:pt x="305" y="636"/>
                  <a:pt x="305" y="636"/>
                  <a:pt x="305" y="636"/>
                </a:cubicBezTo>
                <a:lnTo>
                  <a:pt x="305" y="369"/>
                </a:lnTo>
              </a:path>
            </a:pathLst>
          </a:custGeom>
          <a:solidFill>
            <a:srgbClr val="58595B"/>
          </a:solidFill>
          <a:ln>
            <a:noFill/>
          </a:ln>
          <a:effectLst/>
        </p:spPr>
        <p:txBody>
          <a:bodyPr wrap="none" lIns="121853" tIns="60926" rIns="121853" bIns="60926" anchor="ctr"/>
          <a:lstStyle/>
          <a:p>
            <a:endParaRPr lang="en-US" dirty="0">
              <a:latin typeface="Calibri Light"/>
            </a:endParaRPr>
          </a:p>
        </p:txBody>
      </p:sp>
      <p:sp>
        <p:nvSpPr>
          <p:cNvPr id="19" name="Freeform 94"/>
          <p:cNvSpPr>
            <a:spLocks noChangeArrowheads="1"/>
          </p:cNvSpPr>
          <p:nvPr/>
        </p:nvSpPr>
        <p:spPr bwMode="auto">
          <a:xfrm>
            <a:off x="3620627" y="4490140"/>
            <a:ext cx="266136" cy="801726"/>
          </a:xfrm>
          <a:custGeom>
            <a:avLst/>
            <a:gdLst>
              <a:gd name="T0" fmla="*/ 304 w 305"/>
              <a:gd name="T1" fmla="*/ 369 h 919"/>
              <a:gd name="T2" fmla="*/ 304 w 305"/>
              <a:gd name="T3" fmla="*/ 369 h 919"/>
              <a:gd name="T4" fmla="*/ 195 w 305"/>
              <a:gd name="T5" fmla="*/ 206 h 919"/>
              <a:gd name="T6" fmla="*/ 261 w 305"/>
              <a:gd name="T7" fmla="*/ 108 h 919"/>
              <a:gd name="T8" fmla="*/ 152 w 305"/>
              <a:gd name="T9" fmla="*/ 0 h 919"/>
              <a:gd name="T10" fmla="*/ 43 w 305"/>
              <a:gd name="T11" fmla="*/ 108 h 919"/>
              <a:gd name="T12" fmla="*/ 108 w 305"/>
              <a:gd name="T13" fmla="*/ 206 h 919"/>
              <a:gd name="T14" fmla="*/ 0 w 305"/>
              <a:gd name="T15" fmla="*/ 369 h 919"/>
              <a:gd name="T16" fmla="*/ 0 w 305"/>
              <a:gd name="T17" fmla="*/ 636 h 919"/>
              <a:gd name="T18" fmla="*/ 87 w 305"/>
              <a:gd name="T19" fmla="*/ 636 h 919"/>
              <a:gd name="T20" fmla="*/ 87 w 305"/>
              <a:gd name="T21" fmla="*/ 918 h 919"/>
              <a:gd name="T22" fmla="*/ 125 w 305"/>
              <a:gd name="T23" fmla="*/ 918 h 919"/>
              <a:gd name="T24" fmla="*/ 152 w 305"/>
              <a:gd name="T25" fmla="*/ 668 h 919"/>
              <a:gd name="T26" fmla="*/ 174 w 305"/>
              <a:gd name="T27" fmla="*/ 918 h 919"/>
              <a:gd name="T28" fmla="*/ 212 w 305"/>
              <a:gd name="T29" fmla="*/ 918 h 919"/>
              <a:gd name="T30" fmla="*/ 212 w 305"/>
              <a:gd name="T31" fmla="*/ 636 h 919"/>
              <a:gd name="T32" fmla="*/ 304 w 305"/>
              <a:gd name="T33" fmla="*/ 636 h 919"/>
              <a:gd name="T34" fmla="*/ 304 w 305"/>
              <a:gd name="T35" fmla="*/ 36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919">
                <a:moveTo>
                  <a:pt x="304" y="369"/>
                </a:moveTo>
                <a:lnTo>
                  <a:pt x="304" y="369"/>
                </a:lnTo>
                <a:cubicBezTo>
                  <a:pt x="304" y="288"/>
                  <a:pt x="255" y="217"/>
                  <a:pt x="195" y="206"/>
                </a:cubicBezTo>
                <a:cubicBezTo>
                  <a:pt x="233" y="190"/>
                  <a:pt x="261" y="152"/>
                  <a:pt x="261" y="108"/>
                </a:cubicBezTo>
                <a:cubicBezTo>
                  <a:pt x="261" y="49"/>
                  <a:pt x="212" y="0"/>
                  <a:pt x="152" y="0"/>
                </a:cubicBezTo>
                <a:cubicBezTo>
                  <a:pt x="92" y="0"/>
                  <a:pt x="43" y="49"/>
                  <a:pt x="43" y="108"/>
                </a:cubicBezTo>
                <a:cubicBezTo>
                  <a:pt x="43" y="152"/>
                  <a:pt x="70" y="190"/>
                  <a:pt x="108" y="206"/>
                </a:cubicBezTo>
                <a:cubicBezTo>
                  <a:pt x="43" y="217"/>
                  <a:pt x="0" y="288"/>
                  <a:pt x="0" y="369"/>
                </a:cubicBezTo>
                <a:cubicBezTo>
                  <a:pt x="0" y="636"/>
                  <a:pt x="0" y="636"/>
                  <a:pt x="0" y="636"/>
                </a:cubicBezTo>
                <a:cubicBezTo>
                  <a:pt x="87" y="636"/>
                  <a:pt x="87" y="636"/>
                  <a:pt x="87" y="636"/>
                </a:cubicBezTo>
                <a:cubicBezTo>
                  <a:pt x="87" y="918"/>
                  <a:pt x="87" y="918"/>
                  <a:pt x="87" y="918"/>
                </a:cubicBezTo>
                <a:cubicBezTo>
                  <a:pt x="125" y="918"/>
                  <a:pt x="125" y="918"/>
                  <a:pt x="125" y="918"/>
                </a:cubicBezTo>
                <a:cubicBezTo>
                  <a:pt x="152" y="668"/>
                  <a:pt x="152" y="668"/>
                  <a:pt x="152" y="668"/>
                </a:cubicBezTo>
                <a:cubicBezTo>
                  <a:pt x="174" y="918"/>
                  <a:pt x="174" y="918"/>
                  <a:pt x="174" y="918"/>
                </a:cubicBezTo>
                <a:cubicBezTo>
                  <a:pt x="212" y="918"/>
                  <a:pt x="212" y="918"/>
                  <a:pt x="212" y="918"/>
                </a:cubicBezTo>
                <a:cubicBezTo>
                  <a:pt x="212" y="636"/>
                  <a:pt x="212" y="636"/>
                  <a:pt x="212" y="636"/>
                </a:cubicBezTo>
                <a:cubicBezTo>
                  <a:pt x="304" y="636"/>
                  <a:pt x="304" y="636"/>
                  <a:pt x="304" y="636"/>
                </a:cubicBezTo>
                <a:lnTo>
                  <a:pt x="304" y="369"/>
                </a:lnTo>
              </a:path>
            </a:pathLst>
          </a:custGeom>
          <a:solidFill>
            <a:srgbClr val="58595B"/>
          </a:solidFill>
          <a:ln>
            <a:noFill/>
          </a:ln>
          <a:effectLst/>
        </p:spPr>
        <p:txBody>
          <a:bodyPr wrap="none" lIns="121853" tIns="60926" rIns="121853" bIns="60926" anchor="ctr"/>
          <a:lstStyle/>
          <a:p>
            <a:endParaRPr lang="en-US" dirty="0">
              <a:latin typeface="Calibri Light"/>
            </a:endParaRPr>
          </a:p>
        </p:txBody>
      </p:sp>
      <p:sp>
        <p:nvSpPr>
          <p:cNvPr id="20" name="Freeform 95"/>
          <p:cNvSpPr>
            <a:spLocks noChangeArrowheads="1"/>
          </p:cNvSpPr>
          <p:nvPr/>
        </p:nvSpPr>
        <p:spPr bwMode="auto">
          <a:xfrm>
            <a:off x="3940762" y="4490140"/>
            <a:ext cx="266133" cy="801726"/>
          </a:xfrm>
          <a:custGeom>
            <a:avLst/>
            <a:gdLst>
              <a:gd name="T0" fmla="*/ 304 w 305"/>
              <a:gd name="T1" fmla="*/ 369 h 919"/>
              <a:gd name="T2" fmla="*/ 304 w 305"/>
              <a:gd name="T3" fmla="*/ 369 h 919"/>
              <a:gd name="T4" fmla="*/ 196 w 305"/>
              <a:gd name="T5" fmla="*/ 206 h 919"/>
              <a:gd name="T6" fmla="*/ 261 w 305"/>
              <a:gd name="T7" fmla="*/ 108 h 919"/>
              <a:gd name="T8" fmla="*/ 152 w 305"/>
              <a:gd name="T9" fmla="*/ 0 h 919"/>
              <a:gd name="T10" fmla="*/ 43 w 305"/>
              <a:gd name="T11" fmla="*/ 108 h 919"/>
              <a:gd name="T12" fmla="*/ 109 w 305"/>
              <a:gd name="T13" fmla="*/ 206 h 919"/>
              <a:gd name="T14" fmla="*/ 0 w 305"/>
              <a:gd name="T15" fmla="*/ 369 h 919"/>
              <a:gd name="T16" fmla="*/ 0 w 305"/>
              <a:gd name="T17" fmla="*/ 636 h 919"/>
              <a:gd name="T18" fmla="*/ 92 w 305"/>
              <a:gd name="T19" fmla="*/ 636 h 919"/>
              <a:gd name="T20" fmla="*/ 92 w 305"/>
              <a:gd name="T21" fmla="*/ 918 h 919"/>
              <a:gd name="T22" fmla="*/ 130 w 305"/>
              <a:gd name="T23" fmla="*/ 918 h 919"/>
              <a:gd name="T24" fmla="*/ 152 w 305"/>
              <a:gd name="T25" fmla="*/ 668 h 919"/>
              <a:gd name="T26" fmla="*/ 179 w 305"/>
              <a:gd name="T27" fmla="*/ 918 h 919"/>
              <a:gd name="T28" fmla="*/ 217 w 305"/>
              <a:gd name="T29" fmla="*/ 918 h 919"/>
              <a:gd name="T30" fmla="*/ 217 w 305"/>
              <a:gd name="T31" fmla="*/ 636 h 919"/>
              <a:gd name="T32" fmla="*/ 304 w 305"/>
              <a:gd name="T33" fmla="*/ 636 h 919"/>
              <a:gd name="T34" fmla="*/ 304 w 305"/>
              <a:gd name="T35" fmla="*/ 36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919">
                <a:moveTo>
                  <a:pt x="304" y="369"/>
                </a:moveTo>
                <a:lnTo>
                  <a:pt x="304" y="369"/>
                </a:lnTo>
                <a:cubicBezTo>
                  <a:pt x="304" y="288"/>
                  <a:pt x="261" y="217"/>
                  <a:pt x="196" y="206"/>
                </a:cubicBezTo>
                <a:cubicBezTo>
                  <a:pt x="233" y="190"/>
                  <a:pt x="261" y="152"/>
                  <a:pt x="261" y="108"/>
                </a:cubicBezTo>
                <a:cubicBezTo>
                  <a:pt x="261" y="49"/>
                  <a:pt x="212" y="0"/>
                  <a:pt x="152" y="0"/>
                </a:cubicBezTo>
                <a:cubicBezTo>
                  <a:pt x="92" y="0"/>
                  <a:pt x="43" y="49"/>
                  <a:pt x="43" y="108"/>
                </a:cubicBezTo>
                <a:cubicBezTo>
                  <a:pt x="43" y="152"/>
                  <a:pt x="70" y="190"/>
                  <a:pt x="109" y="206"/>
                </a:cubicBezTo>
                <a:cubicBezTo>
                  <a:pt x="49" y="217"/>
                  <a:pt x="0" y="288"/>
                  <a:pt x="0" y="369"/>
                </a:cubicBezTo>
                <a:cubicBezTo>
                  <a:pt x="0" y="636"/>
                  <a:pt x="0" y="636"/>
                  <a:pt x="0" y="636"/>
                </a:cubicBezTo>
                <a:cubicBezTo>
                  <a:pt x="92" y="636"/>
                  <a:pt x="92" y="636"/>
                  <a:pt x="92" y="636"/>
                </a:cubicBezTo>
                <a:cubicBezTo>
                  <a:pt x="92" y="918"/>
                  <a:pt x="92" y="918"/>
                  <a:pt x="92" y="918"/>
                </a:cubicBezTo>
                <a:cubicBezTo>
                  <a:pt x="130" y="918"/>
                  <a:pt x="130" y="918"/>
                  <a:pt x="130" y="918"/>
                </a:cubicBezTo>
                <a:cubicBezTo>
                  <a:pt x="152" y="668"/>
                  <a:pt x="152" y="668"/>
                  <a:pt x="152" y="668"/>
                </a:cubicBezTo>
                <a:cubicBezTo>
                  <a:pt x="179" y="918"/>
                  <a:pt x="179" y="918"/>
                  <a:pt x="179" y="918"/>
                </a:cubicBezTo>
                <a:cubicBezTo>
                  <a:pt x="217" y="918"/>
                  <a:pt x="217" y="918"/>
                  <a:pt x="217" y="918"/>
                </a:cubicBezTo>
                <a:cubicBezTo>
                  <a:pt x="217" y="636"/>
                  <a:pt x="217" y="636"/>
                  <a:pt x="217" y="636"/>
                </a:cubicBezTo>
                <a:cubicBezTo>
                  <a:pt x="304" y="636"/>
                  <a:pt x="304" y="636"/>
                  <a:pt x="304" y="636"/>
                </a:cubicBezTo>
                <a:lnTo>
                  <a:pt x="304" y="369"/>
                </a:lnTo>
              </a:path>
            </a:pathLst>
          </a:custGeom>
          <a:solidFill>
            <a:srgbClr val="58595B"/>
          </a:solidFill>
          <a:ln>
            <a:noFill/>
          </a:ln>
          <a:effectLst/>
        </p:spPr>
        <p:txBody>
          <a:bodyPr wrap="none" lIns="121853" tIns="60926" rIns="121853" bIns="60926" anchor="ctr"/>
          <a:lstStyle/>
          <a:p>
            <a:endParaRPr lang="en-US" dirty="0">
              <a:latin typeface="Calibri Light"/>
            </a:endParaRPr>
          </a:p>
        </p:txBody>
      </p:sp>
      <p:sp>
        <p:nvSpPr>
          <p:cNvPr id="21" name="Freeform 96"/>
          <p:cNvSpPr>
            <a:spLocks noChangeArrowheads="1"/>
          </p:cNvSpPr>
          <p:nvPr/>
        </p:nvSpPr>
        <p:spPr bwMode="auto">
          <a:xfrm>
            <a:off x="4260892" y="4490140"/>
            <a:ext cx="266136" cy="801726"/>
          </a:xfrm>
          <a:custGeom>
            <a:avLst/>
            <a:gdLst>
              <a:gd name="T0" fmla="*/ 305 w 306"/>
              <a:gd name="T1" fmla="*/ 369 h 919"/>
              <a:gd name="T2" fmla="*/ 305 w 306"/>
              <a:gd name="T3" fmla="*/ 369 h 919"/>
              <a:gd name="T4" fmla="*/ 196 w 306"/>
              <a:gd name="T5" fmla="*/ 206 h 919"/>
              <a:gd name="T6" fmla="*/ 261 w 306"/>
              <a:gd name="T7" fmla="*/ 108 h 919"/>
              <a:gd name="T8" fmla="*/ 153 w 306"/>
              <a:gd name="T9" fmla="*/ 0 h 919"/>
              <a:gd name="T10" fmla="*/ 44 w 306"/>
              <a:gd name="T11" fmla="*/ 108 h 919"/>
              <a:gd name="T12" fmla="*/ 109 w 306"/>
              <a:gd name="T13" fmla="*/ 206 h 919"/>
              <a:gd name="T14" fmla="*/ 0 w 306"/>
              <a:gd name="T15" fmla="*/ 369 h 919"/>
              <a:gd name="T16" fmla="*/ 0 w 306"/>
              <a:gd name="T17" fmla="*/ 636 h 919"/>
              <a:gd name="T18" fmla="*/ 93 w 306"/>
              <a:gd name="T19" fmla="*/ 636 h 919"/>
              <a:gd name="T20" fmla="*/ 93 w 306"/>
              <a:gd name="T21" fmla="*/ 918 h 919"/>
              <a:gd name="T22" fmla="*/ 125 w 306"/>
              <a:gd name="T23" fmla="*/ 918 h 919"/>
              <a:gd name="T24" fmla="*/ 153 w 306"/>
              <a:gd name="T25" fmla="*/ 668 h 919"/>
              <a:gd name="T26" fmla="*/ 174 w 306"/>
              <a:gd name="T27" fmla="*/ 918 h 919"/>
              <a:gd name="T28" fmla="*/ 212 w 306"/>
              <a:gd name="T29" fmla="*/ 918 h 919"/>
              <a:gd name="T30" fmla="*/ 212 w 306"/>
              <a:gd name="T31" fmla="*/ 636 h 919"/>
              <a:gd name="T32" fmla="*/ 305 w 306"/>
              <a:gd name="T33" fmla="*/ 636 h 919"/>
              <a:gd name="T34" fmla="*/ 305 w 306"/>
              <a:gd name="T35" fmla="*/ 36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919">
                <a:moveTo>
                  <a:pt x="305" y="369"/>
                </a:moveTo>
                <a:lnTo>
                  <a:pt x="305" y="369"/>
                </a:lnTo>
                <a:cubicBezTo>
                  <a:pt x="305" y="288"/>
                  <a:pt x="256" y="217"/>
                  <a:pt x="196" y="206"/>
                </a:cubicBezTo>
                <a:cubicBezTo>
                  <a:pt x="234" y="190"/>
                  <a:pt x="261" y="152"/>
                  <a:pt x="261" y="108"/>
                </a:cubicBezTo>
                <a:cubicBezTo>
                  <a:pt x="261" y="49"/>
                  <a:pt x="212" y="0"/>
                  <a:pt x="153" y="0"/>
                </a:cubicBezTo>
                <a:cubicBezTo>
                  <a:pt x="93" y="0"/>
                  <a:pt x="44" y="49"/>
                  <a:pt x="44" y="108"/>
                </a:cubicBezTo>
                <a:cubicBezTo>
                  <a:pt x="44" y="152"/>
                  <a:pt x="71" y="190"/>
                  <a:pt x="109" y="206"/>
                </a:cubicBezTo>
                <a:cubicBezTo>
                  <a:pt x="44" y="217"/>
                  <a:pt x="0" y="288"/>
                  <a:pt x="0" y="369"/>
                </a:cubicBezTo>
                <a:cubicBezTo>
                  <a:pt x="0" y="636"/>
                  <a:pt x="0" y="636"/>
                  <a:pt x="0" y="636"/>
                </a:cubicBezTo>
                <a:cubicBezTo>
                  <a:pt x="93" y="636"/>
                  <a:pt x="93" y="636"/>
                  <a:pt x="93" y="636"/>
                </a:cubicBezTo>
                <a:cubicBezTo>
                  <a:pt x="93" y="918"/>
                  <a:pt x="93" y="918"/>
                  <a:pt x="93" y="918"/>
                </a:cubicBezTo>
                <a:cubicBezTo>
                  <a:pt x="125" y="918"/>
                  <a:pt x="125" y="918"/>
                  <a:pt x="125" y="918"/>
                </a:cubicBezTo>
                <a:cubicBezTo>
                  <a:pt x="153" y="668"/>
                  <a:pt x="153" y="668"/>
                  <a:pt x="153" y="668"/>
                </a:cubicBezTo>
                <a:cubicBezTo>
                  <a:pt x="174" y="918"/>
                  <a:pt x="174" y="918"/>
                  <a:pt x="174" y="918"/>
                </a:cubicBezTo>
                <a:cubicBezTo>
                  <a:pt x="212" y="918"/>
                  <a:pt x="212" y="918"/>
                  <a:pt x="212" y="918"/>
                </a:cubicBezTo>
                <a:cubicBezTo>
                  <a:pt x="212" y="636"/>
                  <a:pt x="212" y="636"/>
                  <a:pt x="212" y="636"/>
                </a:cubicBezTo>
                <a:cubicBezTo>
                  <a:pt x="305" y="636"/>
                  <a:pt x="305" y="636"/>
                  <a:pt x="305" y="636"/>
                </a:cubicBezTo>
                <a:lnTo>
                  <a:pt x="305" y="369"/>
                </a:lnTo>
              </a:path>
            </a:pathLst>
          </a:custGeom>
          <a:solidFill>
            <a:srgbClr val="58595B"/>
          </a:solidFill>
          <a:ln>
            <a:noFill/>
          </a:ln>
          <a:effectLst/>
        </p:spPr>
        <p:txBody>
          <a:bodyPr wrap="none" lIns="121853" tIns="60926" rIns="121853" bIns="60926" anchor="ctr"/>
          <a:lstStyle/>
          <a:p>
            <a:endParaRPr lang="en-US" dirty="0">
              <a:latin typeface="Calibri Light"/>
            </a:endParaRPr>
          </a:p>
        </p:txBody>
      </p:sp>
      <p:sp>
        <p:nvSpPr>
          <p:cNvPr id="22" name="Freeform 97"/>
          <p:cNvSpPr>
            <a:spLocks noChangeArrowheads="1"/>
          </p:cNvSpPr>
          <p:nvPr/>
        </p:nvSpPr>
        <p:spPr bwMode="auto">
          <a:xfrm>
            <a:off x="4581029" y="4490140"/>
            <a:ext cx="266133" cy="801726"/>
          </a:xfrm>
          <a:custGeom>
            <a:avLst/>
            <a:gdLst>
              <a:gd name="T0" fmla="*/ 305 w 306"/>
              <a:gd name="T1" fmla="*/ 369 h 919"/>
              <a:gd name="T2" fmla="*/ 305 w 306"/>
              <a:gd name="T3" fmla="*/ 369 h 919"/>
              <a:gd name="T4" fmla="*/ 196 w 306"/>
              <a:gd name="T5" fmla="*/ 206 h 919"/>
              <a:gd name="T6" fmla="*/ 261 w 306"/>
              <a:gd name="T7" fmla="*/ 108 h 919"/>
              <a:gd name="T8" fmla="*/ 153 w 306"/>
              <a:gd name="T9" fmla="*/ 0 h 919"/>
              <a:gd name="T10" fmla="*/ 44 w 306"/>
              <a:gd name="T11" fmla="*/ 108 h 919"/>
              <a:gd name="T12" fmla="*/ 109 w 306"/>
              <a:gd name="T13" fmla="*/ 206 h 919"/>
              <a:gd name="T14" fmla="*/ 0 w 306"/>
              <a:gd name="T15" fmla="*/ 369 h 919"/>
              <a:gd name="T16" fmla="*/ 0 w 306"/>
              <a:gd name="T17" fmla="*/ 636 h 919"/>
              <a:gd name="T18" fmla="*/ 93 w 306"/>
              <a:gd name="T19" fmla="*/ 636 h 919"/>
              <a:gd name="T20" fmla="*/ 93 w 306"/>
              <a:gd name="T21" fmla="*/ 918 h 919"/>
              <a:gd name="T22" fmla="*/ 131 w 306"/>
              <a:gd name="T23" fmla="*/ 918 h 919"/>
              <a:gd name="T24" fmla="*/ 153 w 306"/>
              <a:gd name="T25" fmla="*/ 668 h 919"/>
              <a:gd name="T26" fmla="*/ 180 w 306"/>
              <a:gd name="T27" fmla="*/ 918 h 919"/>
              <a:gd name="T28" fmla="*/ 218 w 306"/>
              <a:gd name="T29" fmla="*/ 918 h 919"/>
              <a:gd name="T30" fmla="*/ 218 w 306"/>
              <a:gd name="T31" fmla="*/ 636 h 919"/>
              <a:gd name="T32" fmla="*/ 305 w 306"/>
              <a:gd name="T33" fmla="*/ 636 h 919"/>
              <a:gd name="T34" fmla="*/ 305 w 306"/>
              <a:gd name="T35" fmla="*/ 36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919">
                <a:moveTo>
                  <a:pt x="305" y="369"/>
                </a:moveTo>
                <a:lnTo>
                  <a:pt x="305" y="369"/>
                </a:lnTo>
                <a:cubicBezTo>
                  <a:pt x="305" y="288"/>
                  <a:pt x="261" y="217"/>
                  <a:pt x="196" y="206"/>
                </a:cubicBezTo>
                <a:cubicBezTo>
                  <a:pt x="234" y="190"/>
                  <a:pt x="261" y="152"/>
                  <a:pt x="261" y="108"/>
                </a:cubicBezTo>
                <a:cubicBezTo>
                  <a:pt x="261" y="49"/>
                  <a:pt x="212" y="0"/>
                  <a:pt x="153" y="0"/>
                </a:cubicBezTo>
                <a:cubicBezTo>
                  <a:pt x="93" y="0"/>
                  <a:pt x="44" y="49"/>
                  <a:pt x="44" y="108"/>
                </a:cubicBezTo>
                <a:cubicBezTo>
                  <a:pt x="44" y="152"/>
                  <a:pt x="71" y="190"/>
                  <a:pt x="109" y="206"/>
                </a:cubicBezTo>
                <a:cubicBezTo>
                  <a:pt x="49" y="217"/>
                  <a:pt x="0" y="288"/>
                  <a:pt x="0" y="369"/>
                </a:cubicBezTo>
                <a:cubicBezTo>
                  <a:pt x="0" y="636"/>
                  <a:pt x="0" y="636"/>
                  <a:pt x="0" y="636"/>
                </a:cubicBezTo>
                <a:cubicBezTo>
                  <a:pt x="93" y="636"/>
                  <a:pt x="93" y="636"/>
                  <a:pt x="93" y="636"/>
                </a:cubicBezTo>
                <a:cubicBezTo>
                  <a:pt x="93" y="918"/>
                  <a:pt x="93" y="918"/>
                  <a:pt x="93" y="918"/>
                </a:cubicBezTo>
                <a:cubicBezTo>
                  <a:pt x="131" y="918"/>
                  <a:pt x="131" y="918"/>
                  <a:pt x="131" y="918"/>
                </a:cubicBezTo>
                <a:cubicBezTo>
                  <a:pt x="153" y="668"/>
                  <a:pt x="153" y="668"/>
                  <a:pt x="153" y="668"/>
                </a:cubicBezTo>
                <a:cubicBezTo>
                  <a:pt x="180" y="918"/>
                  <a:pt x="180" y="918"/>
                  <a:pt x="180" y="918"/>
                </a:cubicBezTo>
                <a:cubicBezTo>
                  <a:pt x="218" y="918"/>
                  <a:pt x="218" y="918"/>
                  <a:pt x="218" y="918"/>
                </a:cubicBezTo>
                <a:cubicBezTo>
                  <a:pt x="218" y="636"/>
                  <a:pt x="218" y="636"/>
                  <a:pt x="218" y="636"/>
                </a:cubicBezTo>
                <a:cubicBezTo>
                  <a:pt x="305" y="636"/>
                  <a:pt x="305" y="636"/>
                  <a:pt x="305" y="636"/>
                </a:cubicBezTo>
                <a:lnTo>
                  <a:pt x="305" y="369"/>
                </a:lnTo>
              </a:path>
            </a:pathLst>
          </a:custGeom>
          <a:solidFill>
            <a:srgbClr val="58595B"/>
          </a:solidFill>
          <a:ln>
            <a:noFill/>
          </a:ln>
          <a:effectLst/>
        </p:spPr>
        <p:txBody>
          <a:bodyPr wrap="none" lIns="121853" tIns="60926" rIns="121853" bIns="60926" anchor="ctr"/>
          <a:lstStyle/>
          <a:p>
            <a:endParaRPr lang="en-US" dirty="0">
              <a:latin typeface="Calibri Light"/>
            </a:endParaRPr>
          </a:p>
        </p:txBody>
      </p:sp>
      <p:sp>
        <p:nvSpPr>
          <p:cNvPr id="23" name="Freeform 98"/>
          <p:cNvSpPr>
            <a:spLocks noChangeArrowheads="1"/>
          </p:cNvSpPr>
          <p:nvPr/>
        </p:nvSpPr>
        <p:spPr bwMode="auto">
          <a:xfrm>
            <a:off x="4908873" y="4490140"/>
            <a:ext cx="266136" cy="801726"/>
          </a:xfrm>
          <a:custGeom>
            <a:avLst/>
            <a:gdLst>
              <a:gd name="T0" fmla="*/ 305 w 306"/>
              <a:gd name="T1" fmla="*/ 369 h 919"/>
              <a:gd name="T2" fmla="*/ 305 w 306"/>
              <a:gd name="T3" fmla="*/ 369 h 919"/>
              <a:gd name="T4" fmla="*/ 196 w 306"/>
              <a:gd name="T5" fmla="*/ 206 h 919"/>
              <a:gd name="T6" fmla="*/ 261 w 306"/>
              <a:gd name="T7" fmla="*/ 108 h 919"/>
              <a:gd name="T8" fmla="*/ 153 w 306"/>
              <a:gd name="T9" fmla="*/ 0 h 919"/>
              <a:gd name="T10" fmla="*/ 44 w 306"/>
              <a:gd name="T11" fmla="*/ 108 h 919"/>
              <a:gd name="T12" fmla="*/ 109 w 306"/>
              <a:gd name="T13" fmla="*/ 206 h 919"/>
              <a:gd name="T14" fmla="*/ 0 w 306"/>
              <a:gd name="T15" fmla="*/ 369 h 919"/>
              <a:gd name="T16" fmla="*/ 0 w 306"/>
              <a:gd name="T17" fmla="*/ 636 h 919"/>
              <a:gd name="T18" fmla="*/ 93 w 306"/>
              <a:gd name="T19" fmla="*/ 636 h 919"/>
              <a:gd name="T20" fmla="*/ 93 w 306"/>
              <a:gd name="T21" fmla="*/ 918 h 919"/>
              <a:gd name="T22" fmla="*/ 125 w 306"/>
              <a:gd name="T23" fmla="*/ 918 h 919"/>
              <a:gd name="T24" fmla="*/ 153 w 306"/>
              <a:gd name="T25" fmla="*/ 668 h 919"/>
              <a:gd name="T26" fmla="*/ 174 w 306"/>
              <a:gd name="T27" fmla="*/ 918 h 919"/>
              <a:gd name="T28" fmla="*/ 212 w 306"/>
              <a:gd name="T29" fmla="*/ 918 h 919"/>
              <a:gd name="T30" fmla="*/ 212 w 306"/>
              <a:gd name="T31" fmla="*/ 636 h 919"/>
              <a:gd name="T32" fmla="*/ 305 w 306"/>
              <a:gd name="T33" fmla="*/ 636 h 919"/>
              <a:gd name="T34" fmla="*/ 305 w 306"/>
              <a:gd name="T35" fmla="*/ 36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919">
                <a:moveTo>
                  <a:pt x="305" y="369"/>
                </a:moveTo>
                <a:lnTo>
                  <a:pt x="305" y="369"/>
                </a:lnTo>
                <a:cubicBezTo>
                  <a:pt x="305" y="288"/>
                  <a:pt x="256" y="217"/>
                  <a:pt x="196" y="206"/>
                </a:cubicBezTo>
                <a:cubicBezTo>
                  <a:pt x="234" y="190"/>
                  <a:pt x="261" y="152"/>
                  <a:pt x="261" y="108"/>
                </a:cubicBezTo>
                <a:cubicBezTo>
                  <a:pt x="261" y="49"/>
                  <a:pt x="212" y="0"/>
                  <a:pt x="153" y="0"/>
                </a:cubicBezTo>
                <a:cubicBezTo>
                  <a:pt x="93" y="0"/>
                  <a:pt x="44" y="49"/>
                  <a:pt x="44" y="108"/>
                </a:cubicBezTo>
                <a:cubicBezTo>
                  <a:pt x="44" y="152"/>
                  <a:pt x="71" y="190"/>
                  <a:pt x="109" y="206"/>
                </a:cubicBezTo>
                <a:cubicBezTo>
                  <a:pt x="49" y="217"/>
                  <a:pt x="0" y="288"/>
                  <a:pt x="0" y="369"/>
                </a:cubicBezTo>
                <a:cubicBezTo>
                  <a:pt x="0" y="636"/>
                  <a:pt x="0" y="636"/>
                  <a:pt x="0" y="636"/>
                </a:cubicBezTo>
                <a:cubicBezTo>
                  <a:pt x="93" y="636"/>
                  <a:pt x="93" y="636"/>
                  <a:pt x="93" y="636"/>
                </a:cubicBezTo>
                <a:cubicBezTo>
                  <a:pt x="93" y="918"/>
                  <a:pt x="93" y="918"/>
                  <a:pt x="93" y="918"/>
                </a:cubicBezTo>
                <a:cubicBezTo>
                  <a:pt x="125" y="918"/>
                  <a:pt x="125" y="918"/>
                  <a:pt x="125" y="918"/>
                </a:cubicBezTo>
                <a:cubicBezTo>
                  <a:pt x="153" y="668"/>
                  <a:pt x="153" y="668"/>
                  <a:pt x="153" y="668"/>
                </a:cubicBezTo>
                <a:cubicBezTo>
                  <a:pt x="174" y="918"/>
                  <a:pt x="174" y="918"/>
                  <a:pt x="174" y="918"/>
                </a:cubicBezTo>
                <a:cubicBezTo>
                  <a:pt x="212" y="918"/>
                  <a:pt x="212" y="918"/>
                  <a:pt x="212" y="918"/>
                </a:cubicBezTo>
                <a:cubicBezTo>
                  <a:pt x="212" y="636"/>
                  <a:pt x="212" y="636"/>
                  <a:pt x="212" y="636"/>
                </a:cubicBezTo>
                <a:cubicBezTo>
                  <a:pt x="305" y="636"/>
                  <a:pt x="305" y="636"/>
                  <a:pt x="305" y="636"/>
                </a:cubicBezTo>
                <a:lnTo>
                  <a:pt x="305" y="369"/>
                </a:lnTo>
              </a:path>
            </a:pathLst>
          </a:custGeom>
          <a:solidFill>
            <a:srgbClr val="58595B"/>
          </a:solidFill>
          <a:ln>
            <a:noFill/>
          </a:ln>
          <a:effectLst/>
        </p:spPr>
        <p:txBody>
          <a:bodyPr wrap="none" lIns="121853" tIns="60926" rIns="121853" bIns="60926" anchor="ctr"/>
          <a:lstStyle/>
          <a:p>
            <a:endParaRPr lang="en-US" dirty="0">
              <a:latin typeface="Calibri Light"/>
            </a:endParaRPr>
          </a:p>
        </p:txBody>
      </p:sp>
      <p:sp>
        <p:nvSpPr>
          <p:cNvPr id="24" name="Freeform 99"/>
          <p:cNvSpPr>
            <a:spLocks noChangeArrowheads="1"/>
          </p:cNvSpPr>
          <p:nvPr/>
        </p:nvSpPr>
        <p:spPr bwMode="auto">
          <a:xfrm>
            <a:off x="5232864" y="4490140"/>
            <a:ext cx="262278" cy="801726"/>
          </a:xfrm>
          <a:custGeom>
            <a:avLst/>
            <a:gdLst>
              <a:gd name="T0" fmla="*/ 299 w 300"/>
              <a:gd name="T1" fmla="*/ 369 h 919"/>
              <a:gd name="T2" fmla="*/ 299 w 300"/>
              <a:gd name="T3" fmla="*/ 369 h 919"/>
              <a:gd name="T4" fmla="*/ 196 w 300"/>
              <a:gd name="T5" fmla="*/ 206 h 919"/>
              <a:gd name="T6" fmla="*/ 255 w 300"/>
              <a:gd name="T7" fmla="*/ 108 h 919"/>
              <a:gd name="T8" fmla="*/ 147 w 300"/>
              <a:gd name="T9" fmla="*/ 0 h 919"/>
              <a:gd name="T10" fmla="*/ 43 w 300"/>
              <a:gd name="T11" fmla="*/ 108 h 919"/>
              <a:gd name="T12" fmla="*/ 103 w 300"/>
              <a:gd name="T13" fmla="*/ 206 h 919"/>
              <a:gd name="T14" fmla="*/ 0 w 300"/>
              <a:gd name="T15" fmla="*/ 369 h 919"/>
              <a:gd name="T16" fmla="*/ 0 w 300"/>
              <a:gd name="T17" fmla="*/ 636 h 919"/>
              <a:gd name="T18" fmla="*/ 87 w 300"/>
              <a:gd name="T19" fmla="*/ 636 h 919"/>
              <a:gd name="T20" fmla="*/ 87 w 300"/>
              <a:gd name="T21" fmla="*/ 918 h 919"/>
              <a:gd name="T22" fmla="*/ 125 w 300"/>
              <a:gd name="T23" fmla="*/ 918 h 919"/>
              <a:gd name="T24" fmla="*/ 147 w 300"/>
              <a:gd name="T25" fmla="*/ 668 h 919"/>
              <a:gd name="T26" fmla="*/ 174 w 300"/>
              <a:gd name="T27" fmla="*/ 918 h 919"/>
              <a:gd name="T28" fmla="*/ 212 w 300"/>
              <a:gd name="T29" fmla="*/ 918 h 919"/>
              <a:gd name="T30" fmla="*/ 212 w 300"/>
              <a:gd name="T31" fmla="*/ 636 h 919"/>
              <a:gd name="T32" fmla="*/ 299 w 300"/>
              <a:gd name="T33" fmla="*/ 636 h 919"/>
              <a:gd name="T34" fmla="*/ 299 w 300"/>
              <a:gd name="T35" fmla="*/ 36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0" h="919">
                <a:moveTo>
                  <a:pt x="299" y="369"/>
                </a:moveTo>
                <a:lnTo>
                  <a:pt x="299" y="369"/>
                </a:lnTo>
                <a:cubicBezTo>
                  <a:pt x="299" y="288"/>
                  <a:pt x="255" y="217"/>
                  <a:pt x="196" y="206"/>
                </a:cubicBezTo>
                <a:cubicBezTo>
                  <a:pt x="233" y="190"/>
                  <a:pt x="255" y="152"/>
                  <a:pt x="255" y="108"/>
                </a:cubicBezTo>
                <a:cubicBezTo>
                  <a:pt x="255" y="49"/>
                  <a:pt x="206" y="0"/>
                  <a:pt x="147" y="0"/>
                </a:cubicBezTo>
                <a:cubicBezTo>
                  <a:pt x="87" y="0"/>
                  <a:pt x="43" y="49"/>
                  <a:pt x="43" y="108"/>
                </a:cubicBezTo>
                <a:cubicBezTo>
                  <a:pt x="43" y="152"/>
                  <a:pt x="65" y="190"/>
                  <a:pt x="103" y="206"/>
                </a:cubicBezTo>
                <a:cubicBezTo>
                  <a:pt x="43" y="217"/>
                  <a:pt x="0" y="288"/>
                  <a:pt x="0" y="369"/>
                </a:cubicBezTo>
                <a:cubicBezTo>
                  <a:pt x="0" y="636"/>
                  <a:pt x="0" y="636"/>
                  <a:pt x="0" y="636"/>
                </a:cubicBezTo>
                <a:cubicBezTo>
                  <a:pt x="87" y="636"/>
                  <a:pt x="87" y="636"/>
                  <a:pt x="87" y="636"/>
                </a:cubicBezTo>
                <a:cubicBezTo>
                  <a:pt x="87" y="918"/>
                  <a:pt x="87" y="918"/>
                  <a:pt x="87" y="918"/>
                </a:cubicBezTo>
                <a:cubicBezTo>
                  <a:pt x="125" y="918"/>
                  <a:pt x="125" y="918"/>
                  <a:pt x="125" y="918"/>
                </a:cubicBezTo>
                <a:cubicBezTo>
                  <a:pt x="147" y="668"/>
                  <a:pt x="147" y="668"/>
                  <a:pt x="147" y="668"/>
                </a:cubicBezTo>
                <a:cubicBezTo>
                  <a:pt x="174" y="918"/>
                  <a:pt x="174" y="918"/>
                  <a:pt x="174" y="918"/>
                </a:cubicBezTo>
                <a:cubicBezTo>
                  <a:pt x="212" y="918"/>
                  <a:pt x="212" y="918"/>
                  <a:pt x="212" y="918"/>
                </a:cubicBezTo>
                <a:cubicBezTo>
                  <a:pt x="212" y="636"/>
                  <a:pt x="212" y="636"/>
                  <a:pt x="212" y="636"/>
                </a:cubicBezTo>
                <a:cubicBezTo>
                  <a:pt x="299" y="636"/>
                  <a:pt x="299" y="636"/>
                  <a:pt x="299" y="636"/>
                </a:cubicBezTo>
                <a:lnTo>
                  <a:pt x="299" y="369"/>
                </a:lnTo>
              </a:path>
            </a:pathLst>
          </a:custGeom>
          <a:solidFill>
            <a:srgbClr val="C8C8C8"/>
          </a:solidFill>
          <a:ln>
            <a:noFill/>
          </a:ln>
          <a:effectLst/>
        </p:spPr>
        <p:txBody>
          <a:bodyPr wrap="none" lIns="121853" tIns="60926" rIns="121853" bIns="60926" anchor="ctr"/>
          <a:lstStyle/>
          <a:p>
            <a:endParaRPr lang="en-US" dirty="0">
              <a:latin typeface="Calibri Light"/>
            </a:endParaRPr>
          </a:p>
        </p:txBody>
      </p:sp>
      <p:sp>
        <p:nvSpPr>
          <p:cNvPr id="25" name="Freeform 100"/>
          <p:cNvSpPr>
            <a:spLocks noChangeArrowheads="1"/>
          </p:cNvSpPr>
          <p:nvPr/>
        </p:nvSpPr>
        <p:spPr bwMode="auto">
          <a:xfrm>
            <a:off x="5549139" y="4490140"/>
            <a:ext cx="266136" cy="801726"/>
          </a:xfrm>
          <a:custGeom>
            <a:avLst/>
            <a:gdLst>
              <a:gd name="T0" fmla="*/ 304 w 305"/>
              <a:gd name="T1" fmla="*/ 369 h 919"/>
              <a:gd name="T2" fmla="*/ 304 w 305"/>
              <a:gd name="T3" fmla="*/ 369 h 919"/>
              <a:gd name="T4" fmla="*/ 196 w 305"/>
              <a:gd name="T5" fmla="*/ 206 h 919"/>
              <a:gd name="T6" fmla="*/ 261 w 305"/>
              <a:gd name="T7" fmla="*/ 108 h 919"/>
              <a:gd name="T8" fmla="*/ 152 w 305"/>
              <a:gd name="T9" fmla="*/ 0 h 919"/>
              <a:gd name="T10" fmla="*/ 43 w 305"/>
              <a:gd name="T11" fmla="*/ 108 h 919"/>
              <a:gd name="T12" fmla="*/ 109 w 305"/>
              <a:gd name="T13" fmla="*/ 206 h 919"/>
              <a:gd name="T14" fmla="*/ 0 w 305"/>
              <a:gd name="T15" fmla="*/ 369 h 919"/>
              <a:gd name="T16" fmla="*/ 0 w 305"/>
              <a:gd name="T17" fmla="*/ 636 h 919"/>
              <a:gd name="T18" fmla="*/ 92 w 305"/>
              <a:gd name="T19" fmla="*/ 636 h 919"/>
              <a:gd name="T20" fmla="*/ 92 w 305"/>
              <a:gd name="T21" fmla="*/ 918 h 919"/>
              <a:gd name="T22" fmla="*/ 130 w 305"/>
              <a:gd name="T23" fmla="*/ 918 h 919"/>
              <a:gd name="T24" fmla="*/ 152 w 305"/>
              <a:gd name="T25" fmla="*/ 668 h 919"/>
              <a:gd name="T26" fmla="*/ 179 w 305"/>
              <a:gd name="T27" fmla="*/ 918 h 919"/>
              <a:gd name="T28" fmla="*/ 212 w 305"/>
              <a:gd name="T29" fmla="*/ 918 h 919"/>
              <a:gd name="T30" fmla="*/ 212 w 305"/>
              <a:gd name="T31" fmla="*/ 636 h 919"/>
              <a:gd name="T32" fmla="*/ 304 w 305"/>
              <a:gd name="T33" fmla="*/ 636 h 919"/>
              <a:gd name="T34" fmla="*/ 304 w 305"/>
              <a:gd name="T35" fmla="*/ 36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919">
                <a:moveTo>
                  <a:pt x="304" y="369"/>
                </a:moveTo>
                <a:lnTo>
                  <a:pt x="304" y="369"/>
                </a:lnTo>
                <a:cubicBezTo>
                  <a:pt x="304" y="288"/>
                  <a:pt x="255" y="217"/>
                  <a:pt x="196" y="206"/>
                </a:cubicBezTo>
                <a:cubicBezTo>
                  <a:pt x="234" y="190"/>
                  <a:pt x="261" y="152"/>
                  <a:pt x="261" y="108"/>
                </a:cubicBezTo>
                <a:cubicBezTo>
                  <a:pt x="261" y="49"/>
                  <a:pt x="212" y="0"/>
                  <a:pt x="152" y="0"/>
                </a:cubicBezTo>
                <a:cubicBezTo>
                  <a:pt x="92" y="0"/>
                  <a:pt x="43" y="49"/>
                  <a:pt x="43" y="108"/>
                </a:cubicBezTo>
                <a:cubicBezTo>
                  <a:pt x="43" y="152"/>
                  <a:pt x="71" y="190"/>
                  <a:pt x="109" y="206"/>
                </a:cubicBezTo>
                <a:cubicBezTo>
                  <a:pt x="49" y="217"/>
                  <a:pt x="0" y="288"/>
                  <a:pt x="0" y="369"/>
                </a:cubicBezTo>
                <a:cubicBezTo>
                  <a:pt x="0" y="636"/>
                  <a:pt x="0" y="636"/>
                  <a:pt x="0" y="636"/>
                </a:cubicBezTo>
                <a:cubicBezTo>
                  <a:pt x="92" y="636"/>
                  <a:pt x="92" y="636"/>
                  <a:pt x="92" y="636"/>
                </a:cubicBezTo>
                <a:cubicBezTo>
                  <a:pt x="92" y="918"/>
                  <a:pt x="92" y="918"/>
                  <a:pt x="92" y="918"/>
                </a:cubicBezTo>
                <a:cubicBezTo>
                  <a:pt x="130" y="918"/>
                  <a:pt x="130" y="918"/>
                  <a:pt x="130" y="918"/>
                </a:cubicBezTo>
                <a:cubicBezTo>
                  <a:pt x="152" y="668"/>
                  <a:pt x="152" y="668"/>
                  <a:pt x="152" y="668"/>
                </a:cubicBezTo>
                <a:cubicBezTo>
                  <a:pt x="179" y="918"/>
                  <a:pt x="179" y="918"/>
                  <a:pt x="179" y="918"/>
                </a:cubicBezTo>
                <a:cubicBezTo>
                  <a:pt x="212" y="918"/>
                  <a:pt x="212" y="918"/>
                  <a:pt x="212" y="918"/>
                </a:cubicBezTo>
                <a:cubicBezTo>
                  <a:pt x="212" y="636"/>
                  <a:pt x="212" y="636"/>
                  <a:pt x="212" y="636"/>
                </a:cubicBezTo>
                <a:cubicBezTo>
                  <a:pt x="304" y="636"/>
                  <a:pt x="304" y="636"/>
                  <a:pt x="304" y="636"/>
                </a:cubicBezTo>
                <a:lnTo>
                  <a:pt x="304" y="369"/>
                </a:lnTo>
              </a:path>
            </a:pathLst>
          </a:custGeom>
          <a:solidFill>
            <a:srgbClr val="C8C8C8"/>
          </a:solidFill>
          <a:ln>
            <a:noFill/>
          </a:ln>
          <a:effectLst/>
        </p:spPr>
        <p:txBody>
          <a:bodyPr wrap="none" lIns="121853" tIns="60926" rIns="121853" bIns="60926" anchor="ctr"/>
          <a:lstStyle/>
          <a:p>
            <a:endParaRPr lang="en-US" dirty="0">
              <a:latin typeface="Calibri Light"/>
            </a:endParaRPr>
          </a:p>
        </p:txBody>
      </p:sp>
      <p:sp>
        <p:nvSpPr>
          <p:cNvPr id="26" name="Freeform 101"/>
          <p:cNvSpPr>
            <a:spLocks noChangeArrowheads="1"/>
          </p:cNvSpPr>
          <p:nvPr/>
        </p:nvSpPr>
        <p:spPr bwMode="auto">
          <a:xfrm>
            <a:off x="5873129" y="4490140"/>
            <a:ext cx="266136" cy="801726"/>
          </a:xfrm>
          <a:custGeom>
            <a:avLst/>
            <a:gdLst>
              <a:gd name="T0" fmla="*/ 305 w 306"/>
              <a:gd name="T1" fmla="*/ 369 h 919"/>
              <a:gd name="T2" fmla="*/ 305 w 306"/>
              <a:gd name="T3" fmla="*/ 369 h 919"/>
              <a:gd name="T4" fmla="*/ 196 w 306"/>
              <a:gd name="T5" fmla="*/ 206 h 919"/>
              <a:gd name="T6" fmla="*/ 256 w 306"/>
              <a:gd name="T7" fmla="*/ 108 h 919"/>
              <a:gd name="T8" fmla="*/ 153 w 306"/>
              <a:gd name="T9" fmla="*/ 0 h 919"/>
              <a:gd name="T10" fmla="*/ 44 w 306"/>
              <a:gd name="T11" fmla="*/ 108 h 919"/>
              <a:gd name="T12" fmla="*/ 104 w 306"/>
              <a:gd name="T13" fmla="*/ 206 h 919"/>
              <a:gd name="T14" fmla="*/ 0 w 306"/>
              <a:gd name="T15" fmla="*/ 369 h 919"/>
              <a:gd name="T16" fmla="*/ 0 w 306"/>
              <a:gd name="T17" fmla="*/ 636 h 919"/>
              <a:gd name="T18" fmla="*/ 87 w 306"/>
              <a:gd name="T19" fmla="*/ 636 h 919"/>
              <a:gd name="T20" fmla="*/ 87 w 306"/>
              <a:gd name="T21" fmla="*/ 918 h 919"/>
              <a:gd name="T22" fmla="*/ 125 w 306"/>
              <a:gd name="T23" fmla="*/ 918 h 919"/>
              <a:gd name="T24" fmla="*/ 153 w 306"/>
              <a:gd name="T25" fmla="*/ 668 h 919"/>
              <a:gd name="T26" fmla="*/ 174 w 306"/>
              <a:gd name="T27" fmla="*/ 918 h 919"/>
              <a:gd name="T28" fmla="*/ 212 w 306"/>
              <a:gd name="T29" fmla="*/ 918 h 919"/>
              <a:gd name="T30" fmla="*/ 212 w 306"/>
              <a:gd name="T31" fmla="*/ 636 h 919"/>
              <a:gd name="T32" fmla="*/ 305 w 306"/>
              <a:gd name="T33" fmla="*/ 636 h 919"/>
              <a:gd name="T34" fmla="*/ 305 w 306"/>
              <a:gd name="T35" fmla="*/ 36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6" h="919">
                <a:moveTo>
                  <a:pt x="305" y="369"/>
                </a:moveTo>
                <a:lnTo>
                  <a:pt x="305" y="369"/>
                </a:lnTo>
                <a:cubicBezTo>
                  <a:pt x="305" y="288"/>
                  <a:pt x="256" y="217"/>
                  <a:pt x="196" y="206"/>
                </a:cubicBezTo>
                <a:cubicBezTo>
                  <a:pt x="234" y="190"/>
                  <a:pt x="256" y="152"/>
                  <a:pt x="256" y="108"/>
                </a:cubicBezTo>
                <a:cubicBezTo>
                  <a:pt x="256" y="49"/>
                  <a:pt x="212" y="0"/>
                  <a:pt x="153" y="0"/>
                </a:cubicBezTo>
                <a:cubicBezTo>
                  <a:pt x="93" y="0"/>
                  <a:pt x="44" y="49"/>
                  <a:pt x="44" y="108"/>
                </a:cubicBezTo>
                <a:cubicBezTo>
                  <a:pt x="44" y="152"/>
                  <a:pt x="71" y="190"/>
                  <a:pt x="104" y="206"/>
                </a:cubicBezTo>
                <a:cubicBezTo>
                  <a:pt x="44" y="217"/>
                  <a:pt x="0" y="288"/>
                  <a:pt x="0" y="369"/>
                </a:cubicBezTo>
                <a:cubicBezTo>
                  <a:pt x="0" y="636"/>
                  <a:pt x="0" y="636"/>
                  <a:pt x="0" y="636"/>
                </a:cubicBezTo>
                <a:cubicBezTo>
                  <a:pt x="87" y="636"/>
                  <a:pt x="87" y="636"/>
                  <a:pt x="87" y="636"/>
                </a:cubicBezTo>
                <a:cubicBezTo>
                  <a:pt x="87" y="918"/>
                  <a:pt x="87" y="918"/>
                  <a:pt x="87" y="918"/>
                </a:cubicBezTo>
                <a:cubicBezTo>
                  <a:pt x="125" y="918"/>
                  <a:pt x="125" y="918"/>
                  <a:pt x="125" y="918"/>
                </a:cubicBezTo>
                <a:cubicBezTo>
                  <a:pt x="153" y="668"/>
                  <a:pt x="153" y="668"/>
                  <a:pt x="153" y="668"/>
                </a:cubicBezTo>
                <a:cubicBezTo>
                  <a:pt x="174" y="918"/>
                  <a:pt x="174" y="918"/>
                  <a:pt x="174" y="918"/>
                </a:cubicBezTo>
                <a:cubicBezTo>
                  <a:pt x="212" y="918"/>
                  <a:pt x="212" y="918"/>
                  <a:pt x="212" y="918"/>
                </a:cubicBezTo>
                <a:cubicBezTo>
                  <a:pt x="212" y="636"/>
                  <a:pt x="212" y="636"/>
                  <a:pt x="212" y="636"/>
                </a:cubicBezTo>
                <a:cubicBezTo>
                  <a:pt x="305" y="636"/>
                  <a:pt x="305" y="636"/>
                  <a:pt x="305" y="636"/>
                </a:cubicBezTo>
                <a:lnTo>
                  <a:pt x="305" y="369"/>
                </a:lnTo>
              </a:path>
            </a:pathLst>
          </a:custGeom>
          <a:solidFill>
            <a:srgbClr val="C8C8C8"/>
          </a:solidFill>
          <a:ln>
            <a:noFill/>
          </a:ln>
          <a:effectLst/>
        </p:spPr>
        <p:txBody>
          <a:bodyPr wrap="none" lIns="121853" tIns="60926" rIns="121853" bIns="60926" anchor="ctr"/>
          <a:lstStyle/>
          <a:p>
            <a:endParaRPr lang="en-US" dirty="0">
              <a:latin typeface="Calibri Light"/>
            </a:endParaRPr>
          </a:p>
        </p:txBody>
      </p:sp>
      <p:sp>
        <p:nvSpPr>
          <p:cNvPr id="27" name="Freeform 102"/>
          <p:cNvSpPr>
            <a:spLocks noChangeArrowheads="1"/>
          </p:cNvSpPr>
          <p:nvPr/>
        </p:nvSpPr>
        <p:spPr bwMode="auto">
          <a:xfrm>
            <a:off x="6193264" y="4490140"/>
            <a:ext cx="266133" cy="801726"/>
          </a:xfrm>
          <a:custGeom>
            <a:avLst/>
            <a:gdLst>
              <a:gd name="T0" fmla="*/ 304 w 305"/>
              <a:gd name="T1" fmla="*/ 369 h 919"/>
              <a:gd name="T2" fmla="*/ 304 w 305"/>
              <a:gd name="T3" fmla="*/ 369 h 919"/>
              <a:gd name="T4" fmla="*/ 195 w 305"/>
              <a:gd name="T5" fmla="*/ 206 h 919"/>
              <a:gd name="T6" fmla="*/ 260 w 305"/>
              <a:gd name="T7" fmla="*/ 108 h 919"/>
              <a:gd name="T8" fmla="*/ 152 w 305"/>
              <a:gd name="T9" fmla="*/ 0 h 919"/>
              <a:gd name="T10" fmla="*/ 43 w 305"/>
              <a:gd name="T11" fmla="*/ 108 h 919"/>
              <a:gd name="T12" fmla="*/ 108 w 305"/>
              <a:gd name="T13" fmla="*/ 206 h 919"/>
              <a:gd name="T14" fmla="*/ 0 w 305"/>
              <a:gd name="T15" fmla="*/ 369 h 919"/>
              <a:gd name="T16" fmla="*/ 0 w 305"/>
              <a:gd name="T17" fmla="*/ 636 h 919"/>
              <a:gd name="T18" fmla="*/ 92 w 305"/>
              <a:gd name="T19" fmla="*/ 636 h 919"/>
              <a:gd name="T20" fmla="*/ 92 w 305"/>
              <a:gd name="T21" fmla="*/ 918 h 919"/>
              <a:gd name="T22" fmla="*/ 130 w 305"/>
              <a:gd name="T23" fmla="*/ 918 h 919"/>
              <a:gd name="T24" fmla="*/ 152 w 305"/>
              <a:gd name="T25" fmla="*/ 668 h 919"/>
              <a:gd name="T26" fmla="*/ 179 w 305"/>
              <a:gd name="T27" fmla="*/ 918 h 919"/>
              <a:gd name="T28" fmla="*/ 212 w 305"/>
              <a:gd name="T29" fmla="*/ 918 h 919"/>
              <a:gd name="T30" fmla="*/ 212 w 305"/>
              <a:gd name="T31" fmla="*/ 636 h 919"/>
              <a:gd name="T32" fmla="*/ 304 w 305"/>
              <a:gd name="T33" fmla="*/ 636 h 919"/>
              <a:gd name="T34" fmla="*/ 304 w 305"/>
              <a:gd name="T35" fmla="*/ 369 h 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919">
                <a:moveTo>
                  <a:pt x="304" y="369"/>
                </a:moveTo>
                <a:lnTo>
                  <a:pt x="304" y="369"/>
                </a:lnTo>
                <a:cubicBezTo>
                  <a:pt x="304" y="288"/>
                  <a:pt x="255" y="217"/>
                  <a:pt x="195" y="206"/>
                </a:cubicBezTo>
                <a:cubicBezTo>
                  <a:pt x="233" y="190"/>
                  <a:pt x="260" y="152"/>
                  <a:pt x="260" y="108"/>
                </a:cubicBezTo>
                <a:cubicBezTo>
                  <a:pt x="260" y="49"/>
                  <a:pt x="212" y="0"/>
                  <a:pt x="152" y="0"/>
                </a:cubicBezTo>
                <a:cubicBezTo>
                  <a:pt x="92" y="0"/>
                  <a:pt x="43" y="49"/>
                  <a:pt x="43" y="108"/>
                </a:cubicBezTo>
                <a:cubicBezTo>
                  <a:pt x="43" y="152"/>
                  <a:pt x="70" y="190"/>
                  <a:pt x="108" y="206"/>
                </a:cubicBezTo>
                <a:cubicBezTo>
                  <a:pt x="48" y="217"/>
                  <a:pt x="0" y="288"/>
                  <a:pt x="0" y="369"/>
                </a:cubicBezTo>
                <a:cubicBezTo>
                  <a:pt x="0" y="636"/>
                  <a:pt x="0" y="636"/>
                  <a:pt x="0" y="636"/>
                </a:cubicBezTo>
                <a:cubicBezTo>
                  <a:pt x="92" y="636"/>
                  <a:pt x="92" y="636"/>
                  <a:pt x="92" y="636"/>
                </a:cubicBezTo>
                <a:cubicBezTo>
                  <a:pt x="92" y="918"/>
                  <a:pt x="92" y="918"/>
                  <a:pt x="92" y="918"/>
                </a:cubicBezTo>
                <a:cubicBezTo>
                  <a:pt x="130" y="918"/>
                  <a:pt x="130" y="918"/>
                  <a:pt x="130" y="918"/>
                </a:cubicBezTo>
                <a:cubicBezTo>
                  <a:pt x="152" y="668"/>
                  <a:pt x="152" y="668"/>
                  <a:pt x="152" y="668"/>
                </a:cubicBezTo>
                <a:cubicBezTo>
                  <a:pt x="179" y="918"/>
                  <a:pt x="179" y="918"/>
                  <a:pt x="179" y="918"/>
                </a:cubicBezTo>
                <a:cubicBezTo>
                  <a:pt x="212" y="918"/>
                  <a:pt x="212" y="918"/>
                  <a:pt x="212" y="918"/>
                </a:cubicBezTo>
                <a:cubicBezTo>
                  <a:pt x="212" y="636"/>
                  <a:pt x="212" y="636"/>
                  <a:pt x="212" y="636"/>
                </a:cubicBezTo>
                <a:cubicBezTo>
                  <a:pt x="304" y="636"/>
                  <a:pt x="304" y="636"/>
                  <a:pt x="304" y="636"/>
                </a:cubicBezTo>
                <a:lnTo>
                  <a:pt x="304" y="369"/>
                </a:lnTo>
              </a:path>
            </a:pathLst>
          </a:custGeom>
          <a:solidFill>
            <a:srgbClr val="C8C8C8"/>
          </a:solidFill>
          <a:ln>
            <a:noFill/>
          </a:ln>
          <a:effectLst/>
        </p:spPr>
        <p:txBody>
          <a:bodyPr wrap="none" lIns="121853" tIns="60926" rIns="121853" bIns="60926" anchor="ctr"/>
          <a:lstStyle/>
          <a:p>
            <a:endParaRPr lang="en-US" dirty="0">
              <a:latin typeface="Calibri Light"/>
            </a:endParaRPr>
          </a:p>
        </p:txBody>
      </p:sp>
      <p:sp>
        <p:nvSpPr>
          <p:cNvPr id="28" name="Subtitle 2"/>
          <p:cNvSpPr txBox="1">
            <a:spLocks/>
          </p:cNvSpPr>
          <p:nvPr/>
        </p:nvSpPr>
        <p:spPr>
          <a:xfrm>
            <a:off x="7568371" y="4567700"/>
            <a:ext cx="1499190" cy="707233"/>
          </a:xfrm>
          <a:prstGeom prst="rect">
            <a:avLst/>
          </a:prstGeom>
        </p:spPr>
        <p:txBody>
          <a:bodyPr vert="horz" lIns="0" tIns="0" rIns="0" bIns="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4000" b="1" dirty="0">
                <a:latin typeface="Lato Regular"/>
                <a:cs typeface="Lato Regular"/>
              </a:rPr>
              <a:t>7</a:t>
            </a:r>
            <a:r>
              <a:rPr lang="en-US" sz="4000" b="1" dirty="0" smtClean="0">
                <a:latin typeface="Lato Regular"/>
                <a:cs typeface="Lato Regular"/>
              </a:rPr>
              <a:t>/</a:t>
            </a:r>
            <a:r>
              <a:rPr lang="en-US" sz="4000" b="1" dirty="0">
                <a:latin typeface="Lato Regular"/>
                <a:cs typeface="Lato Regular"/>
              </a:rPr>
              <a:t>10</a:t>
            </a:r>
            <a:endParaRPr lang="en-US" sz="2400" b="1" dirty="0">
              <a:latin typeface="Lato Regular"/>
              <a:cs typeface="Lato Regular"/>
            </a:endParaRPr>
          </a:p>
        </p:txBody>
      </p:sp>
      <p:sp>
        <p:nvSpPr>
          <p:cNvPr id="29" name="Subtitle 2"/>
          <p:cNvSpPr txBox="1">
            <a:spLocks/>
          </p:cNvSpPr>
          <p:nvPr/>
        </p:nvSpPr>
        <p:spPr>
          <a:xfrm>
            <a:off x="7568371" y="3045631"/>
            <a:ext cx="1499190" cy="611968"/>
          </a:xfrm>
          <a:prstGeom prst="rect">
            <a:avLst/>
          </a:prstGeom>
        </p:spPr>
        <p:txBody>
          <a:bodyPr vert="horz" lIns="0" tIns="0" rIns="0" bIns="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4000" b="1" dirty="0" smtClean="0">
                <a:latin typeface="Lato Regular"/>
                <a:cs typeface="Lato Regular"/>
              </a:rPr>
              <a:t>5/10</a:t>
            </a:r>
            <a:endParaRPr lang="en-US" sz="2400" b="1" dirty="0">
              <a:latin typeface="Lato Regular"/>
              <a:cs typeface="Lato Regular"/>
            </a:endParaRPr>
          </a:p>
        </p:txBody>
      </p:sp>
      <p:sp>
        <p:nvSpPr>
          <p:cNvPr id="30" name="Subtitle 2"/>
          <p:cNvSpPr txBox="1">
            <a:spLocks/>
          </p:cNvSpPr>
          <p:nvPr/>
        </p:nvSpPr>
        <p:spPr>
          <a:xfrm>
            <a:off x="6485230" y="2951138"/>
            <a:ext cx="1251689" cy="1023497"/>
          </a:xfrm>
          <a:prstGeom prst="rect">
            <a:avLst/>
          </a:prstGeom>
        </p:spPr>
        <p:txBody>
          <a:bodyPr vert="horz" lIns="0" tIns="0" rIns="0" bIns="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5400" b="1" dirty="0" smtClean="0">
                <a:latin typeface="Lato Regular"/>
                <a:cs typeface="Lato Regular"/>
              </a:rPr>
              <a:t>=</a:t>
            </a:r>
            <a:endParaRPr lang="en-US" sz="3600" b="1" dirty="0">
              <a:latin typeface="Lato Regular"/>
              <a:cs typeface="Lato Regular"/>
            </a:endParaRPr>
          </a:p>
        </p:txBody>
      </p:sp>
      <p:sp>
        <p:nvSpPr>
          <p:cNvPr id="31" name="Subtitle 2"/>
          <p:cNvSpPr txBox="1">
            <a:spLocks/>
          </p:cNvSpPr>
          <p:nvPr/>
        </p:nvSpPr>
        <p:spPr>
          <a:xfrm>
            <a:off x="6485229" y="4490140"/>
            <a:ext cx="1251689" cy="1023497"/>
          </a:xfrm>
          <a:prstGeom prst="rect">
            <a:avLst/>
          </a:prstGeom>
        </p:spPr>
        <p:txBody>
          <a:bodyPr vert="horz" lIns="0" tIns="0" rIns="0" bIns="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5400" b="1" dirty="0" smtClean="0">
                <a:latin typeface="Lato Regular"/>
                <a:cs typeface="Lato Regular"/>
              </a:rPr>
              <a:t>=</a:t>
            </a:r>
            <a:endParaRPr lang="en-US" sz="3600" b="1" dirty="0">
              <a:latin typeface="Lato Regular"/>
              <a:cs typeface="Lato Regular"/>
            </a:endParaRPr>
          </a:p>
        </p:txBody>
      </p:sp>
      <p:sp>
        <p:nvSpPr>
          <p:cNvPr id="59"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58_84</a:t>
            </a:r>
            <a:endParaRPr lang="en-US" sz="100" dirty="0" err="1" smtClean="0">
              <a:solidFill>
                <a:srgbClr val="FFFFFF"/>
              </a:solidFill>
            </a:endParaRPr>
          </a:p>
        </p:txBody>
      </p:sp>
    </p:spTree>
    <p:extLst>
      <p:ext uri="{BB962C8B-B14F-4D97-AF65-F5344CB8AC3E}">
        <p14:creationId xmlns:p14="http://schemas.microsoft.com/office/powerpoint/2010/main" val="399010710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yers diagram</a:t>
            </a:r>
            <a:endParaRPr lang="en-US" dirty="0"/>
          </a:p>
        </p:txBody>
      </p:sp>
      <p:grpSp>
        <p:nvGrpSpPr>
          <p:cNvPr id="3" name="Group 2"/>
          <p:cNvGrpSpPr/>
          <p:nvPr>
            <p:custDataLst>
              <p:tags r:id="rId1"/>
            </p:custDataLst>
          </p:nvPr>
        </p:nvGrpSpPr>
        <p:grpSpPr>
          <a:xfrm>
            <a:off x="5168945" y="3765281"/>
            <a:ext cx="2645734" cy="1397550"/>
            <a:chOff x="3433260" y="3280864"/>
            <a:chExt cx="2237290" cy="1181491"/>
          </a:xfrm>
        </p:grpSpPr>
        <p:sp>
          <p:nvSpPr>
            <p:cNvPr id="4" name="Freeform 11"/>
            <p:cNvSpPr>
              <a:spLocks/>
            </p:cNvSpPr>
            <p:nvPr/>
          </p:nvSpPr>
          <p:spPr bwMode="auto">
            <a:xfrm>
              <a:off x="3433260" y="3280864"/>
              <a:ext cx="2237290" cy="743372"/>
            </a:xfrm>
            <a:custGeom>
              <a:avLst/>
              <a:gdLst>
                <a:gd name="T0" fmla="*/ 985 w 985"/>
                <a:gd name="T1" fmla="*/ 265 h 449"/>
                <a:gd name="T2" fmla="*/ 492 w 985"/>
                <a:gd name="T3" fmla="*/ 0 h 449"/>
                <a:gd name="T4" fmla="*/ 0 w 985"/>
                <a:gd name="T5" fmla="*/ 265 h 449"/>
                <a:gd name="T6" fmla="*/ 0 w 985"/>
                <a:gd name="T7" fmla="*/ 449 h 449"/>
                <a:gd name="T8" fmla="*/ 492 w 985"/>
                <a:gd name="T9" fmla="*/ 183 h 449"/>
                <a:gd name="T10" fmla="*/ 985 w 985"/>
                <a:gd name="T11" fmla="*/ 449 h 449"/>
                <a:gd name="T12" fmla="*/ 985 w 985"/>
                <a:gd name="T13" fmla="*/ 265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265"/>
                  </a:moveTo>
                  <a:cubicBezTo>
                    <a:pt x="985" y="119"/>
                    <a:pt x="764" y="0"/>
                    <a:pt x="492" y="0"/>
                  </a:cubicBezTo>
                  <a:cubicBezTo>
                    <a:pt x="220" y="0"/>
                    <a:pt x="0" y="119"/>
                    <a:pt x="0" y="265"/>
                  </a:cubicBezTo>
                  <a:cubicBezTo>
                    <a:pt x="0" y="449"/>
                    <a:pt x="0" y="449"/>
                    <a:pt x="0" y="449"/>
                  </a:cubicBezTo>
                  <a:cubicBezTo>
                    <a:pt x="0" y="302"/>
                    <a:pt x="220" y="183"/>
                    <a:pt x="492" y="183"/>
                  </a:cubicBezTo>
                  <a:cubicBezTo>
                    <a:pt x="764" y="183"/>
                    <a:pt x="985" y="302"/>
                    <a:pt x="985" y="449"/>
                  </a:cubicBezTo>
                  <a:lnTo>
                    <a:pt x="985" y="265"/>
                  </a:lnTo>
                  <a:close/>
                </a:path>
              </a:pathLst>
            </a:custGeom>
            <a:solidFill>
              <a:schemeClr val="accent4"/>
            </a:solidFill>
            <a:ln w="3175">
              <a:noFill/>
            </a:ln>
            <a:extLst/>
          </p:spPr>
          <p:txBody>
            <a:bodyPr vert="horz" wrap="square" lIns="91440" tIns="45720" rIns="91440" bIns="45720" numCol="1" anchor="t" anchorCtr="0" compatLnSpc="1">
              <a:prstTxWarp prst="textNoShape">
                <a:avLst/>
              </a:prstTxWarp>
            </a:bodyPr>
            <a:lstStyle/>
            <a:p>
              <a:endParaRPr lang="ko-KR" altLang="en-US" dirty="0">
                <a:latin typeface="Calibri Light"/>
              </a:endParaRPr>
            </a:p>
          </p:txBody>
        </p:sp>
        <p:sp>
          <p:nvSpPr>
            <p:cNvPr id="5" name="Freeform 12"/>
            <p:cNvSpPr>
              <a:spLocks noEditPoints="1"/>
            </p:cNvSpPr>
            <p:nvPr/>
          </p:nvSpPr>
          <p:spPr bwMode="auto">
            <a:xfrm>
              <a:off x="3433260" y="3297669"/>
              <a:ext cx="2237290" cy="878760"/>
            </a:xfrm>
            <a:custGeom>
              <a:avLst/>
              <a:gdLst>
                <a:gd name="T0" fmla="*/ 492 w 985"/>
                <a:gd name="T1" fmla="*/ 60 h 531"/>
                <a:gd name="T2" fmla="*/ 925 w 985"/>
                <a:gd name="T3" fmla="*/ 265 h 531"/>
                <a:gd name="T4" fmla="*/ 492 w 985"/>
                <a:gd name="T5" fmla="*/ 471 h 531"/>
                <a:gd name="T6" fmla="*/ 60 w 985"/>
                <a:gd name="T7" fmla="*/ 265 h 531"/>
                <a:gd name="T8" fmla="*/ 492 w 985"/>
                <a:gd name="T9" fmla="*/ 60 h 531"/>
                <a:gd name="T10" fmla="*/ 492 w 985"/>
                <a:gd name="T11" fmla="*/ 0 h 531"/>
                <a:gd name="T12" fmla="*/ 0 w 985"/>
                <a:gd name="T13" fmla="*/ 265 h 531"/>
                <a:gd name="T14" fmla="*/ 492 w 985"/>
                <a:gd name="T15" fmla="*/ 531 h 531"/>
                <a:gd name="T16" fmla="*/ 985 w 985"/>
                <a:gd name="T17" fmla="*/ 265 h 531"/>
                <a:gd name="T18" fmla="*/ 492 w 985"/>
                <a:gd name="T19"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5" h="531">
                  <a:moveTo>
                    <a:pt x="492" y="60"/>
                  </a:moveTo>
                  <a:cubicBezTo>
                    <a:pt x="747" y="60"/>
                    <a:pt x="925" y="168"/>
                    <a:pt x="925" y="265"/>
                  </a:cubicBezTo>
                  <a:cubicBezTo>
                    <a:pt x="925" y="362"/>
                    <a:pt x="747" y="471"/>
                    <a:pt x="492" y="471"/>
                  </a:cubicBezTo>
                  <a:cubicBezTo>
                    <a:pt x="237" y="471"/>
                    <a:pt x="60" y="362"/>
                    <a:pt x="60" y="265"/>
                  </a:cubicBezTo>
                  <a:cubicBezTo>
                    <a:pt x="60" y="168"/>
                    <a:pt x="237" y="60"/>
                    <a:pt x="492" y="60"/>
                  </a:cubicBezTo>
                  <a:moveTo>
                    <a:pt x="492" y="0"/>
                  </a:moveTo>
                  <a:cubicBezTo>
                    <a:pt x="220" y="0"/>
                    <a:pt x="0" y="119"/>
                    <a:pt x="0" y="265"/>
                  </a:cubicBezTo>
                  <a:cubicBezTo>
                    <a:pt x="0" y="412"/>
                    <a:pt x="220" y="531"/>
                    <a:pt x="492" y="531"/>
                  </a:cubicBezTo>
                  <a:cubicBezTo>
                    <a:pt x="764" y="531"/>
                    <a:pt x="985" y="412"/>
                    <a:pt x="985" y="265"/>
                  </a:cubicBezTo>
                  <a:cubicBezTo>
                    <a:pt x="985" y="119"/>
                    <a:pt x="764" y="0"/>
                    <a:pt x="492" y="0"/>
                  </a:cubicBezTo>
                  <a:close/>
                </a:path>
              </a:pathLst>
            </a:custGeom>
            <a:solidFill>
              <a:schemeClr val="tx2">
                <a:lumMod val="65000"/>
              </a:schemeClr>
            </a:solidFill>
            <a:ln w="3175">
              <a:noFill/>
            </a:ln>
            <a:extLst/>
          </p:spPr>
          <p:txBody>
            <a:bodyPr vert="horz" wrap="square" lIns="91440" tIns="45720" rIns="91440" bIns="45720" numCol="1" anchor="t" anchorCtr="0" compatLnSpc="1">
              <a:prstTxWarp prst="textNoShape">
                <a:avLst/>
              </a:prstTxWarp>
            </a:bodyPr>
            <a:lstStyle/>
            <a:p>
              <a:endParaRPr lang="ko-KR" altLang="en-US" dirty="0">
                <a:latin typeface="Calibri Light"/>
              </a:endParaRPr>
            </a:p>
          </p:txBody>
        </p:sp>
        <p:sp>
          <p:nvSpPr>
            <p:cNvPr id="6" name="Freeform 13"/>
            <p:cNvSpPr>
              <a:spLocks/>
            </p:cNvSpPr>
            <p:nvPr/>
          </p:nvSpPr>
          <p:spPr bwMode="auto">
            <a:xfrm>
              <a:off x="3433260" y="3719824"/>
              <a:ext cx="2237290" cy="742531"/>
            </a:xfrm>
            <a:custGeom>
              <a:avLst/>
              <a:gdLst>
                <a:gd name="T0" fmla="*/ 985 w 985"/>
                <a:gd name="T1" fmla="*/ 184 h 449"/>
                <a:gd name="T2" fmla="*/ 492 w 985"/>
                <a:gd name="T3" fmla="*/ 449 h 449"/>
                <a:gd name="T4" fmla="*/ 0 w 985"/>
                <a:gd name="T5" fmla="*/ 184 h 449"/>
                <a:gd name="T6" fmla="*/ 0 w 985"/>
                <a:gd name="T7" fmla="*/ 0 h 449"/>
                <a:gd name="T8" fmla="*/ 492 w 985"/>
                <a:gd name="T9" fmla="*/ 266 h 449"/>
                <a:gd name="T10" fmla="*/ 985 w 985"/>
                <a:gd name="T11" fmla="*/ 0 h 449"/>
                <a:gd name="T12" fmla="*/ 985 w 985"/>
                <a:gd name="T13" fmla="*/ 184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184"/>
                  </a:moveTo>
                  <a:cubicBezTo>
                    <a:pt x="985" y="330"/>
                    <a:pt x="764" y="449"/>
                    <a:pt x="492" y="449"/>
                  </a:cubicBezTo>
                  <a:cubicBezTo>
                    <a:pt x="220" y="449"/>
                    <a:pt x="0" y="330"/>
                    <a:pt x="0" y="184"/>
                  </a:cubicBezTo>
                  <a:cubicBezTo>
                    <a:pt x="0" y="0"/>
                    <a:pt x="0" y="0"/>
                    <a:pt x="0" y="0"/>
                  </a:cubicBezTo>
                  <a:cubicBezTo>
                    <a:pt x="0" y="147"/>
                    <a:pt x="220" y="266"/>
                    <a:pt x="492" y="266"/>
                  </a:cubicBezTo>
                  <a:cubicBezTo>
                    <a:pt x="764" y="266"/>
                    <a:pt x="985" y="147"/>
                    <a:pt x="985" y="0"/>
                  </a:cubicBezTo>
                  <a:lnTo>
                    <a:pt x="985" y="184"/>
                  </a:lnTo>
                  <a:close/>
                </a:path>
              </a:pathLst>
            </a:custGeom>
            <a:solidFill>
              <a:schemeClr val="accent4"/>
            </a:solidFill>
            <a:ln w="3175">
              <a:noFill/>
            </a:ln>
            <a:extLst/>
          </p:spPr>
          <p:txBody>
            <a:bodyPr vert="horz" wrap="square" lIns="0" tIns="0" rIns="0" bIns="0" numCol="1" anchor="ctr" anchorCtr="0" compatLnSpc="1">
              <a:prstTxWarp prst="textNoShape">
                <a:avLst/>
              </a:prstTxWarp>
            </a:bodyPr>
            <a:lstStyle/>
            <a:p>
              <a:pPr algn="ctr">
                <a:spcAft>
                  <a:spcPts val="800"/>
                </a:spcAft>
              </a:pPr>
              <a:endParaRPr lang="en-US" altLang="ko-KR" sz="3200" b="1" dirty="0">
                <a:gradFill>
                  <a:gsLst>
                    <a:gs pos="0">
                      <a:schemeClr val="accent4">
                        <a:alpha val="50000"/>
                      </a:schemeClr>
                    </a:gs>
                    <a:gs pos="100000">
                      <a:schemeClr val="accent4">
                        <a:alpha val="50000"/>
                      </a:schemeClr>
                    </a:gs>
                  </a:gsLst>
                  <a:lin ang="5400000" scaled="0"/>
                </a:gradFill>
                <a:latin typeface="Bebas Neue" pitchFamily="34" charset="0"/>
                <a:ea typeface="Roboto Condensed Regular"/>
              </a:endParaRPr>
            </a:p>
          </p:txBody>
        </p:sp>
      </p:grpSp>
      <p:grpSp>
        <p:nvGrpSpPr>
          <p:cNvPr id="7" name="Group 6"/>
          <p:cNvGrpSpPr/>
          <p:nvPr>
            <p:custDataLst>
              <p:tags r:id="rId2"/>
            </p:custDataLst>
          </p:nvPr>
        </p:nvGrpSpPr>
        <p:grpSpPr>
          <a:xfrm>
            <a:off x="5168945" y="3163353"/>
            <a:ext cx="2645734" cy="1397550"/>
            <a:chOff x="3433260" y="3280864"/>
            <a:chExt cx="2237290" cy="1181491"/>
          </a:xfrm>
        </p:grpSpPr>
        <p:sp>
          <p:nvSpPr>
            <p:cNvPr id="8" name="Freeform 11"/>
            <p:cNvSpPr>
              <a:spLocks/>
            </p:cNvSpPr>
            <p:nvPr/>
          </p:nvSpPr>
          <p:spPr bwMode="auto">
            <a:xfrm>
              <a:off x="3433260" y="3280864"/>
              <a:ext cx="2237290" cy="743372"/>
            </a:xfrm>
            <a:custGeom>
              <a:avLst/>
              <a:gdLst>
                <a:gd name="T0" fmla="*/ 985 w 985"/>
                <a:gd name="T1" fmla="*/ 265 h 449"/>
                <a:gd name="T2" fmla="*/ 492 w 985"/>
                <a:gd name="T3" fmla="*/ 0 h 449"/>
                <a:gd name="T4" fmla="*/ 0 w 985"/>
                <a:gd name="T5" fmla="*/ 265 h 449"/>
                <a:gd name="T6" fmla="*/ 0 w 985"/>
                <a:gd name="T7" fmla="*/ 449 h 449"/>
                <a:gd name="T8" fmla="*/ 492 w 985"/>
                <a:gd name="T9" fmla="*/ 183 h 449"/>
                <a:gd name="T10" fmla="*/ 985 w 985"/>
                <a:gd name="T11" fmla="*/ 449 h 449"/>
                <a:gd name="T12" fmla="*/ 985 w 985"/>
                <a:gd name="T13" fmla="*/ 265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265"/>
                  </a:moveTo>
                  <a:cubicBezTo>
                    <a:pt x="985" y="119"/>
                    <a:pt x="764" y="0"/>
                    <a:pt x="492" y="0"/>
                  </a:cubicBezTo>
                  <a:cubicBezTo>
                    <a:pt x="220" y="0"/>
                    <a:pt x="0" y="119"/>
                    <a:pt x="0" y="265"/>
                  </a:cubicBezTo>
                  <a:cubicBezTo>
                    <a:pt x="0" y="449"/>
                    <a:pt x="0" y="449"/>
                    <a:pt x="0" y="449"/>
                  </a:cubicBezTo>
                  <a:cubicBezTo>
                    <a:pt x="0" y="302"/>
                    <a:pt x="220" y="183"/>
                    <a:pt x="492" y="183"/>
                  </a:cubicBezTo>
                  <a:cubicBezTo>
                    <a:pt x="764" y="183"/>
                    <a:pt x="985" y="302"/>
                    <a:pt x="985" y="449"/>
                  </a:cubicBezTo>
                  <a:lnTo>
                    <a:pt x="985" y="265"/>
                  </a:lnTo>
                  <a:close/>
                </a:path>
              </a:pathLst>
            </a:custGeom>
            <a:solidFill>
              <a:schemeClr val="accent3"/>
            </a:solidFill>
            <a:ln w="3175">
              <a:noFill/>
            </a:ln>
            <a:extLst/>
          </p:spPr>
          <p:txBody>
            <a:bodyPr vert="horz" wrap="square" lIns="91440" tIns="45720" rIns="91440" bIns="45720" numCol="1" anchor="t" anchorCtr="0" compatLnSpc="1">
              <a:prstTxWarp prst="textNoShape">
                <a:avLst/>
              </a:prstTxWarp>
            </a:bodyPr>
            <a:lstStyle/>
            <a:p>
              <a:endParaRPr lang="ko-KR" altLang="en-US" dirty="0">
                <a:latin typeface="Calibri Light"/>
              </a:endParaRPr>
            </a:p>
          </p:txBody>
        </p:sp>
        <p:sp>
          <p:nvSpPr>
            <p:cNvPr id="9" name="Freeform 12"/>
            <p:cNvSpPr>
              <a:spLocks noEditPoints="1"/>
            </p:cNvSpPr>
            <p:nvPr/>
          </p:nvSpPr>
          <p:spPr bwMode="auto">
            <a:xfrm>
              <a:off x="3433260" y="3288517"/>
              <a:ext cx="2237290" cy="878760"/>
            </a:xfrm>
            <a:custGeom>
              <a:avLst/>
              <a:gdLst>
                <a:gd name="T0" fmla="*/ 492 w 985"/>
                <a:gd name="T1" fmla="*/ 60 h 531"/>
                <a:gd name="T2" fmla="*/ 925 w 985"/>
                <a:gd name="T3" fmla="*/ 265 h 531"/>
                <a:gd name="T4" fmla="*/ 492 w 985"/>
                <a:gd name="T5" fmla="*/ 471 h 531"/>
                <a:gd name="T6" fmla="*/ 60 w 985"/>
                <a:gd name="T7" fmla="*/ 265 h 531"/>
                <a:gd name="T8" fmla="*/ 492 w 985"/>
                <a:gd name="T9" fmla="*/ 60 h 531"/>
                <a:gd name="T10" fmla="*/ 492 w 985"/>
                <a:gd name="T11" fmla="*/ 0 h 531"/>
                <a:gd name="T12" fmla="*/ 0 w 985"/>
                <a:gd name="T13" fmla="*/ 265 h 531"/>
                <a:gd name="T14" fmla="*/ 492 w 985"/>
                <a:gd name="T15" fmla="*/ 531 h 531"/>
                <a:gd name="T16" fmla="*/ 985 w 985"/>
                <a:gd name="T17" fmla="*/ 265 h 531"/>
                <a:gd name="T18" fmla="*/ 492 w 985"/>
                <a:gd name="T19"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5" h="531">
                  <a:moveTo>
                    <a:pt x="492" y="60"/>
                  </a:moveTo>
                  <a:cubicBezTo>
                    <a:pt x="747" y="60"/>
                    <a:pt x="925" y="168"/>
                    <a:pt x="925" y="265"/>
                  </a:cubicBezTo>
                  <a:cubicBezTo>
                    <a:pt x="925" y="362"/>
                    <a:pt x="747" y="471"/>
                    <a:pt x="492" y="471"/>
                  </a:cubicBezTo>
                  <a:cubicBezTo>
                    <a:pt x="237" y="471"/>
                    <a:pt x="60" y="362"/>
                    <a:pt x="60" y="265"/>
                  </a:cubicBezTo>
                  <a:cubicBezTo>
                    <a:pt x="60" y="168"/>
                    <a:pt x="237" y="60"/>
                    <a:pt x="492" y="60"/>
                  </a:cubicBezTo>
                  <a:moveTo>
                    <a:pt x="492" y="0"/>
                  </a:moveTo>
                  <a:cubicBezTo>
                    <a:pt x="220" y="0"/>
                    <a:pt x="0" y="119"/>
                    <a:pt x="0" y="265"/>
                  </a:cubicBezTo>
                  <a:cubicBezTo>
                    <a:pt x="0" y="412"/>
                    <a:pt x="220" y="531"/>
                    <a:pt x="492" y="531"/>
                  </a:cubicBezTo>
                  <a:cubicBezTo>
                    <a:pt x="764" y="531"/>
                    <a:pt x="985" y="412"/>
                    <a:pt x="985" y="265"/>
                  </a:cubicBezTo>
                  <a:cubicBezTo>
                    <a:pt x="985" y="119"/>
                    <a:pt x="764" y="0"/>
                    <a:pt x="492" y="0"/>
                  </a:cubicBezTo>
                  <a:close/>
                </a:path>
              </a:pathLst>
            </a:custGeom>
            <a:solidFill>
              <a:schemeClr val="accent3">
                <a:lumMod val="75000"/>
              </a:schemeClr>
            </a:solidFill>
            <a:ln w="3175">
              <a:noFill/>
            </a:ln>
            <a:extLst/>
          </p:spPr>
          <p:txBody>
            <a:bodyPr vert="horz" wrap="square" lIns="91440" tIns="45720" rIns="91440" bIns="45720" numCol="1" anchor="t" anchorCtr="0" compatLnSpc="1">
              <a:prstTxWarp prst="textNoShape">
                <a:avLst/>
              </a:prstTxWarp>
            </a:bodyPr>
            <a:lstStyle/>
            <a:p>
              <a:endParaRPr lang="ko-KR" altLang="en-US" dirty="0">
                <a:latin typeface="Calibri Light"/>
              </a:endParaRPr>
            </a:p>
          </p:txBody>
        </p:sp>
        <p:sp>
          <p:nvSpPr>
            <p:cNvPr id="10" name="Freeform 13"/>
            <p:cNvSpPr>
              <a:spLocks/>
            </p:cNvSpPr>
            <p:nvPr/>
          </p:nvSpPr>
          <p:spPr bwMode="auto">
            <a:xfrm>
              <a:off x="3433260" y="3719824"/>
              <a:ext cx="2237290" cy="742531"/>
            </a:xfrm>
            <a:custGeom>
              <a:avLst/>
              <a:gdLst>
                <a:gd name="T0" fmla="*/ 985 w 985"/>
                <a:gd name="T1" fmla="*/ 184 h 449"/>
                <a:gd name="T2" fmla="*/ 492 w 985"/>
                <a:gd name="T3" fmla="*/ 449 h 449"/>
                <a:gd name="T4" fmla="*/ 0 w 985"/>
                <a:gd name="T5" fmla="*/ 184 h 449"/>
                <a:gd name="T6" fmla="*/ 0 w 985"/>
                <a:gd name="T7" fmla="*/ 0 h 449"/>
                <a:gd name="T8" fmla="*/ 492 w 985"/>
                <a:gd name="T9" fmla="*/ 266 h 449"/>
                <a:gd name="T10" fmla="*/ 985 w 985"/>
                <a:gd name="T11" fmla="*/ 0 h 449"/>
                <a:gd name="T12" fmla="*/ 985 w 985"/>
                <a:gd name="T13" fmla="*/ 184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184"/>
                  </a:moveTo>
                  <a:cubicBezTo>
                    <a:pt x="985" y="330"/>
                    <a:pt x="764" y="449"/>
                    <a:pt x="492" y="449"/>
                  </a:cubicBezTo>
                  <a:cubicBezTo>
                    <a:pt x="220" y="449"/>
                    <a:pt x="0" y="330"/>
                    <a:pt x="0" y="184"/>
                  </a:cubicBezTo>
                  <a:cubicBezTo>
                    <a:pt x="0" y="0"/>
                    <a:pt x="0" y="0"/>
                    <a:pt x="0" y="0"/>
                  </a:cubicBezTo>
                  <a:cubicBezTo>
                    <a:pt x="0" y="147"/>
                    <a:pt x="220" y="266"/>
                    <a:pt x="492" y="266"/>
                  </a:cubicBezTo>
                  <a:cubicBezTo>
                    <a:pt x="764" y="266"/>
                    <a:pt x="985" y="147"/>
                    <a:pt x="985" y="0"/>
                  </a:cubicBezTo>
                  <a:lnTo>
                    <a:pt x="985" y="184"/>
                  </a:lnTo>
                  <a:close/>
                </a:path>
              </a:pathLst>
            </a:custGeom>
            <a:solidFill>
              <a:schemeClr val="accent3"/>
            </a:solidFill>
            <a:ln w="3175">
              <a:noFill/>
            </a:ln>
            <a:extLst/>
          </p:spPr>
          <p:txBody>
            <a:bodyPr vert="horz" wrap="square" lIns="0" tIns="0" rIns="0" bIns="0" numCol="1" anchor="ctr" anchorCtr="0" compatLnSpc="1">
              <a:prstTxWarp prst="textNoShape">
                <a:avLst/>
              </a:prstTxWarp>
            </a:bodyPr>
            <a:lstStyle/>
            <a:p>
              <a:pPr algn="ctr">
                <a:spcAft>
                  <a:spcPts val="800"/>
                </a:spcAft>
              </a:pPr>
              <a:endParaRPr lang="en-US" altLang="ko-KR" sz="3200" b="1" dirty="0">
                <a:gradFill>
                  <a:gsLst>
                    <a:gs pos="0">
                      <a:schemeClr val="accent4">
                        <a:alpha val="50000"/>
                      </a:schemeClr>
                    </a:gs>
                    <a:gs pos="100000">
                      <a:schemeClr val="accent4">
                        <a:alpha val="50000"/>
                      </a:schemeClr>
                    </a:gs>
                  </a:gsLst>
                  <a:lin ang="5400000" scaled="0"/>
                </a:gradFill>
                <a:latin typeface="Bebas Neue" pitchFamily="34" charset="0"/>
                <a:ea typeface="Roboto Condensed Regular"/>
              </a:endParaRPr>
            </a:p>
          </p:txBody>
        </p:sp>
      </p:grpSp>
      <p:grpSp>
        <p:nvGrpSpPr>
          <p:cNvPr id="11" name="Group 10"/>
          <p:cNvGrpSpPr/>
          <p:nvPr>
            <p:custDataLst>
              <p:tags r:id="rId3"/>
            </p:custDataLst>
          </p:nvPr>
        </p:nvGrpSpPr>
        <p:grpSpPr>
          <a:xfrm>
            <a:off x="5168945" y="2502438"/>
            <a:ext cx="2645734" cy="1397550"/>
            <a:chOff x="3433260" y="3280864"/>
            <a:chExt cx="2237290" cy="1181491"/>
          </a:xfrm>
          <a:solidFill>
            <a:srgbClr val="58595B"/>
          </a:solidFill>
        </p:grpSpPr>
        <p:sp>
          <p:nvSpPr>
            <p:cNvPr id="12" name="Freeform 11"/>
            <p:cNvSpPr>
              <a:spLocks/>
            </p:cNvSpPr>
            <p:nvPr/>
          </p:nvSpPr>
          <p:spPr bwMode="auto">
            <a:xfrm>
              <a:off x="3433260" y="3280864"/>
              <a:ext cx="2237290" cy="743372"/>
            </a:xfrm>
            <a:custGeom>
              <a:avLst/>
              <a:gdLst>
                <a:gd name="T0" fmla="*/ 985 w 985"/>
                <a:gd name="T1" fmla="*/ 265 h 449"/>
                <a:gd name="T2" fmla="*/ 492 w 985"/>
                <a:gd name="T3" fmla="*/ 0 h 449"/>
                <a:gd name="T4" fmla="*/ 0 w 985"/>
                <a:gd name="T5" fmla="*/ 265 h 449"/>
                <a:gd name="T6" fmla="*/ 0 w 985"/>
                <a:gd name="T7" fmla="*/ 449 h 449"/>
                <a:gd name="T8" fmla="*/ 492 w 985"/>
                <a:gd name="T9" fmla="*/ 183 h 449"/>
                <a:gd name="T10" fmla="*/ 985 w 985"/>
                <a:gd name="T11" fmla="*/ 449 h 449"/>
                <a:gd name="T12" fmla="*/ 985 w 985"/>
                <a:gd name="T13" fmla="*/ 265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265"/>
                  </a:moveTo>
                  <a:cubicBezTo>
                    <a:pt x="985" y="119"/>
                    <a:pt x="764" y="0"/>
                    <a:pt x="492" y="0"/>
                  </a:cubicBezTo>
                  <a:cubicBezTo>
                    <a:pt x="220" y="0"/>
                    <a:pt x="0" y="119"/>
                    <a:pt x="0" y="265"/>
                  </a:cubicBezTo>
                  <a:cubicBezTo>
                    <a:pt x="0" y="449"/>
                    <a:pt x="0" y="449"/>
                    <a:pt x="0" y="449"/>
                  </a:cubicBezTo>
                  <a:cubicBezTo>
                    <a:pt x="0" y="302"/>
                    <a:pt x="220" y="183"/>
                    <a:pt x="492" y="183"/>
                  </a:cubicBezTo>
                  <a:cubicBezTo>
                    <a:pt x="764" y="183"/>
                    <a:pt x="985" y="302"/>
                    <a:pt x="985" y="449"/>
                  </a:cubicBezTo>
                  <a:lnTo>
                    <a:pt x="985" y="265"/>
                  </a:lnTo>
                  <a:close/>
                </a:path>
              </a:pathLst>
            </a:custGeom>
            <a:grpFill/>
            <a:ln w="3175">
              <a:noFill/>
            </a:ln>
            <a:extLst/>
          </p:spPr>
          <p:txBody>
            <a:bodyPr vert="horz" wrap="square" lIns="91440" tIns="45720" rIns="91440" bIns="45720" numCol="1" anchor="t" anchorCtr="0" compatLnSpc="1">
              <a:prstTxWarp prst="textNoShape">
                <a:avLst/>
              </a:prstTxWarp>
            </a:bodyPr>
            <a:lstStyle/>
            <a:p>
              <a:endParaRPr lang="ko-KR" altLang="en-US" dirty="0">
                <a:latin typeface="Calibri Light"/>
              </a:endParaRPr>
            </a:p>
          </p:txBody>
        </p:sp>
        <p:sp>
          <p:nvSpPr>
            <p:cNvPr id="13" name="Freeform 12"/>
            <p:cNvSpPr>
              <a:spLocks noEditPoints="1"/>
            </p:cNvSpPr>
            <p:nvPr/>
          </p:nvSpPr>
          <p:spPr bwMode="auto">
            <a:xfrm>
              <a:off x="3433260" y="3304622"/>
              <a:ext cx="2237290" cy="878760"/>
            </a:xfrm>
            <a:custGeom>
              <a:avLst/>
              <a:gdLst>
                <a:gd name="T0" fmla="*/ 492 w 985"/>
                <a:gd name="T1" fmla="*/ 60 h 531"/>
                <a:gd name="T2" fmla="*/ 925 w 985"/>
                <a:gd name="T3" fmla="*/ 265 h 531"/>
                <a:gd name="T4" fmla="*/ 492 w 985"/>
                <a:gd name="T5" fmla="*/ 471 h 531"/>
                <a:gd name="T6" fmla="*/ 60 w 985"/>
                <a:gd name="T7" fmla="*/ 265 h 531"/>
                <a:gd name="T8" fmla="*/ 492 w 985"/>
                <a:gd name="T9" fmla="*/ 60 h 531"/>
                <a:gd name="T10" fmla="*/ 492 w 985"/>
                <a:gd name="T11" fmla="*/ 0 h 531"/>
                <a:gd name="T12" fmla="*/ 0 w 985"/>
                <a:gd name="T13" fmla="*/ 265 h 531"/>
                <a:gd name="T14" fmla="*/ 492 w 985"/>
                <a:gd name="T15" fmla="*/ 531 h 531"/>
                <a:gd name="T16" fmla="*/ 985 w 985"/>
                <a:gd name="T17" fmla="*/ 265 h 531"/>
                <a:gd name="T18" fmla="*/ 492 w 985"/>
                <a:gd name="T19"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5" h="531">
                  <a:moveTo>
                    <a:pt x="492" y="60"/>
                  </a:moveTo>
                  <a:cubicBezTo>
                    <a:pt x="747" y="60"/>
                    <a:pt x="925" y="168"/>
                    <a:pt x="925" y="265"/>
                  </a:cubicBezTo>
                  <a:cubicBezTo>
                    <a:pt x="925" y="362"/>
                    <a:pt x="747" y="471"/>
                    <a:pt x="492" y="471"/>
                  </a:cubicBezTo>
                  <a:cubicBezTo>
                    <a:pt x="237" y="471"/>
                    <a:pt x="60" y="362"/>
                    <a:pt x="60" y="265"/>
                  </a:cubicBezTo>
                  <a:cubicBezTo>
                    <a:pt x="60" y="168"/>
                    <a:pt x="237" y="60"/>
                    <a:pt x="492" y="60"/>
                  </a:cubicBezTo>
                  <a:moveTo>
                    <a:pt x="492" y="0"/>
                  </a:moveTo>
                  <a:cubicBezTo>
                    <a:pt x="220" y="0"/>
                    <a:pt x="0" y="119"/>
                    <a:pt x="0" y="265"/>
                  </a:cubicBezTo>
                  <a:cubicBezTo>
                    <a:pt x="0" y="412"/>
                    <a:pt x="220" y="531"/>
                    <a:pt x="492" y="531"/>
                  </a:cubicBezTo>
                  <a:cubicBezTo>
                    <a:pt x="764" y="531"/>
                    <a:pt x="985" y="412"/>
                    <a:pt x="985" y="265"/>
                  </a:cubicBezTo>
                  <a:cubicBezTo>
                    <a:pt x="985" y="119"/>
                    <a:pt x="764" y="0"/>
                    <a:pt x="492" y="0"/>
                  </a:cubicBezTo>
                  <a:close/>
                </a:path>
              </a:pathLst>
            </a:custGeom>
            <a:solidFill>
              <a:schemeClr val="accent1">
                <a:lumMod val="25000"/>
              </a:schemeClr>
            </a:solidFill>
            <a:ln w="3175">
              <a:noFill/>
            </a:ln>
            <a:extLst/>
          </p:spPr>
          <p:txBody>
            <a:bodyPr vert="horz" wrap="square" lIns="91440" tIns="45720" rIns="91440" bIns="45720" numCol="1" anchor="t" anchorCtr="0" compatLnSpc="1">
              <a:prstTxWarp prst="textNoShape">
                <a:avLst/>
              </a:prstTxWarp>
            </a:bodyPr>
            <a:lstStyle/>
            <a:p>
              <a:endParaRPr lang="ko-KR" altLang="en-US" dirty="0">
                <a:latin typeface="Calibri Light"/>
              </a:endParaRPr>
            </a:p>
          </p:txBody>
        </p:sp>
        <p:sp>
          <p:nvSpPr>
            <p:cNvPr id="14" name="Freeform 13"/>
            <p:cNvSpPr>
              <a:spLocks/>
            </p:cNvSpPr>
            <p:nvPr/>
          </p:nvSpPr>
          <p:spPr bwMode="auto">
            <a:xfrm>
              <a:off x="3433260" y="3719824"/>
              <a:ext cx="2237290" cy="742531"/>
            </a:xfrm>
            <a:custGeom>
              <a:avLst/>
              <a:gdLst>
                <a:gd name="T0" fmla="*/ 985 w 985"/>
                <a:gd name="T1" fmla="*/ 184 h 449"/>
                <a:gd name="T2" fmla="*/ 492 w 985"/>
                <a:gd name="T3" fmla="*/ 449 h 449"/>
                <a:gd name="T4" fmla="*/ 0 w 985"/>
                <a:gd name="T5" fmla="*/ 184 h 449"/>
                <a:gd name="T6" fmla="*/ 0 w 985"/>
                <a:gd name="T7" fmla="*/ 0 h 449"/>
                <a:gd name="T8" fmla="*/ 492 w 985"/>
                <a:gd name="T9" fmla="*/ 266 h 449"/>
                <a:gd name="T10" fmla="*/ 985 w 985"/>
                <a:gd name="T11" fmla="*/ 0 h 449"/>
                <a:gd name="T12" fmla="*/ 985 w 985"/>
                <a:gd name="T13" fmla="*/ 184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184"/>
                  </a:moveTo>
                  <a:cubicBezTo>
                    <a:pt x="985" y="330"/>
                    <a:pt x="764" y="449"/>
                    <a:pt x="492" y="449"/>
                  </a:cubicBezTo>
                  <a:cubicBezTo>
                    <a:pt x="220" y="449"/>
                    <a:pt x="0" y="330"/>
                    <a:pt x="0" y="184"/>
                  </a:cubicBezTo>
                  <a:cubicBezTo>
                    <a:pt x="0" y="0"/>
                    <a:pt x="0" y="0"/>
                    <a:pt x="0" y="0"/>
                  </a:cubicBezTo>
                  <a:cubicBezTo>
                    <a:pt x="0" y="147"/>
                    <a:pt x="220" y="266"/>
                    <a:pt x="492" y="266"/>
                  </a:cubicBezTo>
                  <a:cubicBezTo>
                    <a:pt x="764" y="266"/>
                    <a:pt x="985" y="147"/>
                    <a:pt x="985" y="0"/>
                  </a:cubicBezTo>
                  <a:lnTo>
                    <a:pt x="985" y="184"/>
                  </a:lnTo>
                  <a:close/>
                </a:path>
              </a:pathLst>
            </a:custGeom>
            <a:grpFill/>
            <a:ln w="3175">
              <a:noFill/>
            </a:ln>
            <a:extLst/>
          </p:spPr>
          <p:txBody>
            <a:bodyPr vert="horz" wrap="square" lIns="0" tIns="0" rIns="0" bIns="0" numCol="1" anchor="ctr" anchorCtr="0" compatLnSpc="1">
              <a:prstTxWarp prst="textNoShape">
                <a:avLst/>
              </a:prstTxWarp>
            </a:bodyPr>
            <a:lstStyle/>
            <a:p>
              <a:pPr algn="ctr">
                <a:spcAft>
                  <a:spcPts val="800"/>
                </a:spcAft>
              </a:pPr>
              <a:endParaRPr lang="en-US" altLang="ko-KR" sz="3200" b="1" dirty="0">
                <a:gradFill>
                  <a:gsLst>
                    <a:gs pos="0">
                      <a:schemeClr val="accent4">
                        <a:alpha val="50000"/>
                      </a:schemeClr>
                    </a:gs>
                    <a:gs pos="100000">
                      <a:schemeClr val="accent4">
                        <a:alpha val="50000"/>
                      </a:schemeClr>
                    </a:gs>
                  </a:gsLst>
                  <a:lin ang="5400000" scaled="0"/>
                </a:gradFill>
                <a:latin typeface="Bebas Neue" pitchFamily="34" charset="0"/>
                <a:ea typeface="Roboto Condensed Regular"/>
              </a:endParaRPr>
            </a:p>
          </p:txBody>
        </p:sp>
      </p:grpSp>
      <p:grpSp>
        <p:nvGrpSpPr>
          <p:cNvPr id="15" name="Group 14"/>
          <p:cNvGrpSpPr/>
          <p:nvPr>
            <p:custDataLst>
              <p:tags r:id="rId4"/>
            </p:custDataLst>
          </p:nvPr>
        </p:nvGrpSpPr>
        <p:grpSpPr>
          <a:xfrm>
            <a:off x="5168945" y="1841516"/>
            <a:ext cx="2645734" cy="1397550"/>
            <a:chOff x="3433260" y="1508627"/>
            <a:chExt cx="2237290" cy="1181491"/>
          </a:xfrm>
        </p:grpSpPr>
        <p:sp>
          <p:nvSpPr>
            <p:cNvPr id="16" name="Freeform 11"/>
            <p:cNvSpPr>
              <a:spLocks/>
            </p:cNvSpPr>
            <p:nvPr/>
          </p:nvSpPr>
          <p:spPr bwMode="auto">
            <a:xfrm>
              <a:off x="3433260" y="1508627"/>
              <a:ext cx="2237290" cy="743372"/>
            </a:xfrm>
            <a:custGeom>
              <a:avLst/>
              <a:gdLst>
                <a:gd name="T0" fmla="*/ 985 w 985"/>
                <a:gd name="T1" fmla="*/ 265 h 449"/>
                <a:gd name="T2" fmla="*/ 492 w 985"/>
                <a:gd name="T3" fmla="*/ 0 h 449"/>
                <a:gd name="T4" fmla="*/ 0 w 985"/>
                <a:gd name="T5" fmla="*/ 265 h 449"/>
                <a:gd name="T6" fmla="*/ 0 w 985"/>
                <a:gd name="T7" fmla="*/ 449 h 449"/>
                <a:gd name="T8" fmla="*/ 492 w 985"/>
                <a:gd name="T9" fmla="*/ 183 h 449"/>
                <a:gd name="T10" fmla="*/ 985 w 985"/>
                <a:gd name="T11" fmla="*/ 449 h 449"/>
                <a:gd name="T12" fmla="*/ 985 w 985"/>
                <a:gd name="T13" fmla="*/ 265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265"/>
                  </a:moveTo>
                  <a:cubicBezTo>
                    <a:pt x="985" y="119"/>
                    <a:pt x="764" y="0"/>
                    <a:pt x="492" y="0"/>
                  </a:cubicBezTo>
                  <a:cubicBezTo>
                    <a:pt x="220" y="0"/>
                    <a:pt x="0" y="119"/>
                    <a:pt x="0" y="265"/>
                  </a:cubicBezTo>
                  <a:cubicBezTo>
                    <a:pt x="0" y="449"/>
                    <a:pt x="0" y="449"/>
                    <a:pt x="0" y="449"/>
                  </a:cubicBezTo>
                  <a:cubicBezTo>
                    <a:pt x="0" y="302"/>
                    <a:pt x="220" y="183"/>
                    <a:pt x="492" y="183"/>
                  </a:cubicBezTo>
                  <a:cubicBezTo>
                    <a:pt x="764" y="183"/>
                    <a:pt x="985" y="302"/>
                    <a:pt x="985" y="449"/>
                  </a:cubicBezTo>
                  <a:lnTo>
                    <a:pt x="985" y="265"/>
                  </a:lnTo>
                  <a:close/>
                </a:path>
              </a:pathLst>
            </a:custGeom>
            <a:solidFill>
              <a:schemeClr val="accent1"/>
            </a:solidFill>
            <a:ln w="3175">
              <a:noFill/>
            </a:ln>
            <a:extLst/>
          </p:spPr>
          <p:txBody>
            <a:bodyPr vert="horz" wrap="square" lIns="91440" tIns="45720" rIns="91440" bIns="45720" numCol="1" anchor="t" anchorCtr="0" compatLnSpc="1">
              <a:prstTxWarp prst="textNoShape">
                <a:avLst/>
              </a:prstTxWarp>
            </a:bodyPr>
            <a:lstStyle/>
            <a:p>
              <a:endParaRPr lang="ko-KR" altLang="en-US" dirty="0">
                <a:latin typeface="Calibri Light"/>
              </a:endParaRPr>
            </a:p>
          </p:txBody>
        </p:sp>
        <p:sp>
          <p:nvSpPr>
            <p:cNvPr id="17" name="Freeform 12"/>
            <p:cNvSpPr>
              <a:spLocks noEditPoints="1"/>
            </p:cNvSpPr>
            <p:nvPr/>
          </p:nvSpPr>
          <p:spPr bwMode="auto">
            <a:xfrm>
              <a:off x="3433260" y="1533085"/>
              <a:ext cx="2237290" cy="878760"/>
            </a:xfrm>
            <a:custGeom>
              <a:avLst/>
              <a:gdLst>
                <a:gd name="T0" fmla="*/ 492 w 985"/>
                <a:gd name="T1" fmla="*/ 60 h 531"/>
                <a:gd name="T2" fmla="*/ 925 w 985"/>
                <a:gd name="T3" fmla="*/ 265 h 531"/>
                <a:gd name="T4" fmla="*/ 492 w 985"/>
                <a:gd name="T5" fmla="*/ 471 h 531"/>
                <a:gd name="T6" fmla="*/ 60 w 985"/>
                <a:gd name="T7" fmla="*/ 265 h 531"/>
                <a:gd name="T8" fmla="*/ 492 w 985"/>
                <a:gd name="T9" fmla="*/ 60 h 531"/>
                <a:gd name="T10" fmla="*/ 492 w 985"/>
                <a:gd name="T11" fmla="*/ 0 h 531"/>
                <a:gd name="T12" fmla="*/ 0 w 985"/>
                <a:gd name="T13" fmla="*/ 265 h 531"/>
                <a:gd name="T14" fmla="*/ 492 w 985"/>
                <a:gd name="T15" fmla="*/ 531 h 531"/>
                <a:gd name="T16" fmla="*/ 985 w 985"/>
                <a:gd name="T17" fmla="*/ 265 h 531"/>
                <a:gd name="T18" fmla="*/ 492 w 985"/>
                <a:gd name="T19" fmla="*/ 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5" h="531">
                  <a:moveTo>
                    <a:pt x="492" y="60"/>
                  </a:moveTo>
                  <a:cubicBezTo>
                    <a:pt x="747" y="60"/>
                    <a:pt x="925" y="168"/>
                    <a:pt x="925" y="265"/>
                  </a:cubicBezTo>
                  <a:cubicBezTo>
                    <a:pt x="925" y="362"/>
                    <a:pt x="747" y="471"/>
                    <a:pt x="492" y="471"/>
                  </a:cubicBezTo>
                  <a:cubicBezTo>
                    <a:pt x="237" y="471"/>
                    <a:pt x="60" y="362"/>
                    <a:pt x="60" y="265"/>
                  </a:cubicBezTo>
                  <a:cubicBezTo>
                    <a:pt x="60" y="168"/>
                    <a:pt x="237" y="60"/>
                    <a:pt x="492" y="60"/>
                  </a:cubicBezTo>
                  <a:moveTo>
                    <a:pt x="492" y="0"/>
                  </a:moveTo>
                  <a:cubicBezTo>
                    <a:pt x="220" y="0"/>
                    <a:pt x="0" y="119"/>
                    <a:pt x="0" y="265"/>
                  </a:cubicBezTo>
                  <a:cubicBezTo>
                    <a:pt x="0" y="412"/>
                    <a:pt x="220" y="531"/>
                    <a:pt x="492" y="531"/>
                  </a:cubicBezTo>
                  <a:cubicBezTo>
                    <a:pt x="764" y="531"/>
                    <a:pt x="985" y="412"/>
                    <a:pt x="985" y="265"/>
                  </a:cubicBezTo>
                  <a:cubicBezTo>
                    <a:pt x="985" y="119"/>
                    <a:pt x="764" y="0"/>
                    <a:pt x="492" y="0"/>
                  </a:cubicBezTo>
                  <a:close/>
                </a:path>
              </a:pathLst>
            </a:custGeom>
            <a:solidFill>
              <a:schemeClr val="accent1">
                <a:lumMod val="90000"/>
                <a:lumOff val="10000"/>
              </a:schemeClr>
            </a:solidFill>
            <a:ln w="3175">
              <a:noFill/>
            </a:ln>
            <a:extLst/>
          </p:spPr>
          <p:txBody>
            <a:bodyPr vert="horz" wrap="square" lIns="91440" tIns="45720" rIns="91440" bIns="45720" numCol="1" anchor="t" anchorCtr="0" compatLnSpc="1">
              <a:prstTxWarp prst="textNoShape">
                <a:avLst/>
              </a:prstTxWarp>
            </a:bodyPr>
            <a:lstStyle/>
            <a:p>
              <a:endParaRPr lang="ko-KR" altLang="en-US" dirty="0">
                <a:latin typeface="Calibri Light"/>
              </a:endParaRPr>
            </a:p>
          </p:txBody>
        </p:sp>
        <p:sp>
          <p:nvSpPr>
            <p:cNvPr id="18" name="Freeform 13"/>
            <p:cNvSpPr>
              <a:spLocks/>
            </p:cNvSpPr>
            <p:nvPr/>
          </p:nvSpPr>
          <p:spPr bwMode="auto">
            <a:xfrm>
              <a:off x="3433260" y="1947587"/>
              <a:ext cx="2237290" cy="742531"/>
            </a:xfrm>
            <a:custGeom>
              <a:avLst/>
              <a:gdLst>
                <a:gd name="T0" fmla="*/ 985 w 985"/>
                <a:gd name="T1" fmla="*/ 184 h 449"/>
                <a:gd name="T2" fmla="*/ 492 w 985"/>
                <a:gd name="T3" fmla="*/ 449 h 449"/>
                <a:gd name="T4" fmla="*/ 0 w 985"/>
                <a:gd name="T5" fmla="*/ 184 h 449"/>
                <a:gd name="T6" fmla="*/ 0 w 985"/>
                <a:gd name="T7" fmla="*/ 0 h 449"/>
                <a:gd name="T8" fmla="*/ 492 w 985"/>
                <a:gd name="T9" fmla="*/ 266 h 449"/>
                <a:gd name="T10" fmla="*/ 985 w 985"/>
                <a:gd name="T11" fmla="*/ 0 h 449"/>
                <a:gd name="T12" fmla="*/ 985 w 985"/>
                <a:gd name="T13" fmla="*/ 184 h 449"/>
              </a:gdLst>
              <a:ahLst/>
              <a:cxnLst>
                <a:cxn ang="0">
                  <a:pos x="T0" y="T1"/>
                </a:cxn>
                <a:cxn ang="0">
                  <a:pos x="T2" y="T3"/>
                </a:cxn>
                <a:cxn ang="0">
                  <a:pos x="T4" y="T5"/>
                </a:cxn>
                <a:cxn ang="0">
                  <a:pos x="T6" y="T7"/>
                </a:cxn>
                <a:cxn ang="0">
                  <a:pos x="T8" y="T9"/>
                </a:cxn>
                <a:cxn ang="0">
                  <a:pos x="T10" y="T11"/>
                </a:cxn>
                <a:cxn ang="0">
                  <a:pos x="T12" y="T13"/>
                </a:cxn>
              </a:cxnLst>
              <a:rect l="0" t="0" r="r" b="b"/>
              <a:pathLst>
                <a:path w="985" h="449">
                  <a:moveTo>
                    <a:pt x="985" y="184"/>
                  </a:moveTo>
                  <a:cubicBezTo>
                    <a:pt x="985" y="330"/>
                    <a:pt x="764" y="449"/>
                    <a:pt x="492" y="449"/>
                  </a:cubicBezTo>
                  <a:cubicBezTo>
                    <a:pt x="220" y="449"/>
                    <a:pt x="0" y="330"/>
                    <a:pt x="0" y="184"/>
                  </a:cubicBezTo>
                  <a:cubicBezTo>
                    <a:pt x="0" y="0"/>
                    <a:pt x="0" y="0"/>
                    <a:pt x="0" y="0"/>
                  </a:cubicBezTo>
                  <a:cubicBezTo>
                    <a:pt x="0" y="147"/>
                    <a:pt x="220" y="266"/>
                    <a:pt x="492" y="266"/>
                  </a:cubicBezTo>
                  <a:cubicBezTo>
                    <a:pt x="764" y="266"/>
                    <a:pt x="985" y="147"/>
                    <a:pt x="985" y="0"/>
                  </a:cubicBezTo>
                  <a:lnTo>
                    <a:pt x="985" y="184"/>
                  </a:lnTo>
                  <a:close/>
                </a:path>
              </a:pathLst>
            </a:custGeom>
            <a:solidFill>
              <a:schemeClr val="accent1"/>
            </a:solidFill>
            <a:ln w="3175">
              <a:noFill/>
            </a:ln>
            <a:extLst/>
          </p:spPr>
          <p:txBody>
            <a:bodyPr vert="horz" wrap="square" lIns="0" tIns="0" rIns="0" bIns="0" numCol="1" anchor="ctr" anchorCtr="0" compatLnSpc="1">
              <a:prstTxWarp prst="textNoShape">
                <a:avLst/>
              </a:prstTxWarp>
            </a:bodyPr>
            <a:lstStyle/>
            <a:p>
              <a:pPr algn="ctr">
                <a:spcAft>
                  <a:spcPts val="800"/>
                </a:spcAft>
              </a:pPr>
              <a:endParaRPr lang="en-US" altLang="ko-KR" sz="3200" b="1" dirty="0">
                <a:gradFill>
                  <a:gsLst>
                    <a:gs pos="0">
                      <a:schemeClr val="accent4">
                        <a:alpha val="50000"/>
                      </a:schemeClr>
                    </a:gs>
                    <a:gs pos="100000">
                      <a:schemeClr val="accent4">
                        <a:alpha val="50000"/>
                      </a:schemeClr>
                    </a:gs>
                  </a:gsLst>
                  <a:lin ang="5400000" scaled="0"/>
                </a:gradFill>
                <a:latin typeface="Bebas Neue" pitchFamily="34" charset="0"/>
                <a:ea typeface="Roboto Condensed Regular"/>
              </a:endParaRPr>
            </a:p>
          </p:txBody>
        </p:sp>
      </p:grpSp>
      <p:cxnSp>
        <p:nvCxnSpPr>
          <p:cNvPr id="19" name="Straight Connector 18"/>
          <p:cNvCxnSpPr/>
          <p:nvPr/>
        </p:nvCxnSpPr>
        <p:spPr>
          <a:xfrm>
            <a:off x="7963090" y="3935045"/>
            <a:ext cx="1317350" cy="5488"/>
          </a:xfrm>
          <a:prstGeom prst="line">
            <a:avLst/>
          </a:prstGeom>
          <a:ln>
            <a:solidFill>
              <a:schemeClr val="bg1">
                <a:lumMod val="65000"/>
              </a:schemeClr>
            </a:solidFill>
            <a:prstDash val="sysDash"/>
            <a:headEnd type="oval" w="sm" len="sm"/>
            <a:tailEnd type="triangle" w="sm" len="sm"/>
          </a:ln>
        </p:spPr>
        <p:style>
          <a:lnRef idx="1">
            <a:schemeClr val="dk1"/>
          </a:lnRef>
          <a:fillRef idx="0">
            <a:schemeClr val="dk1"/>
          </a:fillRef>
          <a:effectRef idx="0">
            <a:schemeClr val="dk1"/>
          </a:effectRef>
          <a:fontRef idx="minor">
            <a:schemeClr val="tx1"/>
          </a:fontRef>
        </p:style>
      </p:cxnSp>
      <p:cxnSp>
        <p:nvCxnSpPr>
          <p:cNvPr id="20" name="Straight Connector 19"/>
          <p:cNvCxnSpPr/>
          <p:nvPr/>
        </p:nvCxnSpPr>
        <p:spPr>
          <a:xfrm>
            <a:off x="7963090" y="2496950"/>
            <a:ext cx="1317350" cy="5488"/>
          </a:xfrm>
          <a:prstGeom prst="line">
            <a:avLst/>
          </a:prstGeom>
          <a:ln>
            <a:solidFill>
              <a:schemeClr val="bg1">
                <a:lumMod val="65000"/>
              </a:schemeClr>
            </a:solidFill>
            <a:prstDash val="sysDash"/>
            <a:headEnd type="oval" w="sm" len="sm"/>
            <a:tailEnd type="triangle" w="sm" len="sm"/>
          </a:ln>
        </p:spPr>
        <p:style>
          <a:lnRef idx="1">
            <a:schemeClr val="dk1"/>
          </a:lnRef>
          <a:fillRef idx="0">
            <a:schemeClr val="dk1"/>
          </a:fillRef>
          <a:effectRef idx="0">
            <a:schemeClr val="dk1"/>
          </a:effectRef>
          <a:fontRef idx="minor">
            <a:schemeClr val="tx1"/>
          </a:fontRef>
        </p:style>
      </p:cxnSp>
      <p:cxnSp>
        <p:nvCxnSpPr>
          <p:cNvPr id="21" name="Straight Connector 20"/>
          <p:cNvCxnSpPr/>
          <p:nvPr/>
        </p:nvCxnSpPr>
        <p:spPr>
          <a:xfrm flipH="1">
            <a:off x="3617243" y="4706320"/>
            <a:ext cx="1317350" cy="5488"/>
          </a:xfrm>
          <a:prstGeom prst="line">
            <a:avLst/>
          </a:prstGeom>
          <a:ln>
            <a:solidFill>
              <a:schemeClr val="bg1">
                <a:lumMod val="65000"/>
              </a:schemeClr>
            </a:solidFill>
            <a:prstDash val="sysDash"/>
            <a:headEnd type="oval" w="sm" len="sm"/>
            <a:tailEnd type="triangle" w="sm" len="sm"/>
          </a:ln>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a:xfrm flipH="1">
            <a:off x="3634635" y="3215283"/>
            <a:ext cx="1317350" cy="5488"/>
          </a:xfrm>
          <a:prstGeom prst="line">
            <a:avLst/>
          </a:prstGeom>
          <a:ln>
            <a:solidFill>
              <a:schemeClr val="bg1">
                <a:lumMod val="65000"/>
              </a:schemeClr>
            </a:solidFill>
            <a:prstDash val="sysDash"/>
            <a:headEnd type="oval" w="sm" len="sm"/>
            <a:tailEnd type="triangle" w="sm" len="sm"/>
          </a:ln>
        </p:spPr>
        <p:style>
          <a:lnRef idx="1">
            <a:schemeClr val="dk1"/>
          </a:lnRef>
          <a:fillRef idx="0">
            <a:schemeClr val="dk1"/>
          </a:fillRef>
          <a:effectRef idx="0">
            <a:schemeClr val="dk1"/>
          </a:effectRef>
          <a:fontRef idx="minor">
            <a:schemeClr val="tx1"/>
          </a:fontRef>
        </p:style>
      </p:cxnSp>
      <p:sp>
        <p:nvSpPr>
          <p:cNvPr id="24" name="TextBox 23"/>
          <p:cNvSpPr txBox="1"/>
          <p:nvPr/>
        </p:nvSpPr>
        <p:spPr>
          <a:xfrm>
            <a:off x="408012" y="2360306"/>
            <a:ext cx="2073894" cy="830968"/>
          </a:xfrm>
          <a:prstGeom prst="rect">
            <a:avLst/>
          </a:prstGeom>
          <a:noFill/>
        </p:spPr>
        <p:txBody>
          <a:bodyPr wrap="square" lIns="0" tIns="121892" rIns="0" bIns="0" rtlCol="0">
            <a:spAutoFit/>
          </a:bodyPr>
          <a:lstStyle/>
          <a:p>
            <a:pPr algn="r"/>
            <a:r>
              <a:rPr lang="en-US" b="1" dirty="0">
                <a:solidFill>
                  <a:schemeClr val="tx2"/>
                </a:solidFill>
                <a:latin typeface="+mj-lt"/>
                <a:cs typeface="Lato"/>
              </a:rPr>
              <a:t>Communication</a:t>
            </a:r>
          </a:p>
          <a:p>
            <a:pPr algn="r"/>
            <a:r>
              <a:rPr lang="en-US" sz="1400" dirty="0">
                <a:latin typeface="+mj-lt"/>
                <a:cs typeface="Calibri Light"/>
              </a:rPr>
              <a:t>Lorem ipsum dolor sit amet,consectetur adipisicing elit, sed do eiusmod tempor</a:t>
            </a:r>
          </a:p>
        </p:txBody>
      </p:sp>
      <p:sp>
        <p:nvSpPr>
          <p:cNvPr id="26" name="TextBox 25"/>
          <p:cNvSpPr txBox="1"/>
          <p:nvPr/>
        </p:nvSpPr>
        <p:spPr>
          <a:xfrm>
            <a:off x="454239" y="3908292"/>
            <a:ext cx="2073894" cy="830968"/>
          </a:xfrm>
          <a:prstGeom prst="rect">
            <a:avLst/>
          </a:prstGeom>
          <a:noFill/>
        </p:spPr>
        <p:txBody>
          <a:bodyPr wrap="square" lIns="0" tIns="121892" rIns="0" bIns="0" rtlCol="0">
            <a:spAutoFit/>
          </a:bodyPr>
          <a:lstStyle/>
          <a:p>
            <a:pPr algn="r"/>
            <a:r>
              <a:rPr lang="en-US" b="1" dirty="0">
                <a:solidFill>
                  <a:schemeClr val="tx2"/>
                </a:solidFill>
                <a:latin typeface="+mj-lt"/>
                <a:cs typeface="Lato"/>
              </a:rPr>
              <a:t>Research</a:t>
            </a:r>
          </a:p>
          <a:p>
            <a:pPr algn="r"/>
            <a:r>
              <a:rPr lang="en-US" sz="1400" dirty="0">
                <a:latin typeface="+mj-lt"/>
                <a:cs typeface="Calibri Light"/>
              </a:rPr>
              <a:t>Lorem ipsum dolor sit amet,consectetur adipisicing elit, sed do eiusmod tempor</a:t>
            </a:r>
          </a:p>
        </p:txBody>
      </p:sp>
      <p:sp>
        <p:nvSpPr>
          <p:cNvPr id="27" name="TextBox 26"/>
          <p:cNvSpPr txBox="1"/>
          <p:nvPr/>
        </p:nvSpPr>
        <p:spPr>
          <a:xfrm>
            <a:off x="10373746" y="3177343"/>
            <a:ext cx="2073894" cy="830968"/>
          </a:xfrm>
          <a:prstGeom prst="rect">
            <a:avLst/>
          </a:prstGeom>
          <a:noFill/>
        </p:spPr>
        <p:txBody>
          <a:bodyPr wrap="square" lIns="0" tIns="121892" rIns="0" bIns="0" rtlCol="0">
            <a:spAutoFit/>
          </a:bodyPr>
          <a:lstStyle/>
          <a:p>
            <a:r>
              <a:rPr lang="en-US" b="1" dirty="0">
                <a:solidFill>
                  <a:schemeClr val="tx2"/>
                </a:solidFill>
                <a:latin typeface="+mj-lt"/>
                <a:cs typeface="Lato"/>
              </a:rPr>
              <a:t>Picture</a:t>
            </a:r>
          </a:p>
          <a:p>
            <a:r>
              <a:rPr lang="en-US" sz="1400" dirty="0">
                <a:latin typeface="+mj-lt"/>
                <a:cs typeface="Calibri Light"/>
              </a:rPr>
              <a:t>Lorem ipsum dolor sit amet,consectetur adipisicing elit, sed do eiusmod tempor</a:t>
            </a:r>
          </a:p>
        </p:txBody>
      </p:sp>
      <p:sp>
        <p:nvSpPr>
          <p:cNvPr id="29" name="TextBox 28"/>
          <p:cNvSpPr txBox="1"/>
          <p:nvPr/>
        </p:nvSpPr>
        <p:spPr>
          <a:xfrm>
            <a:off x="10373746" y="1672385"/>
            <a:ext cx="2073894" cy="1261856"/>
          </a:xfrm>
          <a:prstGeom prst="rect">
            <a:avLst/>
          </a:prstGeom>
          <a:noFill/>
        </p:spPr>
        <p:txBody>
          <a:bodyPr wrap="square" lIns="0" tIns="121892" rIns="0" bIns="0" rtlCol="0">
            <a:spAutoFit/>
          </a:bodyPr>
          <a:lstStyle/>
          <a:p>
            <a:r>
              <a:rPr lang="en-US" b="1" dirty="0">
                <a:solidFill>
                  <a:schemeClr val="tx2"/>
                </a:solidFill>
                <a:latin typeface="+mj-lt"/>
                <a:cs typeface="Lato"/>
              </a:rPr>
              <a:t>Quality</a:t>
            </a:r>
          </a:p>
          <a:p>
            <a:r>
              <a:rPr lang="en-US" sz="1400" dirty="0">
                <a:latin typeface="+mj-lt"/>
                <a:cs typeface="Calibri Light"/>
              </a:rPr>
              <a:t>Lorem ipsum dolor sit amet,consectetur adipisicing elit, sed do eiusmod tempor</a:t>
            </a:r>
          </a:p>
        </p:txBody>
      </p:sp>
      <p:grpSp>
        <p:nvGrpSpPr>
          <p:cNvPr id="50" name="Group 49"/>
          <p:cNvGrpSpPr/>
          <p:nvPr>
            <p:custDataLst>
              <p:tags r:id="rId5"/>
            </p:custDataLst>
          </p:nvPr>
        </p:nvGrpSpPr>
        <p:grpSpPr>
          <a:xfrm>
            <a:off x="9218896" y="3444870"/>
            <a:ext cx="971722" cy="971975"/>
            <a:chOff x="16612626" y="7802524"/>
            <a:chExt cx="1312454" cy="1312794"/>
          </a:xfrm>
        </p:grpSpPr>
        <p:sp>
          <p:nvSpPr>
            <p:cNvPr id="30" name="Oval 29"/>
            <p:cNvSpPr/>
            <p:nvPr/>
          </p:nvSpPr>
          <p:spPr>
            <a:xfrm>
              <a:off x="16612626" y="7802524"/>
              <a:ext cx="1312454" cy="131279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82843" tIns="91422" rIns="182843" bIns="91422" rtlCol="0" anchor="ctr"/>
            <a:lstStyle/>
            <a:p>
              <a:pPr algn="ctr"/>
              <a:r>
                <a:rPr lang="en-US" dirty="0" smtClean="0">
                  <a:latin typeface="Calibri Light"/>
                </a:rPr>
                <a:t> </a:t>
              </a:r>
              <a:endParaRPr lang="en-US" dirty="0">
                <a:latin typeface="Calibri Light"/>
              </a:endParaRPr>
            </a:p>
          </p:txBody>
        </p:sp>
        <p:grpSp>
          <p:nvGrpSpPr>
            <p:cNvPr id="31" name="Group 30"/>
            <p:cNvGrpSpPr/>
            <p:nvPr>
              <p:custDataLst>
                <p:tags r:id="rId11"/>
              </p:custDataLst>
            </p:nvPr>
          </p:nvGrpSpPr>
          <p:grpSpPr>
            <a:xfrm>
              <a:off x="16932219" y="8072518"/>
              <a:ext cx="699824" cy="748658"/>
              <a:chOff x="494476" y="2241785"/>
              <a:chExt cx="239742" cy="256405"/>
            </a:xfrm>
            <a:solidFill>
              <a:schemeClr val="bg1"/>
            </a:solidFill>
          </p:grpSpPr>
          <p:sp>
            <p:nvSpPr>
              <p:cNvPr id="32" name="Freeform 67"/>
              <p:cNvSpPr>
                <a:spLocks noEditPoints="1"/>
              </p:cNvSpPr>
              <p:nvPr/>
            </p:nvSpPr>
            <p:spPr bwMode="auto">
              <a:xfrm>
                <a:off x="494476" y="2241785"/>
                <a:ext cx="239742" cy="256405"/>
              </a:xfrm>
              <a:custGeom>
                <a:avLst/>
                <a:gdLst>
                  <a:gd name="T0" fmla="*/ 190 w 219"/>
                  <a:gd name="T1" fmla="*/ 0 h 234"/>
                  <a:gd name="T2" fmla="*/ 30 w 219"/>
                  <a:gd name="T3" fmla="*/ 0 h 234"/>
                  <a:gd name="T4" fmla="*/ 0 w 219"/>
                  <a:gd name="T5" fmla="*/ 29 h 234"/>
                  <a:gd name="T6" fmla="*/ 0 w 219"/>
                  <a:gd name="T7" fmla="*/ 205 h 234"/>
                  <a:gd name="T8" fmla="*/ 30 w 219"/>
                  <a:gd name="T9" fmla="*/ 234 h 234"/>
                  <a:gd name="T10" fmla="*/ 190 w 219"/>
                  <a:gd name="T11" fmla="*/ 234 h 234"/>
                  <a:gd name="T12" fmla="*/ 219 w 219"/>
                  <a:gd name="T13" fmla="*/ 205 h 234"/>
                  <a:gd name="T14" fmla="*/ 219 w 219"/>
                  <a:gd name="T15" fmla="*/ 29 h 234"/>
                  <a:gd name="T16" fmla="*/ 190 w 219"/>
                  <a:gd name="T17" fmla="*/ 0 h 234"/>
                  <a:gd name="T18" fmla="*/ 205 w 219"/>
                  <a:gd name="T19" fmla="*/ 205 h 234"/>
                  <a:gd name="T20" fmla="*/ 190 w 219"/>
                  <a:gd name="T21" fmla="*/ 219 h 234"/>
                  <a:gd name="T22" fmla="*/ 30 w 219"/>
                  <a:gd name="T23" fmla="*/ 219 h 234"/>
                  <a:gd name="T24" fmla="*/ 15 w 219"/>
                  <a:gd name="T25" fmla="*/ 205 h 234"/>
                  <a:gd name="T26" fmla="*/ 15 w 219"/>
                  <a:gd name="T27" fmla="*/ 29 h 234"/>
                  <a:gd name="T28" fmla="*/ 30 w 219"/>
                  <a:gd name="T29" fmla="*/ 15 h 234"/>
                  <a:gd name="T30" fmla="*/ 190 w 219"/>
                  <a:gd name="T31" fmla="*/ 15 h 234"/>
                  <a:gd name="T32" fmla="*/ 205 w 219"/>
                  <a:gd name="T33" fmla="*/ 29 h 234"/>
                  <a:gd name="T34" fmla="*/ 205 w 219"/>
                  <a:gd name="T35" fmla="*/ 20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9" h="234">
                    <a:moveTo>
                      <a:pt x="190" y="0"/>
                    </a:moveTo>
                    <a:cubicBezTo>
                      <a:pt x="30" y="0"/>
                      <a:pt x="30" y="0"/>
                      <a:pt x="30" y="0"/>
                    </a:cubicBezTo>
                    <a:cubicBezTo>
                      <a:pt x="13" y="0"/>
                      <a:pt x="0" y="13"/>
                      <a:pt x="0" y="29"/>
                    </a:cubicBezTo>
                    <a:cubicBezTo>
                      <a:pt x="0" y="205"/>
                      <a:pt x="0" y="205"/>
                      <a:pt x="0" y="205"/>
                    </a:cubicBezTo>
                    <a:cubicBezTo>
                      <a:pt x="0" y="221"/>
                      <a:pt x="13" y="234"/>
                      <a:pt x="30" y="234"/>
                    </a:cubicBezTo>
                    <a:cubicBezTo>
                      <a:pt x="190" y="234"/>
                      <a:pt x="190" y="234"/>
                      <a:pt x="190" y="234"/>
                    </a:cubicBezTo>
                    <a:cubicBezTo>
                      <a:pt x="206" y="234"/>
                      <a:pt x="219" y="221"/>
                      <a:pt x="219" y="205"/>
                    </a:cubicBezTo>
                    <a:cubicBezTo>
                      <a:pt x="219" y="29"/>
                      <a:pt x="219" y="29"/>
                      <a:pt x="219" y="29"/>
                    </a:cubicBezTo>
                    <a:cubicBezTo>
                      <a:pt x="219" y="13"/>
                      <a:pt x="206" y="0"/>
                      <a:pt x="190" y="0"/>
                    </a:cubicBezTo>
                    <a:close/>
                    <a:moveTo>
                      <a:pt x="205" y="205"/>
                    </a:moveTo>
                    <a:cubicBezTo>
                      <a:pt x="205" y="213"/>
                      <a:pt x="198" y="219"/>
                      <a:pt x="190" y="219"/>
                    </a:cubicBezTo>
                    <a:cubicBezTo>
                      <a:pt x="30" y="219"/>
                      <a:pt x="30" y="219"/>
                      <a:pt x="30" y="219"/>
                    </a:cubicBezTo>
                    <a:cubicBezTo>
                      <a:pt x="21" y="219"/>
                      <a:pt x="15" y="213"/>
                      <a:pt x="15" y="205"/>
                    </a:cubicBezTo>
                    <a:cubicBezTo>
                      <a:pt x="15" y="29"/>
                      <a:pt x="15" y="29"/>
                      <a:pt x="15" y="29"/>
                    </a:cubicBezTo>
                    <a:cubicBezTo>
                      <a:pt x="15" y="21"/>
                      <a:pt x="21" y="15"/>
                      <a:pt x="30" y="15"/>
                    </a:cubicBezTo>
                    <a:cubicBezTo>
                      <a:pt x="190" y="15"/>
                      <a:pt x="190" y="15"/>
                      <a:pt x="190" y="15"/>
                    </a:cubicBezTo>
                    <a:cubicBezTo>
                      <a:pt x="198" y="15"/>
                      <a:pt x="205" y="21"/>
                      <a:pt x="205" y="29"/>
                    </a:cubicBezTo>
                    <a:lnTo>
                      <a:pt x="205" y="20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3" name="Freeform 68"/>
              <p:cNvSpPr>
                <a:spLocks noEditPoints="1"/>
              </p:cNvSpPr>
              <p:nvPr/>
            </p:nvSpPr>
            <p:spPr bwMode="auto">
              <a:xfrm>
                <a:off x="527337" y="2273716"/>
                <a:ext cx="175411" cy="160601"/>
              </a:xfrm>
              <a:custGeom>
                <a:avLst/>
                <a:gdLst>
                  <a:gd name="T0" fmla="*/ 153 w 160"/>
                  <a:gd name="T1" fmla="*/ 0 h 147"/>
                  <a:gd name="T2" fmla="*/ 7 w 160"/>
                  <a:gd name="T3" fmla="*/ 0 h 147"/>
                  <a:gd name="T4" fmla="*/ 0 w 160"/>
                  <a:gd name="T5" fmla="*/ 8 h 147"/>
                  <a:gd name="T6" fmla="*/ 0 w 160"/>
                  <a:gd name="T7" fmla="*/ 139 h 147"/>
                  <a:gd name="T8" fmla="*/ 7 w 160"/>
                  <a:gd name="T9" fmla="*/ 147 h 147"/>
                  <a:gd name="T10" fmla="*/ 153 w 160"/>
                  <a:gd name="T11" fmla="*/ 147 h 147"/>
                  <a:gd name="T12" fmla="*/ 160 w 160"/>
                  <a:gd name="T13" fmla="*/ 139 h 147"/>
                  <a:gd name="T14" fmla="*/ 160 w 160"/>
                  <a:gd name="T15" fmla="*/ 8 h 147"/>
                  <a:gd name="T16" fmla="*/ 153 w 160"/>
                  <a:gd name="T17" fmla="*/ 0 h 147"/>
                  <a:gd name="T18" fmla="*/ 153 w 160"/>
                  <a:gd name="T19" fmla="*/ 8 h 147"/>
                  <a:gd name="T20" fmla="*/ 153 w 160"/>
                  <a:gd name="T21" fmla="*/ 109 h 147"/>
                  <a:gd name="T22" fmla="*/ 129 w 160"/>
                  <a:gd name="T23" fmla="*/ 83 h 147"/>
                  <a:gd name="T24" fmla="*/ 124 w 160"/>
                  <a:gd name="T25" fmla="*/ 81 h 147"/>
                  <a:gd name="T26" fmla="*/ 118 w 160"/>
                  <a:gd name="T27" fmla="*/ 83 h 147"/>
                  <a:gd name="T28" fmla="*/ 99 w 160"/>
                  <a:gd name="T29" fmla="*/ 105 h 147"/>
                  <a:gd name="T30" fmla="*/ 42 w 160"/>
                  <a:gd name="T31" fmla="*/ 39 h 147"/>
                  <a:gd name="T32" fmla="*/ 36 w 160"/>
                  <a:gd name="T33" fmla="*/ 37 h 147"/>
                  <a:gd name="T34" fmla="*/ 31 w 160"/>
                  <a:gd name="T35" fmla="*/ 39 h 147"/>
                  <a:gd name="T36" fmla="*/ 7 w 160"/>
                  <a:gd name="T37" fmla="*/ 67 h 147"/>
                  <a:gd name="T38" fmla="*/ 7 w 160"/>
                  <a:gd name="T39" fmla="*/ 8 h 147"/>
                  <a:gd name="T40" fmla="*/ 153 w 160"/>
                  <a:gd name="T41" fmla="*/ 8 h 147"/>
                  <a:gd name="T42" fmla="*/ 7 w 160"/>
                  <a:gd name="T43" fmla="*/ 78 h 147"/>
                  <a:gd name="T44" fmla="*/ 36 w 160"/>
                  <a:gd name="T45" fmla="*/ 44 h 147"/>
                  <a:gd name="T46" fmla="*/ 95 w 160"/>
                  <a:gd name="T47" fmla="*/ 111 h 147"/>
                  <a:gd name="T48" fmla="*/ 99 w 160"/>
                  <a:gd name="T49" fmla="*/ 116 h 147"/>
                  <a:gd name="T50" fmla="*/ 119 w 160"/>
                  <a:gd name="T51" fmla="*/ 139 h 147"/>
                  <a:gd name="T52" fmla="*/ 7 w 160"/>
                  <a:gd name="T53" fmla="*/ 139 h 147"/>
                  <a:gd name="T54" fmla="*/ 7 w 160"/>
                  <a:gd name="T55" fmla="*/ 78 h 147"/>
                  <a:gd name="T56" fmla="*/ 129 w 160"/>
                  <a:gd name="T57" fmla="*/ 139 h 147"/>
                  <a:gd name="T58" fmla="*/ 104 w 160"/>
                  <a:gd name="T59" fmla="*/ 110 h 147"/>
                  <a:gd name="T60" fmla="*/ 124 w 160"/>
                  <a:gd name="T61" fmla="*/ 88 h 147"/>
                  <a:gd name="T62" fmla="*/ 153 w 160"/>
                  <a:gd name="T63" fmla="*/ 120 h 147"/>
                  <a:gd name="T64" fmla="*/ 153 w 160"/>
                  <a:gd name="T65" fmla="*/ 139 h 147"/>
                  <a:gd name="T66" fmla="*/ 129 w 160"/>
                  <a:gd name="T67" fmla="*/ 13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 h="147">
                    <a:moveTo>
                      <a:pt x="153" y="0"/>
                    </a:moveTo>
                    <a:cubicBezTo>
                      <a:pt x="7" y="0"/>
                      <a:pt x="7" y="0"/>
                      <a:pt x="7" y="0"/>
                    </a:cubicBezTo>
                    <a:cubicBezTo>
                      <a:pt x="3" y="0"/>
                      <a:pt x="0" y="4"/>
                      <a:pt x="0" y="8"/>
                    </a:cubicBezTo>
                    <a:cubicBezTo>
                      <a:pt x="0" y="139"/>
                      <a:pt x="0" y="139"/>
                      <a:pt x="0" y="139"/>
                    </a:cubicBezTo>
                    <a:cubicBezTo>
                      <a:pt x="0" y="143"/>
                      <a:pt x="3" y="147"/>
                      <a:pt x="7" y="147"/>
                    </a:cubicBezTo>
                    <a:cubicBezTo>
                      <a:pt x="153" y="147"/>
                      <a:pt x="153" y="147"/>
                      <a:pt x="153" y="147"/>
                    </a:cubicBezTo>
                    <a:cubicBezTo>
                      <a:pt x="157" y="147"/>
                      <a:pt x="160" y="143"/>
                      <a:pt x="160" y="139"/>
                    </a:cubicBezTo>
                    <a:cubicBezTo>
                      <a:pt x="160" y="8"/>
                      <a:pt x="160" y="8"/>
                      <a:pt x="160" y="8"/>
                    </a:cubicBezTo>
                    <a:cubicBezTo>
                      <a:pt x="160" y="4"/>
                      <a:pt x="157" y="0"/>
                      <a:pt x="153" y="0"/>
                    </a:cubicBezTo>
                    <a:close/>
                    <a:moveTo>
                      <a:pt x="153" y="8"/>
                    </a:moveTo>
                    <a:cubicBezTo>
                      <a:pt x="153" y="109"/>
                      <a:pt x="153" y="109"/>
                      <a:pt x="153" y="109"/>
                    </a:cubicBezTo>
                    <a:cubicBezTo>
                      <a:pt x="129" y="83"/>
                      <a:pt x="129" y="83"/>
                      <a:pt x="129" y="83"/>
                    </a:cubicBezTo>
                    <a:cubicBezTo>
                      <a:pt x="128" y="82"/>
                      <a:pt x="126" y="81"/>
                      <a:pt x="124" y="81"/>
                    </a:cubicBezTo>
                    <a:cubicBezTo>
                      <a:pt x="122" y="81"/>
                      <a:pt x="120" y="82"/>
                      <a:pt x="118" y="83"/>
                    </a:cubicBezTo>
                    <a:cubicBezTo>
                      <a:pt x="99" y="105"/>
                      <a:pt x="99" y="105"/>
                      <a:pt x="99" y="105"/>
                    </a:cubicBezTo>
                    <a:cubicBezTo>
                      <a:pt x="42" y="39"/>
                      <a:pt x="42" y="39"/>
                      <a:pt x="42" y="39"/>
                    </a:cubicBezTo>
                    <a:cubicBezTo>
                      <a:pt x="40" y="38"/>
                      <a:pt x="38" y="37"/>
                      <a:pt x="36" y="37"/>
                    </a:cubicBezTo>
                    <a:cubicBezTo>
                      <a:pt x="34" y="37"/>
                      <a:pt x="32" y="38"/>
                      <a:pt x="31" y="39"/>
                    </a:cubicBezTo>
                    <a:cubicBezTo>
                      <a:pt x="7" y="67"/>
                      <a:pt x="7" y="67"/>
                      <a:pt x="7" y="67"/>
                    </a:cubicBezTo>
                    <a:cubicBezTo>
                      <a:pt x="7" y="8"/>
                      <a:pt x="7" y="8"/>
                      <a:pt x="7" y="8"/>
                    </a:cubicBezTo>
                    <a:lnTo>
                      <a:pt x="153" y="8"/>
                    </a:lnTo>
                    <a:close/>
                    <a:moveTo>
                      <a:pt x="7" y="78"/>
                    </a:moveTo>
                    <a:cubicBezTo>
                      <a:pt x="36" y="44"/>
                      <a:pt x="36" y="44"/>
                      <a:pt x="36" y="44"/>
                    </a:cubicBezTo>
                    <a:cubicBezTo>
                      <a:pt x="95" y="111"/>
                      <a:pt x="95" y="111"/>
                      <a:pt x="95" y="111"/>
                    </a:cubicBezTo>
                    <a:cubicBezTo>
                      <a:pt x="99" y="116"/>
                      <a:pt x="99" y="116"/>
                      <a:pt x="99" y="116"/>
                    </a:cubicBezTo>
                    <a:cubicBezTo>
                      <a:pt x="119" y="139"/>
                      <a:pt x="119" y="139"/>
                      <a:pt x="119" y="139"/>
                    </a:cubicBezTo>
                    <a:cubicBezTo>
                      <a:pt x="7" y="139"/>
                      <a:pt x="7" y="139"/>
                      <a:pt x="7" y="139"/>
                    </a:cubicBezTo>
                    <a:lnTo>
                      <a:pt x="7" y="78"/>
                    </a:lnTo>
                    <a:close/>
                    <a:moveTo>
                      <a:pt x="129" y="139"/>
                    </a:moveTo>
                    <a:cubicBezTo>
                      <a:pt x="104" y="110"/>
                      <a:pt x="104" y="110"/>
                      <a:pt x="104" y="110"/>
                    </a:cubicBezTo>
                    <a:cubicBezTo>
                      <a:pt x="124" y="88"/>
                      <a:pt x="124" y="88"/>
                      <a:pt x="124" y="88"/>
                    </a:cubicBezTo>
                    <a:cubicBezTo>
                      <a:pt x="153" y="120"/>
                      <a:pt x="153" y="120"/>
                      <a:pt x="153" y="120"/>
                    </a:cubicBezTo>
                    <a:cubicBezTo>
                      <a:pt x="153" y="139"/>
                      <a:pt x="153" y="139"/>
                      <a:pt x="153" y="139"/>
                    </a:cubicBezTo>
                    <a:lnTo>
                      <a:pt x="129" y="13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4" name="Freeform 69"/>
              <p:cNvSpPr>
                <a:spLocks noEditPoints="1"/>
              </p:cNvSpPr>
              <p:nvPr/>
            </p:nvSpPr>
            <p:spPr bwMode="auto">
              <a:xfrm>
                <a:off x="622677" y="2297776"/>
                <a:ext cx="48134" cy="48134"/>
              </a:xfrm>
              <a:custGeom>
                <a:avLst/>
                <a:gdLst>
                  <a:gd name="T0" fmla="*/ 22 w 44"/>
                  <a:gd name="T1" fmla="*/ 44 h 44"/>
                  <a:gd name="T2" fmla="*/ 44 w 44"/>
                  <a:gd name="T3" fmla="*/ 22 h 44"/>
                  <a:gd name="T4" fmla="*/ 22 w 44"/>
                  <a:gd name="T5" fmla="*/ 0 h 44"/>
                  <a:gd name="T6" fmla="*/ 0 w 44"/>
                  <a:gd name="T7" fmla="*/ 22 h 44"/>
                  <a:gd name="T8" fmla="*/ 22 w 44"/>
                  <a:gd name="T9" fmla="*/ 44 h 44"/>
                  <a:gd name="T10" fmla="*/ 22 w 44"/>
                  <a:gd name="T11" fmla="*/ 8 h 44"/>
                  <a:gd name="T12" fmla="*/ 37 w 44"/>
                  <a:gd name="T13" fmla="*/ 22 h 44"/>
                  <a:gd name="T14" fmla="*/ 22 w 44"/>
                  <a:gd name="T15" fmla="*/ 37 h 44"/>
                  <a:gd name="T16" fmla="*/ 7 w 44"/>
                  <a:gd name="T17" fmla="*/ 22 h 44"/>
                  <a:gd name="T18" fmla="*/ 22 w 44"/>
                  <a:gd name="T19"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44"/>
                    </a:moveTo>
                    <a:cubicBezTo>
                      <a:pt x="34" y="44"/>
                      <a:pt x="44" y="34"/>
                      <a:pt x="44" y="22"/>
                    </a:cubicBezTo>
                    <a:cubicBezTo>
                      <a:pt x="44" y="10"/>
                      <a:pt x="34" y="0"/>
                      <a:pt x="22" y="0"/>
                    </a:cubicBezTo>
                    <a:cubicBezTo>
                      <a:pt x="10" y="0"/>
                      <a:pt x="0" y="10"/>
                      <a:pt x="0" y="22"/>
                    </a:cubicBezTo>
                    <a:cubicBezTo>
                      <a:pt x="0" y="34"/>
                      <a:pt x="10" y="44"/>
                      <a:pt x="22" y="44"/>
                    </a:cubicBezTo>
                    <a:close/>
                    <a:moveTo>
                      <a:pt x="22" y="8"/>
                    </a:moveTo>
                    <a:cubicBezTo>
                      <a:pt x="30" y="8"/>
                      <a:pt x="37" y="14"/>
                      <a:pt x="37" y="22"/>
                    </a:cubicBezTo>
                    <a:cubicBezTo>
                      <a:pt x="37" y="30"/>
                      <a:pt x="30" y="37"/>
                      <a:pt x="22" y="37"/>
                    </a:cubicBezTo>
                    <a:cubicBezTo>
                      <a:pt x="14" y="37"/>
                      <a:pt x="7" y="30"/>
                      <a:pt x="7" y="22"/>
                    </a:cubicBezTo>
                    <a:cubicBezTo>
                      <a:pt x="7" y="14"/>
                      <a:pt x="14" y="8"/>
                      <a:pt x="22"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grpSp>
      </p:grpSp>
      <p:grpSp>
        <p:nvGrpSpPr>
          <p:cNvPr id="49" name="Group 48"/>
          <p:cNvGrpSpPr/>
          <p:nvPr>
            <p:custDataLst>
              <p:tags r:id="rId6"/>
            </p:custDataLst>
          </p:nvPr>
        </p:nvGrpSpPr>
        <p:grpSpPr>
          <a:xfrm>
            <a:off x="9218896" y="1990953"/>
            <a:ext cx="971722" cy="971975"/>
            <a:chOff x="16634906" y="4358234"/>
            <a:chExt cx="1312452" cy="1312794"/>
          </a:xfrm>
        </p:grpSpPr>
        <p:sp>
          <p:nvSpPr>
            <p:cNvPr id="28" name="Oval 27"/>
            <p:cNvSpPr/>
            <p:nvPr/>
          </p:nvSpPr>
          <p:spPr>
            <a:xfrm>
              <a:off x="16634906" y="4358234"/>
              <a:ext cx="1312452" cy="131279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dirty="0">
                <a:latin typeface="Calibri Light"/>
              </a:endParaRPr>
            </a:p>
          </p:txBody>
        </p:sp>
        <p:sp>
          <p:nvSpPr>
            <p:cNvPr id="35" name="Freeform 73"/>
            <p:cNvSpPr>
              <a:spLocks noEditPoints="1"/>
            </p:cNvSpPr>
            <p:nvPr/>
          </p:nvSpPr>
          <p:spPr bwMode="auto">
            <a:xfrm>
              <a:off x="16961927" y="4628228"/>
              <a:ext cx="656595" cy="748658"/>
            </a:xfrm>
            <a:custGeom>
              <a:avLst/>
              <a:gdLst>
                <a:gd name="T0" fmla="*/ 191 w 205"/>
                <a:gd name="T1" fmla="*/ 37 h 234"/>
                <a:gd name="T2" fmla="*/ 182 w 205"/>
                <a:gd name="T3" fmla="*/ 10 h 234"/>
                <a:gd name="T4" fmla="*/ 168 w 205"/>
                <a:gd name="T5" fmla="*/ 0 h 234"/>
                <a:gd name="T6" fmla="*/ 37 w 205"/>
                <a:gd name="T7" fmla="*/ 0 h 234"/>
                <a:gd name="T8" fmla="*/ 23 w 205"/>
                <a:gd name="T9" fmla="*/ 10 h 234"/>
                <a:gd name="T10" fmla="*/ 14 w 205"/>
                <a:gd name="T11" fmla="*/ 37 h 234"/>
                <a:gd name="T12" fmla="*/ 0 w 205"/>
                <a:gd name="T13" fmla="*/ 51 h 234"/>
                <a:gd name="T14" fmla="*/ 0 w 205"/>
                <a:gd name="T15" fmla="*/ 73 h 234"/>
                <a:gd name="T16" fmla="*/ 15 w 205"/>
                <a:gd name="T17" fmla="*/ 88 h 234"/>
                <a:gd name="T18" fmla="*/ 22 w 205"/>
                <a:gd name="T19" fmla="*/ 88 h 234"/>
                <a:gd name="T20" fmla="*/ 22 w 205"/>
                <a:gd name="T21" fmla="*/ 89 h 234"/>
                <a:gd name="T22" fmla="*/ 37 w 205"/>
                <a:gd name="T23" fmla="*/ 221 h 234"/>
                <a:gd name="T24" fmla="*/ 51 w 205"/>
                <a:gd name="T25" fmla="*/ 234 h 234"/>
                <a:gd name="T26" fmla="*/ 153 w 205"/>
                <a:gd name="T27" fmla="*/ 234 h 234"/>
                <a:gd name="T28" fmla="*/ 168 w 205"/>
                <a:gd name="T29" fmla="*/ 221 h 234"/>
                <a:gd name="T30" fmla="*/ 183 w 205"/>
                <a:gd name="T31" fmla="*/ 89 h 234"/>
                <a:gd name="T32" fmla="*/ 182 w 205"/>
                <a:gd name="T33" fmla="*/ 88 h 234"/>
                <a:gd name="T34" fmla="*/ 190 w 205"/>
                <a:gd name="T35" fmla="*/ 88 h 234"/>
                <a:gd name="T36" fmla="*/ 205 w 205"/>
                <a:gd name="T37" fmla="*/ 73 h 234"/>
                <a:gd name="T38" fmla="*/ 205 w 205"/>
                <a:gd name="T39" fmla="*/ 51 h 234"/>
                <a:gd name="T40" fmla="*/ 191 w 205"/>
                <a:gd name="T41" fmla="*/ 37 h 234"/>
                <a:gd name="T42" fmla="*/ 37 w 205"/>
                <a:gd name="T43" fmla="*/ 14 h 234"/>
                <a:gd name="T44" fmla="*/ 168 w 205"/>
                <a:gd name="T45" fmla="*/ 14 h 234"/>
                <a:gd name="T46" fmla="*/ 175 w 205"/>
                <a:gd name="T47" fmla="*/ 36 h 234"/>
                <a:gd name="T48" fmla="*/ 29 w 205"/>
                <a:gd name="T49" fmla="*/ 36 h 234"/>
                <a:gd name="T50" fmla="*/ 37 w 205"/>
                <a:gd name="T51" fmla="*/ 14 h 234"/>
                <a:gd name="T52" fmla="*/ 51 w 205"/>
                <a:gd name="T53" fmla="*/ 219 h 234"/>
                <a:gd name="T54" fmla="*/ 49 w 205"/>
                <a:gd name="T55" fmla="*/ 197 h 234"/>
                <a:gd name="T56" fmla="*/ 156 w 205"/>
                <a:gd name="T57" fmla="*/ 197 h 234"/>
                <a:gd name="T58" fmla="*/ 153 w 205"/>
                <a:gd name="T59" fmla="*/ 219 h 234"/>
                <a:gd name="T60" fmla="*/ 51 w 205"/>
                <a:gd name="T61" fmla="*/ 219 h 234"/>
                <a:gd name="T62" fmla="*/ 157 w 205"/>
                <a:gd name="T63" fmla="*/ 190 h 234"/>
                <a:gd name="T64" fmla="*/ 48 w 205"/>
                <a:gd name="T65" fmla="*/ 190 h 234"/>
                <a:gd name="T66" fmla="*/ 40 w 205"/>
                <a:gd name="T67" fmla="*/ 117 h 234"/>
                <a:gd name="T68" fmla="*/ 165 w 205"/>
                <a:gd name="T69" fmla="*/ 117 h 234"/>
                <a:gd name="T70" fmla="*/ 157 w 205"/>
                <a:gd name="T71" fmla="*/ 190 h 234"/>
                <a:gd name="T72" fmla="*/ 166 w 205"/>
                <a:gd name="T73" fmla="*/ 109 h 234"/>
                <a:gd name="T74" fmla="*/ 39 w 205"/>
                <a:gd name="T75" fmla="*/ 109 h 234"/>
                <a:gd name="T76" fmla="*/ 37 w 205"/>
                <a:gd name="T77" fmla="*/ 88 h 234"/>
                <a:gd name="T78" fmla="*/ 168 w 205"/>
                <a:gd name="T79" fmla="*/ 88 h 234"/>
                <a:gd name="T80" fmla="*/ 166 w 205"/>
                <a:gd name="T81" fmla="*/ 109 h 234"/>
                <a:gd name="T82" fmla="*/ 190 w 205"/>
                <a:gd name="T83" fmla="*/ 73 h 234"/>
                <a:gd name="T84" fmla="*/ 15 w 205"/>
                <a:gd name="T85" fmla="*/ 73 h 234"/>
                <a:gd name="T86" fmla="*/ 15 w 205"/>
                <a:gd name="T87" fmla="*/ 51 h 234"/>
                <a:gd name="T88" fmla="*/ 190 w 205"/>
                <a:gd name="T89" fmla="*/ 51 h 234"/>
                <a:gd name="T90" fmla="*/ 190 w 205"/>
                <a:gd name="T91" fmla="*/ 7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34">
                  <a:moveTo>
                    <a:pt x="191" y="37"/>
                  </a:moveTo>
                  <a:cubicBezTo>
                    <a:pt x="182" y="10"/>
                    <a:pt x="182" y="10"/>
                    <a:pt x="182" y="10"/>
                  </a:cubicBezTo>
                  <a:cubicBezTo>
                    <a:pt x="180" y="4"/>
                    <a:pt x="174" y="0"/>
                    <a:pt x="168" y="0"/>
                  </a:cubicBezTo>
                  <a:cubicBezTo>
                    <a:pt x="37" y="0"/>
                    <a:pt x="37" y="0"/>
                    <a:pt x="37" y="0"/>
                  </a:cubicBezTo>
                  <a:cubicBezTo>
                    <a:pt x="30" y="0"/>
                    <a:pt x="25" y="4"/>
                    <a:pt x="23" y="10"/>
                  </a:cubicBezTo>
                  <a:cubicBezTo>
                    <a:pt x="14" y="37"/>
                    <a:pt x="14" y="37"/>
                    <a:pt x="14" y="37"/>
                  </a:cubicBezTo>
                  <a:cubicBezTo>
                    <a:pt x="6" y="37"/>
                    <a:pt x="0" y="43"/>
                    <a:pt x="0" y="51"/>
                  </a:cubicBezTo>
                  <a:cubicBezTo>
                    <a:pt x="0" y="73"/>
                    <a:pt x="0" y="73"/>
                    <a:pt x="0" y="73"/>
                  </a:cubicBezTo>
                  <a:cubicBezTo>
                    <a:pt x="0" y="81"/>
                    <a:pt x="7" y="88"/>
                    <a:pt x="15" y="88"/>
                  </a:cubicBezTo>
                  <a:cubicBezTo>
                    <a:pt x="22" y="88"/>
                    <a:pt x="22" y="88"/>
                    <a:pt x="22" y="88"/>
                  </a:cubicBezTo>
                  <a:cubicBezTo>
                    <a:pt x="22" y="88"/>
                    <a:pt x="22" y="89"/>
                    <a:pt x="22" y="89"/>
                  </a:cubicBezTo>
                  <a:cubicBezTo>
                    <a:pt x="37" y="221"/>
                    <a:pt x="37" y="221"/>
                    <a:pt x="37" y="221"/>
                  </a:cubicBezTo>
                  <a:cubicBezTo>
                    <a:pt x="37" y="228"/>
                    <a:pt x="44" y="234"/>
                    <a:pt x="51" y="234"/>
                  </a:cubicBezTo>
                  <a:cubicBezTo>
                    <a:pt x="153" y="234"/>
                    <a:pt x="153" y="234"/>
                    <a:pt x="153" y="234"/>
                  </a:cubicBezTo>
                  <a:cubicBezTo>
                    <a:pt x="161" y="234"/>
                    <a:pt x="167" y="228"/>
                    <a:pt x="168" y="221"/>
                  </a:cubicBezTo>
                  <a:cubicBezTo>
                    <a:pt x="183" y="89"/>
                    <a:pt x="183" y="89"/>
                    <a:pt x="183" y="89"/>
                  </a:cubicBezTo>
                  <a:cubicBezTo>
                    <a:pt x="183" y="89"/>
                    <a:pt x="182" y="88"/>
                    <a:pt x="182" y="88"/>
                  </a:cubicBezTo>
                  <a:cubicBezTo>
                    <a:pt x="190" y="88"/>
                    <a:pt x="190" y="88"/>
                    <a:pt x="190" y="88"/>
                  </a:cubicBezTo>
                  <a:cubicBezTo>
                    <a:pt x="198" y="88"/>
                    <a:pt x="205" y="81"/>
                    <a:pt x="205" y="73"/>
                  </a:cubicBezTo>
                  <a:cubicBezTo>
                    <a:pt x="205" y="51"/>
                    <a:pt x="205" y="51"/>
                    <a:pt x="205" y="51"/>
                  </a:cubicBezTo>
                  <a:cubicBezTo>
                    <a:pt x="205" y="43"/>
                    <a:pt x="198" y="37"/>
                    <a:pt x="191" y="37"/>
                  </a:cubicBezTo>
                  <a:close/>
                  <a:moveTo>
                    <a:pt x="37" y="14"/>
                  </a:moveTo>
                  <a:cubicBezTo>
                    <a:pt x="168" y="14"/>
                    <a:pt x="168" y="14"/>
                    <a:pt x="168" y="14"/>
                  </a:cubicBezTo>
                  <a:cubicBezTo>
                    <a:pt x="175" y="36"/>
                    <a:pt x="175" y="36"/>
                    <a:pt x="175" y="36"/>
                  </a:cubicBezTo>
                  <a:cubicBezTo>
                    <a:pt x="29" y="36"/>
                    <a:pt x="29" y="36"/>
                    <a:pt x="29" y="36"/>
                  </a:cubicBezTo>
                  <a:lnTo>
                    <a:pt x="37" y="14"/>
                  </a:lnTo>
                  <a:close/>
                  <a:moveTo>
                    <a:pt x="51" y="219"/>
                  </a:moveTo>
                  <a:cubicBezTo>
                    <a:pt x="49" y="197"/>
                    <a:pt x="49" y="197"/>
                    <a:pt x="49" y="197"/>
                  </a:cubicBezTo>
                  <a:cubicBezTo>
                    <a:pt x="156" y="197"/>
                    <a:pt x="156" y="197"/>
                    <a:pt x="156" y="197"/>
                  </a:cubicBezTo>
                  <a:cubicBezTo>
                    <a:pt x="153" y="219"/>
                    <a:pt x="153" y="219"/>
                    <a:pt x="153" y="219"/>
                  </a:cubicBezTo>
                  <a:lnTo>
                    <a:pt x="51" y="219"/>
                  </a:lnTo>
                  <a:close/>
                  <a:moveTo>
                    <a:pt x="157" y="190"/>
                  </a:moveTo>
                  <a:cubicBezTo>
                    <a:pt x="48" y="190"/>
                    <a:pt x="48" y="190"/>
                    <a:pt x="48" y="190"/>
                  </a:cubicBezTo>
                  <a:cubicBezTo>
                    <a:pt x="40" y="117"/>
                    <a:pt x="40" y="117"/>
                    <a:pt x="40" y="117"/>
                  </a:cubicBezTo>
                  <a:cubicBezTo>
                    <a:pt x="165" y="117"/>
                    <a:pt x="165" y="117"/>
                    <a:pt x="165" y="117"/>
                  </a:cubicBezTo>
                  <a:lnTo>
                    <a:pt x="157" y="190"/>
                  </a:lnTo>
                  <a:close/>
                  <a:moveTo>
                    <a:pt x="166" y="109"/>
                  </a:moveTo>
                  <a:cubicBezTo>
                    <a:pt x="39" y="109"/>
                    <a:pt x="39" y="109"/>
                    <a:pt x="39" y="109"/>
                  </a:cubicBezTo>
                  <a:cubicBezTo>
                    <a:pt x="37" y="88"/>
                    <a:pt x="37" y="88"/>
                    <a:pt x="37" y="88"/>
                  </a:cubicBezTo>
                  <a:cubicBezTo>
                    <a:pt x="168" y="88"/>
                    <a:pt x="168" y="88"/>
                    <a:pt x="168" y="88"/>
                  </a:cubicBezTo>
                  <a:lnTo>
                    <a:pt x="166" y="109"/>
                  </a:lnTo>
                  <a:close/>
                  <a:moveTo>
                    <a:pt x="190" y="73"/>
                  </a:moveTo>
                  <a:cubicBezTo>
                    <a:pt x="15" y="73"/>
                    <a:pt x="15" y="73"/>
                    <a:pt x="15" y="73"/>
                  </a:cubicBezTo>
                  <a:cubicBezTo>
                    <a:pt x="15" y="51"/>
                    <a:pt x="15" y="51"/>
                    <a:pt x="15" y="51"/>
                  </a:cubicBezTo>
                  <a:cubicBezTo>
                    <a:pt x="190" y="51"/>
                    <a:pt x="190" y="51"/>
                    <a:pt x="190" y="51"/>
                  </a:cubicBezTo>
                  <a:lnTo>
                    <a:pt x="190" y="73"/>
                  </a:lnTo>
                  <a:close/>
                </a:path>
              </a:pathLst>
            </a:custGeom>
            <a:solidFill>
              <a:schemeClr val="bg2"/>
            </a:solidFill>
            <a:ln>
              <a:noFill/>
            </a:ln>
          </p:spPr>
          <p:txBody>
            <a:bodyPr vert="horz" wrap="square" lIns="182843" tIns="91422" rIns="182843" bIns="91422" numCol="1" anchor="t" anchorCtr="0" compatLnSpc="1">
              <a:prstTxWarp prst="textNoShape">
                <a:avLst/>
              </a:prstTxWarp>
            </a:bodyPr>
            <a:lstStyle/>
            <a:p>
              <a:endParaRPr lang="id-ID" dirty="0">
                <a:latin typeface="Calibri Light"/>
              </a:endParaRPr>
            </a:p>
          </p:txBody>
        </p:sp>
      </p:grpSp>
      <p:grpSp>
        <p:nvGrpSpPr>
          <p:cNvPr id="48" name="Group 47"/>
          <p:cNvGrpSpPr/>
          <p:nvPr>
            <p:custDataLst>
              <p:tags r:id="rId7"/>
            </p:custDataLst>
          </p:nvPr>
        </p:nvGrpSpPr>
        <p:grpSpPr>
          <a:xfrm>
            <a:off x="2704172" y="4214790"/>
            <a:ext cx="971722" cy="971975"/>
            <a:chOff x="6429985" y="9568716"/>
            <a:chExt cx="1312452" cy="1312794"/>
          </a:xfrm>
        </p:grpSpPr>
        <p:sp>
          <p:nvSpPr>
            <p:cNvPr id="25" name="Oval 24"/>
            <p:cNvSpPr/>
            <p:nvPr/>
          </p:nvSpPr>
          <p:spPr>
            <a:xfrm>
              <a:off x="6429985" y="9568716"/>
              <a:ext cx="1312452" cy="131279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dirty="0">
                <a:latin typeface="Calibri Light"/>
              </a:endParaRPr>
            </a:p>
          </p:txBody>
        </p:sp>
        <p:grpSp>
          <p:nvGrpSpPr>
            <p:cNvPr id="36" name="Group 35"/>
            <p:cNvGrpSpPr/>
            <p:nvPr>
              <p:custDataLst>
                <p:tags r:id="rId10"/>
              </p:custDataLst>
            </p:nvPr>
          </p:nvGrpSpPr>
          <p:grpSpPr>
            <a:xfrm>
              <a:off x="6808582" y="9862900"/>
              <a:ext cx="512033" cy="748658"/>
              <a:chOff x="527333" y="1217552"/>
              <a:chExt cx="175409" cy="256405"/>
            </a:xfrm>
            <a:solidFill>
              <a:schemeClr val="bg1"/>
            </a:solidFill>
          </p:grpSpPr>
          <p:sp>
            <p:nvSpPr>
              <p:cNvPr id="37" name="Freeform 79"/>
              <p:cNvSpPr>
                <a:spLocks noEditPoints="1"/>
              </p:cNvSpPr>
              <p:nvPr/>
            </p:nvSpPr>
            <p:spPr bwMode="auto">
              <a:xfrm>
                <a:off x="527333" y="1217552"/>
                <a:ext cx="175409" cy="256405"/>
              </a:xfrm>
              <a:custGeom>
                <a:avLst/>
                <a:gdLst>
                  <a:gd name="T0" fmla="*/ 80 w 160"/>
                  <a:gd name="T1" fmla="*/ 0 h 234"/>
                  <a:gd name="T2" fmla="*/ 0 w 160"/>
                  <a:gd name="T3" fmla="*/ 81 h 234"/>
                  <a:gd name="T4" fmla="*/ 36 w 160"/>
                  <a:gd name="T5" fmla="*/ 169 h 234"/>
                  <a:gd name="T6" fmla="*/ 80 w 160"/>
                  <a:gd name="T7" fmla="*/ 234 h 234"/>
                  <a:gd name="T8" fmla="*/ 123 w 160"/>
                  <a:gd name="T9" fmla="*/ 169 h 234"/>
                  <a:gd name="T10" fmla="*/ 160 w 160"/>
                  <a:gd name="T11" fmla="*/ 81 h 234"/>
                  <a:gd name="T12" fmla="*/ 80 w 160"/>
                  <a:gd name="T13" fmla="*/ 0 h 234"/>
                  <a:gd name="T14" fmla="*/ 99 w 160"/>
                  <a:gd name="T15" fmla="*/ 199 h 234"/>
                  <a:gd name="T16" fmla="*/ 63 w 160"/>
                  <a:gd name="T17" fmla="*/ 203 h 234"/>
                  <a:gd name="T18" fmla="*/ 58 w 160"/>
                  <a:gd name="T19" fmla="*/ 190 h 234"/>
                  <a:gd name="T20" fmla="*/ 58 w 160"/>
                  <a:gd name="T21" fmla="*/ 189 h 234"/>
                  <a:gd name="T22" fmla="*/ 103 w 160"/>
                  <a:gd name="T23" fmla="*/ 184 h 234"/>
                  <a:gd name="T24" fmla="*/ 101 w 160"/>
                  <a:gd name="T25" fmla="*/ 190 h 234"/>
                  <a:gd name="T26" fmla="*/ 99 w 160"/>
                  <a:gd name="T27" fmla="*/ 199 h 234"/>
                  <a:gd name="T28" fmla="*/ 56 w 160"/>
                  <a:gd name="T29" fmla="*/ 182 h 234"/>
                  <a:gd name="T30" fmla="*/ 52 w 160"/>
                  <a:gd name="T31" fmla="*/ 168 h 234"/>
                  <a:gd name="T32" fmla="*/ 108 w 160"/>
                  <a:gd name="T33" fmla="*/ 168 h 234"/>
                  <a:gd name="T34" fmla="*/ 106 w 160"/>
                  <a:gd name="T35" fmla="*/ 176 h 234"/>
                  <a:gd name="T36" fmla="*/ 56 w 160"/>
                  <a:gd name="T37" fmla="*/ 182 h 234"/>
                  <a:gd name="T38" fmla="*/ 80 w 160"/>
                  <a:gd name="T39" fmla="*/ 220 h 234"/>
                  <a:gd name="T40" fmla="*/ 65 w 160"/>
                  <a:gd name="T41" fmla="*/ 210 h 234"/>
                  <a:gd name="T42" fmla="*/ 96 w 160"/>
                  <a:gd name="T43" fmla="*/ 207 h 234"/>
                  <a:gd name="T44" fmla="*/ 80 w 160"/>
                  <a:gd name="T45" fmla="*/ 220 h 234"/>
                  <a:gd name="T46" fmla="*/ 114 w 160"/>
                  <a:gd name="T47" fmla="*/ 154 h 234"/>
                  <a:gd name="T48" fmla="*/ 46 w 160"/>
                  <a:gd name="T49" fmla="*/ 154 h 234"/>
                  <a:gd name="T50" fmla="*/ 34 w 160"/>
                  <a:gd name="T51" fmla="*/ 130 h 234"/>
                  <a:gd name="T52" fmla="*/ 14 w 160"/>
                  <a:gd name="T53" fmla="*/ 81 h 234"/>
                  <a:gd name="T54" fmla="*/ 80 w 160"/>
                  <a:gd name="T55" fmla="*/ 15 h 234"/>
                  <a:gd name="T56" fmla="*/ 146 w 160"/>
                  <a:gd name="T57" fmla="*/ 81 h 234"/>
                  <a:gd name="T58" fmla="*/ 126 w 160"/>
                  <a:gd name="T59" fmla="*/ 130 h 234"/>
                  <a:gd name="T60" fmla="*/ 114 w 160"/>
                  <a:gd name="T61" fmla="*/ 15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0" h="234">
                    <a:moveTo>
                      <a:pt x="80" y="0"/>
                    </a:moveTo>
                    <a:cubicBezTo>
                      <a:pt x="35" y="0"/>
                      <a:pt x="0" y="36"/>
                      <a:pt x="0" y="81"/>
                    </a:cubicBezTo>
                    <a:cubicBezTo>
                      <a:pt x="0" y="110"/>
                      <a:pt x="26" y="141"/>
                      <a:pt x="36" y="169"/>
                    </a:cubicBezTo>
                    <a:cubicBezTo>
                      <a:pt x="51" y="210"/>
                      <a:pt x="49" y="234"/>
                      <a:pt x="80" y="234"/>
                    </a:cubicBezTo>
                    <a:cubicBezTo>
                      <a:pt x="111" y="234"/>
                      <a:pt x="109" y="210"/>
                      <a:pt x="123" y="169"/>
                    </a:cubicBezTo>
                    <a:cubicBezTo>
                      <a:pt x="133" y="142"/>
                      <a:pt x="160" y="110"/>
                      <a:pt x="160" y="81"/>
                    </a:cubicBezTo>
                    <a:cubicBezTo>
                      <a:pt x="160" y="36"/>
                      <a:pt x="124" y="0"/>
                      <a:pt x="80" y="0"/>
                    </a:cubicBezTo>
                    <a:close/>
                    <a:moveTo>
                      <a:pt x="99" y="199"/>
                    </a:moveTo>
                    <a:cubicBezTo>
                      <a:pt x="63" y="203"/>
                      <a:pt x="63" y="203"/>
                      <a:pt x="63" y="203"/>
                    </a:cubicBezTo>
                    <a:cubicBezTo>
                      <a:pt x="61" y="200"/>
                      <a:pt x="60" y="195"/>
                      <a:pt x="58" y="190"/>
                    </a:cubicBezTo>
                    <a:cubicBezTo>
                      <a:pt x="58" y="190"/>
                      <a:pt x="58" y="189"/>
                      <a:pt x="58" y="189"/>
                    </a:cubicBezTo>
                    <a:cubicBezTo>
                      <a:pt x="103" y="184"/>
                      <a:pt x="103" y="184"/>
                      <a:pt x="103" y="184"/>
                    </a:cubicBezTo>
                    <a:cubicBezTo>
                      <a:pt x="103" y="186"/>
                      <a:pt x="102" y="188"/>
                      <a:pt x="101" y="190"/>
                    </a:cubicBezTo>
                    <a:cubicBezTo>
                      <a:pt x="100" y="193"/>
                      <a:pt x="100" y="196"/>
                      <a:pt x="99" y="199"/>
                    </a:cubicBezTo>
                    <a:close/>
                    <a:moveTo>
                      <a:pt x="56" y="182"/>
                    </a:moveTo>
                    <a:cubicBezTo>
                      <a:pt x="55" y="178"/>
                      <a:pt x="53" y="173"/>
                      <a:pt x="52" y="168"/>
                    </a:cubicBezTo>
                    <a:cubicBezTo>
                      <a:pt x="108" y="168"/>
                      <a:pt x="108" y="168"/>
                      <a:pt x="108" y="168"/>
                    </a:cubicBezTo>
                    <a:cubicBezTo>
                      <a:pt x="107" y="171"/>
                      <a:pt x="106" y="174"/>
                      <a:pt x="106" y="176"/>
                    </a:cubicBezTo>
                    <a:lnTo>
                      <a:pt x="56" y="182"/>
                    </a:lnTo>
                    <a:close/>
                    <a:moveTo>
                      <a:pt x="80" y="220"/>
                    </a:moveTo>
                    <a:cubicBezTo>
                      <a:pt x="72" y="220"/>
                      <a:pt x="69" y="219"/>
                      <a:pt x="65" y="210"/>
                    </a:cubicBezTo>
                    <a:cubicBezTo>
                      <a:pt x="96" y="207"/>
                      <a:pt x="96" y="207"/>
                      <a:pt x="96" y="207"/>
                    </a:cubicBezTo>
                    <a:cubicBezTo>
                      <a:pt x="92" y="219"/>
                      <a:pt x="88" y="220"/>
                      <a:pt x="80" y="220"/>
                    </a:cubicBezTo>
                    <a:close/>
                    <a:moveTo>
                      <a:pt x="114" y="154"/>
                    </a:moveTo>
                    <a:cubicBezTo>
                      <a:pt x="46" y="154"/>
                      <a:pt x="46" y="154"/>
                      <a:pt x="46" y="154"/>
                    </a:cubicBezTo>
                    <a:cubicBezTo>
                      <a:pt x="42" y="146"/>
                      <a:pt x="38" y="138"/>
                      <a:pt x="34" y="130"/>
                    </a:cubicBezTo>
                    <a:cubicBezTo>
                      <a:pt x="24" y="113"/>
                      <a:pt x="14" y="96"/>
                      <a:pt x="14" y="81"/>
                    </a:cubicBezTo>
                    <a:cubicBezTo>
                      <a:pt x="14" y="45"/>
                      <a:pt x="44" y="15"/>
                      <a:pt x="80" y="15"/>
                    </a:cubicBezTo>
                    <a:cubicBezTo>
                      <a:pt x="116" y="15"/>
                      <a:pt x="146" y="45"/>
                      <a:pt x="146" y="81"/>
                    </a:cubicBezTo>
                    <a:cubicBezTo>
                      <a:pt x="146" y="96"/>
                      <a:pt x="136" y="113"/>
                      <a:pt x="126" y="130"/>
                    </a:cubicBezTo>
                    <a:cubicBezTo>
                      <a:pt x="122" y="138"/>
                      <a:pt x="118" y="146"/>
                      <a:pt x="114" y="1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8" name="Freeform 80"/>
              <p:cNvSpPr>
                <a:spLocks/>
              </p:cNvSpPr>
              <p:nvPr/>
            </p:nvSpPr>
            <p:spPr bwMode="auto">
              <a:xfrm>
                <a:off x="566675" y="1258276"/>
                <a:ext cx="52762" cy="51373"/>
              </a:xfrm>
              <a:custGeom>
                <a:avLst/>
                <a:gdLst>
                  <a:gd name="T0" fmla="*/ 44 w 48"/>
                  <a:gd name="T1" fmla="*/ 0 h 47"/>
                  <a:gd name="T2" fmla="*/ 0 w 48"/>
                  <a:gd name="T3" fmla="*/ 44 h 47"/>
                  <a:gd name="T4" fmla="*/ 4 w 48"/>
                  <a:gd name="T5" fmla="*/ 47 h 47"/>
                  <a:gd name="T6" fmla="*/ 7 w 48"/>
                  <a:gd name="T7" fmla="*/ 44 h 47"/>
                  <a:gd name="T8" fmla="*/ 44 w 48"/>
                  <a:gd name="T9" fmla="*/ 7 h 47"/>
                  <a:gd name="T10" fmla="*/ 48 w 48"/>
                  <a:gd name="T11" fmla="*/ 4 h 47"/>
                  <a:gd name="T12" fmla="*/ 44 w 48"/>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48" h="47">
                    <a:moveTo>
                      <a:pt x="44" y="0"/>
                    </a:moveTo>
                    <a:cubicBezTo>
                      <a:pt x="20" y="0"/>
                      <a:pt x="0" y="20"/>
                      <a:pt x="0" y="44"/>
                    </a:cubicBezTo>
                    <a:cubicBezTo>
                      <a:pt x="0" y="46"/>
                      <a:pt x="2" y="47"/>
                      <a:pt x="4" y="47"/>
                    </a:cubicBezTo>
                    <a:cubicBezTo>
                      <a:pt x="6" y="47"/>
                      <a:pt x="7" y="46"/>
                      <a:pt x="7" y="44"/>
                    </a:cubicBezTo>
                    <a:cubicBezTo>
                      <a:pt x="7" y="24"/>
                      <a:pt x="24" y="7"/>
                      <a:pt x="44" y="7"/>
                    </a:cubicBezTo>
                    <a:cubicBezTo>
                      <a:pt x="46" y="7"/>
                      <a:pt x="48" y="6"/>
                      <a:pt x="48" y="4"/>
                    </a:cubicBezTo>
                    <a:cubicBezTo>
                      <a:pt x="48" y="2"/>
                      <a:pt x="46" y="0"/>
                      <a:pt x="4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grpSp>
      </p:grpSp>
      <p:grpSp>
        <p:nvGrpSpPr>
          <p:cNvPr id="47" name="Group 46"/>
          <p:cNvGrpSpPr/>
          <p:nvPr>
            <p:custDataLst>
              <p:tags r:id="rId8"/>
            </p:custDataLst>
          </p:nvPr>
        </p:nvGrpSpPr>
        <p:grpSpPr>
          <a:xfrm>
            <a:off x="2704172" y="2710611"/>
            <a:ext cx="971722" cy="971975"/>
            <a:chOff x="6394634" y="6215597"/>
            <a:chExt cx="1312452" cy="1312794"/>
          </a:xfrm>
        </p:grpSpPr>
        <p:sp>
          <p:nvSpPr>
            <p:cNvPr id="23" name="Oval 22"/>
            <p:cNvSpPr/>
            <p:nvPr/>
          </p:nvSpPr>
          <p:spPr>
            <a:xfrm>
              <a:off x="6394634" y="6215597"/>
              <a:ext cx="1312452" cy="1312794"/>
            </a:xfrm>
            <a:prstGeom prst="ellipse">
              <a:avLst/>
            </a:prstGeom>
            <a:solidFill>
              <a:srgbClr val="58595B"/>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dirty="0">
                <a:latin typeface="Calibri Light"/>
              </a:endParaRPr>
            </a:p>
          </p:txBody>
        </p:sp>
        <p:grpSp>
          <p:nvGrpSpPr>
            <p:cNvPr id="39" name="Group 38"/>
            <p:cNvGrpSpPr/>
            <p:nvPr>
              <p:custDataLst>
                <p:tags r:id="rId9"/>
              </p:custDataLst>
            </p:nvPr>
          </p:nvGrpSpPr>
          <p:grpSpPr>
            <a:xfrm>
              <a:off x="6679557" y="6530590"/>
              <a:ext cx="749817" cy="631088"/>
              <a:chOff x="1511296" y="730196"/>
              <a:chExt cx="256867" cy="216138"/>
            </a:xfrm>
            <a:solidFill>
              <a:schemeClr val="bg1"/>
            </a:solidFill>
          </p:grpSpPr>
          <p:sp>
            <p:nvSpPr>
              <p:cNvPr id="40" name="Freeform 81"/>
              <p:cNvSpPr>
                <a:spLocks noEditPoints="1"/>
              </p:cNvSpPr>
              <p:nvPr/>
            </p:nvSpPr>
            <p:spPr bwMode="auto">
              <a:xfrm>
                <a:off x="1575166" y="786197"/>
                <a:ext cx="128202" cy="128202"/>
              </a:xfrm>
              <a:custGeom>
                <a:avLst/>
                <a:gdLst>
                  <a:gd name="T0" fmla="*/ 59 w 117"/>
                  <a:gd name="T1" fmla="*/ 0 h 117"/>
                  <a:gd name="T2" fmla="*/ 0 w 117"/>
                  <a:gd name="T3" fmla="*/ 58 h 117"/>
                  <a:gd name="T4" fmla="*/ 59 w 117"/>
                  <a:gd name="T5" fmla="*/ 117 h 117"/>
                  <a:gd name="T6" fmla="*/ 117 w 117"/>
                  <a:gd name="T7" fmla="*/ 58 h 117"/>
                  <a:gd name="T8" fmla="*/ 59 w 117"/>
                  <a:gd name="T9" fmla="*/ 0 h 117"/>
                  <a:gd name="T10" fmla="*/ 92 w 117"/>
                  <a:gd name="T11" fmla="*/ 87 h 117"/>
                  <a:gd name="T12" fmla="*/ 30 w 117"/>
                  <a:gd name="T13" fmla="*/ 92 h 117"/>
                  <a:gd name="T14" fmla="*/ 25 w 117"/>
                  <a:gd name="T15" fmla="*/ 30 h 117"/>
                  <a:gd name="T16" fmla="*/ 87 w 117"/>
                  <a:gd name="T17" fmla="*/ 25 h 117"/>
                  <a:gd name="T18" fmla="*/ 92 w 117"/>
                  <a:gd name="T19" fmla="*/ 8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117">
                    <a:moveTo>
                      <a:pt x="59" y="0"/>
                    </a:moveTo>
                    <a:cubicBezTo>
                      <a:pt x="26" y="0"/>
                      <a:pt x="0" y="26"/>
                      <a:pt x="0" y="58"/>
                    </a:cubicBezTo>
                    <a:cubicBezTo>
                      <a:pt x="0" y="91"/>
                      <a:pt x="26" y="117"/>
                      <a:pt x="59" y="117"/>
                    </a:cubicBezTo>
                    <a:cubicBezTo>
                      <a:pt x="91" y="117"/>
                      <a:pt x="117" y="91"/>
                      <a:pt x="117" y="58"/>
                    </a:cubicBezTo>
                    <a:cubicBezTo>
                      <a:pt x="117" y="26"/>
                      <a:pt x="91" y="0"/>
                      <a:pt x="59" y="0"/>
                    </a:cubicBezTo>
                    <a:close/>
                    <a:moveTo>
                      <a:pt x="92" y="87"/>
                    </a:moveTo>
                    <a:cubicBezTo>
                      <a:pt x="76" y="105"/>
                      <a:pt x="49" y="107"/>
                      <a:pt x="30" y="92"/>
                    </a:cubicBezTo>
                    <a:cubicBezTo>
                      <a:pt x="12" y="76"/>
                      <a:pt x="10" y="48"/>
                      <a:pt x="25" y="30"/>
                    </a:cubicBezTo>
                    <a:cubicBezTo>
                      <a:pt x="41" y="12"/>
                      <a:pt x="69" y="9"/>
                      <a:pt x="87" y="25"/>
                    </a:cubicBezTo>
                    <a:cubicBezTo>
                      <a:pt x="106" y="41"/>
                      <a:pt x="108" y="69"/>
                      <a:pt x="92" y="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41" name="Freeform 82"/>
              <p:cNvSpPr>
                <a:spLocks/>
              </p:cNvSpPr>
              <p:nvPr/>
            </p:nvSpPr>
            <p:spPr bwMode="auto">
              <a:xfrm>
                <a:off x="1608026" y="818132"/>
                <a:ext cx="35175" cy="36100"/>
              </a:xfrm>
              <a:custGeom>
                <a:avLst/>
                <a:gdLst>
                  <a:gd name="T0" fmla="*/ 29 w 32"/>
                  <a:gd name="T1" fmla="*/ 0 h 33"/>
                  <a:gd name="T2" fmla="*/ 0 w 32"/>
                  <a:gd name="T3" fmla="*/ 29 h 33"/>
                  <a:gd name="T4" fmla="*/ 0 w 32"/>
                  <a:gd name="T5" fmla="*/ 29 h 33"/>
                  <a:gd name="T6" fmla="*/ 3 w 32"/>
                  <a:gd name="T7" fmla="*/ 33 h 33"/>
                  <a:gd name="T8" fmla="*/ 7 w 32"/>
                  <a:gd name="T9" fmla="*/ 29 h 33"/>
                  <a:gd name="T10" fmla="*/ 7 w 32"/>
                  <a:gd name="T11" fmla="*/ 29 h 33"/>
                  <a:gd name="T12" fmla="*/ 29 w 32"/>
                  <a:gd name="T13" fmla="*/ 8 h 33"/>
                  <a:gd name="T14" fmla="*/ 32 w 32"/>
                  <a:gd name="T15" fmla="*/ 4 h 33"/>
                  <a:gd name="T16" fmla="*/ 29 w 32"/>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3">
                    <a:moveTo>
                      <a:pt x="29" y="0"/>
                    </a:moveTo>
                    <a:cubicBezTo>
                      <a:pt x="13" y="0"/>
                      <a:pt x="0" y="13"/>
                      <a:pt x="0" y="29"/>
                    </a:cubicBezTo>
                    <a:cubicBezTo>
                      <a:pt x="0" y="29"/>
                      <a:pt x="0" y="29"/>
                      <a:pt x="0" y="29"/>
                    </a:cubicBezTo>
                    <a:cubicBezTo>
                      <a:pt x="0" y="31"/>
                      <a:pt x="1" y="33"/>
                      <a:pt x="3" y="33"/>
                    </a:cubicBezTo>
                    <a:cubicBezTo>
                      <a:pt x="5" y="33"/>
                      <a:pt x="7" y="31"/>
                      <a:pt x="7" y="29"/>
                    </a:cubicBezTo>
                    <a:cubicBezTo>
                      <a:pt x="7" y="29"/>
                      <a:pt x="7" y="29"/>
                      <a:pt x="7" y="29"/>
                    </a:cubicBezTo>
                    <a:cubicBezTo>
                      <a:pt x="7" y="17"/>
                      <a:pt x="17" y="8"/>
                      <a:pt x="29" y="8"/>
                    </a:cubicBezTo>
                    <a:cubicBezTo>
                      <a:pt x="31" y="8"/>
                      <a:pt x="32" y="6"/>
                      <a:pt x="32" y="4"/>
                    </a:cubicBezTo>
                    <a:cubicBezTo>
                      <a:pt x="32" y="2"/>
                      <a:pt x="31" y="0"/>
                      <a:pt x="2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42" name="Freeform 83"/>
              <p:cNvSpPr>
                <a:spLocks noEditPoints="1"/>
              </p:cNvSpPr>
              <p:nvPr/>
            </p:nvSpPr>
            <p:spPr bwMode="auto">
              <a:xfrm>
                <a:off x="1511296" y="730196"/>
                <a:ext cx="256867" cy="216138"/>
              </a:xfrm>
              <a:custGeom>
                <a:avLst/>
                <a:gdLst>
                  <a:gd name="T0" fmla="*/ 215 w 234"/>
                  <a:gd name="T1" fmla="*/ 44 h 197"/>
                  <a:gd name="T2" fmla="*/ 184 w 234"/>
                  <a:gd name="T3" fmla="*/ 39 h 197"/>
                  <a:gd name="T4" fmla="*/ 174 w 234"/>
                  <a:gd name="T5" fmla="*/ 14 h 197"/>
                  <a:gd name="T6" fmla="*/ 153 w 234"/>
                  <a:gd name="T7" fmla="*/ 0 h 197"/>
                  <a:gd name="T8" fmla="*/ 80 w 234"/>
                  <a:gd name="T9" fmla="*/ 0 h 197"/>
                  <a:gd name="T10" fmla="*/ 60 w 234"/>
                  <a:gd name="T11" fmla="*/ 14 h 197"/>
                  <a:gd name="T12" fmla="*/ 50 w 234"/>
                  <a:gd name="T13" fmla="*/ 39 h 197"/>
                  <a:gd name="T14" fmla="*/ 18 w 234"/>
                  <a:gd name="T15" fmla="*/ 44 h 197"/>
                  <a:gd name="T16" fmla="*/ 0 w 234"/>
                  <a:gd name="T17" fmla="*/ 66 h 197"/>
                  <a:gd name="T18" fmla="*/ 0 w 234"/>
                  <a:gd name="T19" fmla="*/ 175 h 197"/>
                  <a:gd name="T20" fmla="*/ 22 w 234"/>
                  <a:gd name="T21" fmla="*/ 197 h 197"/>
                  <a:gd name="T22" fmla="*/ 212 w 234"/>
                  <a:gd name="T23" fmla="*/ 197 h 197"/>
                  <a:gd name="T24" fmla="*/ 234 w 234"/>
                  <a:gd name="T25" fmla="*/ 175 h 197"/>
                  <a:gd name="T26" fmla="*/ 234 w 234"/>
                  <a:gd name="T27" fmla="*/ 66 h 197"/>
                  <a:gd name="T28" fmla="*/ 215 w 234"/>
                  <a:gd name="T29" fmla="*/ 44 h 197"/>
                  <a:gd name="T30" fmla="*/ 219 w 234"/>
                  <a:gd name="T31" fmla="*/ 175 h 197"/>
                  <a:gd name="T32" fmla="*/ 212 w 234"/>
                  <a:gd name="T33" fmla="*/ 182 h 197"/>
                  <a:gd name="T34" fmla="*/ 22 w 234"/>
                  <a:gd name="T35" fmla="*/ 182 h 197"/>
                  <a:gd name="T36" fmla="*/ 14 w 234"/>
                  <a:gd name="T37" fmla="*/ 175 h 197"/>
                  <a:gd name="T38" fmla="*/ 14 w 234"/>
                  <a:gd name="T39" fmla="*/ 66 h 197"/>
                  <a:gd name="T40" fmla="*/ 21 w 234"/>
                  <a:gd name="T41" fmla="*/ 58 h 197"/>
                  <a:gd name="T42" fmla="*/ 60 w 234"/>
                  <a:gd name="T43" fmla="*/ 52 h 197"/>
                  <a:gd name="T44" fmla="*/ 73 w 234"/>
                  <a:gd name="T45" fmla="*/ 19 h 197"/>
                  <a:gd name="T46" fmla="*/ 80 w 234"/>
                  <a:gd name="T47" fmla="*/ 15 h 197"/>
                  <a:gd name="T48" fmla="*/ 153 w 234"/>
                  <a:gd name="T49" fmla="*/ 15 h 197"/>
                  <a:gd name="T50" fmla="*/ 160 w 234"/>
                  <a:gd name="T51" fmla="*/ 19 h 197"/>
                  <a:gd name="T52" fmla="*/ 173 w 234"/>
                  <a:gd name="T53" fmla="*/ 52 h 197"/>
                  <a:gd name="T54" fmla="*/ 213 w 234"/>
                  <a:gd name="T55" fmla="*/ 58 h 197"/>
                  <a:gd name="T56" fmla="*/ 219 w 234"/>
                  <a:gd name="T57" fmla="*/ 66 h 197"/>
                  <a:gd name="T58" fmla="*/ 219 w 234"/>
                  <a:gd name="T59" fmla="*/ 17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4" h="197">
                    <a:moveTo>
                      <a:pt x="215" y="44"/>
                    </a:moveTo>
                    <a:cubicBezTo>
                      <a:pt x="184" y="39"/>
                      <a:pt x="184" y="39"/>
                      <a:pt x="184" y="39"/>
                    </a:cubicBezTo>
                    <a:cubicBezTo>
                      <a:pt x="174" y="14"/>
                      <a:pt x="174" y="14"/>
                      <a:pt x="174" y="14"/>
                    </a:cubicBezTo>
                    <a:cubicBezTo>
                      <a:pt x="170" y="5"/>
                      <a:pt x="162" y="0"/>
                      <a:pt x="153" y="0"/>
                    </a:cubicBezTo>
                    <a:cubicBezTo>
                      <a:pt x="80" y="0"/>
                      <a:pt x="80" y="0"/>
                      <a:pt x="80" y="0"/>
                    </a:cubicBezTo>
                    <a:cubicBezTo>
                      <a:pt x="71" y="0"/>
                      <a:pt x="63" y="5"/>
                      <a:pt x="60" y="14"/>
                    </a:cubicBezTo>
                    <a:cubicBezTo>
                      <a:pt x="50" y="39"/>
                      <a:pt x="50" y="39"/>
                      <a:pt x="50" y="39"/>
                    </a:cubicBezTo>
                    <a:cubicBezTo>
                      <a:pt x="18" y="44"/>
                      <a:pt x="18" y="44"/>
                      <a:pt x="18" y="44"/>
                    </a:cubicBezTo>
                    <a:cubicBezTo>
                      <a:pt x="8" y="46"/>
                      <a:pt x="0" y="55"/>
                      <a:pt x="0" y="66"/>
                    </a:cubicBezTo>
                    <a:cubicBezTo>
                      <a:pt x="0" y="175"/>
                      <a:pt x="0" y="175"/>
                      <a:pt x="0" y="175"/>
                    </a:cubicBezTo>
                    <a:cubicBezTo>
                      <a:pt x="0" y="187"/>
                      <a:pt x="10" y="197"/>
                      <a:pt x="22" y="197"/>
                    </a:cubicBezTo>
                    <a:cubicBezTo>
                      <a:pt x="212" y="197"/>
                      <a:pt x="212" y="197"/>
                      <a:pt x="212" y="197"/>
                    </a:cubicBezTo>
                    <a:cubicBezTo>
                      <a:pt x="224" y="197"/>
                      <a:pt x="234" y="187"/>
                      <a:pt x="234" y="175"/>
                    </a:cubicBezTo>
                    <a:cubicBezTo>
                      <a:pt x="234" y="66"/>
                      <a:pt x="234" y="66"/>
                      <a:pt x="234" y="66"/>
                    </a:cubicBezTo>
                    <a:cubicBezTo>
                      <a:pt x="234" y="55"/>
                      <a:pt x="226" y="46"/>
                      <a:pt x="215" y="44"/>
                    </a:cubicBezTo>
                    <a:close/>
                    <a:moveTo>
                      <a:pt x="219" y="175"/>
                    </a:moveTo>
                    <a:cubicBezTo>
                      <a:pt x="219" y="179"/>
                      <a:pt x="216" y="182"/>
                      <a:pt x="212" y="182"/>
                    </a:cubicBezTo>
                    <a:cubicBezTo>
                      <a:pt x="22" y="182"/>
                      <a:pt x="22" y="182"/>
                      <a:pt x="22" y="182"/>
                    </a:cubicBezTo>
                    <a:cubicBezTo>
                      <a:pt x="18" y="182"/>
                      <a:pt x="14" y="179"/>
                      <a:pt x="14" y="175"/>
                    </a:cubicBezTo>
                    <a:cubicBezTo>
                      <a:pt x="14" y="66"/>
                      <a:pt x="14" y="66"/>
                      <a:pt x="14" y="66"/>
                    </a:cubicBezTo>
                    <a:cubicBezTo>
                      <a:pt x="14" y="62"/>
                      <a:pt x="17" y="59"/>
                      <a:pt x="21" y="58"/>
                    </a:cubicBezTo>
                    <a:cubicBezTo>
                      <a:pt x="60" y="52"/>
                      <a:pt x="60" y="52"/>
                      <a:pt x="60" y="52"/>
                    </a:cubicBezTo>
                    <a:cubicBezTo>
                      <a:pt x="73" y="19"/>
                      <a:pt x="73" y="19"/>
                      <a:pt x="73" y="19"/>
                    </a:cubicBezTo>
                    <a:cubicBezTo>
                      <a:pt x="75" y="16"/>
                      <a:pt x="77" y="15"/>
                      <a:pt x="80" y="15"/>
                    </a:cubicBezTo>
                    <a:cubicBezTo>
                      <a:pt x="153" y="15"/>
                      <a:pt x="153" y="15"/>
                      <a:pt x="153" y="15"/>
                    </a:cubicBezTo>
                    <a:cubicBezTo>
                      <a:pt x="156" y="15"/>
                      <a:pt x="159" y="16"/>
                      <a:pt x="160" y="19"/>
                    </a:cubicBezTo>
                    <a:cubicBezTo>
                      <a:pt x="173" y="52"/>
                      <a:pt x="173" y="52"/>
                      <a:pt x="173" y="52"/>
                    </a:cubicBezTo>
                    <a:cubicBezTo>
                      <a:pt x="213" y="58"/>
                      <a:pt x="213" y="58"/>
                      <a:pt x="213" y="58"/>
                    </a:cubicBezTo>
                    <a:cubicBezTo>
                      <a:pt x="216" y="59"/>
                      <a:pt x="219" y="62"/>
                      <a:pt x="219" y="66"/>
                    </a:cubicBezTo>
                    <a:lnTo>
                      <a:pt x="219" y="1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grpSp>
      </p:grpSp>
      <p:sp>
        <p:nvSpPr>
          <p:cNvPr id="51"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3_84 7_84 11_84 15_84 50_84 49_84 48_84 47_84</a:t>
            </a:r>
            <a:endParaRPr lang="en-US" sz="100" dirty="0" err="1" smtClean="0">
              <a:solidFill>
                <a:srgbClr val="FFFFFF"/>
              </a:solidFill>
            </a:endParaRPr>
          </a:p>
        </p:txBody>
      </p:sp>
    </p:spTree>
    <p:extLst>
      <p:ext uri="{BB962C8B-B14F-4D97-AF65-F5344CB8AC3E}">
        <p14:creationId xmlns:p14="http://schemas.microsoft.com/office/powerpoint/2010/main" val="86478336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ess flow chart</a:t>
            </a:r>
            <a:endParaRPr lang="en-US" dirty="0"/>
          </a:p>
        </p:txBody>
      </p:sp>
      <p:sp>
        <p:nvSpPr>
          <p:cNvPr id="5" name="TextBox 4"/>
          <p:cNvSpPr txBox="1"/>
          <p:nvPr/>
        </p:nvSpPr>
        <p:spPr>
          <a:xfrm>
            <a:off x="4078988" y="3582602"/>
            <a:ext cx="1561891" cy="430851"/>
          </a:xfrm>
          <a:prstGeom prst="rect">
            <a:avLst/>
          </a:prstGeom>
          <a:noFill/>
        </p:spPr>
        <p:txBody>
          <a:bodyPr wrap="none" lIns="182843" tIns="91422" rIns="182843" bIns="91422" rtlCol="0">
            <a:spAutoFit/>
          </a:bodyPr>
          <a:lstStyle/>
          <a:p>
            <a:pPr algn="ctr"/>
            <a:r>
              <a:rPr lang="id-ID" sz="1600" b="1" dirty="0" smtClean="0">
                <a:latin typeface="+mj-lt"/>
              </a:rPr>
              <a:t>Make Money</a:t>
            </a:r>
            <a:endParaRPr lang="id-ID" sz="1600" b="1" dirty="0">
              <a:latin typeface="+mj-lt"/>
            </a:endParaRPr>
          </a:p>
        </p:txBody>
      </p:sp>
      <p:grpSp>
        <p:nvGrpSpPr>
          <p:cNvPr id="44" name="Group 43"/>
          <p:cNvGrpSpPr/>
          <p:nvPr>
            <p:custDataLst>
              <p:tags r:id="rId1"/>
            </p:custDataLst>
          </p:nvPr>
        </p:nvGrpSpPr>
        <p:grpSpPr>
          <a:xfrm>
            <a:off x="4020400" y="2059187"/>
            <a:ext cx="1679067" cy="1300655"/>
            <a:chOff x="8038648" y="8108352"/>
            <a:chExt cx="3709276" cy="2869496"/>
          </a:xfrm>
        </p:grpSpPr>
        <p:sp>
          <p:nvSpPr>
            <p:cNvPr id="4" name="Freeform 13"/>
            <p:cNvSpPr>
              <a:spLocks noChangeArrowheads="1"/>
            </p:cNvSpPr>
            <p:nvPr/>
          </p:nvSpPr>
          <p:spPr bwMode="auto">
            <a:xfrm>
              <a:off x="8038648" y="8108352"/>
              <a:ext cx="3709276" cy="2869496"/>
            </a:xfrm>
            <a:custGeom>
              <a:avLst/>
              <a:gdLst>
                <a:gd name="T0" fmla="*/ 2705 w 3618"/>
                <a:gd name="T1" fmla="*/ 489 h 2801"/>
                <a:gd name="T2" fmla="*/ 2705 w 3618"/>
                <a:gd name="T3" fmla="*/ 489 h 2801"/>
                <a:gd name="T4" fmla="*/ 2705 w 3618"/>
                <a:gd name="T5" fmla="*/ 489 h 2801"/>
                <a:gd name="T6" fmla="*/ 953 w 3618"/>
                <a:gd name="T7" fmla="*/ 451 h 2801"/>
                <a:gd name="T8" fmla="*/ 953 w 3618"/>
                <a:gd name="T9" fmla="*/ 451 h 2801"/>
                <a:gd name="T10" fmla="*/ 0 w 3618"/>
                <a:gd name="T11" fmla="*/ 1400 h 2801"/>
                <a:gd name="T12" fmla="*/ 911 w 3618"/>
                <a:gd name="T13" fmla="*/ 2311 h 2801"/>
                <a:gd name="T14" fmla="*/ 911 w 3618"/>
                <a:gd name="T15" fmla="*/ 2311 h 2801"/>
                <a:gd name="T16" fmla="*/ 2663 w 3618"/>
                <a:gd name="T17" fmla="*/ 2349 h 2801"/>
                <a:gd name="T18" fmla="*/ 2667 w 3618"/>
                <a:gd name="T19" fmla="*/ 2349 h 2801"/>
                <a:gd name="T20" fmla="*/ 3617 w 3618"/>
                <a:gd name="T21" fmla="*/ 1400 h 2801"/>
                <a:gd name="T22" fmla="*/ 2705 w 3618"/>
                <a:gd name="T23" fmla="*/ 489 h 2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18" h="2801">
                  <a:moveTo>
                    <a:pt x="2705" y="489"/>
                  </a:moveTo>
                  <a:lnTo>
                    <a:pt x="2705" y="489"/>
                  </a:lnTo>
                  <a:lnTo>
                    <a:pt x="2705" y="489"/>
                  </a:lnTo>
                  <a:cubicBezTo>
                    <a:pt x="2222" y="15"/>
                    <a:pt x="1451" y="0"/>
                    <a:pt x="953" y="451"/>
                  </a:cubicBezTo>
                  <a:lnTo>
                    <a:pt x="953" y="451"/>
                  </a:lnTo>
                  <a:cubicBezTo>
                    <a:pt x="0" y="1400"/>
                    <a:pt x="0" y="1400"/>
                    <a:pt x="0" y="1400"/>
                  </a:cubicBezTo>
                  <a:cubicBezTo>
                    <a:pt x="911" y="2311"/>
                    <a:pt x="911" y="2311"/>
                    <a:pt x="911" y="2311"/>
                  </a:cubicBezTo>
                  <a:lnTo>
                    <a:pt x="911" y="2311"/>
                  </a:lnTo>
                  <a:cubicBezTo>
                    <a:pt x="1395" y="2786"/>
                    <a:pt x="2165" y="2800"/>
                    <a:pt x="2663" y="2349"/>
                  </a:cubicBezTo>
                  <a:cubicBezTo>
                    <a:pt x="2667" y="2349"/>
                    <a:pt x="2667" y="2349"/>
                    <a:pt x="2667" y="2349"/>
                  </a:cubicBezTo>
                  <a:cubicBezTo>
                    <a:pt x="3617" y="1400"/>
                    <a:pt x="3617" y="1400"/>
                    <a:pt x="3617" y="1400"/>
                  </a:cubicBezTo>
                  <a:lnTo>
                    <a:pt x="2705" y="489"/>
                  </a:lnTo>
                </a:path>
              </a:pathLst>
            </a:custGeom>
            <a:solidFill>
              <a:srgbClr val="58595B"/>
            </a:solidFill>
            <a:ln>
              <a:noFill/>
            </a:ln>
            <a:effectLst/>
          </p:spPr>
          <p:txBody>
            <a:bodyPr wrap="none" anchor="ctr"/>
            <a:lstStyle/>
            <a:p>
              <a:endParaRPr lang="en-US" dirty="0">
                <a:latin typeface="Calibri Light"/>
              </a:endParaRPr>
            </a:p>
          </p:txBody>
        </p:sp>
        <p:grpSp>
          <p:nvGrpSpPr>
            <p:cNvPr id="6" name="Group 5"/>
            <p:cNvGrpSpPr>
              <a:grpSpLocks noChangeAspect="1"/>
            </p:cNvGrpSpPr>
            <p:nvPr>
              <p:custDataLst>
                <p:tags r:id="rId7"/>
              </p:custDataLst>
            </p:nvPr>
          </p:nvGrpSpPr>
          <p:grpSpPr>
            <a:xfrm>
              <a:off x="9363418" y="9085930"/>
              <a:ext cx="1070437" cy="751623"/>
              <a:chOff x="19242831" y="2501835"/>
              <a:chExt cx="705069" cy="495078"/>
            </a:xfrm>
          </p:grpSpPr>
          <p:sp>
            <p:nvSpPr>
              <p:cNvPr id="8" name="Freeform 433"/>
              <p:cNvSpPr>
                <a:spLocks noChangeArrowheads="1"/>
              </p:cNvSpPr>
              <p:nvPr/>
            </p:nvSpPr>
            <p:spPr bwMode="auto">
              <a:xfrm>
                <a:off x="19443612" y="2749373"/>
                <a:ext cx="504288" cy="247540"/>
              </a:xfrm>
              <a:custGeom>
                <a:avLst/>
                <a:gdLst>
                  <a:gd name="T0" fmla="*/ 462 w 477"/>
                  <a:gd name="T1" fmla="*/ 68 h 233"/>
                  <a:gd name="T2" fmla="*/ 462 w 477"/>
                  <a:gd name="T3" fmla="*/ 68 h 233"/>
                  <a:gd name="T4" fmla="*/ 436 w 477"/>
                  <a:gd name="T5" fmla="*/ 54 h 233"/>
                  <a:gd name="T6" fmla="*/ 408 w 477"/>
                  <a:gd name="T7" fmla="*/ 54 h 233"/>
                  <a:gd name="T8" fmla="*/ 231 w 477"/>
                  <a:gd name="T9" fmla="*/ 164 h 233"/>
                  <a:gd name="T10" fmla="*/ 150 w 477"/>
                  <a:gd name="T11" fmla="*/ 122 h 233"/>
                  <a:gd name="T12" fmla="*/ 150 w 477"/>
                  <a:gd name="T13" fmla="*/ 122 h 233"/>
                  <a:gd name="T14" fmla="*/ 150 w 477"/>
                  <a:gd name="T15" fmla="*/ 108 h 233"/>
                  <a:gd name="T16" fmla="*/ 164 w 477"/>
                  <a:gd name="T17" fmla="*/ 96 h 233"/>
                  <a:gd name="T18" fmla="*/ 164 w 477"/>
                  <a:gd name="T19" fmla="*/ 96 h 233"/>
                  <a:gd name="T20" fmla="*/ 218 w 477"/>
                  <a:gd name="T21" fmla="*/ 122 h 233"/>
                  <a:gd name="T22" fmla="*/ 231 w 477"/>
                  <a:gd name="T23" fmla="*/ 122 h 233"/>
                  <a:gd name="T24" fmla="*/ 273 w 477"/>
                  <a:gd name="T25" fmla="*/ 96 h 233"/>
                  <a:gd name="T26" fmla="*/ 273 w 477"/>
                  <a:gd name="T27" fmla="*/ 68 h 233"/>
                  <a:gd name="T28" fmla="*/ 245 w 477"/>
                  <a:gd name="T29" fmla="*/ 54 h 233"/>
                  <a:gd name="T30" fmla="*/ 96 w 477"/>
                  <a:gd name="T31" fmla="*/ 0 h 233"/>
                  <a:gd name="T32" fmla="*/ 82 w 477"/>
                  <a:gd name="T33" fmla="*/ 0 h 233"/>
                  <a:gd name="T34" fmla="*/ 0 w 477"/>
                  <a:gd name="T35" fmla="*/ 27 h 233"/>
                  <a:gd name="T36" fmla="*/ 0 w 477"/>
                  <a:gd name="T37" fmla="*/ 27 h 233"/>
                  <a:gd name="T38" fmla="*/ 0 w 477"/>
                  <a:gd name="T39" fmla="*/ 177 h 233"/>
                  <a:gd name="T40" fmla="*/ 0 w 477"/>
                  <a:gd name="T41" fmla="*/ 177 h 233"/>
                  <a:gd name="T42" fmla="*/ 54 w 477"/>
                  <a:gd name="T43" fmla="*/ 177 h 233"/>
                  <a:gd name="T44" fmla="*/ 110 w 477"/>
                  <a:gd name="T45" fmla="*/ 191 h 233"/>
                  <a:gd name="T46" fmla="*/ 231 w 477"/>
                  <a:gd name="T47" fmla="*/ 232 h 233"/>
                  <a:gd name="T48" fmla="*/ 245 w 477"/>
                  <a:gd name="T49" fmla="*/ 232 h 233"/>
                  <a:gd name="T50" fmla="*/ 259 w 477"/>
                  <a:gd name="T51" fmla="*/ 232 h 233"/>
                  <a:gd name="T52" fmla="*/ 450 w 477"/>
                  <a:gd name="T53" fmla="*/ 122 h 233"/>
                  <a:gd name="T54" fmla="*/ 462 w 477"/>
                  <a:gd name="T55" fmla="*/ 6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7" h="233">
                    <a:moveTo>
                      <a:pt x="462" y="68"/>
                    </a:moveTo>
                    <a:lnTo>
                      <a:pt x="462" y="68"/>
                    </a:lnTo>
                    <a:cubicBezTo>
                      <a:pt x="450" y="54"/>
                      <a:pt x="436" y="54"/>
                      <a:pt x="436" y="54"/>
                    </a:cubicBezTo>
                    <a:cubicBezTo>
                      <a:pt x="422" y="54"/>
                      <a:pt x="422" y="54"/>
                      <a:pt x="408" y="54"/>
                    </a:cubicBezTo>
                    <a:cubicBezTo>
                      <a:pt x="231" y="164"/>
                      <a:pt x="231" y="164"/>
                      <a:pt x="231" y="164"/>
                    </a:cubicBezTo>
                    <a:cubicBezTo>
                      <a:pt x="150" y="122"/>
                      <a:pt x="150" y="122"/>
                      <a:pt x="150" y="122"/>
                    </a:cubicBezTo>
                    <a:lnTo>
                      <a:pt x="150" y="122"/>
                    </a:lnTo>
                    <a:cubicBezTo>
                      <a:pt x="150" y="122"/>
                      <a:pt x="150" y="122"/>
                      <a:pt x="150" y="108"/>
                    </a:cubicBezTo>
                    <a:cubicBezTo>
                      <a:pt x="164" y="108"/>
                      <a:pt x="164" y="96"/>
                      <a:pt x="164" y="96"/>
                    </a:cubicBezTo>
                    <a:lnTo>
                      <a:pt x="164" y="96"/>
                    </a:lnTo>
                    <a:cubicBezTo>
                      <a:pt x="218" y="122"/>
                      <a:pt x="218" y="122"/>
                      <a:pt x="218" y="122"/>
                    </a:cubicBezTo>
                    <a:cubicBezTo>
                      <a:pt x="231" y="122"/>
                      <a:pt x="231" y="122"/>
                      <a:pt x="231" y="122"/>
                    </a:cubicBezTo>
                    <a:cubicBezTo>
                      <a:pt x="245" y="122"/>
                      <a:pt x="259" y="108"/>
                      <a:pt x="273" y="96"/>
                    </a:cubicBezTo>
                    <a:cubicBezTo>
                      <a:pt x="273" y="96"/>
                      <a:pt x="273" y="82"/>
                      <a:pt x="273" y="68"/>
                    </a:cubicBezTo>
                    <a:cubicBezTo>
                      <a:pt x="273" y="68"/>
                      <a:pt x="259" y="54"/>
                      <a:pt x="245" y="54"/>
                    </a:cubicBezTo>
                    <a:cubicBezTo>
                      <a:pt x="96" y="0"/>
                      <a:pt x="96" y="0"/>
                      <a:pt x="96" y="0"/>
                    </a:cubicBezTo>
                    <a:cubicBezTo>
                      <a:pt x="96" y="0"/>
                      <a:pt x="96" y="0"/>
                      <a:pt x="82" y="0"/>
                    </a:cubicBezTo>
                    <a:cubicBezTo>
                      <a:pt x="41" y="0"/>
                      <a:pt x="0" y="27"/>
                      <a:pt x="0" y="27"/>
                    </a:cubicBezTo>
                    <a:lnTo>
                      <a:pt x="0" y="27"/>
                    </a:lnTo>
                    <a:cubicBezTo>
                      <a:pt x="0" y="177"/>
                      <a:pt x="0" y="177"/>
                      <a:pt x="0" y="177"/>
                    </a:cubicBezTo>
                    <a:lnTo>
                      <a:pt x="0" y="177"/>
                    </a:lnTo>
                    <a:cubicBezTo>
                      <a:pt x="0" y="177"/>
                      <a:pt x="41" y="177"/>
                      <a:pt x="54" y="177"/>
                    </a:cubicBezTo>
                    <a:cubicBezTo>
                      <a:pt x="82" y="177"/>
                      <a:pt x="110" y="191"/>
                      <a:pt x="110" y="191"/>
                    </a:cubicBezTo>
                    <a:cubicBezTo>
                      <a:pt x="231" y="232"/>
                      <a:pt x="231" y="232"/>
                      <a:pt x="231" y="232"/>
                    </a:cubicBezTo>
                    <a:cubicBezTo>
                      <a:pt x="231" y="232"/>
                      <a:pt x="231" y="232"/>
                      <a:pt x="245" y="232"/>
                    </a:cubicBezTo>
                    <a:cubicBezTo>
                      <a:pt x="245" y="232"/>
                      <a:pt x="245" y="232"/>
                      <a:pt x="259" y="232"/>
                    </a:cubicBezTo>
                    <a:cubicBezTo>
                      <a:pt x="450" y="122"/>
                      <a:pt x="450" y="122"/>
                      <a:pt x="450" y="122"/>
                    </a:cubicBezTo>
                    <a:cubicBezTo>
                      <a:pt x="462" y="108"/>
                      <a:pt x="476" y="82"/>
                      <a:pt x="462" y="68"/>
                    </a:cubicBezTo>
                  </a:path>
                </a:pathLst>
              </a:custGeom>
              <a:solidFill>
                <a:schemeClr val="bg1"/>
              </a:solidFill>
              <a:ln>
                <a:noFill/>
              </a:ln>
              <a:effectLst/>
            </p:spPr>
            <p:txBody>
              <a:bodyPr wrap="none" lIns="152366" tIns="76183" rIns="152366" bIns="76183" anchor="ctr"/>
              <a:lstStyle/>
              <a:p>
                <a:endParaRPr lang="en-US" dirty="0">
                  <a:latin typeface="Calibri Light"/>
                </a:endParaRPr>
              </a:p>
            </p:txBody>
          </p:sp>
          <p:sp>
            <p:nvSpPr>
              <p:cNvPr id="9" name="Freeform 434"/>
              <p:cNvSpPr>
                <a:spLocks noChangeArrowheads="1"/>
              </p:cNvSpPr>
              <p:nvPr/>
            </p:nvSpPr>
            <p:spPr bwMode="auto">
              <a:xfrm>
                <a:off x="19242831" y="2763387"/>
                <a:ext cx="172767" cy="214844"/>
              </a:xfrm>
              <a:custGeom>
                <a:avLst/>
                <a:gdLst>
                  <a:gd name="T0" fmla="*/ 0 w 165"/>
                  <a:gd name="T1" fmla="*/ 204 h 205"/>
                  <a:gd name="T2" fmla="*/ 0 w 165"/>
                  <a:gd name="T3" fmla="*/ 204 h 205"/>
                  <a:gd name="T4" fmla="*/ 164 w 165"/>
                  <a:gd name="T5" fmla="*/ 204 h 205"/>
                  <a:gd name="T6" fmla="*/ 164 w 165"/>
                  <a:gd name="T7" fmla="*/ 0 h 205"/>
                  <a:gd name="T8" fmla="*/ 0 w 165"/>
                  <a:gd name="T9" fmla="*/ 0 h 205"/>
                  <a:gd name="T10" fmla="*/ 0 w 165"/>
                  <a:gd name="T11" fmla="*/ 204 h 205"/>
                  <a:gd name="T12" fmla="*/ 110 w 165"/>
                  <a:gd name="T13" fmla="*/ 40 h 205"/>
                  <a:gd name="T14" fmla="*/ 110 w 165"/>
                  <a:gd name="T15" fmla="*/ 40 h 205"/>
                  <a:gd name="T16" fmla="*/ 137 w 165"/>
                  <a:gd name="T17" fmla="*/ 68 h 205"/>
                  <a:gd name="T18" fmla="*/ 110 w 165"/>
                  <a:gd name="T19" fmla="*/ 82 h 205"/>
                  <a:gd name="T20" fmla="*/ 82 w 165"/>
                  <a:gd name="T21" fmla="*/ 68 h 205"/>
                  <a:gd name="T22" fmla="*/ 110 w 165"/>
                  <a:gd name="T23" fmla="*/ 4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5" h="205">
                    <a:moveTo>
                      <a:pt x="0" y="204"/>
                    </a:moveTo>
                    <a:lnTo>
                      <a:pt x="0" y="204"/>
                    </a:lnTo>
                    <a:cubicBezTo>
                      <a:pt x="164" y="204"/>
                      <a:pt x="164" y="204"/>
                      <a:pt x="164" y="204"/>
                    </a:cubicBezTo>
                    <a:cubicBezTo>
                      <a:pt x="164" y="0"/>
                      <a:pt x="164" y="0"/>
                      <a:pt x="164" y="0"/>
                    </a:cubicBezTo>
                    <a:cubicBezTo>
                      <a:pt x="0" y="0"/>
                      <a:pt x="0" y="0"/>
                      <a:pt x="0" y="0"/>
                    </a:cubicBezTo>
                    <a:lnTo>
                      <a:pt x="0" y="204"/>
                    </a:lnTo>
                    <a:close/>
                    <a:moveTo>
                      <a:pt x="110" y="40"/>
                    </a:moveTo>
                    <a:lnTo>
                      <a:pt x="110" y="40"/>
                    </a:lnTo>
                    <a:cubicBezTo>
                      <a:pt x="122" y="40"/>
                      <a:pt x="137" y="54"/>
                      <a:pt x="137" y="68"/>
                    </a:cubicBezTo>
                    <a:cubicBezTo>
                      <a:pt x="137" y="82"/>
                      <a:pt x="122" y="82"/>
                      <a:pt x="110" y="82"/>
                    </a:cubicBezTo>
                    <a:cubicBezTo>
                      <a:pt x="96" y="82"/>
                      <a:pt x="82" y="82"/>
                      <a:pt x="82" y="68"/>
                    </a:cubicBezTo>
                    <a:cubicBezTo>
                      <a:pt x="82" y="54"/>
                      <a:pt x="96" y="40"/>
                      <a:pt x="110" y="40"/>
                    </a:cubicBezTo>
                    <a:close/>
                  </a:path>
                </a:pathLst>
              </a:custGeom>
              <a:solidFill>
                <a:schemeClr val="bg1"/>
              </a:solidFill>
              <a:ln>
                <a:noFill/>
              </a:ln>
              <a:effectLst/>
            </p:spPr>
            <p:txBody>
              <a:bodyPr wrap="none" lIns="152366" tIns="76183" rIns="152366" bIns="76183" anchor="ctr"/>
              <a:lstStyle/>
              <a:p>
                <a:endParaRPr lang="en-US" dirty="0">
                  <a:latin typeface="Calibri Light"/>
                </a:endParaRPr>
              </a:p>
            </p:txBody>
          </p:sp>
          <p:sp>
            <p:nvSpPr>
              <p:cNvPr id="10" name="Freeform 435"/>
              <p:cNvSpPr>
                <a:spLocks noChangeArrowheads="1"/>
              </p:cNvSpPr>
              <p:nvPr/>
            </p:nvSpPr>
            <p:spPr bwMode="auto">
              <a:xfrm>
                <a:off x="19490308" y="2501835"/>
                <a:ext cx="378213" cy="350289"/>
              </a:xfrm>
              <a:custGeom>
                <a:avLst/>
                <a:gdLst>
                  <a:gd name="T0" fmla="*/ 41 w 355"/>
                  <a:gd name="T1" fmla="*/ 205 h 329"/>
                  <a:gd name="T2" fmla="*/ 41 w 355"/>
                  <a:gd name="T3" fmla="*/ 205 h 329"/>
                  <a:gd name="T4" fmla="*/ 55 w 355"/>
                  <a:gd name="T5" fmla="*/ 205 h 329"/>
                  <a:gd name="T6" fmla="*/ 69 w 355"/>
                  <a:gd name="T7" fmla="*/ 205 h 329"/>
                  <a:gd name="T8" fmla="*/ 177 w 355"/>
                  <a:gd name="T9" fmla="*/ 246 h 329"/>
                  <a:gd name="T10" fmla="*/ 177 w 355"/>
                  <a:gd name="T11" fmla="*/ 232 h 329"/>
                  <a:gd name="T12" fmla="*/ 136 w 355"/>
                  <a:gd name="T13" fmla="*/ 219 h 329"/>
                  <a:gd name="T14" fmla="*/ 136 w 355"/>
                  <a:gd name="T15" fmla="*/ 205 h 329"/>
                  <a:gd name="T16" fmla="*/ 177 w 355"/>
                  <a:gd name="T17" fmla="*/ 219 h 329"/>
                  <a:gd name="T18" fmla="*/ 204 w 355"/>
                  <a:gd name="T19" fmla="*/ 191 h 329"/>
                  <a:gd name="T20" fmla="*/ 177 w 355"/>
                  <a:gd name="T21" fmla="*/ 163 h 329"/>
                  <a:gd name="T22" fmla="*/ 136 w 355"/>
                  <a:gd name="T23" fmla="*/ 123 h 329"/>
                  <a:gd name="T24" fmla="*/ 177 w 355"/>
                  <a:gd name="T25" fmla="*/ 83 h 329"/>
                  <a:gd name="T26" fmla="*/ 177 w 355"/>
                  <a:gd name="T27" fmla="*/ 55 h 329"/>
                  <a:gd name="T28" fmla="*/ 190 w 355"/>
                  <a:gd name="T29" fmla="*/ 55 h 329"/>
                  <a:gd name="T30" fmla="*/ 190 w 355"/>
                  <a:gd name="T31" fmla="*/ 69 h 329"/>
                  <a:gd name="T32" fmla="*/ 218 w 355"/>
                  <a:gd name="T33" fmla="*/ 83 h 329"/>
                  <a:gd name="T34" fmla="*/ 218 w 355"/>
                  <a:gd name="T35" fmla="*/ 96 h 329"/>
                  <a:gd name="T36" fmla="*/ 190 w 355"/>
                  <a:gd name="T37" fmla="*/ 96 h 329"/>
                  <a:gd name="T38" fmla="*/ 163 w 355"/>
                  <a:gd name="T39" fmla="*/ 109 h 329"/>
                  <a:gd name="T40" fmla="*/ 190 w 355"/>
                  <a:gd name="T41" fmla="*/ 137 h 329"/>
                  <a:gd name="T42" fmla="*/ 232 w 355"/>
                  <a:gd name="T43" fmla="*/ 191 h 329"/>
                  <a:gd name="T44" fmla="*/ 190 w 355"/>
                  <a:gd name="T45" fmla="*/ 232 h 329"/>
                  <a:gd name="T46" fmla="*/ 190 w 355"/>
                  <a:gd name="T47" fmla="*/ 246 h 329"/>
                  <a:gd name="T48" fmla="*/ 218 w 355"/>
                  <a:gd name="T49" fmla="*/ 259 h 329"/>
                  <a:gd name="T50" fmla="*/ 258 w 355"/>
                  <a:gd name="T51" fmla="*/ 300 h 329"/>
                  <a:gd name="T52" fmla="*/ 258 w 355"/>
                  <a:gd name="T53" fmla="*/ 328 h 329"/>
                  <a:gd name="T54" fmla="*/ 286 w 355"/>
                  <a:gd name="T55" fmla="*/ 300 h 329"/>
                  <a:gd name="T56" fmla="*/ 354 w 355"/>
                  <a:gd name="T57" fmla="*/ 177 h 329"/>
                  <a:gd name="T58" fmla="*/ 177 w 355"/>
                  <a:gd name="T59" fmla="*/ 0 h 329"/>
                  <a:gd name="T60" fmla="*/ 0 w 355"/>
                  <a:gd name="T61" fmla="*/ 177 h 329"/>
                  <a:gd name="T62" fmla="*/ 0 w 355"/>
                  <a:gd name="T63" fmla="*/ 205 h 329"/>
                  <a:gd name="T64" fmla="*/ 41 w 355"/>
                  <a:gd name="T65" fmla="*/ 205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5" h="329">
                    <a:moveTo>
                      <a:pt x="41" y="205"/>
                    </a:moveTo>
                    <a:lnTo>
                      <a:pt x="41" y="205"/>
                    </a:lnTo>
                    <a:cubicBezTo>
                      <a:pt x="41" y="205"/>
                      <a:pt x="41" y="205"/>
                      <a:pt x="55" y="205"/>
                    </a:cubicBezTo>
                    <a:lnTo>
                      <a:pt x="69" y="205"/>
                    </a:lnTo>
                    <a:cubicBezTo>
                      <a:pt x="177" y="246"/>
                      <a:pt x="177" y="246"/>
                      <a:pt x="177" y="246"/>
                    </a:cubicBezTo>
                    <a:cubicBezTo>
                      <a:pt x="177" y="232"/>
                      <a:pt x="177" y="232"/>
                      <a:pt x="177" y="232"/>
                    </a:cubicBezTo>
                    <a:cubicBezTo>
                      <a:pt x="163" y="232"/>
                      <a:pt x="136" y="232"/>
                      <a:pt x="136" y="219"/>
                    </a:cubicBezTo>
                    <a:cubicBezTo>
                      <a:pt x="136" y="205"/>
                      <a:pt x="136" y="205"/>
                      <a:pt x="136" y="205"/>
                    </a:cubicBezTo>
                    <a:cubicBezTo>
                      <a:pt x="149" y="219"/>
                      <a:pt x="163" y="219"/>
                      <a:pt x="177" y="219"/>
                    </a:cubicBezTo>
                    <a:cubicBezTo>
                      <a:pt x="190" y="219"/>
                      <a:pt x="204" y="205"/>
                      <a:pt x="204" y="191"/>
                    </a:cubicBezTo>
                    <a:cubicBezTo>
                      <a:pt x="204" y="177"/>
                      <a:pt x="190" y="163"/>
                      <a:pt x="177" y="163"/>
                    </a:cubicBezTo>
                    <a:cubicBezTo>
                      <a:pt x="149" y="151"/>
                      <a:pt x="136" y="137"/>
                      <a:pt x="136" y="123"/>
                    </a:cubicBezTo>
                    <a:cubicBezTo>
                      <a:pt x="136" y="96"/>
                      <a:pt x="149" y="83"/>
                      <a:pt x="177" y="83"/>
                    </a:cubicBezTo>
                    <a:cubicBezTo>
                      <a:pt x="177" y="55"/>
                      <a:pt x="177" y="55"/>
                      <a:pt x="177" y="55"/>
                    </a:cubicBezTo>
                    <a:cubicBezTo>
                      <a:pt x="190" y="55"/>
                      <a:pt x="190" y="55"/>
                      <a:pt x="190" y="55"/>
                    </a:cubicBezTo>
                    <a:cubicBezTo>
                      <a:pt x="190" y="69"/>
                      <a:pt x="190" y="69"/>
                      <a:pt x="190" y="69"/>
                    </a:cubicBezTo>
                    <a:cubicBezTo>
                      <a:pt x="204" y="83"/>
                      <a:pt x="218" y="83"/>
                      <a:pt x="218" y="83"/>
                    </a:cubicBezTo>
                    <a:cubicBezTo>
                      <a:pt x="218" y="96"/>
                      <a:pt x="218" y="96"/>
                      <a:pt x="218" y="96"/>
                    </a:cubicBezTo>
                    <a:cubicBezTo>
                      <a:pt x="218" y="96"/>
                      <a:pt x="204" y="96"/>
                      <a:pt x="190" y="96"/>
                    </a:cubicBezTo>
                    <a:cubicBezTo>
                      <a:pt x="163" y="96"/>
                      <a:pt x="163" y="109"/>
                      <a:pt x="163" y="109"/>
                    </a:cubicBezTo>
                    <a:cubicBezTo>
                      <a:pt x="163" y="123"/>
                      <a:pt x="163" y="137"/>
                      <a:pt x="190" y="137"/>
                    </a:cubicBezTo>
                    <a:cubicBezTo>
                      <a:pt x="218" y="151"/>
                      <a:pt x="232" y="163"/>
                      <a:pt x="232" y="191"/>
                    </a:cubicBezTo>
                    <a:cubicBezTo>
                      <a:pt x="232" y="205"/>
                      <a:pt x="218" y="232"/>
                      <a:pt x="190" y="232"/>
                    </a:cubicBezTo>
                    <a:cubicBezTo>
                      <a:pt x="190" y="246"/>
                      <a:pt x="190" y="246"/>
                      <a:pt x="190" y="246"/>
                    </a:cubicBezTo>
                    <a:cubicBezTo>
                      <a:pt x="218" y="259"/>
                      <a:pt x="218" y="259"/>
                      <a:pt x="218" y="259"/>
                    </a:cubicBezTo>
                    <a:cubicBezTo>
                      <a:pt x="232" y="273"/>
                      <a:pt x="244" y="273"/>
                      <a:pt x="258" y="300"/>
                    </a:cubicBezTo>
                    <a:cubicBezTo>
                      <a:pt x="258" y="300"/>
                      <a:pt x="258" y="314"/>
                      <a:pt x="258" y="328"/>
                    </a:cubicBezTo>
                    <a:cubicBezTo>
                      <a:pt x="286" y="300"/>
                      <a:pt x="286" y="300"/>
                      <a:pt x="286" y="300"/>
                    </a:cubicBezTo>
                    <a:cubicBezTo>
                      <a:pt x="326" y="273"/>
                      <a:pt x="354" y="232"/>
                      <a:pt x="354" y="177"/>
                    </a:cubicBezTo>
                    <a:cubicBezTo>
                      <a:pt x="354" y="83"/>
                      <a:pt x="272" y="0"/>
                      <a:pt x="177" y="0"/>
                    </a:cubicBezTo>
                    <a:cubicBezTo>
                      <a:pt x="81" y="0"/>
                      <a:pt x="0" y="83"/>
                      <a:pt x="0" y="177"/>
                    </a:cubicBezTo>
                    <a:cubicBezTo>
                      <a:pt x="0" y="191"/>
                      <a:pt x="0" y="205"/>
                      <a:pt x="0" y="205"/>
                    </a:cubicBezTo>
                    <a:cubicBezTo>
                      <a:pt x="13" y="205"/>
                      <a:pt x="27" y="205"/>
                      <a:pt x="41" y="205"/>
                    </a:cubicBezTo>
                  </a:path>
                </a:pathLst>
              </a:custGeom>
              <a:solidFill>
                <a:schemeClr val="bg1"/>
              </a:solidFill>
              <a:ln>
                <a:noFill/>
              </a:ln>
              <a:effectLst/>
            </p:spPr>
            <p:txBody>
              <a:bodyPr wrap="none" lIns="152366" tIns="76183" rIns="152366" bIns="76183" anchor="ctr"/>
              <a:lstStyle/>
              <a:p>
                <a:endParaRPr lang="en-US" dirty="0">
                  <a:latin typeface="Calibri Light"/>
                </a:endParaRPr>
              </a:p>
            </p:txBody>
          </p:sp>
        </p:grpSp>
      </p:grpSp>
      <p:sp>
        <p:nvSpPr>
          <p:cNvPr id="7" name="TextBox 6"/>
          <p:cNvSpPr txBox="1"/>
          <p:nvPr/>
        </p:nvSpPr>
        <p:spPr>
          <a:xfrm>
            <a:off x="3832841" y="4134615"/>
            <a:ext cx="2030746" cy="1046404"/>
          </a:xfrm>
          <a:prstGeom prst="rect">
            <a:avLst/>
          </a:prstGeom>
          <a:noFill/>
        </p:spPr>
        <p:txBody>
          <a:bodyPr wrap="square" lIns="182843" tIns="91422" rIns="182843" bIns="91422" rtlCol="0">
            <a:spAutoFit/>
          </a:bodyPr>
          <a:lstStyle/>
          <a:p>
            <a:pPr algn="ctr"/>
            <a:r>
              <a:rPr lang="en-US" sz="1400" b="1" dirty="0">
                <a:latin typeface="Roboto Regular" pitchFamily="2" charset="0"/>
                <a:ea typeface="Roboto Regular" pitchFamily="2" charset="0"/>
                <a:cs typeface="Calibri Light"/>
              </a:rPr>
              <a:t>Lorem Ipsum </a:t>
            </a:r>
            <a:r>
              <a:rPr lang="en-US" sz="1400" dirty="0">
                <a:latin typeface="Roboto Regular" pitchFamily="2" charset="0"/>
                <a:ea typeface="Roboto Regular" pitchFamily="2" charset="0"/>
                <a:cs typeface="Calibri Light"/>
              </a:rPr>
              <a:t>has two main data statistical this methodologies.</a:t>
            </a:r>
          </a:p>
        </p:txBody>
      </p:sp>
      <p:sp>
        <p:nvSpPr>
          <p:cNvPr id="13" name="TextBox 12"/>
          <p:cNvSpPr txBox="1"/>
          <p:nvPr/>
        </p:nvSpPr>
        <p:spPr>
          <a:xfrm>
            <a:off x="7186784" y="3582602"/>
            <a:ext cx="1589143" cy="430851"/>
          </a:xfrm>
          <a:prstGeom prst="rect">
            <a:avLst/>
          </a:prstGeom>
          <a:noFill/>
        </p:spPr>
        <p:txBody>
          <a:bodyPr wrap="none" lIns="182843" tIns="91422" rIns="182843" bIns="91422" rtlCol="0">
            <a:spAutoFit/>
          </a:bodyPr>
          <a:lstStyle/>
          <a:p>
            <a:pPr algn="ctr"/>
            <a:r>
              <a:rPr lang="id-ID" sz="1600" b="1" dirty="0" smtClean="0">
                <a:latin typeface="+mj-lt"/>
              </a:rPr>
              <a:t>Raise Capital</a:t>
            </a:r>
            <a:endParaRPr lang="id-ID" sz="1600" b="1" dirty="0">
              <a:latin typeface="+mj-lt"/>
            </a:endParaRPr>
          </a:p>
        </p:txBody>
      </p:sp>
      <p:grpSp>
        <p:nvGrpSpPr>
          <p:cNvPr id="45" name="Group 44"/>
          <p:cNvGrpSpPr/>
          <p:nvPr>
            <p:custDataLst>
              <p:tags r:id="rId2"/>
            </p:custDataLst>
          </p:nvPr>
        </p:nvGrpSpPr>
        <p:grpSpPr>
          <a:xfrm>
            <a:off x="7141822" y="2059187"/>
            <a:ext cx="1679067" cy="1300655"/>
            <a:chOff x="13267174" y="8108352"/>
            <a:chExt cx="3704747" cy="2869496"/>
          </a:xfrm>
        </p:grpSpPr>
        <p:sp>
          <p:nvSpPr>
            <p:cNvPr id="12" name="Freeform 14"/>
            <p:cNvSpPr>
              <a:spLocks noChangeArrowheads="1"/>
            </p:cNvSpPr>
            <p:nvPr/>
          </p:nvSpPr>
          <p:spPr bwMode="auto">
            <a:xfrm>
              <a:off x="13267174" y="8108352"/>
              <a:ext cx="3704747" cy="2869496"/>
            </a:xfrm>
            <a:custGeom>
              <a:avLst/>
              <a:gdLst>
                <a:gd name="T0" fmla="*/ 2706 w 3613"/>
                <a:gd name="T1" fmla="*/ 489 h 2801"/>
                <a:gd name="T2" fmla="*/ 2706 w 3613"/>
                <a:gd name="T3" fmla="*/ 489 h 2801"/>
                <a:gd name="T4" fmla="*/ 2706 w 3613"/>
                <a:gd name="T5" fmla="*/ 489 h 2801"/>
                <a:gd name="T6" fmla="*/ 949 w 3613"/>
                <a:gd name="T7" fmla="*/ 451 h 2801"/>
                <a:gd name="T8" fmla="*/ 949 w 3613"/>
                <a:gd name="T9" fmla="*/ 451 h 2801"/>
                <a:gd name="T10" fmla="*/ 0 w 3613"/>
                <a:gd name="T11" fmla="*/ 1400 h 2801"/>
                <a:gd name="T12" fmla="*/ 907 w 3613"/>
                <a:gd name="T13" fmla="*/ 2311 h 2801"/>
                <a:gd name="T14" fmla="*/ 907 w 3613"/>
                <a:gd name="T15" fmla="*/ 2311 h 2801"/>
                <a:gd name="T16" fmla="*/ 2663 w 3613"/>
                <a:gd name="T17" fmla="*/ 2349 h 2801"/>
                <a:gd name="T18" fmla="*/ 2663 w 3613"/>
                <a:gd name="T19" fmla="*/ 2349 h 2801"/>
                <a:gd name="T20" fmla="*/ 3612 w 3613"/>
                <a:gd name="T21" fmla="*/ 1400 h 2801"/>
                <a:gd name="T22" fmla="*/ 2706 w 3613"/>
                <a:gd name="T23" fmla="*/ 489 h 2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13" h="2801">
                  <a:moveTo>
                    <a:pt x="2706" y="489"/>
                  </a:moveTo>
                  <a:lnTo>
                    <a:pt x="2706" y="489"/>
                  </a:lnTo>
                  <a:lnTo>
                    <a:pt x="2706" y="489"/>
                  </a:lnTo>
                  <a:cubicBezTo>
                    <a:pt x="2222" y="15"/>
                    <a:pt x="1451" y="0"/>
                    <a:pt x="949" y="451"/>
                  </a:cubicBezTo>
                  <a:lnTo>
                    <a:pt x="949" y="451"/>
                  </a:lnTo>
                  <a:cubicBezTo>
                    <a:pt x="0" y="1400"/>
                    <a:pt x="0" y="1400"/>
                    <a:pt x="0" y="1400"/>
                  </a:cubicBezTo>
                  <a:cubicBezTo>
                    <a:pt x="907" y="2311"/>
                    <a:pt x="907" y="2311"/>
                    <a:pt x="907" y="2311"/>
                  </a:cubicBezTo>
                  <a:lnTo>
                    <a:pt x="907" y="2311"/>
                  </a:lnTo>
                  <a:cubicBezTo>
                    <a:pt x="1390" y="2786"/>
                    <a:pt x="2161" y="2800"/>
                    <a:pt x="2663" y="2349"/>
                  </a:cubicBezTo>
                  <a:lnTo>
                    <a:pt x="2663" y="2349"/>
                  </a:lnTo>
                  <a:cubicBezTo>
                    <a:pt x="3612" y="1400"/>
                    <a:pt x="3612" y="1400"/>
                    <a:pt x="3612" y="1400"/>
                  </a:cubicBezTo>
                  <a:lnTo>
                    <a:pt x="2706" y="489"/>
                  </a:lnTo>
                </a:path>
              </a:pathLst>
            </a:custGeom>
            <a:solidFill>
              <a:schemeClr val="accent3"/>
            </a:solidFill>
            <a:ln>
              <a:noFill/>
            </a:ln>
            <a:effectLst/>
          </p:spPr>
          <p:txBody>
            <a:bodyPr wrap="none" anchor="ctr"/>
            <a:lstStyle/>
            <a:p>
              <a:endParaRPr lang="en-US" dirty="0">
                <a:latin typeface="Calibri Light"/>
              </a:endParaRPr>
            </a:p>
          </p:txBody>
        </p:sp>
        <p:grpSp>
          <p:nvGrpSpPr>
            <p:cNvPr id="14" name="Group 13"/>
            <p:cNvGrpSpPr/>
            <p:nvPr>
              <p:custDataLst>
                <p:tags r:id="rId6"/>
              </p:custDataLst>
            </p:nvPr>
          </p:nvGrpSpPr>
          <p:grpSpPr>
            <a:xfrm>
              <a:off x="14813141" y="9155213"/>
              <a:ext cx="695733" cy="695912"/>
              <a:chOff x="14867881" y="10665936"/>
              <a:chExt cx="695733" cy="695912"/>
            </a:xfrm>
          </p:grpSpPr>
          <p:sp>
            <p:nvSpPr>
              <p:cNvPr id="16" name="Freeform 781"/>
              <p:cNvSpPr>
                <a:spLocks noChangeArrowheads="1"/>
              </p:cNvSpPr>
              <p:nvPr/>
            </p:nvSpPr>
            <p:spPr bwMode="auto">
              <a:xfrm>
                <a:off x="14998624" y="10810723"/>
                <a:ext cx="420239" cy="406336"/>
              </a:xfrm>
              <a:custGeom>
                <a:avLst/>
                <a:gdLst>
                  <a:gd name="T0" fmla="*/ 394 w 395"/>
                  <a:gd name="T1" fmla="*/ 191 h 382"/>
                  <a:gd name="T2" fmla="*/ 394 w 395"/>
                  <a:gd name="T3" fmla="*/ 191 h 382"/>
                  <a:gd name="T4" fmla="*/ 340 w 395"/>
                  <a:gd name="T5" fmla="*/ 54 h 382"/>
                  <a:gd name="T6" fmla="*/ 203 w 395"/>
                  <a:gd name="T7" fmla="*/ 0 h 382"/>
                  <a:gd name="T8" fmla="*/ 81 w 395"/>
                  <a:gd name="T9" fmla="*/ 54 h 382"/>
                  <a:gd name="T10" fmla="*/ 81 w 395"/>
                  <a:gd name="T11" fmla="*/ 327 h 382"/>
                  <a:gd name="T12" fmla="*/ 203 w 395"/>
                  <a:gd name="T13" fmla="*/ 381 h 382"/>
                  <a:gd name="T14" fmla="*/ 340 w 395"/>
                  <a:gd name="T15" fmla="*/ 327 h 382"/>
                  <a:gd name="T16" fmla="*/ 394 w 395"/>
                  <a:gd name="T17" fmla="*/ 191 h 382"/>
                  <a:gd name="T18" fmla="*/ 217 w 395"/>
                  <a:gd name="T19" fmla="*/ 299 h 382"/>
                  <a:gd name="T20" fmla="*/ 217 w 395"/>
                  <a:gd name="T21" fmla="*/ 299 h 382"/>
                  <a:gd name="T22" fmla="*/ 217 w 395"/>
                  <a:gd name="T23" fmla="*/ 339 h 382"/>
                  <a:gd name="T24" fmla="*/ 189 w 395"/>
                  <a:gd name="T25" fmla="*/ 339 h 382"/>
                  <a:gd name="T26" fmla="*/ 189 w 395"/>
                  <a:gd name="T27" fmla="*/ 299 h 382"/>
                  <a:gd name="T28" fmla="*/ 135 w 395"/>
                  <a:gd name="T29" fmla="*/ 285 h 382"/>
                  <a:gd name="T30" fmla="*/ 149 w 395"/>
                  <a:gd name="T31" fmla="*/ 259 h 382"/>
                  <a:gd name="T32" fmla="*/ 203 w 395"/>
                  <a:gd name="T33" fmla="*/ 272 h 382"/>
                  <a:gd name="T34" fmla="*/ 245 w 395"/>
                  <a:gd name="T35" fmla="*/ 245 h 382"/>
                  <a:gd name="T36" fmla="*/ 203 w 395"/>
                  <a:gd name="T37" fmla="*/ 204 h 382"/>
                  <a:gd name="T38" fmla="*/ 149 w 395"/>
                  <a:gd name="T39" fmla="*/ 136 h 382"/>
                  <a:gd name="T40" fmla="*/ 203 w 395"/>
                  <a:gd name="T41" fmla="*/ 82 h 382"/>
                  <a:gd name="T42" fmla="*/ 203 w 395"/>
                  <a:gd name="T43" fmla="*/ 40 h 382"/>
                  <a:gd name="T44" fmla="*/ 217 w 395"/>
                  <a:gd name="T45" fmla="*/ 40 h 382"/>
                  <a:gd name="T46" fmla="*/ 217 w 395"/>
                  <a:gd name="T47" fmla="*/ 82 h 382"/>
                  <a:gd name="T48" fmla="*/ 272 w 395"/>
                  <a:gd name="T49" fmla="*/ 96 h 382"/>
                  <a:gd name="T50" fmla="*/ 258 w 395"/>
                  <a:gd name="T51" fmla="*/ 108 h 382"/>
                  <a:gd name="T52" fmla="*/ 217 w 395"/>
                  <a:gd name="T53" fmla="*/ 96 h 382"/>
                  <a:gd name="T54" fmla="*/ 177 w 395"/>
                  <a:gd name="T55" fmla="*/ 136 h 382"/>
                  <a:gd name="T56" fmla="*/ 217 w 395"/>
                  <a:gd name="T57" fmla="*/ 176 h 382"/>
                  <a:gd name="T58" fmla="*/ 272 w 395"/>
                  <a:gd name="T59" fmla="*/ 245 h 382"/>
                  <a:gd name="T60" fmla="*/ 217 w 395"/>
                  <a:gd name="T61" fmla="*/ 29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5" h="382">
                    <a:moveTo>
                      <a:pt x="394" y="191"/>
                    </a:moveTo>
                    <a:lnTo>
                      <a:pt x="394" y="191"/>
                    </a:lnTo>
                    <a:cubicBezTo>
                      <a:pt x="394" y="136"/>
                      <a:pt x="366" y="96"/>
                      <a:pt x="340" y="54"/>
                    </a:cubicBezTo>
                    <a:cubicBezTo>
                      <a:pt x="299" y="27"/>
                      <a:pt x="258" y="0"/>
                      <a:pt x="203" y="0"/>
                    </a:cubicBezTo>
                    <a:cubicBezTo>
                      <a:pt x="163" y="0"/>
                      <a:pt x="109" y="27"/>
                      <a:pt x="81" y="54"/>
                    </a:cubicBezTo>
                    <a:cubicBezTo>
                      <a:pt x="0" y="136"/>
                      <a:pt x="0" y="245"/>
                      <a:pt x="81" y="327"/>
                    </a:cubicBezTo>
                    <a:cubicBezTo>
                      <a:pt x="109" y="354"/>
                      <a:pt x="163" y="381"/>
                      <a:pt x="203" y="381"/>
                    </a:cubicBezTo>
                    <a:cubicBezTo>
                      <a:pt x="258" y="381"/>
                      <a:pt x="299" y="354"/>
                      <a:pt x="340" y="327"/>
                    </a:cubicBezTo>
                    <a:cubicBezTo>
                      <a:pt x="366" y="285"/>
                      <a:pt x="394" y="245"/>
                      <a:pt x="394" y="191"/>
                    </a:cubicBezTo>
                    <a:close/>
                    <a:moveTo>
                      <a:pt x="217" y="299"/>
                    </a:moveTo>
                    <a:lnTo>
                      <a:pt x="217" y="299"/>
                    </a:lnTo>
                    <a:cubicBezTo>
                      <a:pt x="217" y="339"/>
                      <a:pt x="217" y="339"/>
                      <a:pt x="217" y="339"/>
                    </a:cubicBezTo>
                    <a:cubicBezTo>
                      <a:pt x="189" y="339"/>
                      <a:pt x="189" y="339"/>
                      <a:pt x="189" y="339"/>
                    </a:cubicBezTo>
                    <a:cubicBezTo>
                      <a:pt x="189" y="299"/>
                      <a:pt x="189" y="299"/>
                      <a:pt x="189" y="299"/>
                    </a:cubicBezTo>
                    <a:cubicBezTo>
                      <a:pt x="177" y="299"/>
                      <a:pt x="149" y="299"/>
                      <a:pt x="135" y="285"/>
                    </a:cubicBezTo>
                    <a:cubicBezTo>
                      <a:pt x="149" y="259"/>
                      <a:pt x="149" y="259"/>
                      <a:pt x="149" y="259"/>
                    </a:cubicBezTo>
                    <a:cubicBezTo>
                      <a:pt x="163" y="272"/>
                      <a:pt x="177" y="272"/>
                      <a:pt x="203" y="272"/>
                    </a:cubicBezTo>
                    <a:cubicBezTo>
                      <a:pt x="231" y="272"/>
                      <a:pt x="245" y="259"/>
                      <a:pt x="245" y="245"/>
                    </a:cubicBezTo>
                    <a:cubicBezTo>
                      <a:pt x="245" y="218"/>
                      <a:pt x="231" y="204"/>
                      <a:pt x="203" y="204"/>
                    </a:cubicBezTo>
                    <a:cubicBezTo>
                      <a:pt x="163" y="191"/>
                      <a:pt x="149" y="164"/>
                      <a:pt x="149" y="136"/>
                    </a:cubicBezTo>
                    <a:cubicBezTo>
                      <a:pt x="149" y="108"/>
                      <a:pt x="163" y="82"/>
                      <a:pt x="203" y="82"/>
                    </a:cubicBezTo>
                    <a:cubicBezTo>
                      <a:pt x="203" y="40"/>
                      <a:pt x="203" y="40"/>
                      <a:pt x="203" y="40"/>
                    </a:cubicBezTo>
                    <a:cubicBezTo>
                      <a:pt x="217" y="40"/>
                      <a:pt x="217" y="40"/>
                      <a:pt x="217" y="40"/>
                    </a:cubicBezTo>
                    <a:cubicBezTo>
                      <a:pt x="217" y="82"/>
                      <a:pt x="217" y="82"/>
                      <a:pt x="217" y="82"/>
                    </a:cubicBezTo>
                    <a:cubicBezTo>
                      <a:pt x="245" y="82"/>
                      <a:pt x="258" y="82"/>
                      <a:pt x="272" y="96"/>
                    </a:cubicBezTo>
                    <a:cubicBezTo>
                      <a:pt x="258" y="108"/>
                      <a:pt x="258" y="108"/>
                      <a:pt x="258" y="108"/>
                    </a:cubicBezTo>
                    <a:cubicBezTo>
                      <a:pt x="245" y="108"/>
                      <a:pt x="231" y="96"/>
                      <a:pt x="217" y="96"/>
                    </a:cubicBezTo>
                    <a:cubicBezTo>
                      <a:pt x="189" y="96"/>
                      <a:pt x="177" y="122"/>
                      <a:pt x="177" y="136"/>
                    </a:cubicBezTo>
                    <a:cubicBezTo>
                      <a:pt x="177" y="150"/>
                      <a:pt x="189" y="164"/>
                      <a:pt x="217" y="176"/>
                    </a:cubicBezTo>
                    <a:cubicBezTo>
                      <a:pt x="258" y="191"/>
                      <a:pt x="272" y="204"/>
                      <a:pt x="272" y="245"/>
                    </a:cubicBezTo>
                    <a:cubicBezTo>
                      <a:pt x="272" y="272"/>
                      <a:pt x="258" y="299"/>
                      <a:pt x="217" y="299"/>
                    </a:cubicBezTo>
                    <a:close/>
                  </a:path>
                </a:pathLst>
              </a:custGeom>
              <a:solidFill>
                <a:schemeClr val="bg1"/>
              </a:solidFill>
              <a:ln>
                <a:noFill/>
              </a:ln>
              <a:effectLst/>
            </p:spPr>
            <p:txBody>
              <a:bodyPr wrap="none" lIns="152366" tIns="76183" rIns="152366" bIns="76183" anchor="ctr"/>
              <a:lstStyle/>
              <a:p>
                <a:endParaRPr lang="en-US" dirty="0">
                  <a:latin typeface="Calibri Light"/>
                </a:endParaRPr>
              </a:p>
            </p:txBody>
          </p:sp>
          <p:sp>
            <p:nvSpPr>
              <p:cNvPr id="17" name="Freeform 782"/>
              <p:cNvSpPr>
                <a:spLocks noChangeArrowheads="1"/>
              </p:cNvSpPr>
              <p:nvPr/>
            </p:nvSpPr>
            <p:spPr bwMode="auto">
              <a:xfrm>
                <a:off x="15302131" y="10665936"/>
                <a:ext cx="261483" cy="261551"/>
              </a:xfrm>
              <a:custGeom>
                <a:avLst/>
                <a:gdLst>
                  <a:gd name="T0" fmla="*/ 68 w 246"/>
                  <a:gd name="T1" fmla="*/ 177 h 246"/>
                  <a:gd name="T2" fmla="*/ 68 w 246"/>
                  <a:gd name="T3" fmla="*/ 177 h 246"/>
                  <a:gd name="T4" fmla="*/ 123 w 246"/>
                  <a:gd name="T5" fmla="*/ 245 h 246"/>
                  <a:gd name="T6" fmla="*/ 204 w 246"/>
                  <a:gd name="T7" fmla="*/ 164 h 246"/>
                  <a:gd name="T8" fmla="*/ 245 w 246"/>
                  <a:gd name="T9" fmla="*/ 205 h 246"/>
                  <a:gd name="T10" fmla="*/ 245 w 246"/>
                  <a:gd name="T11" fmla="*/ 205 h 246"/>
                  <a:gd name="T12" fmla="*/ 245 w 246"/>
                  <a:gd name="T13" fmla="*/ 191 h 246"/>
                  <a:gd name="T14" fmla="*/ 245 w 246"/>
                  <a:gd name="T15" fmla="*/ 0 h 246"/>
                  <a:gd name="T16" fmla="*/ 245 w 246"/>
                  <a:gd name="T17" fmla="*/ 0 h 246"/>
                  <a:gd name="T18" fmla="*/ 55 w 246"/>
                  <a:gd name="T19" fmla="*/ 0 h 246"/>
                  <a:gd name="T20" fmla="*/ 55 w 246"/>
                  <a:gd name="T21" fmla="*/ 0 h 246"/>
                  <a:gd name="T22" fmla="*/ 55 w 246"/>
                  <a:gd name="T23" fmla="*/ 0 h 246"/>
                  <a:gd name="T24" fmla="*/ 81 w 246"/>
                  <a:gd name="T25" fmla="*/ 42 h 246"/>
                  <a:gd name="T26" fmla="*/ 0 w 246"/>
                  <a:gd name="T27" fmla="*/ 123 h 246"/>
                  <a:gd name="T28" fmla="*/ 68 w 246"/>
                  <a:gd name="T29" fmla="*/ 17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6" h="246">
                    <a:moveTo>
                      <a:pt x="68" y="177"/>
                    </a:moveTo>
                    <a:lnTo>
                      <a:pt x="68" y="177"/>
                    </a:lnTo>
                    <a:cubicBezTo>
                      <a:pt x="95" y="191"/>
                      <a:pt x="109" y="219"/>
                      <a:pt x="123" y="245"/>
                    </a:cubicBezTo>
                    <a:cubicBezTo>
                      <a:pt x="204" y="164"/>
                      <a:pt x="204" y="164"/>
                      <a:pt x="204" y="164"/>
                    </a:cubicBezTo>
                    <a:cubicBezTo>
                      <a:pt x="245" y="205"/>
                      <a:pt x="245" y="205"/>
                      <a:pt x="245" y="205"/>
                    </a:cubicBezTo>
                    <a:lnTo>
                      <a:pt x="245" y="205"/>
                    </a:lnTo>
                    <a:lnTo>
                      <a:pt x="245" y="191"/>
                    </a:lnTo>
                    <a:cubicBezTo>
                      <a:pt x="245" y="0"/>
                      <a:pt x="245" y="0"/>
                      <a:pt x="245" y="0"/>
                    </a:cubicBezTo>
                    <a:lnTo>
                      <a:pt x="245" y="0"/>
                    </a:lnTo>
                    <a:cubicBezTo>
                      <a:pt x="55" y="0"/>
                      <a:pt x="55" y="0"/>
                      <a:pt x="55" y="0"/>
                    </a:cubicBezTo>
                    <a:lnTo>
                      <a:pt x="55" y="0"/>
                    </a:lnTo>
                    <a:lnTo>
                      <a:pt x="55" y="0"/>
                    </a:lnTo>
                    <a:cubicBezTo>
                      <a:pt x="81" y="42"/>
                      <a:pt x="81" y="42"/>
                      <a:pt x="81" y="42"/>
                    </a:cubicBezTo>
                    <a:cubicBezTo>
                      <a:pt x="0" y="123"/>
                      <a:pt x="0" y="123"/>
                      <a:pt x="0" y="123"/>
                    </a:cubicBezTo>
                    <a:cubicBezTo>
                      <a:pt x="27" y="137"/>
                      <a:pt x="55" y="150"/>
                      <a:pt x="68" y="177"/>
                    </a:cubicBezTo>
                  </a:path>
                </a:pathLst>
              </a:custGeom>
              <a:solidFill>
                <a:schemeClr val="bg1"/>
              </a:solidFill>
              <a:ln>
                <a:noFill/>
              </a:ln>
              <a:effectLst/>
            </p:spPr>
            <p:txBody>
              <a:bodyPr wrap="none" lIns="152366" tIns="76183" rIns="152366" bIns="76183" anchor="ctr"/>
              <a:lstStyle/>
              <a:p>
                <a:endParaRPr lang="en-US" dirty="0">
                  <a:latin typeface="Calibri Light"/>
                </a:endParaRPr>
              </a:p>
            </p:txBody>
          </p:sp>
          <p:sp>
            <p:nvSpPr>
              <p:cNvPr id="18" name="Freeform 783"/>
              <p:cNvSpPr>
                <a:spLocks noChangeArrowheads="1"/>
              </p:cNvSpPr>
              <p:nvPr/>
            </p:nvSpPr>
            <p:spPr bwMode="auto">
              <a:xfrm>
                <a:off x="15302131" y="11100297"/>
                <a:ext cx="261483" cy="261551"/>
              </a:xfrm>
              <a:custGeom>
                <a:avLst/>
                <a:gdLst>
                  <a:gd name="T0" fmla="*/ 245 w 246"/>
                  <a:gd name="T1" fmla="*/ 41 h 247"/>
                  <a:gd name="T2" fmla="*/ 245 w 246"/>
                  <a:gd name="T3" fmla="*/ 41 h 247"/>
                  <a:gd name="T4" fmla="*/ 245 w 246"/>
                  <a:gd name="T5" fmla="*/ 41 h 247"/>
                  <a:gd name="T6" fmla="*/ 204 w 246"/>
                  <a:gd name="T7" fmla="*/ 82 h 247"/>
                  <a:gd name="T8" fmla="*/ 123 w 246"/>
                  <a:gd name="T9" fmla="*/ 0 h 247"/>
                  <a:gd name="T10" fmla="*/ 68 w 246"/>
                  <a:gd name="T11" fmla="*/ 67 h 247"/>
                  <a:gd name="T12" fmla="*/ 0 w 246"/>
                  <a:gd name="T13" fmla="*/ 109 h 247"/>
                  <a:gd name="T14" fmla="*/ 81 w 246"/>
                  <a:gd name="T15" fmla="*/ 204 h 247"/>
                  <a:gd name="T16" fmla="*/ 55 w 246"/>
                  <a:gd name="T17" fmla="*/ 232 h 247"/>
                  <a:gd name="T18" fmla="*/ 55 w 246"/>
                  <a:gd name="T19" fmla="*/ 246 h 247"/>
                  <a:gd name="T20" fmla="*/ 55 w 246"/>
                  <a:gd name="T21" fmla="*/ 246 h 247"/>
                  <a:gd name="T22" fmla="*/ 245 w 246"/>
                  <a:gd name="T23" fmla="*/ 246 h 247"/>
                  <a:gd name="T24" fmla="*/ 245 w 246"/>
                  <a:gd name="T25" fmla="*/ 246 h 247"/>
                  <a:gd name="T26" fmla="*/ 245 w 246"/>
                  <a:gd name="T27" fmla="*/ 41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6" h="247">
                    <a:moveTo>
                      <a:pt x="245" y="41"/>
                    </a:moveTo>
                    <a:lnTo>
                      <a:pt x="245" y="41"/>
                    </a:lnTo>
                    <a:lnTo>
                      <a:pt x="245" y="41"/>
                    </a:lnTo>
                    <a:cubicBezTo>
                      <a:pt x="204" y="82"/>
                      <a:pt x="204" y="82"/>
                      <a:pt x="204" y="82"/>
                    </a:cubicBezTo>
                    <a:cubicBezTo>
                      <a:pt x="123" y="0"/>
                      <a:pt x="123" y="0"/>
                      <a:pt x="123" y="0"/>
                    </a:cubicBezTo>
                    <a:cubicBezTo>
                      <a:pt x="109" y="27"/>
                      <a:pt x="95" y="55"/>
                      <a:pt x="68" y="67"/>
                    </a:cubicBezTo>
                    <a:cubicBezTo>
                      <a:pt x="55" y="95"/>
                      <a:pt x="27" y="109"/>
                      <a:pt x="0" y="109"/>
                    </a:cubicBezTo>
                    <a:cubicBezTo>
                      <a:pt x="81" y="204"/>
                      <a:pt x="81" y="204"/>
                      <a:pt x="81" y="204"/>
                    </a:cubicBezTo>
                    <a:cubicBezTo>
                      <a:pt x="55" y="232"/>
                      <a:pt x="55" y="232"/>
                      <a:pt x="55" y="232"/>
                    </a:cubicBezTo>
                    <a:cubicBezTo>
                      <a:pt x="55" y="246"/>
                      <a:pt x="55" y="246"/>
                      <a:pt x="55" y="246"/>
                    </a:cubicBezTo>
                    <a:lnTo>
                      <a:pt x="55" y="246"/>
                    </a:lnTo>
                    <a:cubicBezTo>
                      <a:pt x="245" y="246"/>
                      <a:pt x="245" y="246"/>
                      <a:pt x="245" y="246"/>
                    </a:cubicBezTo>
                    <a:lnTo>
                      <a:pt x="245" y="246"/>
                    </a:lnTo>
                    <a:cubicBezTo>
                      <a:pt x="245" y="41"/>
                      <a:pt x="245" y="41"/>
                      <a:pt x="245" y="41"/>
                    </a:cubicBezTo>
                  </a:path>
                </a:pathLst>
              </a:custGeom>
              <a:solidFill>
                <a:schemeClr val="bg1"/>
              </a:solidFill>
              <a:ln>
                <a:noFill/>
              </a:ln>
              <a:effectLst/>
            </p:spPr>
            <p:txBody>
              <a:bodyPr wrap="none" lIns="152366" tIns="76183" rIns="152366" bIns="76183" anchor="ctr"/>
              <a:lstStyle/>
              <a:p>
                <a:endParaRPr lang="en-US" dirty="0">
                  <a:latin typeface="Calibri Light"/>
                </a:endParaRPr>
              </a:p>
            </p:txBody>
          </p:sp>
          <p:sp>
            <p:nvSpPr>
              <p:cNvPr id="19" name="Freeform 784"/>
              <p:cNvSpPr>
                <a:spLocks noChangeArrowheads="1"/>
              </p:cNvSpPr>
              <p:nvPr/>
            </p:nvSpPr>
            <p:spPr bwMode="auto">
              <a:xfrm>
                <a:off x="14867881" y="10665936"/>
                <a:ext cx="261483" cy="261551"/>
              </a:xfrm>
              <a:custGeom>
                <a:avLst/>
                <a:gdLst>
                  <a:gd name="T0" fmla="*/ 0 w 246"/>
                  <a:gd name="T1" fmla="*/ 205 h 246"/>
                  <a:gd name="T2" fmla="*/ 0 w 246"/>
                  <a:gd name="T3" fmla="*/ 205 h 246"/>
                  <a:gd name="T4" fmla="*/ 13 w 246"/>
                  <a:gd name="T5" fmla="*/ 205 h 246"/>
                  <a:gd name="T6" fmla="*/ 41 w 246"/>
                  <a:gd name="T7" fmla="*/ 164 h 246"/>
                  <a:gd name="T8" fmla="*/ 137 w 246"/>
                  <a:gd name="T9" fmla="*/ 245 h 246"/>
                  <a:gd name="T10" fmla="*/ 177 w 246"/>
                  <a:gd name="T11" fmla="*/ 177 h 246"/>
                  <a:gd name="T12" fmla="*/ 245 w 246"/>
                  <a:gd name="T13" fmla="*/ 123 h 246"/>
                  <a:gd name="T14" fmla="*/ 163 w 246"/>
                  <a:gd name="T15" fmla="*/ 42 h 246"/>
                  <a:gd name="T16" fmla="*/ 204 w 246"/>
                  <a:gd name="T17" fmla="*/ 0 h 246"/>
                  <a:gd name="T18" fmla="*/ 204 w 246"/>
                  <a:gd name="T19" fmla="*/ 0 h 246"/>
                  <a:gd name="T20" fmla="*/ 204 w 246"/>
                  <a:gd name="T21" fmla="*/ 0 h 246"/>
                  <a:gd name="T22" fmla="*/ 13 w 246"/>
                  <a:gd name="T23" fmla="*/ 0 h 246"/>
                  <a:gd name="T24" fmla="*/ 0 w 246"/>
                  <a:gd name="T25" fmla="*/ 0 h 246"/>
                  <a:gd name="T26" fmla="*/ 0 w 246"/>
                  <a:gd name="T27" fmla="*/ 191 h 246"/>
                  <a:gd name="T28" fmla="*/ 0 w 246"/>
                  <a:gd name="T29" fmla="*/ 20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6" h="246">
                    <a:moveTo>
                      <a:pt x="0" y="205"/>
                    </a:moveTo>
                    <a:lnTo>
                      <a:pt x="0" y="205"/>
                    </a:lnTo>
                    <a:cubicBezTo>
                      <a:pt x="13" y="205"/>
                      <a:pt x="13" y="205"/>
                      <a:pt x="13" y="205"/>
                    </a:cubicBezTo>
                    <a:cubicBezTo>
                      <a:pt x="41" y="164"/>
                      <a:pt x="41" y="164"/>
                      <a:pt x="41" y="164"/>
                    </a:cubicBezTo>
                    <a:cubicBezTo>
                      <a:pt x="137" y="245"/>
                      <a:pt x="137" y="245"/>
                      <a:pt x="137" y="245"/>
                    </a:cubicBezTo>
                    <a:cubicBezTo>
                      <a:pt x="137" y="219"/>
                      <a:pt x="163" y="191"/>
                      <a:pt x="177" y="177"/>
                    </a:cubicBezTo>
                    <a:cubicBezTo>
                      <a:pt x="204" y="150"/>
                      <a:pt x="217" y="137"/>
                      <a:pt x="245" y="123"/>
                    </a:cubicBezTo>
                    <a:cubicBezTo>
                      <a:pt x="163" y="42"/>
                      <a:pt x="163" y="42"/>
                      <a:pt x="163" y="42"/>
                    </a:cubicBezTo>
                    <a:cubicBezTo>
                      <a:pt x="204" y="0"/>
                      <a:pt x="204" y="0"/>
                      <a:pt x="204" y="0"/>
                    </a:cubicBezTo>
                    <a:lnTo>
                      <a:pt x="204" y="0"/>
                    </a:lnTo>
                    <a:lnTo>
                      <a:pt x="204" y="0"/>
                    </a:lnTo>
                    <a:cubicBezTo>
                      <a:pt x="13" y="0"/>
                      <a:pt x="13" y="0"/>
                      <a:pt x="13" y="0"/>
                    </a:cubicBezTo>
                    <a:cubicBezTo>
                      <a:pt x="0" y="0"/>
                      <a:pt x="0" y="0"/>
                      <a:pt x="0" y="0"/>
                    </a:cubicBezTo>
                    <a:cubicBezTo>
                      <a:pt x="0" y="191"/>
                      <a:pt x="0" y="191"/>
                      <a:pt x="0" y="191"/>
                    </a:cubicBezTo>
                    <a:lnTo>
                      <a:pt x="0" y="205"/>
                    </a:lnTo>
                  </a:path>
                </a:pathLst>
              </a:custGeom>
              <a:solidFill>
                <a:schemeClr val="bg1"/>
              </a:solidFill>
              <a:ln>
                <a:noFill/>
              </a:ln>
              <a:effectLst/>
            </p:spPr>
            <p:txBody>
              <a:bodyPr wrap="none" lIns="152366" tIns="76183" rIns="152366" bIns="76183" anchor="ctr"/>
              <a:lstStyle/>
              <a:p>
                <a:endParaRPr lang="en-US" dirty="0">
                  <a:latin typeface="Calibri Light"/>
                </a:endParaRPr>
              </a:p>
            </p:txBody>
          </p:sp>
          <p:sp>
            <p:nvSpPr>
              <p:cNvPr id="20" name="Freeform 785"/>
              <p:cNvSpPr>
                <a:spLocks noChangeArrowheads="1"/>
              </p:cNvSpPr>
              <p:nvPr/>
            </p:nvSpPr>
            <p:spPr bwMode="auto">
              <a:xfrm>
                <a:off x="14867881" y="11100297"/>
                <a:ext cx="261483" cy="261551"/>
              </a:xfrm>
              <a:custGeom>
                <a:avLst/>
                <a:gdLst>
                  <a:gd name="T0" fmla="*/ 177 w 246"/>
                  <a:gd name="T1" fmla="*/ 67 h 247"/>
                  <a:gd name="T2" fmla="*/ 177 w 246"/>
                  <a:gd name="T3" fmla="*/ 67 h 247"/>
                  <a:gd name="T4" fmla="*/ 137 w 246"/>
                  <a:gd name="T5" fmla="*/ 0 h 247"/>
                  <a:gd name="T6" fmla="*/ 41 w 246"/>
                  <a:gd name="T7" fmla="*/ 82 h 247"/>
                  <a:gd name="T8" fmla="*/ 13 w 246"/>
                  <a:gd name="T9" fmla="*/ 41 h 247"/>
                  <a:gd name="T10" fmla="*/ 0 w 246"/>
                  <a:gd name="T11" fmla="*/ 41 h 247"/>
                  <a:gd name="T12" fmla="*/ 0 w 246"/>
                  <a:gd name="T13" fmla="*/ 41 h 247"/>
                  <a:gd name="T14" fmla="*/ 0 w 246"/>
                  <a:gd name="T15" fmla="*/ 246 h 247"/>
                  <a:gd name="T16" fmla="*/ 13 w 246"/>
                  <a:gd name="T17" fmla="*/ 246 h 247"/>
                  <a:gd name="T18" fmla="*/ 204 w 246"/>
                  <a:gd name="T19" fmla="*/ 246 h 247"/>
                  <a:gd name="T20" fmla="*/ 204 w 246"/>
                  <a:gd name="T21" fmla="*/ 246 h 247"/>
                  <a:gd name="T22" fmla="*/ 204 w 246"/>
                  <a:gd name="T23" fmla="*/ 232 h 247"/>
                  <a:gd name="T24" fmla="*/ 163 w 246"/>
                  <a:gd name="T25" fmla="*/ 204 h 247"/>
                  <a:gd name="T26" fmla="*/ 245 w 246"/>
                  <a:gd name="T27" fmla="*/ 109 h 247"/>
                  <a:gd name="T28" fmla="*/ 177 w 246"/>
                  <a:gd name="T29" fmla="*/ 6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6" h="247">
                    <a:moveTo>
                      <a:pt x="177" y="67"/>
                    </a:moveTo>
                    <a:lnTo>
                      <a:pt x="177" y="67"/>
                    </a:lnTo>
                    <a:cubicBezTo>
                      <a:pt x="163" y="55"/>
                      <a:pt x="137" y="27"/>
                      <a:pt x="137" y="0"/>
                    </a:cubicBezTo>
                    <a:cubicBezTo>
                      <a:pt x="41" y="82"/>
                      <a:pt x="41" y="82"/>
                      <a:pt x="41" y="82"/>
                    </a:cubicBezTo>
                    <a:cubicBezTo>
                      <a:pt x="13" y="41"/>
                      <a:pt x="13" y="41"/>
                      <a:pt x="13" y="41"/>
                    </a:cubicBezTo>
                    <a:cubicBezTo>
                      <a:pt x="13" y="41"/>
                      <a:pt x="13" y="41"/>
                      <a:pt x="0" y="41"/>
                    </a:cubicBezTo>
                    <a:lnTo>
                      <a:pt x="0" y="41"/>
                    </a:lnTo>
                    <a:cubicBezTo>
                      <a:pt x="0" y="246"/>
                      <a:pt x="0" y="246"/>
                      <a:pt x="0" y="246"/>
                    </a:cubicBezTo>
                    <a:cubicBezTo>
                      <a:pt x="0" y="246"/>
                      <a:pt x="0" y="246"/>
                      <a:pt x="13" y="246"/>
                    </a:cubicBezTo>
                    <a:cubicBezTo>
                      <a:pt x="204" y="246"/>
                      <a:pt x="204" y="246"/>
                      <a:pt x="204" y="246"/>
                    </a:cubicBezTo>
                    <a:lnTo>
                      <a:pt x="204" y="246"/>
                    </a:lnTo>
                    <a:cubicBezTo>
                      <a:pt x="204" y="246"/>
                      <a:pt x="204" y="246"/>
                      <a:pt x="204" y="232"/>
                    </a:cubicBezTo>
                    <a:cubicBezTo>
                      <a:pt x="163" y="204"/>
                      <a:pt x="163" y="204"/>
                      <a:pt x="163" y="204"/>
                    </a:cubicBezTo>
                    <a:cubicBezTo>
                      <a:pt x="245" y="109"/>
                      <a:pt x="245" y="109"/>
                      <a:pt x="245" y="109"/>
                    </a:cubicBezTo>
                    <a:cubicBezTo>
                      <a:pt x="217" y="109"/>
                      <a:pt x="204" y="95"/>
                      <a:pt x="177" y="67"/>
                    </a:cubicBezTo>
                  </a:path>
                </a:pathLst>
              </a:custGeom>
              <a:solidFill>
                <a:schemeClr val="bg1"/>
              </a:solidFill>
              <a:ln>
                <a:noFill/>
              </a:ln>
              <a:effectLst/>
            </p:spPr>
            <p:txBody>
              <a:bodyPr wrap="none" lIns="152366" tIns="76183" rIns="152366" bIns="76183" anchor="ctr"/>
              <a:lstStyle/>
              <a:p>
                <a:endParaRPr lang="en-US" dirty="0">
                  <a:latin typeface="Calibri Light"/>
                </a:endParaRPr>
              </a:p>
            </p:txBody>
          </p:sp>
        </p:grpSp>
      </p:grpSp>
      <p:sp>
        <p:nvSpPr>
          <p:cNvPr id="15" name="TextBox 14"/>
          <p:cNvSpPr txBox="1"/>
          <p:nvPr/>
        </p:nvSpPr>
        <p:spPr>
          <a:xfrm>
            <a:off x="6965982" y="4134615"/>
            <a:ext cx="2030746" cy="1046404"/>
          </a:xfrm>
          <a:prstGeom prst="rect">
            <a:avLst/>
          </a:prstGeom>
          <a:noFill/>
        </p:spPr>
        <p:txBody>
          <a:bodyPr wrap="square" lIns="182843" tIns="91422" rIns="182843" bIns="91422" rtlCol="0">
            <a:spAutoFit/>
          </a:bodyPr>
          <a:lstStyle/>
          <a:p>
            <a:pPr algn="ctr"/>
            <a:r>
              <a:rPr lang="en-US" sz="1400" b="1" dirty="0">
                <a:latin typeface="Roboto Regular" pitchFamily="2" charset="0"/>
                <a:ea typeface="Roboto Regular" pitchFamily="2" charset="0"/>
                <a:cs typeface="Calibri Light"/>
              </a:rPr>
              <a:t>Lorem Ipsum </a:t>
            </a:r>
            <a:r>
              <a:rPr lang="en-US" sz="1400" dirty="0">
                <a:latin typeface="Roboto Regular" pitchFamily="2" charset="0"/>
                <a:ea typeface="Roboto Regular" pitchFamily="2" charset="0"/>
                <a:cs typeface="Calibri Light"/>
              </a:rPr>
              <a:t>has two main data statistical this methodologies.</a:t>
            </a:r>
          </a:p>
        </p:txBody>
      </p:sp>
      <p:sp>
        <p:nvSpPr>
          <p:cNvPr id="23" name="TextBox 22"/>
          <p:cNvSpPr txBox="1"/>
          <p:nvPr/>
        </p:nvSpPr>
        <p:spPr>
          <a:xfrm>
            <a:off x="10341068" y="3582602"/>
            <a:ext cx="1523419" cy="430851"/>
          </a:xfrm>
          <a:prstGeom prst="rect">
            <a:avLst/>
          </a:prstGeom>
          <a:noFill/>
        </p:spPr>
        <p:txBody>
          <a:bodyPr wrap="none" lIns="182843" tIns="91422" rIns="182843" bIns="91422" rtlCol="0">
            <a:spAutoFit/>
          </a:bodyPr>
          <a:lstStyle/>
          <a:p>
            <a:pPr algn="ctr"/>
            <a:r>
              <a:rPr lang="id-ID" sz="1600" b="1" dirty="0" smtClean="0">
                <a:latin typeface="+mj-lt"/>
              </a:rPr>
              <a:t>Low Interest</a:t>
            </a:r>
            <a:endParaRPr lang="id-ID" sz="1600" b="1" dirty="0">
              <a:latin typeface="+mj-lt"/>
            </a:endParaRPr>
          </a:p>
        </p:txBody>
      </p:sp>
      <p:grpSp>
        <p:nvGrpSpPr>
          <p:cNvPr id="42" name="Group 41"/>
          <p:cNvGrpSpPr/>
          <p:nvPr>
            <p:custDataLst>
              <p:tags r:id="rId3"/>
            </p:custDataLst>
          </p:nvPr>
        </p:nvGrpSpPr>
        <p:grpSpPr>
          <a:xfrm>
            <a:off x="10263244" y="2059187"/>
            <a:ext cx="1679067" cy="1300655"/>
            <a:chOff x="18453439" y="8108352"/>
            <a:chExt cx="3706810" cy="2871405"/>
          </a:xfrm>
        </p:grpSpPr>
        <p:sp>
          <p:nvSpPr>
            <p:cNvPr id="22" name="Freeform 11"/>
            <p:cNvSpPr>
              <a:spLocks noChangeArrowheads="1"/>
            </p:cNvSpPr>
            <p:nvPr/>
          </p:nvSpPr>
          <p:spPr bwMode="auto">
            <a:xfrm rot="16200000">
              <a:off x="18871141" y="7690650"/>
              <a:ext cx="2871405" cy="3706810"/>
            </a:xfrm>
            <a:custGeom>
              <a:avLst/>
              <a:gdLst>
                <a:gd name="T0" fmla="*/ 493 w 2800"/>
                <a:gd name="T1" fmla="*/ 912 h 3618"/>
                <a:gd name="T2" fmla="*/ 493 w 2800"/>
                <a:gd name="T3" fmla="*/ 912 h 3618"/>
                <a:gd name="T4" fmla="*/ 493 w 2800"/>
                <a:gd name="T5" fmla="*/ 912 h 3618"/>
                <a:gd name="T6" fmla="*/ 451 w 2800"/>
                <a:gd name="T7" fmla="*/ 2663 h 3618"/>
                <a:gd name="T8" fmla="*/ 451 w 2800"/>
                <a:gd name="T9" fmla="*/ 2663 h 3618"/>
                <a:gd name="T10" fmla="*/ 1400 w 2800"/>
                <a:gd name="T11" fmla="*/ 3617 h 3618"/>
                <a:gd name="T12" fmla="*/ 2311 w 2800"/>
                <a:gd name="T13" fmla="*/ 2705 h 3618"/>
                <a:gd name="T14" fmla="*/ 2311 w 2800"/>
                <a:gd name="T15" fmla="*/ 2705 h 3618"/>
                <a:gd name="T16" fmla="*/ 2348 w 2800"/>
                <a:gd name="T17" fmla="*/ 954 h 3618"/>
                <a:gd name="T18" fmla="*/ 2353 w 2800"/>
                <a:gd name="T19" fmla="*/ 954 h 3618"/>
                <a:gd name="T20" fmla="*/ 1400 w 2800"/>
                <a:gd name="T21" fmla="*/ 0 h 3618"/>
                <a:gd name="T22" fmla="*/ 493 w 2800"/>
                <a:gd name="T23" fmla="*/ 912 h 3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0" h="3618">
                  <a:moveTo>
                    <a:pt x="493" y="912"/>
                  </a:moveTo>
                  <a:lnTo>
                    <a:pt x="493" y="912"/>
                  </a:lnTo>
                  <a:lnTo>
                    <a:pt x="493" y="912"/>
                  </a:lnTo>
                  <a:cubicBezTo>
                    <a:pt x="14" y="1395"/>
                    <a:pt x="0" y="2165"/>
                    <a:pt x="451" y="2663"/>
                  </a:cubicBezTo>
                  <a:lnTo>
                    <a:pt x="451" y="2663"/>
                  </a:lnTo>
                  <a:cubicBezTo>
                    <a:pt x="1400" y="3617"/>
                    <a:pt x="1400" y="3617"/>
                    <a:pt x="1400" y="3617"/>
                  </a:cubicBezTo>
                  <a:cubicBezTo>
                    <a:pt x="2311" y="2705"/>
                    <a:pt x="2311" y="2705"/>
                    <a:pt x="2311" y="2705"/>
                  </a:cubicBezTo>
                  <a:lnTo>
                    <a:pt x="2311" y="2705"/>
                  </a:lnTo>
                  <a:cubicBezTo>
                    <a:pt x="2785" y="2222"/>
                    <a:pt x="2799" y="1452"/>
                    <a:pt x="2348" y="954"/>
                  </a:cubicBezTo>
                  <a:cubicBezTo>
                    <a:pt x="2353" y="954"/>
                    <a:pt x="2353" y="954"/>
                    <a:pt x="2353" y="954"/>
                  </a:cubicBezTo>
                  <a:cubicBezTo>
                    <a:pt x="1400" y="0"/>
                    <a:pt x="1400" y="0"/>
                    <a:pt x="1400" y="0"/>
                  </a:cubicBezTo>
                  <a:lnTo>
                    <a:pt x="493" y="912"/>
                  </a:lnTo>
                </a:path>
              </a:pathLst>
            </a:custGeom>
            <a:solidFill>
              <a:schemeClr val="accent4"/>
            </a:solidFill>
            <a:ln>
              <a:noFill/>
            </a:ln>
            <a:effectLst/>
          </p:spPr>
          <p:txBody>
            <a:bodyPr wrap="none" anchor="ctr"/>
            <a:lstStyle/>
            <a:p>
              <a:endParaRPr lang="en-US" dirty="0">
                <a:latin typeface="Calibri Light"/>
              </a:endParaRPr>
            </a:p>
          </p:txBody>
        </p:sp>
        <p:grpSp>
          <p:nvGrpSpPr>
            <p:cNvPr id="24" name="Group 23"/>
            <p:cNvGrpSpPr/>
            <p:nvPr>
              <p:custDataLst>
                <p:tags r:id="rId5"/>
              </p:custDataLst>
            </p:nvPr>
          </p:nvGrpSpPr>
          <p:grpSpPr>
            <a:xfrm>
              <a:off x="19866514" y="9078872"/>
              <a:ext cx="834765" cy="846415"/>
              <a:chOff x="3866421" y="8396641"/>
              <a:chExt cx="610363" cy="618881"/>
            </a:xfrm>
          </p:grpSpPr>
          <p:sp>
            <p:nvSpPr>
              <p:cNvPr id="26" name="Freeform 812"/>
              <p:cNvSpPr>
                <a:spLocks noChangeArrowheads="1"/>
              </p:cNvSpPr>
              <p:nvPr/>
            </p:nvSpPr>
            <p:spPr bwMode="auto">
              <a:xfrm>
                <a:off x="3866421" y="8614084"/>
                <a:ext cx="401334" cy="401438"/>
              </a:xfrm>
              <a:custGeom>
                <a:avLst/>
                <a:gdLst>
                  <a:gd name="T0" fmla="*/ 218 w 422"/>
                  <a:gd name="T1" fmla="*/ 0 h 423"/>
                  <a:gd name="T2" fmla="*/ 218 w 422"/>
                  <a:gd name="T3" fmla="*/ 0 h 423"/>
                  <a:gd name="T4" fmla="*/ 0 w 422"/>
                  <a:gd name="T5" fmla="*/ 218 h 423"/>
                  <a:gd name="T6" fmla="*/ 218 w 422"/>
                  <a:gd name="T7" fmla="*/ 422 h 423"/>
                  <a:gd name="T8" fmla="*/ 421 w 422"/>
                  <a:gd name="T9" fmla="*/ 218 h 423"/>
                  <a:gd name="T10" fmla="*/ 218 w 422"/>
                  <a:gd name="T11" fmla="*/ 0 h 423"/>
                  <a:gd name="T12" fmla="*/ 218 w 422"/>
                  <a:gd name="T13" fmla="*/ 314 h 423"/>
                  <a:gd name="T14" fmla="*/ 218 w 422"/>
                  <a:gd name="T15" fmla="*/ 314 h 423"/>
                  <a:gd name="T16" fmla="*/ 218 w 422"/>
                  <a:gd name="T17" fmla="*/ 354 h 423"/>
                  <a:gd name="T18" fmla="*/ 204 w 422"/>
                  <a:gd name="T19" fmla="*/ 354 h 423"/>
                  <a:gd name="T20" fmla="*/ 204 w 422"/>
                  <a:gd name="T21" fmla="*/ 314 h 423"/>
                  <a:gd name="T22" fmla="*/ 150 w 422"/>
                  <a:gd name="T23" fmla="*/ 300 h 423"/>
                  <a:gd name="T24" fmla="*/ 163 w 422"/>
                  <a:gd name="T25" fmla="*/ 286 h 423"/>
                  <a:gd name="T26" fmla="*/ 204 w 422"/>
                  <a:gd name="T27" fmla="*/ 300 h 423"/>
                  <a:gd name="T28" fmla="*/ 244 w 422"/>
                  <a:gd name="T29" fmla="*/ 259 h 423"/>
                  <a:gd name="T30" fmla="*/ 204 w 422"/>
                  <a:gd name="T31" fmla="*/ 218 h 423"/>
                  <a:gd name="T32" fmla="*/ 150 w 422"/>
                  <a:gd name="T33" fmla="*/ 163 h 423"/>
                  <a:gd name="T34" fmla="*/ 204 w 422"/>
                  <a:gd name="T35" fmla="*/ 109 h 423"/>
                  <a:gd name="T36" fmla="*/ 204 w 422"/>
                  <a:gd name="T37" fmla="*/ 68 h 423"/>
                  <a:gd name="T38" fmla="*/ 231 w 422"/>
                  <a:gd name="T39" fmla="*/ 68 h 423"/>
                  <a:gd name="T40" fmla="*/ 231 w 422"/>
                  <a:gd name="T41" fmla="*/ 109 h 423"/>
                  <a:gd name="T42" fmla="*/ 272 w 422"/>
                  <a:gd name="T43" fmla="*/ 123 h 423"/>
                  <a:gd name="T44" fmla="*/ 258 w 422"/>
                  <a:gd name="T45" fmla="*/ 135 h 423"/>
                  <a:gd name="T46" fmla="*/ 218 w 422"/>
                  <a:gd name="T47" fmla="*/ 123 h 423"/>
                  <a:gd name="T48" fmla="*/ 177 w 422"/>
                  <a:gd name="T49" fmla="*/ 163 h 423"/>
                  <a:gd name="T50" fmla="*/ 231 w 422"/>
                  <a:gd name="T51" fmla="*/ 191 h 423"/>
                  <a:gd name="T52" fmla="*/ 272 w 422"/>
                  <a:gd name="T53" fmla="*/ 259 h 423"/>
                  <a:gd name="T54" fmla="*/ 218 w 422"/>
                  <a:gd name="T55" fmla="*/ 314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2" h="423">
                    <a:moveTo>
                      <a:pt x="218" y="0"/>
                    </a:moveTo>
                    <a:lnTo>
                      <a:pt x="218" y="0"/>
                    </a:lnTo>
                    <a:cubicBezTo>
                      <a:pt x="95" y="0"/>
                      <a:pt x="0" y="95"/>
                      <a:pt x="0" y="218"/>
                    </a:cubicBezTo>
                    <a:cubicBezTo>
                      <a:pt x="0" y="326"/>
                      <a:pt x="95" y="422"/>
                      <a:pt x="218" y="422"/>
                    </a:cubicBezTo>
                    <a:cubicBezTo>
                      <a:pt x="326" y="422"/>
                      <a:pt x="421" y="326"/>
                      <a:pt x="421" y="218"/>
                    </a:cubicBezTo>
                    <a:cubicBezTo>
                      <a:pt x="421" y="95"/>
                      <a:pt x="326" y="0"/>
                      <a:pt x="218" y="0"/>
                    </a:cubicBezTo>
                    <a:close/>
                    <a:moveTo>
                      <a:pt x="218" y="314"/>
                    </a:moveTo>
                    <a:lnTo>
                      <a:pt x="218" y="314"/>
                    </a:lnTo>
                    <a:cubicBezTo>
                      <a:pt x="218" y="354"/>
                      <a:pt x="218" y="354"/>
                      <a:pt x="218" y="354"/>
                    </a:cubicBezTo>
                    <a:cubicBezTo>
                      <a:pt x="204" y="354"/>
                      <a:pt x="204" y="354"/>
                      <a:pt x="204" y="354"/>
                    </a:cubicBezTo>
                    <a:cubicBezTo>
                      <a:pt x="204" y="314"/>
                      <a:pt x="204" y="314"/>
                      <a:pt x="204" y="314"/>
                    </a:cubicBezTo>
                    <a:cubicBezTo>
                      <a:pt x="177" y="314"/>
                      <a:pt x="163" y="314"/>
                      <a:pt x="150" y="300"/>
                    </a:cubicBezTo>
                    <a:cubicBezTo>
                      <a:pt x="163" y="286"/>
                      <a:pt x="163" y="286"/>
                      <a:pt x="163" y="286"/>
                    </a:cubicBezTo>
                    <a:cubicBezTo>
                      <a:pt x="177" y="286"/>
                      <a:pt x="190" y="300"/>
                      <a:pt x="204" y="300"/>
                    </a:cubicBezTo>
                    <a:cubicBezTo>
                      <a:pt x="231" y="300"/>
                      <a:pt x="244" y="286"/>
                      <a:pt x="244" y="259"/>
                    </a:cubicBezTo>
                    <a:cubicBezTo>
                      <a:pt x="244" y="245"/>
                      <a:pt x="231" y="231"/>
                      <a:pt x="204" y="218"/>
                    </a:cubicBezTo>
                    <a:cubicBezTo>
                      <a:pt x="177" y="205"/>
                      <a:pt x="150" y="191"/>
                      <a:pt x="150" y="163"/>
                    </a:cubicBezTo>
                    <a:cubicBezTo>
                      <a:pt x="150" y="135"/>
                      <a:pt x="177" y="109"/>
                      <a:pt x="204" y="109"/>
                    </a:cubicBezTo>
                    <a:cubicBezTo>
                      <a:pt x="204" y="68"/>
                      <a:pt x="204" y="68"/>
                      <a:pt x="204" y="68"/>
                    </a:cubicBezTo>
                    <a:cubicBezTo>
                      <a:pt x="231" y="68"/>
                      <a:pt x="231" y="68"/>
                      <a:pt x="231" y="68"/>
                    </a:cubicBezTo>
                    <a:cubicBezTo>
                      <a:pt x="231" y="109"/>
                      <a:pt x="231" y="109"/>
                      <a:pt x="231" y="109"/>
                    </a:cubicBezTo>
                    <a:cubicBezTo>
                      <a:pt x="244" y="109"/>
                      <a:pt x="258" y="109"/>
                      <a:pt x="272" y="123"/>
                    </a:cubicBezTo>
                    <a:cubicBezTo>
                      <a:pt x="258" y="135"/>
                      <a:pt x="258" y="135"/>
                      <a:pt x="258" y="135"/>
                    </a:cubicBezTo>
                    <a:cubicBezTo>
                      <a:pt x="258" y="135"/>
                      <a:pt x="244" y="123"/>
                      <a:pt x="218" y="123"/>
                    </a:cubicBezTo>
                    <a:cubicBezTo>
                      <a:pt x="190" y="123"/>
                      <a:pt x="177" y="149"/>
                      <a:pt x="177" y="163"/>
                    </a:cubicBezTo>
                    <a:cubicBezTo>
                      <a:pt x="177" y="177"/>
                      <a:pt x="190" y="191"/>
                      <a:pt x="231" y="191"/>
                    </a:cubicBezTo>
                    <a:cubicBezTo>
                      <a:pt x="258" y="218"/>
                      <a:pt x="272" y="231"/>
                      <a:pt x="272" y="259"/>
                    </a:cubicBezTo>
                    <a:cubicBezTo>
                      <a:pt x="272" y="286"/>
                      <a:pt x="258" y="314"/>
                      <a:pt x="218" y="314"/>
                    </a:cubicBezTo>
                    <a:close/>
                  </a:path>
                </a:pathLst>
              </a:custGeom>
              <a:solidFill>
                <a:schemeClr val="bg1"/>
              </a:solidFill>
              <a:ln>
                <a:noFill/>
              </a:ln>
              <a:effectLst/>
            </p:spPr>
            <p:txBody>
              <a:bodyPr wrap="none" lIns="152366" tIns="76183" rIns="152366" bIns="76183" anchor="ctr"/>
              <a:lstStyle/>
              <a:p>
                <a:endParaRPr lang="en-US" dirty="0">
                  <a:latin typeface="Calibri Light"/>
                </a:endParaRPr>
              </a:p>
            </p:txBody>
          </p:sp>
          <p:sp>
            <p:nvSpPr>
              <p:cNvPr id="27" name="Freeform 813"/>
              <p:cNvSpPr>
                <a:spLocks noChangeArrowheads="1"/>
              </p:cNvSpPr>
              <p:nvPr/>
            </p:nvSpPr>
            <p:spPr bwMode="auto">
              <a:xfrm>
                <a:off x="4033643" y="8396641"/>
                <a:ext cx="438960" cy="142175"/>
              </a:xfrm>
              <a:custGeom>
                <a:avLst/>
                <a:gdLst>
                  <a:gd name="T0" fmla="*/ 231 w 464"/>
                  <a:gd name="T1" fmla="*/ 149 h 150"/>
                  <a:gd name="T2" fmla="*/ 231 w 464"/>
                  <a:gd name="T3" fmla="*/ 149 h 150"/>
                  <a:gd name="T4" fmla="*/ 463 w 464"/>
                  <a:gd name="T5" fmla="*/ 68 h 150"/>
                  <a:gd name="T6" fmla="*/ 231 w 464"/>
                  <a:gd name="T7" fmla="*/ 0 h 150"/>
                  <a:gd name="T8" fmla="*/ 0 w 464"/>
                  <a:gd name="T9" fmla="*/ 68 h 150"/>
                  <a:gd name="T10" fmla="*/ 231 w 464"/>
                  <a:gd name="T11" fmla="*/ 149 h 150"/>
                </a:gdLst>
                <a:ahLst/>
                <a:cxnLst>
                  <a:cxn ang="0">
                    <a:pos x="T0" y="T1"/>
                  </a:cxn>
                  <a:cxn ang="0">
                    <a:pos x="T2" y="T3"/>
                  </a:cxn>
                  <a:cxn ang="0">
                    <a:pos x="T4" y="T5"/>
                  </a:cxn>
                  <a:cxn ang="0">
                    <a:pos x="T6" y="T7"/>
                  </a:cxn>
                  <a:cxn ang="0">
                    <a:pos x="T8" y="T9"/>
                  </a:cxn>
                  <a:cxn ang="0">
                    <a:pos x="T10" y="T11"/>
                  </a:cxn>
                </a:cxnLst>
                <a:rect l="0" t="0" r="r" b="b"/>
                <a:pathLst>
                  <a:path w="464" h="150">
                    <a:moveTo>
                      <a:pt x="231" y="149"/>
                    </a:moveTo>
                    <a:lnTo>
                      <a:pt x="231" y="149"/>
                    </a:lnTo>
                    <a:cubicBezTo>
                      <a:pt x="354" y="149"/>
                      <a:pt x="463" y="108"/>
                      <a:pt x="463" y="68"/>
                    </a:cubicBezTo>
                    <a:cubicBezTo>
                      <a:pt x="463" y="27"/>
                      <a:pt x="354" y="0"/>
                      <a:pt x="231" y="0"/>
                    </a:cubicBezTo>
                    <a:cubicBezTo>
                      <a:pt x="109" y="0"/>
                      <a:pt x="0" y="27"/>
                      <a:pt x="0" y="68"/>
                    </a:cubicBezTo>
                    <a:cubicBezTo>
                      <a:pt x="0" y="108"/>
                      <a:pt x="109" y="149"/>
                      <a:pt x="231" y="149"/>
                    </a:cubicBezTo>
                  </a:path>
                </a:pathLst>
              </a:custGeom>
              <a:solidFill>
                <a:schemeClr val="bg1"/>
              </a:solidFill>
              <a:ln>
                <a:noFill/>
              </a:ln>
              <a:effectLst/>
            </p:spPr>
            <p:txBody>
              <a:bodyPr wrap="none" lIns="152366" tIns="76183" rIns="152366" bIns="76183" anchor="ctr"/>
              <a:lstStyle/>
              <a:p>
                <a:endParaRPr lang="en-US" dirty="0">
                  <a:latin typeface="Calibri Light"/>
                </a:endParaRPr>
              </a:p>
            </p:txBody>
          </p:sp>
          <p:sp>
            <p:nvSpPr>
              <p:cNvPr id="28" name="Freeform 814"/>
              <p:cNvSpPr>
                <a:spLocks noChangeArrowheads="1"/>
              </p:cNvSpPr>
              <p:nvPr/>
            </p:nvSpPr>
            <p:spPr bwMode="auto">
              <a:xfrm>
                <a:off x="4033643" y="8509544"/>
                <a:ext cx="438960" cy="91996"/>
              </a:xfrm>
              <a:custGeom>
                <a:avLst/>
                <a:gdLst>
                  <a:gd name="T0" fmla="*/ 449 w 464"/>
                  <a:gd name="T1" fmla="*/ 0 h 96"/>
                  <a:gd name="T2" fmla="*/ 449 w 464"/>
                  <a:gd name="T3" fmla="*/ 0 h 96"/>
                  <a:gd name="T4" fmla="*/ 449 w 464"/>
                  <a:gd name="T5" fmla="*/ 0 h 96"/>
                  <a:gd name="T6" fmla="*/ 231 w 464"/>
                  <a:gd name="T7" fmla="*/ 40 h 96"/>
                  <a:gd name="T8" fmla="*/ 13 w 464"/>
                  <a:gd name="T9" fmla="*/ 0 h 96"/>
                  <a:gd name="T10" fmla="*/ 13 w 464"/>
                  <a:gd name="T11" fmla="*/ 0 h 96"/>
                  <a:gd name="T12" fmla="*/ 13 w 464"/>
                  <a:gd name="T13" fmla="*/ 0 h 96"/>
                  <a:gd name="T14" fmla="*/ 0 w 464"/>
                  <a:gd name="T15" fmla="*/ 26 h 96"/>
                  <a:gd name="T16" fmla="*/ 231 w 464"/>
                  <a:gd name="T17" fmla="*/ 95 h 96"/>
                  <a:gd name="T18" fmla="*/ 463 w 464"/>
                  <a:gd name="T19" fmla="*/ 26 h 96"/>
                  <a:gd name="T20" fmla="*/ 449 w 464"/>
                  <a:gd name="T2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4" h="96">
                    <a:moveTo>
                      <a:pt x="449" y="0"/>
                    </a:moveTo>
                    <a:lnTo>
                      <a:pt x="449" y="0"/>
                    </a:lnTo>
                    <a:lnTo>
                      <a:pt x="449" y="0"/>
                    </a:lnTo>
                    <a:cubicBezTo>
                      <a:pt x="394" y="26"/>
                      <a:pt x="300" y="40"/>
                      <a:pt x="231" y="40"/>
                    </a:cubicBezTo>
                    <a:cubicBezTo>
                      <a:pt x="163" y="40"/>
                      <a:pt x="67" y="26"/>
                      <a:pt x="13" y="0"/>
                    </a:cubicBezTo>
                    <a:lnTo>
                      <a:pt x="13" y="0"/>
                    </a:lnTo>
                    <a:lnTo>
                      <a:pt x="13" y="0"/>
                    </a:lnTo>
                    <a:cubicBezTo>
                      <a:pt x="0" y="12"/>
                      <a:pt x="0" y="12"/>
                      <a:pt x="0" y="26"/>
                    </a:cubicBezTo>
                    <a:cubicBezTo>
                      <a:pt x="0" y="68"/>
                      <a:pt x="109" y="95"/>
                      <a:pt x="231" y="95"/>
                    </a:cubicBezTo>
                    <a:cubicBezTo>
                      <a:pt x="354" y="95"/>
                      <a:pt x="463" y="68"/>
                      <a:pt x="463" y="26"/>
                    </a:cubicBezTo>
                    <a:cubicBezTo>
                      <a:pt x="463" y="12"/>
                      <a:pt x="463" y="12"/>
                      <a:pt x="449" y="0"/>
                    </a:cubicBezTo>
                  </a:path>
                </a:pathLst>
              </a:custGeom>
              <a:solidFill>
                <a:schemeClr val="bg1"/>
              </a:solidFill>
              <a:ln>
                <a:noFill/>
              </a:ln>
              <a:effectLst/>
            </p:spPr>
            <p:txBody>
              <a:bodyPr wrap="none" lIns="152366" tIns="76183" rIns="152366" bIns="76183" anchor="ctr"/>
              <a:lstStyle/>
              <a:p>
                <a:endParaRPr lang="en-US" dirty="0">
                  <a:latin typeface="Calibri Light"/>
                </a:endParaRPr>
              </a:p>
            </p:txBody>
          </p:sp>
          <p:sp>
            <p:nvSpPr>
              <p:cNvPr id="29" name="Freeform 815"/>
              <p:cNvSpPr>
                <a:spLocks noChangeArrowheads="1"/>
              </p:cNvSpPr>
              <p:nvPr/>
            </p:nvSpPr>
            <p:spPr bwMode="auto">
              <a:xfrm>
                <a:off x="4033644" y="8576451"/>
                <a:ext cx="41805" cy="12545"/>
              </a:xfrm>
              <a:custGeom>
                <a:avLst/>
                <a:gdLst>
                  <a:gd name="T0" fmla="*/ 41 w 42"/>
                  <a:gd name="T1" fmla="*/ 12 h 13"/>
                  <a:gd name="T2" fmla="*/ 41 w 42"/>
                  <a:gd name="T3" fmla="*/ 12 h 13"/>
                  <a:gd name="T4" fmla="*/ 13 w 42"/>
                  <a:gd name="T5" fmla="*/ 0 h 13"/>
                  <a:gd name="T6" fmla="*/ 13 w 42"/>
                  <a:gd name="T7" fmla="*/ 0 h 13"/>
                  <a:gd name="T8" fmla="*/ 13 w 42"/>
                  <a:gd name="T9" fmla="*/ 0 h 13"/>
                  <a:gd name="T10" fmla="*/ 0 w 42"/>
                  <a:gd name="T11" fmla="*/ 12 h 13"/>
                  <a:gd name="T12" fmla="*/ 41 w 42"/>
                  <a:gd name="T13" fmla="*/ 12 h 13"/>
                </a:gdLst>
                <a:ahLst/>
                <a:cxnLst>
                  <a:cxn ang="0">
                    <a:pos x="T0" y="T1"/>
                  </a:cxn>
                  <a:cxn ang="0">
                    <a:pos x="T2" y="T3"/>
                  </a:cxn>
                  <a:cxn ang="0">
                    <a:pos x="T4" y="T5"/>
                  </a:cxn>
                  <a:cxn ang="0">
                    <a:pos x="T6" y="T7"/>
                  </a:cxn>
                  <a:cxn ang="0">
                    <a:pos x="T8" y="T9"/>
                  </a:cxn>
                  <a:cxn ang="0">
                    <a:pos x="T10" y="T11"/>
                  </a:cxn>
                  <a:cxn ang="0">
                    <a:pos x="T12" y="T13"/>
                  </a:cxn>
                </a:cxnLst>
                <a:rect l="0" t="0" r="r" b="b"/>
                <a:pathLst>
                  <a:path w="42" h="13">
                    <a:moveTo>
                      <a:pt x="41" y="12"/>
                    </a:moveTo>
                    <a:lnTo>
                      <a:pt x="41" y="12"/>
                    </a:lnTo>
                    <a:cubicBezTo>
                      <a:pt x="41" y="12"/>
                      <a:pt x="27" y="12"/>
                      <a:pt x="13" y="0"/>
                    </a:cubicBezTo>
                    <a:lnTo>
                      <a:pt x="13" y="0"/>
                    </a:lnTo>
                    <a:lnTo>
                      <a:pt x="13" y="0"/>
                    </a:lnTo>
                    <a:cubicBezTo>
                      <a:pt x="13" y="12"/>
                      <a:pt x="0" y="12"/>
                      <a:pt x="0" y="12"/>
                    </a:cubicBezTo>
                    <a:cubicBezTo>
                      <a:pt x="13" y="12"/>
                      <a:pt x="27" y="12"/>
                      <a:pt x="41" y="12"/>
                    </a:cubicBezTo>
                  </a:path>
                </a:pathLst>
              </a:custGeom>
              <a:solidFill>
                <a:schemeClr val="bg1"/>
              </a:solidFill>
              <a:ln>
                <a:noFill/>
              </a:ln>
              <a:effectLst/>
            </p:spPr>
            <p:txBody>
              <a:bodyPr wrap="none" lIns="152366" tIns="76183" rIns="152366" bIns="76183" anchor="ctr"/>
              <a:lstStyle/>
              <a:p>
                <a:endParaRPr lang="en-US" dirty="0">
                  <a:latin typeface="Calibri Light"/>
                </a:endParaRPr>
              </a:p>
            </p:txBody>
          </p:sp>
          <p:sp>
            <p:nvSpPr>
              <p:cNvPr id="30" name="Freeform 816"/>
              <p:cNvSpPr>
                <a:spLocks noChangeArrowheads="1"/>
              </p:cNvSpPr>
              <p:nvPr/>
            </p:nvSpPr>
            <p:spPr bwMode="auto">
              <a:xfrm>
                <a:off x="4163243" y="8576451"/>
                <a:ext cx="309362" cy="91996"/>
              </a:xfrm>
              <a:custGeom>
                <a:avLst/>
                <a:gdLst>
                  <a:gd name="T0" fmla="*/ 313 w 328"/>
                  <a:gd name="T1" fmla="*/ 0 h 96"/>
                  <a:gd name="T2" fmla="*/ 313 w 328"/>
                  <a:gd name="T3" fmla="*/ 0 h 96"/>
                  <a:gd name="T4" fmla="*/ 313 w 328"/>
                  <a:gd name="T5" fmla="*/ 0 h 96"/>
                  <a:gd name="T6" fmla="*/ 95 w 328"/>
                  <a:gd name="T7" fmla="*/ 40 h 96"/>
                  <a:gd name="T8" fmla="*/ 0 w 328"/>
                  <a:gd name="T9" fmla="*/ 40 h 96"/>
                  <a:gd name="T10" fmla="*/ 82 w 328"/>
                  <a:gd name="T11" fmla="*/ 95 h 96"/>
                  <a:gd name="T12" fmla="*/ 95 w 328"/>
                  <a:gd name="T13" fmla="*/ 95 h 96"/>
                  <a:gd name="T14" fmla="*/ 327 w 328"/>
                  <a:gd name="T15" fmla="*/ 27 h 96"/>
                  <a:gd name="T16" fmla="*/ 313 w 328"/>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96">
                    <a:moveTo>
                      <a:pt x="313" y="0"/>
                    </a:moveTo>
                    <a:lnTo>
                      <a:pt x="313" y="0"/>
                    </a:lnTo>
                    <a:lnTo>
                      <a:pt x="313" y="0"/>
                    </a:lnTo>
                    <a:cubicBezTo>
                      <a:pt x="258" y="27"/>
                      <a:pt x="164" y="40"/>
                      <a:pt x="95" y="40"/>
                    </a:cubicBezTo>
                    <a:cubicBezTo>
                      <a:pt x="68" y="40"/>
                      <a:pt x="27" y="40"/>
                      <a:pt x="0" y="40"/>
                    </a:cubicBezTo>
                    <a:cubicBezTo>
                      <a:pt x="27" y="54"/>
                      <a:pt x="54" y="67"/>
                      <a:pt x="82" y="95"/>
                    </a:cubicBezTo>
                    <a:lnTo>
                      <a:pt x="95" y="95"/>
                    </a:lnTo>
                    <a:cubicBezTo>
                      <a:pt x="218" y="95"/>
                      <a:pt x="327" y="67"/>
                      <a:pt x="327" y="27"/>
                    </a:cubicBezTo>
                    <a:cubicBezTo>
                      <a:pt x="327" y="12"/>
                      <a:pt x="327" y="12"/>
                      <a:pt x="313" y="0"/>
                    </a:cubicBezTo>
                  </a:path>
                </a:pathLst>
              </a:custGeom>
              <a:solidFill>
                <a:schemeClr val="bg1"/>
              </a:solidFill>
              <a:ln>
                <a:noFill/>
              </a:ln>
              <a:effectLst/>
            </p:spPr>
            <p:txBody>
              <a:bodyPr wrap="none" lIns="152366" tIns="76183" rIns="152366" bIns="76183" anchor="ctr"/>
              <a:lstStyle/>
              <a:p>
                <a:endParaRPr lang="en-US" dirty="0">
                  <a:latin typeface="Calibri Light"/>
                </a:endParaRPr>
              </a:p>
            </p:txBody>
          </p:sp>
          <p:sp>
            <p:nvSpPr>
              <p:cNvPr id="31" name="Freeform 817"/>
              <p:cNvSpPr>
                <a:spLocks noChangeArrowheads="1"/>
              </p:cNvSpPr>
              <p:nvPr/>
            </p:nvSpPr>
            <p:spPr bwMode="auto">
              <a:xfrm>
                <a:off x="4255215" y="8639177"/>
                <a:ext cx="221569" cy="91996"/>
              </a:xfrm>
              <a:custGeom>
                <a:avLst/>
                <a:gdLst>
                  <a:gd name="T0" fmla="*/ 218 w 233"/>
                  <a:gd name="T1" fmla="*/ 0 h 97"/>
                  <a:gd name="T2" fmla="*/ 218 w 233"/>
                  <a:gd name="T3" fmla="*/ 0 h 97"/>
                  <a:gd name="T4" fmla="*/ 218 w 233"/>
                  <a:gd name="T5" fmla="*/ 0 h 97"/>
                  <a:gd name="T6" fmla="*/ 0 w 233"/>
                  <a:gd name="T7" fmla="*/ 41 h 97"/>
                  <a:gd name="T8" fmla="*/ 0 w 233"/>
                  <a:gd name="T9" fmla="*/ 41 h 97"/>
                  <a:gd name="T10" fmla="*/ 27 w 233"/>
                  <a:gd name="T11" fmla="*/ 96 h 97"/>
                  <a:gd name="T12" fmla="*/ 232 w 233"/>
                  <a:gd name="T13" fmla="*/ 28 h 97"/>
                  <a:gd name="T14" fmla="*/ 218 w 233"/>
                  <a:gd name="T15" fmla="*/ 0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3" h="97">
                    <a:moveTo>
                      <a:pt x="218" y="0"/>
                    </a:moveTo>
                    <a:lnTo>
                      <a:pt x="218" y="0"/>
                    </a:lnTo>
                    <a:lnTo>
                      <a:pt x="218" y="0"/>
                    </a:lnTo>
                    <a:cubicBezTo>
                      <a:pt x="163" y="41"/>
                      <a:pt x="69" y="41"/>
                      <a:pt x="0" y="41"/>
                    </a:cubicBezTo>
                    <a:lnTo>
                      <a:pt x="0" y="41"/>
                    </a:lnTo>
                    <a:cubicBezTo>
                      <a:pt x="13" y="54"/>
                      <a:pt x="13" y="82"/>
                      <a:pt x="27" y="96"/>
                    </a:cubicBezTo>
                    <a:cubicBezTo>
                      <a:pt x="137" y="96"/>
                      <a:pt x="232" y="68"/>
                      <a:pt x="232" y="28"/>
                    </a:cubicBezTo>
                    <a:cubicBezTo>
                      <a:pt x="232" y="14"/>
                      <a:pt x="232" y="14"/>
                      <a:pt x="218" y="0"/>
                    </a:cubicBezTo>
                  </a:path>
                </a:pathLst>
              </a:custGeom>
              <a:solidFill>
                <a:schemeClr val="bg1"/>
              </a:solidFill>
              <a:ln>
                <a:noFill/>
              </a:ln>
              <a:effectLst/>
            </p:spPr>
            <p:txBody>
              <a:bodyPr wrap="none" lIns="152366" tIns="76183" rIns="152366" bIns="76183" anchor="ctr"/>
              <a:lstStyle/>
              <a:p>
                <a:endParaRPr lang="en-US" dirty="0">
                  <a:latin typeface="Calibri Light"/>
                </a:endParaRPr>
              </a:p>
            </p:txBody>
          </p:sp>
          <p:sp>
            <p:nvSpPr>
              <p:cNvPr id="32" name="Freeform 818"/>
              <p:cNvSpPr>
                <a:spLocks noChangeArrowheads="1"/>
              </p:cNvSpPr>
              <p:nvPr/>
            </p:nvSpPr>
            <p:spPr bwMode="auto">
              <a:xfrm>
                <a:off x="4280297" y="8701901"/>
                <a:ext cx="196486" cy="91996"/>
              </a:xfrm>
              <a:custGeom>
                <a:avLst/>
                <a:gdLst>
                  <a:gd name="T0" fmla="*/ 191 w 206"/>
                  <a:gd name="T1" fmla="*/ 0 h 97"/>
                  <a:gd name="T2" fmla="*/ 191 w 206"/>
                  <a:gd name="T3" fmla="*/ 0 h 97"/>
                  <a:gd name="T4" fmla="*/ 191 w 206"/>
                  <a:gd name="T5" fmla="*/ 0 h 97"/>
                  <a:gd name="T6" fmla="*/ 0 w 206"/>
                  <a:gd name="T7" fmla="*/ 40 h 97"/>
                  <a:gd name="T8" fmla="*/ 14 w 206"/>
                  <a:gd name="T9" fmla="*/ 96 h 97"/>
                  <a:gd name="T10" fmla="*/ 205 w 206"/>
                  <a:gd name="T11" fmla="*/ 28 h 97"/>
                  <a:gd name="T12" fmla="*/ 191 w 206"/>
                  <a:gd name="T13" fmla="*/ 0 h 97"/>
                </a:gdLst>
                <a:ahLst/>
                <a:cxnLst>
                  <a:cxn ang="0">
                    <a:pos x="T0" y="T1"/>
                  </a:cxn>
                  <a:cxn ang="0">
                    <a:pos x="T2" y="T3"/>
                  </a:cxn>
                  <a:cxn ang="0">
                    <a:pos x="T4" y="T5"/>
                  </a:cxn>
                  <a:cxn ang="0">
                    <a:pos x="T6" y="T7"/>
                  </a:cxn>
                  <a:cxn ang="0">
                    <a:pos x="T8" y="T9"/>
                  </a:cxn>
                  <a:cxn ang="0">
                    <a:pos x="T10" y="T11"/>
                  </a:cxn>
                  <a:cxn ang="0">
                    <a:pos x="T12" y="T13"/>
                  </a:cxn>
                </a:cxnLst>
                <a:rect l="0" t="0" r="r" b="b"/>
                <a:pathLst>
                  <a:path w="206" h="97">
                    <a:moveTo>
                      <a:pt x="191" y="0"/>
                    </a:moveTo>
                    <a:lnTo>
                      <a:pt x="191" y="0"/>
                    </a:lnTo>
                    <a:lnTo>
                      <a:pt x="191" y="0"/>
                    </a:lnTo>
                    <a:cubicBezTo>
                      <a:pt x="150" y="28"/>
                      <a:pt x="68" y="40"/>
                      <a:pt x="0" y="40"/>
                    </a:cubicBezTo>
                    <a:cubicBezTo>
                      <a:pt x="14" y="54"/>
                      <a:pt x="14" y="82"/>
                      <a:pt x="14" y="96"/>
                    </a:cubicBezTo>
                    <a:cubicBezTo>
                      <a:pt x="123" y="96"/>
                      <a:pt x="205" y="68"/>
                      <a:pt x="205" y="28"/>
                    </a:cubicBezTo>
                    <a:cubicBezTo>
                      <a:pt x="205" y="14"/>
                      <a:pt x="205" y="14"/>
                      <a:pt x="191" y="0"/>
                    </a:cubicBezTo>
                  </a:path>
                </a:pathLst>
              </a:custGeom>
              <a:solidFill>
                <a:schemeClr val="bg1"/>
              </a:solidFill>
              <a:ln>
                <a:noFill/>
              </a:ln>
              <a:effectLst/>
            </p:spPr>
            <p:txBody>
              <a:bodyPr wrap="none" lIns="152366" tIns="76183" rIns="152366" bIns="76183" anchor="ctr"/>
              <a:lstStyle/>
              <a:p>
                <a:endParaRPr lang="en-US" dirty="0">
                  <a:latin typeface="Calibri Light"/>
                </a:endParaRPr>
              </a:p>
            </p:txBody>
          </p:sp>
          <p:sp>
            <p:nvSpPr>
              <p:cNvPr id="33" name="Freeform 819"/>
              <p:cNvSpPr>
                <a:spLocks noChangeArrowheads="1"/>
              </p:cNvSpPr>
              <p:nvPr/>
            </p:nvSpPr>
            <p:spPr bwMode="auto">
              <a:xfrm>
                <a:off x="4292839" y="8768807"/>
                <a:ext cx="183944" cy="91996"/>
              </a:xfrm>
              <a:custGeom>
                <a:avLst/>
                <a:gdLst>
                  <a:gd name="T0" fmla="*/ 177 w 192"/>
                  <a:gd name="T1" fmla="*/ 0 h 97"/>
                  <a:gd name="T2" fmla="*/ 177 w 192"/>
                  <a:gd name="T3" fmla="*/ 0 h 97"/>
                  <a:gd name="T4" fmla="*/ 177 w 192"/>
                  <a:gd name="T5" fmla="*/ 0 h 97"/>
                  <a:gd name="T6" fmla="*/ 0 w 192"/>
                  <a:gd name="T7" fmla="*/ 42 h 97"/>
                  <a:gd name="T8" fmla="*/ 0 w 192"/>
                  <a:gd name="T9" fmla="*/ 55 h 97"/>
                  <a:gd name="T10" fmla="*/ 0 w 192"/>
                  <a:gd name="T11" fmla="*/ 96 h 97"/>
                  <a:gd name="T12" fmla="*/ 191 w 192"/>
                  <a:gd name="T13" fmla="*/ 28 h 97"/>
                  <a:gd name="T14" fmla="*/ 177 w 192"/>
                  <a:gd name="T15" fmla="*/ 0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7">
                    <a:moveTo>
                      <a:pt x="177" y="0"/>
                    </a:moveTo>
                    <a:lnTo>
                      <a:pt x="177" y="0"/>
                    </a:lnTo>
                    <a:lnTo>
                      <a:pt x="177" y="0"/>
                    </a:lnTo>
                    <a:cubicBezTo>
                      <a:pt x="136" y="28"/>
                      <a:pt x="68" y="42"/>
                      <a:pt x="0" y="42"/>
                    </a:cubicBezTo>
                    <a:lnTo>
                      <a:pt x="0" y="55"/>
                    </a:lnTo>
                    <a:cubicBezTo>
                      <a:pt x="0" y="68"/>
                      <a:pt x="0" y="82"/>
                      <a:pt x="0" y="96"/>
                    </a:cubicBezTo>
                    <a:cubicBezTo>
                      <a:pt x="109" y="96"/>
                      <a:pt x="191" y="68"/>
                      <a:pt x="191" y="28"/>
                    </a:cubicBezTo>
                    <a:cubicBezTo>
                      <a:pt x="191" y="14"/>
                      <a:pt x="191" y="14"/>
                      <a:pt x="177" y="0"/>
                    </a:cubicBezTo>
                  </a:path>
                </a:pathLst>
              </a:custGeom>
              <a:solidFill>
                <a:schemeClr val="bg1"/>
              </a:solidFill>
              <a:ln>
                <a:noFill/>
              </a:ln>
              <a:effectLst/>
            </p:spPr>
            <p:txBody>
              <a:bodyPr wrap="none" lIns="152366" tIns="76183" rIns="152366" bIns="76183" anchor="ctr"/>
              <a:lstStyle/>
              <a:p>
                <a:endParaRPr lang="en-US" dirty="0">
                  <a:latin typeface="Calibri Light"/>
                </a:endParaRPr>
              </a:p>
            </p:txBody>
          </p:sp>
        </p:grpSp>
      </p:grpSp>
      <p:sp>
        <p:nvSpPr>
          <p:cNvPr id="25" name="TextBox 24"/>
          <p:cNvSpPr txBox="1"/>
          <p:nvPr/>
        </p:nvSpPr>
        <p:spPr>
          <a:xfrm>
            <a:off x="10087404" y="4134615"/>
            <a:ext cx="2030746" cy="1046404"/>
          </a:xfrm>
          <a:prstGeom prst="rect">
            <a:avLst/>
          </a:prstGeom>
          <a:noFill/>
        </p:spPr>
        <p:txBody>
          <a:bodyPr wrap="square" lIns="182843" tIns="91422" rIns="182843" bIns="91422" rtlCol="0">
            <a:spAutoFit/>
          </a:bodyPr>
          <a:lstStyle/>
          <a:p>
            <a:pPr algn="ctr"/>
            <a:r>
              <a:rPr lang="en-US" sz="1400" b="1" dirty="0">
                <a:latin typeface="Roboto Regular" pitchFamily="2" charset="0"/>
                <a:ea typeface="Roboto Regular" pitchFamily="2" charset="0"/>
                <a:cs typeface="Calibri Light"/>
              </a:rPr>
              <a:t>Lorem Ipsum </a:t>
            </a:r>
            <a:r>
              <a:rPr lang="en-US" sz="1400" dirty="0">
                <a:latin typeface="Roboto Regular" pitchFamily="2" charset="0"/>
                <a:ea typeface="Roboto Regular" pitchFamily="2" charset="0"/>
                <a:cs typeface="Calibri Light"/>
              </a:rPr>
              <a:t>has two main data statistical this methodologies.</a:t>
            </a:r>
          </a:p>
        </p:txBody>
      </p:sp>
      <p:sp>
        <p:nvSpPr>
          <p:cNvPr id="36" name="TextBox 35"/>
          <p:cNvSpPr txBox="1"/>
          <p:nvPr/>
        </p:nvSpPr>
        <p:spPr>
          <a:xfrm>
            <a:off x="986419" y="3582602"/>
            <a:ext cx="1504184" cy="430851"/>
          </a:xfrm>
          <a:prstGeom prst="rect">
            <a:avLst/>
          </a:prstGeom>
          <a:noFill/>
        </p:spPr>
        <p:txBody>
          <a:bodyPr wrap="none" lIns="182843" tIns="91422" rIns="182843" bIns="91422" rtlCol="0">
            <a:spAutoFit/>
          </a:bodyPr>
          <a:lstStyle/>
          <a:p>
            <a:pPr algn="ctr"/>
            <a:r>
              <a:rPr lang="id-ID" sz="1600" b="1" dirty="0" smtClean="0">
                <a:latin typeface="+mj-lt"/>
              </a:rPr>
              <a:t>Save Money</a:t>
            </a:r>
            <a:endParaRPr lang="id-ID" sz="1600" b="1" dirty="0">
              <a:latin typeface="+mj-lt"/>
            </a:endParaRPr>
          </a:p>
        </p:txBody>
      </p:sp>
      <p:grpSp>
        <p:nvGrpSpPr>
          <p:cNvPr id="43" name="Group 42"/>
          <p:cNvGrpSpPr/>
          <p:nvPr>
            <p:custDataLst>
              <p:tags r:id="rId4"/>
            </p:custDataLst>
          </p:nvPr>
        </p:nvGrpSpPr>
        <p:grpSpPr>
          <a:xfrm>
            <a:off x="898978" y="2059187"/>
            <a:ext cx="1679067" cy="1300655"/>
            <a:chOff x="2823492" y="8108352"/>
            <a:chExt cx="3706810" cy="2871405"/>
          </a:xfrm>
        </p:grpSpPr>
        <p:sp>
          <p:nvSpPr>
            <p:cNvPr id="35" name="Freeform 9"/>
            <p:cNvSpPr>
              <a:spLocks noChangeArrowheads="1"/>
            </p:cNvSpPr>
            <p:nvPr/>
          </p:nvSpPr>
          <p:spPr bwMode="auto">
            <a:xfrm rot="16200000">
              <a:off x="3241194" y="7690650"/>
              <a:ext cx="2871405" cy="3706810"/>
            </a:xfrm>
            <a:custGeom>
              <a:avLst/>
              <a:gdLst>
                <a:gd name="T0" fmla="*/ 488 w 2801"/>
                <a:gd name="T1" fmla="*/ 910 h 3617"/>
                <a:gd name="T2" fmla="*/ 488 w 2801"/>
                <a:gd name="T3" fmla="*/ 910 h 3617"/>
                <a:gd name="T4" fmla="*/ 488 w 2801"/>
                <a:gd name="T5" fmla="*/ 910 h 3617"/>
                <a:gd name="T6" fmla="*/ 451 w 2801"/>
                <a:gd name="T7" fmla="*/ 2662 h 3617"/>
                <a:gd name="T8" fmla="*/ 451 w 2801"/>
                <a:gd name="T9" fmla="*/ 2662 h 3617"/>
                <a:gd name="T10" fmla="*/ 1399 w 2801"/>
                <a:gd name="T11" fmla="*/ 3616 h 3617"/>
                <a:gd name="T12" fmla="*/ 2311 w 2801"/>
                <a:gd name="T13" fmla="*/ 2705 h 3617"/>
                <a:gd name="T14" fmla="*/ 2311 w 2801"/>
                <a:gd name="T15" fmla="*/ 2705 h 3617"/>
                <a:gd name="T16" fmla="*/ 2348 w 2801"/>
                <a:gd name="T17" fmla="*/ 953 h 3617"/>
                <a:gd name="T18" fmla="*/ 2348 w 2801"/>
                <a:gd name="T19" fmla="*/ 953 h 3617"/>
                <a:gd name="T20" fmla="*/ 1399 w 2801"/>
                <a:gd name="T21" fmla="*/ 0 h 3617"/>
                <a:gd name="T22" fmla="*/ 488 w 2801"/>
                <a:gd name="T23" fmla="*/ 910 h 3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01" h="3617">
                  <a:moveTo>
                    <a:pt x="488" y="910"/>
                  </a:moveTo>
                  <a:lnTo>
                    <a:pt x="488" y="910"/>
                  </a:lnTo>
                  <a:lnTo>
                    <a:pt x="488" y="910"/>
                  </a:lnTo>
                  <a:cubicBezTo>
                    <a:pt x="14" y="1395"/>
                    <a:pt x="0" y="2165"/>
                    <a:pt x="451" y="2662"/>
                  </a:cubicBezTo>
                  <a:lnTo>
                    <a:pt x="451" y="2662"/>
                  </a:lnTo>
                  <a:cubicBezTo>
                    <a:pt x="1399" y="3616"/>
                    <a:pt x="1399" y="3616"/>
                    <a:pt x="1399" y="3616"/>
                  </a:cubicBezTo>
                  <a:cubicBezTo>
                    <a:pt x="2311" y="2705"/>
                    <a:pt x="2311" y="2705"/>
                    <a:pt x="2311" y="2705"/>
                  </a:cubicBezTo>
                  <a:lnTo>
                    <a:pt x="2311" y="2705"/>
                  </a:lnTo>
                  <a:cubicBezTo>
                    <a:pt x="2786" y="2221"/>
                    <a:pt x="2800" y="1451"/>
                    <a:pt x="2348" y="953"/>
                  </a:cubicBezTo>
                  <a:lnTo>
                    <a:pt x="2348" y="953"/>
                  </a:lnTo>
                  <a:cubicBezTo>
                    <a:pt x="1399" y="0"/>
                    <a:pt x="1399" y="0"/>
                    <a:pt x="1399" y="0"/>
                  </a:cubicBezTo>
                  <a:lnTo>
                    <a:pt x="488" y="910"/>
                  </a:lnTo>
                </a:path>
              </a:pathLst>
            </a:custGeom>
            <a:solidFill>
              <a:srgbClr val="0070C0"/>
            </a:solidFill>
            <a:ln>
              <a:noFill/>
            </a:ln>
            <a:effectLst/>
          </p:spPr>
          <p:txBody>
            <a:bodyPr wrap="none" anchor="ctr"/>
            <a:lstStyle/>
            <a:p>
              <a:endParaRPr lang="en-US" dirty="0">
                <a:latin typeface="Calibri Light"/>
              </a:endParaRPr>
            </a:p>
          </p:txBody>
        </p:sp>
        <p:sp>
          <p:nvSpPr>
            <p:cNvPr id="37" name="Freeform 700"/>
            <p:cNvSpPr>
              <a:spLocks noChangeAspect="1" noChangeArrowheads="1"/>
            </p:cNvSpPr>
            <p:nvPr/>
          </p:nvSpPr>
          <p:spPr bwMode="auto">
            <a:xfrm>
              <a:off x="4179850" y="9018773"/>
              <a:ext cx="1079159" cy="898326"/>
            </a:xfrm>
            <a:custGeom>
              <a:avLst/>
              <a:gdLst>
                <a:gd name="T0" fmla="*/ 654 w 655"/>
                <a:gd name="T1" fmla="*/ 165 h 546"/>
                <a:gd name="T2" fmla="*/ 572 w 655"/>
                <a:gd name="T3" fmla="*/ 219 h 546"/>
                <a:gd name="T4" fmla="*/ 286 w 655"/>
                <a:gd name="T5" fmla="*/ 55 h 546"/>
                <a:gd name="T6" fmla="*/ 137 w 655"/>
                <a:gd name="T7" fmla="*/ 0 h 546"/>
                <a:gd name="T8" fmla="*/ 96 w 655"/>
                <a:gd name="T9" fmla="*/ 14 h 546"/>
                <a:gd name="T10" fmla="*/ 137 w 655"/>
                <a:gd name="T11" fmla="*/ 123 h 546"/>
                <a:gd name="T12" fmla="*/ 28 w 655"/>
                <a:gd name="T13" fmla="*/ 205 h 546"/>
                <a:gd name="T14" fmla="*/ 0 w 655"/>
                <a:gd name="T15" fmla="*/ 273 h 546"/>
                <a:gd name="T16" fmla="*/ 14 w 655"/>
                <a:gd name="T17" fmla="*/ 328 h 546"/>
                <a:gd name="T18" fmla="*/ 123 w 655"/>
                <a:gd name="T19" fmla="*/ 450 h 546"/>
                <a:gd name="T20" fmla="*/ 123 w 655"/>
                <a:gd name="T21" fmla="*/ 545 h 546"/>
                <a:gd name="T22" fmla="*/ 191 w 655"/>
                <a:gd name="T23" fmla="*/ 545 h 546"/>
                <a:gd name="T24" fmla="*/ 191 w 655"/>
                <a:gd name="T25" fmla="*/ 477 h 546"/>
                <a:gd name="T26" fmla="*/ 396 w 655"/>
                <a:gd name="T27" fmla="*/ 545 h 546"/>
                <a:gd name="T28" fmla="*/ 464 w 655"/>
                <a:gd name="T29" fmla="*/ 545 h 546"/>
                <a:gd name="T30" fmla="*/ 464 w 655"/>
                <a:gd name="T31" fmla="*/ 450 h 546"/>
                <a:gd name="T32" fmla="*/ 572 w 655"/>
                <a:gd name="T33" fmla="*/ 245 h 546"/>
                <a:gd name="T34" fmla="*/ 654 w 655"/>
                <a:gd name="T35" fmla="*/ 191 h 546"/>
                <a:gd name="T36" fmla="*/ 219 w 655"/>
                <a:gd name="T37" fmla="*/ 232 h 546"/>
                <a:gd name="T38" fmla="*/ 191 w 655"/>
                <a:gd name="T39" fmla="*/ 191 h 546"/>
                <a:gd name="T40" fmla="*/ 245 w 655"/>
                <a:gd name="T41" fmla="*/ 191 h 546"/>
                <a:gd name="T42" fmla="*/ 382 w 655"/>
                <a:gd name="T43" fmla="*/ 368 h 546"/>
                <a:gd name="T44" fmla="*/ 382 w 655"/>
                <a:gd name="T45" fmla="*/ 396 h 546"/>
                <a:gd name="T46" fmla="*/ 368 w 655"/>
                <a:gd name="T47" fmla="*/ 368 h 546"/>
                <a:gd name="T48" fmla="*/ 327 w 655"/>
                <a:gd name="T49" fmla="*/ 340 h 546"/>
                <a:gd name="T50" fmla="*/ 396 w 655"/>
                <a:gd name="T51" fmla="*/ 328 h 546"/>
                <a:gd name="T52" fmla="*/ 327 w 655"/>
                <a:gd name="T53" fmla="*/ 245 h 546"/>
                <a:gd name="T54" fmla="*/ 368 w 655"/>
                <a:gd name="T55" fmla="*/ 177 h 546"/>
                <a:gd name="T56" fmla="*/ 382 w 655"/>
                <a:gd name="T57" fmla="*/ 205 h 546"/>
                <a:gd name="T58" fmla="*/ 408 w 655"/>
                <a:gd name="T59" fmla="*/ 232 h 546"/>
                <a:gd name="T60" fmla="*/ 340 w 655"/>
                <a:gd name="T61" fmla="*/ 245 h 546"/>
                <a:gd name="T62" fmla="*/ 422 w 655"/>
                <a:gd name="T63" fmla="*/ 328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55" h="546">
                  <a:moveTo>
                    <a:pt x="654" y="165"/>
                  </a:moveTo>
                  <a:lnTo>
                    <a:pt x="654" y="165"/>
                  </a:lnTo>
                  <a:cubicBezTo>
                    <a:pt x="639" y="165"/>
                    <a:pt x="639" y="165"/>
                    <a:pt x="627" y="177"/>
                  </a:cubicBezTo>
                  <a:cubicBezTo>
                    <a:pt x="627" y="177"/>
                    <a:pt x="613" y="219"/>
                    <a:pt x="572" y="219"/>
                  </a:cubicBezTo>
                  <a:cubicBezTo>
                    <a:pt x="572" y="219"/>
                    <a:pt x="572" y="232"/>
                    <a:pt x="559" y="232"/>
                  </a:cubicBezTo>
                  <a:cubicBezTo>
                    <a:pt x="531" y="123"/>
                    <a:pt x="422" y="55"/>
                    <a:pt x="286" y="55"/>
                  </a:cubicBezTo>
                  <a:cubicBezTo>
                    <a:pt x="273" y="55"/>
                    <a:pt x="259" y="55"/>
                    <a:pt x="259" y="55"/>
                  </a:cubicBezTo>
                  <a:cubicBezTo>
                    <a:pt x="219" y="14"/>
                    <a:pt x="163" y="0"/>
                    <a:pt x="137" y="0"/>
                  </a:cubicBezTo>
                  <a:cubicBezTo>
                    <a:pt x="109" y="0"/>
                    <a:pt x="96" y="14"/>
                    <a:pt x="96" y="14"/>
                  </a:cubicBezTo>
                  <a:lnTo>
                    <a:pt x="96" y="14"/>
                  </a:lnTo>
                  <a:lnTo>
                    <a:pt x="96" y="14"/>
                  </a:lnTo>
                  <a:cubicBezTo>
                    <a:pt x="123" y="42"/>
                    <a:pt x="150" y="82"/>
                    <a:pt x="137" y="123"/>
                  </a:cubicBezTo>
                  <a:cubicBezTo>
                    <a:pt x="137" y="177"/>
                    <a:pt x="109" y="205"/>
                    <a:pt x="55" y="205"/>
                  </a:cubicBezTo>
                  <a:cubicBezTo>
                    <a:pt x="42" y="205"/>
                    <a:pt x="28" y="205"/>
                    <a:pt x="28" y="205"/>
                  </a:cubicBezTo>
                  <a:lnTo>
                    <a:pt x="14" y="205"/>
                  </a:lnTo>
                  <a:cubicBezTo>
                    <a:pt x="14" y="232"/>
                    <a:pt x="0" y="245"/>
                    <a:pt x="0" y="273"/>
                  </a:cubicBezTo>
                  <a:cubicBezTo>
                    <a:pt x="0" y="286"/>
                    <a:pt x="0" y="300"/>
                    <a:pt x="14" y="328"/>
                  </a:cubicBezTo>
                  <a:lnTo>
                    <a:pt x="14" y="328"/>
                  </a:lnTo>
                  <a:cubicBezTo>
                    <a:pt x="68" y="328"/>
                    <a:pt x="123" y="382"/>
                    <a:pt x="123" y="450"/>
                  </a:cubicBezTo>
                  <a:lnTo>
                    <a:pt x="123" y="450"/>
                  </a:lnTo>
                  <a:lnTo>
                    <a:pt x="123" y="450"/>
                  </a:lnTo>
                  <a:cubicBezTo>
                    <a:pt x="123" y="545"/>
                    <a:pt x="123" y="545"/>
                    <a:pt x="123" y="545"/>
                  </a:cubicBezTo>
                  <a:lnTo>
                    <a:pt x="123" y="545"/>
                  </a:lnTo>
                  <a:cubicBezTo>
                    <a:pt x="191" y="545"/>
                    <a:pt x="191" y="545"/>
                    <a:pt x="191" y="545"/>
                  </a:cubicBezTo>
                  <a:lnTo>
                    <a:pt x="191" y="545"/>
                  </a:lnTo>
                  <a:cubicBezTo>
                    <a:pt x="191" y="477"/>
                    <a:pt x="191" y="477"/>
                    <a:pt x="191" y="477"/>
                  </a:cubicBezTo>
                  <a:cubicBezTo>
                    <a:pt x="259" y="504"/>
                    <a:pt x="327" y="491"/>
                    <a:pt x="396" y="477"/>
                  </a:cubicBezTo>
                  <a:cubicBezTo>
                    <a:pt x="396" y="545"/>
                    <a:pt x="396" y="545"/>
                    <a:pt x="396" y="545"/>
                  </a:cubicBezTo>
                  <a:lnTo>
                    <a:pt x="396" y="545"/>
                  </a:lnTo>
                  <a:cubicBezTo>
                    <a:pt x="464" y="545"/>
                    <a:pt x="464" y="545"/>
                    <a:pt x="464" y="545"/>
                  </a:cubicBezTo>
                  <a:lnTo>
                    <a:pt x="464" y="545"/>
                  </a:lnTo>
                  <a:cubicBezTo>
                    <a:pt x="464" y="450"/>
                    <a:pt x="464" y="450"/>
                    <a:pt x="464" y="450"/>
                  </a:cubicBezTo>
                  <a:cubicBezTo>
                    <a:pt x="531" y="410"/>
                    <a:pt x="572" y="340"/>
                    <a:pt x="572" y="273"/>
                  </a:cubicBezTo>
                  <a:cubicBezTo>
                    <a:pt x="572" y="273"/>
                    <a:pt x="572" y="259"/>
                    <a:pt x="572" y="245"/>
                  </a:cubicBezTo>
                  <a:lnTo>
                    <a:pt x="572" y="245"/>
                  </a:lnTo>
                  <a:cubicBezTo>
                    <a:pt x="627" y="245"/>
                    <a:pt x="654" y="191"/>
                    <a:pt x="654" y="191"/>
                  </a:cubicBezTo>
                  <a:cubicBezTo>
                    <a:pt x="654" y="177"/>
                    <a:pt x="654" y="177"/>
                    <a:pt x="654" y="165"/>
                  </a:cubicBezTo>
                  <a:close/>
                  <a:moveTo>
                    <a:pt x="219" y="232"/>
                  </a:moveTo>
                  <a:lnTo>
                    <a:pt x="219" y="232"/>
                  </a:lnTo>
                  <a:cubicBezTo>
                    <a:pt x="205" y="232"/>
                    <a:pt x="191" y="219"/>
                    <a:pt x="191" y="191"/>
                  </a:cubicBezTo>
                  <a:cubicBezTo>
                    <a:pt x="191" y="177"/>
                    <a:pt x="205" y="165"/>
                    <a:pt x="219" y="165"/>
                  </a:cubicBezTo>
                  <a:cubicBezTo>
                    <a:pt x="231" y="165"/>
                    <a:pt x="245" y="177"/>
                    <a:pt x="245" y="191"/>
                  </a:cubicBezTo>
                  <a:cubicBezTo>
                    <a:pt x="245" y="219"/>
                    <a:pt x="231" y="232"/>
                    <a:pt x="219" y="232"/>
                  </a:cubicBezTo>
                  <a:close/>
                  <a:moveTo>
                    <a:pt x="382" y="368"/>
                  </a:moveTo>
                  <a:lnTo>
                    <a:pt x="382" y="368"/>
                  </a:lnTo>
                  <a:cubicBezTo>
                    <a:pt x="382" y="396"/>
                    <a:pt x="382" y="396"/>
                    <a:pt x="382" y="396"/>
                  </a:cubicBezTo>
                  <a:cubicBezTo>
                    <a:pt x="368" y="396"/>
                    <a:pt x="368" y="396"/>
                    <a:pt x="368" y="396"/>
                  </a:cubicBezTo>
                  <a:cubicBezTo>
                    <a:pt x="368" y="368"/>
                    <a:pt x="368" y="368"/>
                    <a:pt x="368" y="368"/>
                  </a:cubicBezTo>
                  <a:cubicBezTo>
                    <a:pt x="340" y="368"/>
                    <a:pt x="327" y="368"/>
                    <a:pt x="327" y="354"/>
                  </a:cubicBezTo>
                  <a:cubicBezTo>
                    <a:pt x="327" y="340"/>
                    <a:pt x="327" y="340"/>
                    <a:pt x="327" y="340"/>
                  </a:cubicBezTo>
                  <a:cubicBezTo>
                    <a:pt x="340" y="340"/>
                    <a:pt x="354" y="354"/>
                    <a:pt x="368" y="354"/>
                  </a:cubicBezTo>
                  <a:cubicBezTo>
                    <a:pt x="382" y="354"/>
                    <a:pt x="396" y="340"/>
                    <a:pt x="396" y="328"/>
                  </a:cubicBezTo>
                  <a:cubicBezTo>
                    <a:pt x="396" y="314"/>
                    <a:pt x="382" y="300"/>
                    <a:pt x="368" y="300"/>
                  </a:cubicBezTo>
                  <a:cubicBezTo>
                    <a:pt x="340" y="286"/>
                    <a:pt x="327" y="273"/>
                    <a:pt x="327" y="245"/>
                  </a:cubicBezTo>
                  <a:cubicBezTo>
                    <a:pt x="327" y="232"/>
                    <a:pt x="340" y="219"/>
                    <a:pt x="368" y="205"/>
                  </a:cubicBezTo>
                  <a:cubicBezTo>
                    <a:pt x="368" y="177"/>
                    <a:pt x="368" y="177"/>
                    <a:pt x="368" y="177"/>
                  </a:cubicBezTo>
                  <a:cubicBezTo>
                    <a:pt x="382" y="177"/>
                    <a:pt x="382" y="177"/>
                    <a:pt x="382" y="177"/>
                  </a:cubicBezTo>
                  <a:cubicBezTo>
                    <a:pt x="382" y="205"/>
                    <a:pt x="382" y="205"/>
                    <a:pt x="382" y="205"/>
                  </a:cubicBezTo>
                  <a:cubicBezTo>
                    <a:pt x="396" y="205"/>
                    <a:pt x="408" y="219"/>
                    <a:pt x="408" y="219"/>
                  </a:cubicBezTo>
                  <a:cubicBezTo>
                    <a:pt x="408" y="232"/>
                    <a:pt x="408" y="232"/>
                    <a:pt x="408" y="232"/>
                  </a:cubicBezTo>
                  <a:cubicBezTo>
                    <a:pt x="408" y="232"/>
                    <a:pt x="396" y="219"/>
                    <a:pt x="368" y="219"/>
                  </a:cubicBezTo>
                  <a:cubicBezTo>
                    <a:pt x="354" y="219"/>
                    <a:pt x="340" y="232"/>
                    <a:pt x="340" y="245"/>
                  </a:cubicBezTo>
                  <a:cubicBezTo>
                    <a:pt x="340" y="259"/>
                    <a:pt x="354" y="273"/>
                    <a:pt x="382" y="273"/>
                  </a:cubicBezTo>
                  <a:cubicBezTo>
                    <a:pt x="408" y="286"/>
                    <a:pt x="422" y="300"/>
                    <a:pt x="422" y="328"/>
                  </a:cubicBezTo>
                  <a:cubicBezTo>
                    <a:pt x="422" y="340"/>
                    <a:pt x="408" y="368"/>
                    <a:pt x="382" y="368"/>
                  </a:cubicBezTo>
                  <a:close/>
                </a:path>
              </a:pathLst>
            </a:custGeom>
            <a:solidFill>
              <a:schemeClr val="bg1"/>
            </a:solidFill>
            <a:ln>
              <a:noFill/>
            </a:ln>
            <a:effectLst/>
          </p:spPr>
          <p:txBody>
            <a:bodyPr wrap="none" lIns="152366" tIns="76183" rIns="152366" bIns="76183" anchor="ctr"/>
            <a:lstStyle/>
            <a:p>
              <a:endParaRPr lang="en-US" dirty="0">
                <a:latin typeface="Calibri Light"/>
              </a:endParaRPr>
            </a:p>
          </p:txBody>
        </p:sp>
      </p:grpSp>
      <p:sp>
        <p:nvSpPr>
          <p:cNvPr id="38" name="TextBox 37"/>
          <p:cNvSpPr txBox="1"/>
          <p:nvPr/>
        </p:nvSpPr>
        <p:spPr>
          <a:xfrm>
            <a:off x="781196" y="4134615"/>
            <a:ext cx="2030746" cy="1046404"/>
          </a:xfrm>
          <a:prstGeom prst="rect">
            <a:avLst/>
          </a:prstGeom>
          <a:noFill/>
        </p:spPr>
        <p:txBody>
          <a:bodyPr wrap="square" lIns="182843" tIns="91422" rIns="182843" bIns="91422" rtlCol="0">
            <a:spAutoFit/>
          </a:bodyPr>
          <a:lstStyle/>
          <a:p>
            <a:pPr algn="ctr"/>
            <a:r>
              <a:rPr lang="en-US" sz="1400" b="1" dirty="0">
                <a:latin typeface="Roboto Regular" pitchFamily="2" charset="0"/>
                <a:ea typeface="Roboto Regular" pitchFamily="2" charset="0"/>
                <a:cs typeface="Calibri Light"/>
              </a:rPr>
              <a:t>Lorem Ipsum </a:t>
            </a:r>
            <a:r>
              <a:rPr lang="en-US" sz="1400" dirty="0">
                <a:latin typeface="Roboto Regular" pitchFamily="2" charset="0"/>
                <a:ea typeface="Roboto Regular" pitchFamily="2" charset="0"/>
                <a:cs typeface="Calibri Light"/>
              </a:rPr>
              <a:t>has two main data statistical this methodologies.</a:t>
            </a:r>
          </a:p>
        </p:txBody>
      </p:sp>
      <p:sp>
        <p:nvSpPr>
          <p:cNvPr id="39" name="Right Arrow 38"/>
          <p:cNvSpPr>
            <a:spLocks noChangeAspect="1"/>
          </p:cNvSpPr>
          <p:nvPr/>
        </p:nvSpPr>
        <p:spPr>
          <a:xfrm>
            <a:off x="5978295" y="2490406"/>
            <a:ext cx="884699" cy="438216"/>
          </a:xfrm>
          <a:prstGeom prst="rightArrow">
            <a:avLst/>
          </a:prstGeom>
          <a:solidFill>
            <a:srgbClr val="C8C8C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Calibri Light"/>
            </a:endParaRPr>
          </a:p>
        </p:txBody>
      </p:sp>
      <p:sp>
        <p:nvSpPr>
          <p:cNvPr id="40" name="Right Arrow 39"/>
          <p:cNvSpPr>
            <a:spLocks noChangeAspect="1"/>
          </p:cNvSpPr>
          <p:nvPr/>
        </p:nvSpPr>
        <p:spPr>
          <a:xfrm>
            <a:off x="9099717" y="2490406"/>
            <a:ext cx="884699" cy="438216"/>
          </a:xfrm>
          <a:prstGeom prst="rightArrow">
            <a:avLst/>
          </a:prstGeom>
          <a:solidFill>
            <a:srgbClr val="C8C8C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Calibri Light"/>
            </a:endParaRPr>
          </a:p>
        </p:txBody>
      </p:sp>
      <p:sp>
        <p:nvSpPr>
          <p:cNvPr id="41" name="Right Arrow 40"/>
          <p:cNvSpPr>
            <a:spLocks noChangeAspect="1"/>
          </p:cNvSpPr>
          <p:nvPr/>
        </p:nvSpPr>
        <p:spPr>
          <a:xfrm>
            <a:off x="2856873" y="2490406"/>
            <a:ext cx="884699" cy="438216"/>
          </a:xfrm>
          <a:prstGeom prst="rightArrow">
            <a:avLst/>
          </a:prstGeom>
          <a:solidFill>
            <a:srgbClr val="C8C8C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Calibri Light"/>
            </a:endParaRPr>
          </a:p>
        </p:txBody>
      </p:sp>
      <p:sp>
        <p:nvSpPr>
          <p:cNvPr id="50"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44_84 45_84 42_84 43_84</a:t>
            </a:r>
            <a:endParaRPr lang="en-US" sz="100" dirty="0" err="1" smtClean="0">
              <a:solidFill>
                <a:srgbClr val="FFFFFF"/>
              </a:solidFill>
            </a:endParaRPr>
          </a:p>
        </p:txBody>
      </p:sp>
    </p:spTree>
    <p:extLst>
      <p:ext uri="{BB962C8B-B14F-4D97-AF65-F5344CB8AC3E}">
        <p14:creationId xmlns:p14="http://schemas.microsoft.com/office/powerpoint/2010/main" val="52395281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fographic</a:t>
            </a:r>
            <a:endParaRPr lang="en-US" dirty="0"/>
          </a:p>
        </p:txBody>
      </p:sp>
      <p:grpSp>
        <p:nvGrpSpPr>
          <p:cNvPr id="228" name="Group 227"/>
          <p:cNvGrpSpPr/>
          <p:nvPr>
            <p:custDataLst>
              <p:tags r:id="rId1"/>
            </p:custDataLst>
          </p:nvPr>
        </p:nvGrpSpPr>
        <p:grpSpPr>
          <a:xfrm>
            <a:off x="5308781" y="1413248"/>
            <a:ext cx="1108867" cy="1109156"/>
            <a:chOff x="9158380" y="3435910"/>
            <a:chExt cx="2288589" cy="2289185"/>
          </a:xfrm>
          <a:solidFill>
            <a:schemeClr val="accent5"/>
          </a:solidFill>
        </p:grpSpPr>
        <p:sp>
          <p:nvSpPr>
            <p:cNvPr id="229" name="Freeform 2"/>
            <p:cNvSpPr>
              <a:spLocks noChangeArrowheads="1"/>
            </p:cNvSpPr>
            <p:nvPr/>
          </p:nvSpPr>
          <p:spPr bwMode="auto">
            <a:xfrm>
              <a:off x="9360043" y="3615290"/>
              <a:ext cx="1877678" cy="1878411"/>
            </a:xfrm>
            <a:custGeom>
              <a:avLst/>
              <a:gdLst>
                <a:gd name="T0" fmla="*/ 10058 w 10059"/>
                <a:gd name="T1" fmla="*/ 5032 h 10064"/>
                <a:gd name="T2" fmla="*/ 10058 w 10059"/>
                <a:gd name="T3" fmla="*/ 5032 h 10064"/>
                <a:gd name="T4" fmla="*/ 5031 w 10059"/>
                <a:gd name="T5" fmla="*/ 10063 h 10064"/>
                <a:gd name="T6" fmla="*/ 0 w 10059"/>
                <a:gd name="T7" fmla="*/ 5032 h 10064"/>
                <a:gd name="T8" fmla="*/ 5031 w 10059"/>
                <a:gd name="T9" fmla="*/ 0 h 10064"/>
                <a:gd name="T10" fmla="*/ 10058 w 10059"/>
                <a:gd name="T11" fmla="*/ 5032 h 10064"/>
              </a:gdLst>
              <a:ahLst/>
              <a:cxnLst>
                <a:cxn ang="0">
                  <a:pos x="T0" y="T1"/>
                </a:cxn>
                <a:cxn ang="0">
                  <a:pos x="T2" y="T3"/>
                </a:cxn>
                <a:cxn ang="0">
                  <a:pos x="T4" y="T5"/>
                </a:cxn>
                <a:cxn ang="0">
                  <a:pos x="T6" y="T7"/>
                </a:cxn>
                <a:cxn ang="0">
                  <a:pos x="T8" y="T9"/>
                </a:cxn>
                <a:cxn ang="0">
                  <a:pos x="T10" y="T11"/>
                </a:cxn>
              </a:cxnLst>
              <a:rect l="0" t="0" r="r" b="b"/>
              <a:pathLst>
                <a:path w="10059" h="10064">
                  <a:moveTo>
                    <a:pt x="10058" y="5032"/>
                  </a:moveTo>
                  <a:lnTo>
                    <a:pt x="10058" y="5032"/>
                  </a:lnTo>
                  <a:cubicBezTo>
                    <a:pt x="10058" y="7808"/>
                    <a:pt x="7807" y="10063"/>
                    <a:pt x="5031" y="10063"/>
                  </a:cubicBezTo>
                  <a:cubicBezTo>
                    <a:pt x="2250" y="10063"/>
                    <a:pt x="0" y="7808"/>
                    <a:pt x="0" y="5032"/>
                  </a:cubicBezTo>
                  <a:cubicBezTo>
                    <a:pt x="0" y="2255"/>
                    <a:pt x="2250" y="0"/>
                    <a:pt x="5031" y="0"/>
                  </a:cubicBezTo>
                  <a:cubicBezTo>
                    <a:pt x="7807" y="0"/>
                    <a:pt x="10058" y="2255"/>
                    <a:pt x="10058" y="5032"/>
                  </a:cubicBezTo>
                </a:path>
              </a:pathLst>
            </a:custGeom>
            <a:solidFill>
              <a:schemeClr val="bg1">
                <a:lumMod val="95000"/>
              </a:schemeClr>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nvGrpSpPr>
            <p:cNvPr id="230" name="Group 229"/>
            <p:cNvGrpSpPr/>
            <p:nvPr/>
          </p:nvGrpSpPr>
          <p:grpSpPr>
            <a:xfrm>
              <a:off x="9158380" y="3435910"/>
              <a:ext cx="2288589" cy="2289185"/>
              <a:chOff x="1119258" y="2257147"/>
              <a:chExt cx="1868076" cy="1868076"/>
            </a:xfrm>
            <a:grpFill/>
          </p:grpSpPr>
          <p:sp>
            <p:nvSpPr>
              <p:cNvPr id="231" name="Freeform 6"/>
              <p:cNvSpPr>
                <a:spLocks/>
              </p:cNvSpPr>
              <p:nvPr/>
            </p:nvSpPr>
            <p:spPr bwMode="auto">
              <a:xfrm>
                <a:off x="2495041" y="2394505"/>
                <a:ext cx="356034" cy="354935"/>
              </a:xfrm>
              <a:custGeom>
                <a:avLst/>
                <a:gdLst>
                  <a:gd name="T0" fmla="*/ 207 w 207"/>
                  <a:gd name="T1" fmla="*/ 181 h 206"/>
                  <a:gd name="T2" fmla="*/ 26 w 207"/>
                  <a:gd name="T3" fmla="*/ 0 h 206"/>
                  <a:gd name="T4" fmla="*/ 0 w 207"/>
                  <a:gd name="T5" fmla="*/ 44 h 206"/>
                  <a:gd name="T6" fmla="*/ 163 w 207"/>
                  <a:gd name="T7" fmla="*/ 206 h 206"/>
                  <a:gd name="T8" fmla="*/ 207 w 207"/>
                  <a:gd name="T9" fmla="*/ 181 h 206"/>
                </a:gdLst>
                <a:ahLst/>
                <a:cxnLst>
                  <a:cxn ang="0">
                    <a:pos x="T0" y="T1"/>
                  </a:cxn>
                  <a:cxn ang="0">
                    <a:pos x="T2" y="T3"/>
                  </a:cxn>
                  <a:cxn ang="0">
                    <a:pos x="T4" y="T5"/>
                  </a:cxn>
                  <a:cxn ang="0">
                    <a:pos x="T6" y="T7"/>
                  </a:cxn>
                  <a:cxn ang="0">
                    <a:pos x="T8" y="T9"/>
                  </a:cxn>
                </a:cxnLst>
                <a:rect l="0" t="0" r="r" b="b"/>
                <a:pathLst>
                  <a:path w="207" h="206">
                    <a:moveTo>
                      <a:pt x="207" y="181"/>
                    </a:moveTo>
                    <a:cubicBezTo>
                      <a:pt x="162" y="107"/>
                      <a:pt x="100" y="45"/>
                      <a:pt x="26" y="0"/>
                    </a:cubicBezTo>
                    <a:cubicBezTo>
                      <a:pt x="0" y="44"/>
                      <a:pt x="0" y="44"/>
                      <a:pt x="0" y="44"/>
                    </a:cubicBezTo>
                    <a:cubicBezTo>
                      <a:pt x="66" y="85"/>
                      <a:pt x="122" y="140"/>
                      <a:pt x="163" y="206"/>
                    </a:cubicBezTo>
                    <a:lnTo>
                      <a:pt x="207" y="181"/>
                    </a:ln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232" name="Freeform 7"/>
              <p:cNvSpPr>
                <a:spLocks/>
              </p:cNvSpPr>
              <p:nvPr/>
            </p:nvSpPr>
            <p:spPr bwMode="auto">
              <a:xfrm>
                <a:off x="2075273" y="2257147"/>
                <a:ext cx="427460" cy="191203"/>
              </a:xfrm>
              <a:custGeom>
                <a:avLst/>
                <a:gdLst>
                  <a:gd name="T0" fmla="*/ 0 w 248"/>
                  <a:gd name="T1" fmla="*/ 0 h 111"/>
                  <a:gd name="T2" fmla="*/ 0 w 248"/>
                  <a:gd name="T3" fmla="*/ 51 h 111"/>
                  <a:gd name="T4" fmla="*/ 222 w 248"/>
                  <a:gd name="T5" fmla="*/ 111 h 111"/>
                  <a:gd name="T6" fmla="*/ 248 w 248"/>
                  <a:gd name="T7" fmla="*/ 67 h 111"/>
                  <a:gd name="T8" fmla="*/ 0 w 248"/>
                  <a:gd name="T9" fmla="*/ 0 h 111"/>
                </a:gdLst>
                <a:ahLst/>
                <a:cxnLst>
                  <a:cxn ang="0">
                    <a:pos x="T0" y="T1"/>
                  </a:cxn>
                  <a:cxn ang="0">
                    <a:pos x="T2" y="T3"/>
                  </a:cxn>
                  <a:cxn ang="0">
                    <a:pos x="T4" y="T5"/>
                  </a:cxn>
                  <a:cxn ang="0">
                    <a:pos x="T6" y="T7"/>
                  </a:cxn>
                  <a:cxn ang="0">
                    <a:pos x="T8" y="T9"/>
                  </a:cxn>
                </a:cxnLst>
                <a:rect l="0" t="0" r="r" b="b"/>
                <a:pathLst>
                  <a:path w="248" h="111">
                    <a:moveTo>
                      <a:pt x="0" y="0"/>
                    </a:moveTo>
                    <a:cubicBezTo>
                      <a:pt x="0" y="51"/>
                      <a:pt x="0" y="51"/>
                      <a:pt x="0" y="51"/>
                    </a:cubicBezTo>
                    <a:cubicBezTo>
                      <a:pt x="80" y="53"/>
                      <a:pt x="156" y="75"/>
                      <a:pt x="222" y="111"/>
                    </a:cubicBezTo>
                    <a:cubicBezTo>
                      <a:pt x="248" y="67"/>
                      <a:pt x="248" y="67"/>
                      <a:pt x="248" y="67"/>
                    </a:cubicBezTo>
                    <a:cubicBezTo>
                      <a:pt x="174" y="26"/>
                      <a:pt x="90" y="2"/>
                      <a:pt x="0"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233" name="Freeform 8"/>
              <p:cNvSpPr>
                <a:spLocks/>
              </p:cNvSpPr>
              <p:nvPr/>
            </p:nvSpPr>
            <p:spPr bwMode="auto">
              <a:xfrm>
                <a:off x="2796131" y="2743946"/>
                <a:ext cx="191203" cy="425262"/>
              </a:xfrm>
              <a:custGeom>
                <a:avLst/>
                <a:gdLst>
                  <a:gd name="T0" fmla="*/ 45 w 111"/>
                  <a:gd name="T1" fmla="*/ 0 h 247"/>
                  <a:gd name="T2" fmla="*/ 0 w 111"/>
                  <a:gd name="T3" fmla="*/ 26 h 247"/>
                  <a:gd name="T4" fmla="*/ 60 w 111"/>
                  <a:gd name="T5" fmla="*/ 247 h 247"/>
                  <a:gd name="T6" fmla="*/ 111 w 111"/>
                  <a:gd name="T7" fmla="*/ 247 h 247"/>
                  <a:gd name="T8" fmla="*/ 45 w 111"/>
                  <a:gd name="T9" fmla="*/ 0 h 247"/>
                </a:gdLst>
                <a:ahLst/>
                <a:cxnLst>
                  <a:cxn ang="0">
                    <a:pos x="T0" y="T1"/>
                  </a:cxn>
                  <a:cxn ang="0">
                    <a:pos x="T2" y="T3"/>
                  </a:cxn>
                  <a:cxn ang="0">
                    <a:pos x="T4" y="T5"/>
                  </a:cxn>
                  <a:cxn ang="0">
                    <a:pos x="T6" y="T7"/>
                  </a:cxn>
                  <a:cxn ang="0">
                    <a:pos x="T8" y="T9"/>
                  </a:cxn>
                </a:cxnLst>
                <a:rect l="0" t="0" r="r" b="b"/>
                <a:pathLst>
                  <a:path w="111" h="247">
                    <a:moveTo>
                      <a:pt x="45" y="0"/>
                    </a:moveTo>
                    <a:cubicBezTo>
                      <a:pt x="0" y="26"/>
                      <a:pt x="0" y="26"/>
                      <a:pt x="0" y="26"/>
                    </a:cubicBezTo>
                    <a:cubicBezTo>
                      <a:pt x="37" y="92"/>
                      <a:pt x="58" y="167"/>
                      <a:pt x="60" y="247"/>
                    </a:cubicBezTo>
                    <a:cubicBezTo>
                      <a:pt x="111" y="247"/>
                      <a:pt x="111" y="247"/>
                      <a:pt x="111" y="247"/>
                    </a:cubicBezTo>
                    <a:cubicBezTo>
                      <a:pt x="109" y="158"/>
                      <a:pt x="85" y="74"/>
                      <a:pt x="45"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234" name="Freeform 9"/>
              <p:cNvSpPr>
                <a:spLocks/>
              </p:cNvSpPr>
              <p:nvPr/>
            </p:nvSpPr>
            <p:spPr bwMode="auto">
              <a:xfrm>
                <a:off x="2796131" y="3213162"/>
                <a:ext cx="191203" cy="427460"/>
              </a:xfrm>
              <a:custGeom>
                <a:avLst/>
                <a:gdLst>
                  <a:gd name="T0" fmla="*/ 60 w 111"/>
                  <a:gd name="T1" fmla="*/ 0 h 248"/>
                  <a:gd name="T2" fmla="*/ 0 w 111"/>
                  <a:gd name="T3" fmla="*/ 222 h 248"/>
                  <a:gd name="T4" fmla="*/ 45 w 111"/>
                  <a:gd name="T5" fmla="*/ 248 h 248"/>
                  <a:gd name="T6" fmla="*/ 111 w 111"/>
                  <a:gd name="T7" fmla="*/ 0 h 248"/>
                  <a:gd name="T8" fmla="*/ 60 w 111"/>
                  <a:gd name="T9" fmla="*/ 0 h 248"/>
                </a:gdLst>
                <a:ahLst/>
                <a:cxnLst>
                  <a:cxn ang="0">
                    <a:pos x="T0" y="T1"/>
                  </a:cxn>
                  <a:cxn ang="0">
                    <a:pos x="T2" y="T3"/>
                  </a:cxn>
                  <a:cxn ang="0">
                    <a:pos x="T4" y="T5"/>
                  </a:cxn>
                  <a:cxn ang="0">
                    <a:pos x="T6" y="T7"/>
                  </a:cxn>
                  <a:cxn ang="0">
                    <a:pos x="T8" y="T9"/>
                  </a:cxn>
                </a:cxnLst>
                <a:rect l="0" t="0" r="r" b="b"/>
                <a:pathLst>
                  <a:path w="111" h="248">
                    <a:moveTo>
                      <a:pt x="60" y="0"/>
                    </a:moveTo>
                    <a:cubicBezTo>
                      <a:pt x="58" y="80"/>
                      <a:pt x="37" y="156"/>
                      <a:pt x="0" y="222"/>
                    </a:cubicBezTo>
                    <a:cubicBezTo>
                      <a:pt x="45" y="248"/>
                      <a:pt x="45" y="248"/>
                      <a:pt x="45" y="248"/>
                    </a:cubicBezTo>
                    <a:cubicBezTo>
                      <a:pt x="85" y="174"/>
                      <a:pt x="109" y="90"/>
                      <a:pt x="111" y="0"/>
                    </a:cubicBezTo>
                    <a:lnTo>
                      <a:pt x="60"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235" name="Freeform 10"/>
              <p:cNvSpPr>
                <a:spLocks/>
              </p:cNvSpPr>
              <p:nvPr/>
            </p:nvSpPr>
            <p:spPr bwMode="auto">
              <a:xfrm>
                <a:off x="2495041" y="3632930"/>
                <a:ext cx="356034" cy="356034"/>
              </a:xfrm>
              <a:custGeom>
                <a:avLst/>
                <a:gdLst>
                  <a:gd name="T0" fmla="*/ 207 w 207"/>
                  <a:gd name="T1" fmla="*/ 26 h 207"/>
                  <a:gd name="T2" fmla="*/ 163 w 207"/>
                  <a:gd name="T3" fmla="*/ 0 h 207"/>
                  <a:gd name="T4" fmla="*/ 0 w 207"/>
                  <a:gd name="T5" fmla="*/ 163 h 207"/>
                  <a:gd name="T6" fmla="*/ 26 w 207"/>
                  <a:gd name="T7" fmla="*/ 207 h 207"/>
                  <a:gd name="T8" fmla="*/ 207 w 207"/>
                  <a:gd name="T9" fmla="*/ 26 h 207"/>
                </a:gdLst>
                <a:ahLst/>
                <a:cxnLst>
                  <a:cxn ang="0">
                    <a:pos x="T0" y="T1"/>
                  </a:cxn>
                  <a:cxn ang="0">
                    <a:pos x="T2" y="T3"/>
                  </a:cxn>
                  <a:cxn ang="0">
                    <a:pos x="T4" y="T5"/>
                  </a:cxn>
                  <a:cxn ang="0">
                    <a:pos x="T6" y="T7"/>
                  </a:cxn>
                  <a:cxn ang="0">
                    <a:pos x="T8" y="T9"/>
                  </a:cxn>
                </a:cxnLst>
                <a:rect l="0" t="0" r="r" b="b"/>
                <a:pathLst>
                  <a:path w="207" h="207">
                    <a:moveTo>
                      <a:pt x="207" y="26"/>
                    </a:moveTo>
                    <a:cubicBezTo>
                      <a:pt x="163" y="0"/>
                      <a:pt x="163" y="0"/>
                      <a:pt x="163" y="0"/>
                    </a:cubicBezTo>
                    <a:cubicBezTo>
                      <a:pt x="122" y="66"/>
                      <a:pt x="66" y="122"/>
                      <a:pt x="0" y="163"/>
                    </a:cubicBezTo>
                    <a:cubicBezTo>
                      <a:pt x="26" y="207"/>
                      <a:pt x="26" y="207"/>
                      <a:pt x="26" y="207"/>
                    </a:cubicBezTo>
                    <a:cubicBezTo>
                      <a:pt x="100" y="162"/>
                      <a:pt x="162" y="100"/>
                      <a:pt x="207" y="2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236" name="Freeform 11"/>
              <p:cNvSpPr>
                <a:spLocks/>
              </p:cNvSpPr>
              <p:nvPr/>
            </p:nvSpPr>
            <p:spPr bwMode="auto">
              <a:xfrm>
                <a:off x="2075273" y="3936217"/>
                <a:ext cx="427460" cy="189006"/>
              </a:xfrm>
              <a:custGeom>
                <a:avLst/>
                <a:gdLst>
                  <a:gd name="T0" fmla="*/ 248 w 248"/>
                  <a:gd name="T1" fmla="*/ 44 h 110"/>
                  <a:gd name="T2" fmla="*/ 222 w 248"/>
                  <a:gd name="T3" fmla="*/ 0 h 110"/>
                  <a:gd name="T4" fmla="*/ 0 w 248"/>
                  <a:gd name="T5" fmla="*/ 59 h 110"/>
                  <a:gd name="T6" fmla="*/ 0 w 248"/>
                  <a:gd name="T7" fmla="*/ 110 h 110"/>
                  <a:gd name="T8" fmla="*/ 248 w 248"/>
                  <a:gd name="T9" fmla="*/ 44 h 110"/>
                </a:gdLst>
                <a:ahLst/>
                <a:cxnLst>
                  <a:cxn ang="0">
                    <a:pos x="T0" y="T1"/>
                  </a:cxn>
                  <a:cxn ang="0">
                    <a:pos x="T2" y="T3"/>
                  </a:cxn>
                  <a:cxn ang="0">
                    <a:pos x="T4" y="T5"/>
                  </a:cxn>
                  <a:cxn ang="0">
                    <a:pos x="T6" y="T7"/>
                  </a:cxn>
                  <a:cxn ang="0">
                    <a:pos x="T8" y="T9"/>
                  </a:cxn>
                </a:cxnLst>
                <a:rect l="0" t="0" r="r" b="b"/>
                <a:pathLst>
                  <a:path w="248" h="110">
                    <a:moveTo>
                      <a:pt x="248" y="44"/>
                    </a:moveTo>
                    <a:cubicBezTo>
                      <a:pt x="222" y="0"/>
                      <a:pt x="222" y="0"/>
                      <a:pt x="222" y="0"/>
                    </a:cubicBezTo>
                    <a:cubicBezTo>
                      <a:pt x="156" y="36"/>
                      <a:pt x="80" y="57"/>
                      <a:pt x="0" y="59"/>
                    </a:cubicBezTo>
                    <a:cubicBezTo>
                      <a:pt x="0" y="110"/>
                      <a:pt x="0" y="110"/>
                      <a:pt x="0" y="110"/>
                    </a:cubicBezTo>
                    <a:cubicBezTo>
                      <a:pt x="90" y="108"/>
                      <a:pt x="174" y="84"/>
                      <a:pt x="248" y="44"/>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237" name="Freeform 12"/>
              <p:cNvSpPr>
                <a:spLocks/>
              </p:cNvSpPr>
              <p:nvPr/>
            </p:nvSpPr>
            <p:spPr bwMode="auto">
              <a:xfrm>
                <a:off x="1606057" y="3936217"/>
                <a:ext cx="425262" cy="189006"/>
              </a:xfrm>
              <a:custGeom>
                <a:avLst/>
                <a:gdLst>
                  <a:gd name="T0" fmla="*/ 0 w 247"/>
                  <a:gd name="T1" fmla="*/ 44 h 110"/>
                  <a:gd name="T2" fmla="*/ 247 w 247"/>
                  <a:gd name="T3" fmla="*/ 110 h 110"/>
                  <a:gd name="T4" fmla="*/ 247 w 247"/>
                  <a:gd name="T5" fmla="*/ 59 h 110"/>
                  <a:gd name="T6" fmla="*/ 26 w 247"/>
                  <a:gd name="T7" fmla="*/ 0 h 110"/>
                  <a:gd name="T8" fmla="*/ 0 w 247"/>
                  <a:gd name="T9" fmla="*/ 44 h 110"/>
                </a:gdLst>
                <a:ahLst/>
                <a:cxnLst>
                  <a:cxn ang="0">
                    <a:pos x="T0" y="T1"/>
                  </a:cxn>
                  <a:cxn ang="0">
                    <a:pos x="T2" y="T3"/>
                  </a:cxn>
                  <a:cxn ang="0">
                    <a:pos x="T4" y="T5"/>
                  </a:cxn>
                  <a:cxn ang="0">
                    <a:pos x="T6" y="T7"/>
                  </a:cxn>
                  <a:cxn ang="0">
                    <a:pos x="T8" y="T9"/>
                  </a:cxn>
                </a:cxnLst>
                <a:rect l="0" t="0" r="r" b="b"/>
                <a:pathLst>
                  <a:path w="247" h="110">
                    <a:moveTo>
                      <a:pt x="0" y="44"/>
                    </a:moveTo>
                    <a:cubicBezTo>
                      <a:pt x="74" y="84"/>
                      <a:pt x="158" y="108"/>
                      <a:pt x="247" y="110"/>
                    </a:cubicBezTo>
                    <a:cubicBezTo>
                      <a:pt x="247" y="59"/>
                      <a:pt x="247" y="59"/>
                      <a:pt x="247" y="59"/>
                    </a:cubicBezTo>
                    <a:cubicBezTo>
                      <a:pt x="167" y="57"/>
                      <a:pt x="92" y="36"/>
                      <a:pt x="26" y="0"/>
                    </a:cubicBezTo>
                    <a:lnTo>
                      <a:pt x="0" y="44"/>
                    </a:ln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238" name="Freeform 13"/>
              <p:cNvSpPr>
                <a:spLocks/>
              </p:cNvSpPr>
              <p:nvPr/>
            </p:nvSpPr>
            <p:spPr bwMode="auto">
              <a:xfrm>
                <a:off x="1256616" y="3632930"/>
                <a:ext cx="354935" cy="356034"/>
              </a:xfrm>
              <a:custGeom>
                <a:avLst/>
                <a:gdLst>
                  <a:gd name="T0" fmla="*/ 44 w 206"/>
                  <a:gd name="T1" fmla="*/ 0 h 207"/>
                  <a:gd name="T2" fmla="*/ 0 w 206"/>
                  <a:gd name="T3" fmla="*/ 26 h 207"/>
                  <a:gd name="T4" fmla="*/ 181 w 206"/>
                  <a:gd name="T5" fmla="*/ 207 h 207"/>
                  <a:gd name="T6" fmla="*/ 206 w 206"/>
                  <a:gd name="T7" fmla="*/ 163 h 207"/>
                  <a:gd name="T8" fmla="*/ 44 w 206"/>
                  <a:gd name="T9" fmla="*/ 0 h 207"/>
                </a:gdLst>
                <a:ahLst/>
                <a:cxnLst>
                  <a:cxn ang="0">
                    <a:pos x="T0" y="T1"/>
                  </a:cxn>
                  <a:cxn ang="0">
                    <a:pos x="T2" y="T3"/>
                  </a:cxn>
                  <a:cxn ang="0">
                    <a:pos x="T4" y="T5"/>
                  </a:cxn>
                  <a:cxn ang="0">
                    <a:pos x="T6" y="T7"/>
                  </a:cxn>
                  <a:cxn ang="0">
                    <a:pos x="T8" y="T9"/>
                  </a:cxn>
                </a:cxnLst>
                <a:rect l="0" t="0" r="r" b="b"/>
                <a:pathLst>
                  <a:path w="206" h="207">
                    <a:moveTo>
                      <a:pt x="44" y="0"/>
                    </a:moveTo>
                    <a:cubicBezTo>
                      <a:pt x="0" y="26"/>
                      <a:pt x="0" y="26"/>
                      <a:pt x="0" y="26"/>
                    </a:cubicBezTo>
                    <a:cubicBezTo>
                      <a:pt x="45" y="100"/>
                      <a:pt x="107" y="162"/>
                      <a:pt x="181" y="207"/>
                    </a:cubicBezTo>
                    <a:cubicBezTo>
                      <a:pt x="206" y="163"/>
                      <a:pt x="206" y="163"/>
                      <a:pt x="206" y="163"/>
                    </a:cubicBezTo>
                    <a:cubicBezTo>
                      <a:pt x="140" y="122"/>
                      <a:pt x="85" y="66"/>
                      <a:pt x="44"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239" name="Freeform 14"/>
              <p:cNvSpPr>
                <a:spLocks/>
              </p:cNvSpPr>
              <p:nvPr/>
            </p:nvSpPr>
            <p:spPr bwMode="auto">
              <a:xfrm>
                <a:off x="1119258" y="3213162"/>
                <a:ext cx="191203" cy="427460"/>
              </a:xfrm>
              <a:custGeom>
                <a:avLst/>
                <a:gdLst>
                  <a:gd name="T0" fmla="*/ 0 w 111"/>
                  <a:gd name="T1" fmla="*/ 0 h 248"/>
                  <a:gd name="T2" fmla="*/ 67 w 111"/>
                  <a:gd name="T3" fmla="*/ 248 h 248"/>
                  <a:gd name="T4" fmla="*/ 111 w 111"/>
                  <a:gd name="T5" fmla="*/ 222 h 248"/>
                  <a:gd name="T6" fmla="*/ 51 w 111"/>
                  <a:gd name="T7" fmla="*/ 0 h 248"/>
                  <a:gd name="T8" fmla="*/ 0 w 111"/>
                  <a:gd name="T9" fmla="*/ 0 h 248"/>
                </a:gdLst>
                <a:ahLst/>
                <a:cxnLst>
                  <a:cxn ang="0">
                    <a:pos x="T0" y="T1"/>
                  </a:cxn>
                  <a:cxn ang="0">
                    <a:pos x="T2" y="T3"/>
                  </a:cxn>
                  <a:cxn ang="0">
                    <a:pos x="T4" y="T5"/>
                  </a:cxn>
                  <a:cxn ang="0">
                    <a:pos x="T6" y="T7"/>
                  </a:cxn>
                  <a:cxn ang="0">
                    <a:pos x="T8" y="T9"/>
                  </a:cxn>
                </a:cxnLst>
                <a:rect l="0" t="0" r="r" b="b"/>
                <a:pathLst>
                  <a:path w="111" h="248">
                    <a:moveTo>
                      <a:pt x="0" y="0"/>
                    </a:moveTo>
                    <a:cubicBezTo>
                      <a:pt x="2" y="90"/>
                      <a:pt x="26" y="174"/>
                      <a:pt x="67" y="248"/>
                    </a:cubicBezTo>
                    <a:cubicBezTo>
                      <a:pt x="111" y="222"/>
                      <a:pt x="111" y="222"/>
                      <a:pt x="111" y="222"/>
                    </a:cubicBezTo>
                    <a:cubicBezTo>
                      <a:pt x="75" y="156"/>
                      <a:pt x="53" y="80"/>
                      <a:pt x="51"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240" name="Freeform 15"/>
              <p:cNvSpPr>
                <a:spLocks/>
              </p:cNvSpPr>
              <p:nvPr/>
            </p:nvSpPr>
            <p:spPr bwMode="auto">
              <a:xfrm>
                <a:off x="1119258" y="2743946"/>
                <a:ext cx="191203" cy="425262"/>
              </a:xfrm>
              <a:custGeom>
                <a:avLst/>
                <a:gdLst>
                  <a:gd name="T0" fmla="*/ 51 w 111"/>
                  <a:gd name="T1" fmla="*/ 247 h 247"/>
                  <a:gd name="T2" fmla="*/ 111 w 111"/>
                  <a:gd name="T3" fmla="*/ 26 h 247"/>
                  <a:gd name="T4" fmla="*/ 67 w 111"/>
                  <a:gd name="T5" fmla="*/ 0 h 247"/>
                  <a:gd name="T6" fmla="*/ 0 w 111"/>
                  <a:gd name="T7" fmla="*/ 247 h 247"/>
                  <a:gd name="T8" fmla="*/ 51 w 111"/>
                  <a:gd name="T9" fmla="*/ 247 h 247"/>
                </a:gdLst>
                <a:ahLst/>
                <a:cxnLst>
                  <a:cxn ang="0">
                    <a:pos x="T0" y="T1"/>
                  </a:cxn>
                  <a:cxn ang="0">
                    <a:pos x="T2" y="T3"/>
                  </a:cxn>
                  <a:cxn ang="0">
                    <a:pos x="T4" y="T5"/>
                  </a:cxn>
                  <a:cxn ang="0">
                    <a:pos x="T6" y="T7"/>
                  </a:cxn>
                  <a:cxn ang="0">
                    <a:pos x="T8" y="T9"/>
                  </a:cxn>
                </a:cxnLst>
                <a:rect l="0" t="0" r="r" b="b"/>
                <a:pathLst>
                  <a:path w="111" h="247">
                    <a:moveTo>
                      <a:pt x="51" y="247"/>
                    </a:moveTo>
                    <a:cubicBezTo>
                      <a:pt x="53" y="167"/>
                      <a:pt x="75" y="92"/>
                      <a:pt x="111" y="26"/>
                    </a:cubicBezTo>
                    <a:cubicBezTo>
                      <a:pt x="67" y="0"/>
                      <a:pt x="67" y="0"/>
                      <a:pt x="67" y="0"/>
                    </a:cubicBezTo>
                    <a:cubicBezTo>
                      <a:pt x="26" y="74"/>
                      <a:pt x="2" y="158"/>
                      <a:pt x="0" y="247"/>
                    </a:cubicBezTo>
                    <a:lnTo>
                      <a:pt x="51" y="247"/>
                    </a:lnTo>
                    <a:close/>
                  </a:path>
                </a:pathLst>
              </a:custGeom>
              <a:grpFill/>
              <a:ln>
                <a:noFill/>
              </a:ln>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241" name="Freeform 16"/>
              <p:cNvSpPr>
                <a:spLocks/>
              </p:cNvSpPr>
              <p:nvPr/>
            </p:nvSpPr>
            <p:spPr bwMode="auto">
              <a:xfrm>
                <a:off x="1256616" y="2394505"/>
                <a:ext cx="354935" cy="354935"/>
              </a:xfrm>
              <a:custGeom>
                <a:avLst/>
                <a:gdLst>
                  <a:gd name="T0" fmla="*/ 0 w 206"/>
                  <a:gd name="T1" fmla="*/ 181 h 206"/>
                  <a:gd name="T2" fmla="*/ 44 w 206"/>
                  <a:gd name="T3" fmla="*/ 206 h 206"/>
                  <a:gd name="T4" fmla="*/ 206 w 206"/>
                  <a:gd name="T5" fmla="*/ 44 h 206"/>
                  <a:gd name="T6" fmla="*/ 181 w 206"/>
                  <a:gd name="T7" fmla="*/ 0 h 206"/>
                  <a:gd name="T8" fmla="*/ 0 w 206"/>
                  <a:gd name="T9" fmla="*/ 181 h 206"/>
                </a:gdLst>
                <a:ahLst/>
                <a:cxnLst>
                  <a:cxn ang="0">
                    <a:pos x="T0" y="T1"/>
                  </a:cxn>
                  <a:cxn ang="0">
                    <a:pos x="T2" y="T3"/>
                  </a:cxn>
                  <a:cxn ang="0">
                    <a:pos x="T4" y="T5"/>
                  </a:cxn>
                  <a:cxn ang="0">
                    <a:pos x="T6" y="T7"/>
                  </a:cxn>
                  <a:cxn ang="0">
                    <a:pos x="T8" y="T9"/>
                  </a:cxn>
                </a:cxnLst>
                <a:rect l="0" t="0" r="r" b="b"/>
                <a:pathLst>
                  <a:path w="206" h="206">
                    <a:moveTo>
                      <a:pt x="0" y="181"/>
                    </a:moveTo>
                    <a:cubicBezTo>
                      <a:pt x="44" y="206"/>
                      <a:pt x="44" y="206"/>
                      <a:pt x="44" y="206"/>
                    </a:cubicBezTo>
                    <a:cubicBezTo>
                      <a:pt x="85" y="140"/>
                      <a:pt x="140" y="85"/>
                      <a:pt x="206" y="44"/>
                    </a:cubicBezTo>
                    <a:cubicBezTo>
                      <a:pt x="181" y="0"/>
                      <a:pt x="181" y="0"/>
                      <a:pt x="181" y="0"/>
                    </a:cubicBezTo>
                    <a:cubicBezTo>
                      <a:pt x="107" y="45"/>
                      <a:pt x="45" y="107"/>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242" name="Freeform 17"/>
              <p:cNvSpPr>
                <a:spLocks/>
              </p:cNvSpPr>
              <p:nvPr/>
            </p:nvSpPr>
            <p:spPr bwMode="auto">
              <a:xfrm>
                <a:off x="1606057" y="2257147"/>
                <a:ext cx="425262" cy="191203"/>
              </a:xfrm>
              <a:custGeom>
                <a:avLst/>
                <a:gdLst>
                  <a:gd name="T0" fmla="*/ 0 w 247"/>
                  <a:gd name="T1" fmla="*/ 67 h 111"/>
                  <a:gd name="T2" fmla="*/ 25 w 247"/>
                  <a:gd name="T3" fmla="*/ 111 h 111"/>
                  <a:gd name="T4" fmla="*/ 247 w 247"/>
                  <a:gd name="T5" fmla="*/ 51 h 111"/>
                  <a:gd name="T6" fmla="*/ 247 w 247"/>
                  <a:gd name="T7" fmla="*/ 0 h 111"/>
                  <a:gd name="T8" fmla="*/ 0 w 247"/>
                  <a:gd name="T9" fmla="*/ 67 h 111"/>
                </a:gdLst>
                <a:ahLst/>
                <a:cxnLst>
                  <a:cxn ang="0">
                    <a:pos x="T0" y="T1"/>
                  </a:cxn>
                  <a:cxn ang="0">
                    <a:pos x="T2" y="T3"/>
                  </a:cxn>
                  <a:cxn ang="0">
                    <a:pos x="T4" y="T5"/>
                  </a:cxn>
                  <a:cxn ang="0">
                    <a:pos x="T6" y="T7"/>
                  </a:cxn>
                  <a:cxn ang="0">
                    <a:pos x="T8" y="T9"/>
                  </a:cxn>
                </a:cxnLst>
                <a:rect l="0" t="0" r="r" b="b"/>
                <a:pathLst>
                  <a:path w="247" h="111">
                    <a:moveTo>
                      <a:pt x="0" y="67"/>
                    </a:moveTo>
                    <a:cubicBezTo>
                      <a:pt x="25" y="111"/>
                      <a:pt x="25" y="111"/>
                      <a:pt x="25" y="111"/>
                    </a:cubicBezTo>
                    <a:cubicBezTo>
                      <a:pt x="92" y="75"/>
                      <a:pt x="167" y="53"/>
                      <a:pt x="247" y="51"/>
                    </a:cubicBezTo>
                    <a:cubicBezTo>
                      <a:pt x="247" y="0"/>
                      <a:pt x="247" y="0"/>
                      <a:pt x="247" y="0"/>
                    </a:cubicBezTo>
                    <a:cubicBezTo>
                      <a:pt x="158" y="2"/>
                      <a:pt x="74" y="26"/>
                      <a:pt x="0"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dirty="0">
                  <a:latin typeface="Calibri Light"/>
                </a:endParaRPr>
              </a:p>
            </p:txBody>
          </p:sp>
        </p:grpSp>
      </p:grpSp>
      <p:sp>
        <p:nvSpPr>
          <p:cNvPr id="243" name="Subtitle 2"/>
          <p:cNvSpPr txBox="1">
            <a:spLocks/>
          </p:cNvSpPr>
          <p:nvPr/>
        </p:nvSpPr>
        <p:spPr>
          <a:xfrm>
            <a:off x="6721245" y="1369239"/>
            <a:ext cx="5894640" cy="1197174"/>
          </a:xfrm>
          <a:prstGeom prst="rect">
            <a:avLst/>
          </a:prstGeom>
        </p:spPr>
        <p:txBody>
          <a:bodyPr vert="horz" lIns="243744" tIns="121869" rIns="243744" bIns="121869"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b="1" dirty="0" smtClean="0">
                <a:latin typeface="Roboto Regular" pitchFamily="2" charset="0"/>
                <a:ea typeface="Roboto Regular" pitchFamily="2" charset="0"/>
                <a:cs typeface="Lato Regular"/>
              </a:rPr>
              <a:t>Description</a:t>
            </a:r>
            <a:endParaRPr lang="en-US" sz="1600" b="1" dirty="0">
              <a:latin typeface="Roboto Regular" pitchFamily="2" charset="0"/>
              <a:ea typeface="Roboto Regular" pitchFamily="2" charset="0"/>
              <a:cs typeface="Lato Regular"/>
            </a:endParaRPr>
          </a:p>
          <a:p>
            <a:pPr marL="0" indent="0">
              <a:buNone/>
            </a:pPr>
            <a:r>
              <a:rPr lang="en-US" sz="1400" dirty="0">
                <a:latin typeface="Roboto Regular" pitchFamily="2" charset="0"/>
                <a:ea typeface="Roboto Regular" pitchFamily="2" charset="0"/>
                <a:cs typeface="Calibri Light"/>
              </a:rPr>
              <a:t>Lorem ipsum dolor sit amet, consectetur adipiscing elit. Integer pulvinar nulla ut ultrices eleifend. Etiam sit amet turpis at neque lacinia fermentum sed vitae velit</a:t>
            </a:r>
            <a:r>
              <a:rPr lang="en-US" sz="1400" dirty="0" smtClean="0">
                <a:latin typeface="Roboto Regular" pitchFamily="2" charset="0"/>
                <a:ea typeface="Roboto Regular" pitchFamily="2" charset="0"/>
                <a:cs typeface="Calibri Light"/>
              </a:rPr>
              <a:t>.</a:t>
            </a:r>
            <a:endParaRPr lang="en-US" sz="1400" dirty="0">
              <a:latin typeface="Roboto Regular" pitchFamily="2" charset="0"/>
              <a:ea typeface="Roboto Regular" pitchFamily="2" charset="0"/>
              <a:cs typeface="Calibri Light"/>
            </a:endParaRPr>
          </a:p>
        </p:txBody>
      </p:sp>
      <p:grpSp>
        <p:nvGrpSpPr>
          <p:cNvPr id="306" name="Group 305"/>
          <p:cNvGrpSpPr/>
          <p:nvPr>
            <p:custDataLst>
              <p:tags r:id="rId2"/>
            </p:custDataLst>
          </p:nvPr>
        </p:nvGrpSpPr>
        <p:grpSpPr>
          <a:xfrm>
            <a:off x="1199168" y="1550890"/>
            <a:ext cx="3416311" cy="833873"/>
            <a:chOff x="2515434" y="3982888"/>
            <a:chExt cx="6784806" cy="1656075"/>
          </a:xfrm>
          <a:solidFill>
            <a:schemeClr val="accent5"/>
          </a:solidFill>
        </p:grpSpPr>
        <p:grpSp>
          <p:nvGrpSpPr>
            <p:cNvPr id="307" name="Group 306"/>
            <p:cNvGrpSpPr/>
            <p:nvPr/>
          </p:nvGrpSpPr>
          <p:grpSpPr>
            <a:xfrm>
              <a:off x="2515434" y="4050616"/>
              <a:ext cx="607828" cy="1588347"/>
              <a:chOff x="1006475" y="1212850"/>
              <a:chExt cx="585788" cy="1530350"/>
            </a:xfrm>
            <a:grpFill/>
          </p:grpSpPr>
          <p:sp>
            <p:nvSpPr>
              <p:cNvPr id="335"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336"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308" name="Group 307"/>
            <p:cNvGrpSpPr/>
            <p:nvPr/>
          </p:nvGrpSpPr>
          <p:grpSpPr>
            <a:xfrm>
              <a:off x="3186625" y="4050616"/>
              <a:ext cx="607828" cy="1588347"/>
              <a:chOff x="1006475" y="1212850"/>
              <a:chExt cx="585788" cy="1530350"/>
            </a:xfrm>
            <a:grpFill/>
          </p:grpSpPr>
          <p:sp>
            <p:nvSpPr>
              <p:cNvPr id="333"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334"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309" name="Group 308"/>
            <p:cNvGrpSpPr/>
            <p:nvPr/>
          </p:nvGrpSpPr>
          <p:grpSpPr>
            <a:xfrm>
              <a:off x="3885190" y="4050616"/>
              <a:ext cx="607828" cy="1588347"/>
              <a:chOff x="1006475" y="1212850"/>
              <a:chExt cx="585788" cy="1530350"/>
            </a:xfrm>
            <a:grpFill/>
          </p:grpSpPr>
          <p:sp>
            <p:nvSpPr>
              <p:cNvPr id="331"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332"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310" name="Group 309"/>
            <p:cNvGrpSpPr/>
            <p:nvPr/>
          </p:nvGrpSpPr>
          <p:grpSpPr>
            <a:xfrm>
              <a:off x="4576255" y="4050616"/>
              <a:ext cx="607828" cy="1588347"/>
              <a:chOff x="1006475" y="1212850"/>
              <a:chExt cx="585788" cy="1530350"/>
            </a:xfrm>
            <a:grpFill/>
          </p:grpSpPr>
          <p:sp>
            <p:nvSpPr>
              <p:cNvPr id="329"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330"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311" name="Group 310"/>
            <p:cNvGrpSpPr/>
            <p:nvPr/>
          </p:nvGrpSpPr>
          <p:grpSpPr>
            <a:xfrm>
              <a:off x="5265539" y="4016752"/>
              <a:ext cx="607828" cy="1588347"/>
              <a:chOff x="1006475" y="1212850"/>
              <a:chExt cx="585788" cy="1530350"/>
            </a:xfrm>
            <a:grpFill/>
          </p:grpSpPr>
          <p:sp>
            <p:nvSpPr>
              <p:cNvPr id="327"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328"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312" name="Group 311"/>
            <p:cNvGrpSpPr/>
            <p:nvPr/>
          </p:nvGrpSpPr>
          <p:grpSpPr>
            <a:xfrm>
              <a:off x="5942296" y="4016751"/>
              <a:ext cx="607828" cy="1588349"/>
              <a:chOff x="2036726" y="1422731"/>
              <a:chExt cx="227995" cy="595631"/>
            </a:xfrm>
            <a:grpFill/>
          </p:grpSpPr>
          <p:sp>
            <p:nvSpPr>
              <p:cNvPr id="325" name="Freeform 1"/>
              <p:cNvSpPr>
                <a:spLocks noChangeArrowheads="1"/>
              </p:cNvSpPr>
              <p:nvPr/>
            </p:nvSpPr>
            <p:spPr bwMode="auto">
              <a:xfrm>
                <a:off x="2036726" y="1540746"/>
                <a:ext cx="227995" cy="477616"/>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p:spPr>
            <p:txBody>
              <a:bodyPr wrap="none" lIns="91420" tIns="45709" rIns="91420" bIns="45709" anchor="ctr"/>
              <a:lstStyle/>
              <a:p>
                <a:endParaRPr lang="en-US" dirty="0">
                  <a:latin typeface="Calibri Light"/>
                </a:endParaRPr>
              </a:p>
            </p:txBody>
          </p:sp>
          <p:sp>
            <p:nvSpPr>
              <p:cNvPr id="326" name="Freeform 2"/>
              <p:cNvSpPr>
                <a:spLocks noChangeArrowheads="1"/>
              </p:cNvSpPr>
              <p:nvPr/>
            </p:nvSpPr>
            <p:spPr bwMode="auto">
              <a:xfrm>
                <a:off x="2106538" y="1422731"/>
                <a:ext cx="87738" cy="87738"/>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p:spPr>
            <p:txBody>
              <a:bodyPr wrap="none" lIns="91420" tIns="45709" rIns="91420" bIns="45709" anchor="ctr"/>
              <a:lstStyle/>
              <a:p>
                <a:endParaRPr lang="en-US" dirty="0">
                  <a:latin typeface="Calibri Light"/>
                </a:endParaRPr>
              </a:p>
            </p:txBody>
          </p:sp>
        </p:grpSp>
        <p:grpSp>
          <p:nvGrpSpPr>
            <p:cNvPr id="313" name="Group 312"/>
            <p:cNvGrpSpPr/>
            <p:nvPr/>
          </p:nvGrpSpPr>
          <p:grpSpPr>
            <a:xfrm>
              <a:off x="6613487" y="4016751"/>
              <a:ext cx="607828" cy="1588349"/>
              <a:chOff x="2288488" y="1422731"/>
              <a:chExt cx="227995" cy="595631"/>
            </a:xfrm>
            <a:grpFill/>
          </p:grpSpPr>
          <p:sp>
            <p:nvSpPr>
              <p:cNvPr id="323" name="Freeform 1"/>
              <p:cNvSpPr>
                <a:spLocks noChangeArrowheads="1"/>
              </p:cNvSpPr>
              <p:nvPr/>
            </p:nvSpPr>
            <p:spPr bwMode="auto">
              <a:xfrm>
                <a:off x="2288488" y="1540746"/>
                <a:ext cx="227995" cy="477616"/>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p:spPr>
            <p:txBody>
              <a:bodyPr wrap="none" lIns="91420" tIns="45709" rIns="91420" bIns="45709" anchor="ctr"/>
              <a:lstStyle/>
              <a:p>
                <a:endParaRPr lang="en-US" dirty="0">
                  <a:latin typeface="Calibri Light"/>
                </a:endParaRPr>
              </a:p>
            </p:txBody>
          </p:sp>
          <p:sp>
            <p:nvSpPr>
              <p:cNvPr id="324" name="Freeform 2"/>
              <p:cNvSpPr>
                <a:spLocks noChangeArrowheads="1"/>
              </p:cNvSpPr>
              <p:nvPr/>
            </p:nvSpPr>
            <p:spPr bwMode="auto">
              <a:xfrm>
                <a:off x="2358300" y="1422731"/>
                <a:ext cx="87738" cy="87738"/>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p:spPr>
            <p:txBody>
              <a:bodyPr wrap="none" lIns="91420" tIns="45709" rIns="91420" bIns="45709" anchor="ctr"/>
              <a:lstStyle/>
              <a:p>
                <a:endParaRPr lang="en-US" dirty="0">
                  <a:latin typeface="Calibri Light"/>
                </a:endParaRPr>
              </a:p>
            </p:txBody>
          </p:sp>
        </p:grpSp>
        <p:grpSp>
          <p:nvGrpSpPr>
            <p:cNvPr id="314" name="Group 313"/>
            <p:cNvGrpSpPr/>
            <p:nvPr/>
          </p:nvGrpSpPr>
          <p:grpSpPr>
            <a:xfrm>
              <a:off x="7312052" y="4016752"/>
              <a:ext cx="607828" cy="1588347"/>
              <a:chOff x="1006475" y="1212850"/>
              <a:chExt cx="585788" cy="1530350"/>
            </a:xfrm>
            <a:grpFill/>
          </p:grpSpPr>
          <p:sp>
            <p:nvSpPr>
              <p:cNvPr id="321"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solidFill>
                <a:schemeClr val="bg1">
                  <a:lumMod val="85000"/>
                </a:schemeClr>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322"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solidFill>
                <a:schemeClr val="bg1">
                  <a:lumMod val="85000"/>
                </a:schemeClr>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315" name="Group 314"/>
            <p:cNvGrpSpPr/>
            <p:nvPr/>
          </p:nvGrpSpPr>
          <p:grpSpPr>
            <a:xfrm>
              <a:off x="8003112" y="4016752"/>
              <a:ext cx="607828" cy="1588347"/>
              <a:chOff x="1006475" y="1212850"/>
              <a:chExt cx="585788" cy="1530350"/>
            </a:xfrm>
            <a:grpFill/>
          </p:grpSpPr>
          <p:sp>
            <p:nvSpPr>
              <p:cNvPr id="319"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solidFill>
                <a:schemeClr val="bg1">
                  <a:lumMod val="85000"/>
                </a:schemeClr>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320"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solidFill>
                <a:schemeClr val="bg1">
                  <a:lumMod val="85000"/>
                </a:schemeClr>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316" name="Group 315"/>
            <p:cNvGrpSpPr/>
            <p:nvPr/>
          </p:nvGrpSpPr>
          <p:grpSpPr>
            <a:xfrm>
              <a:off x="8692412" y="3982888"/>
              <a:ext cx="607828" cy="1588347"/>
              <a:chOff x="1006475" y="1212850"/>
              <a:chExt cx="585788" cy="1530350"/>
            </a:xfrm>
            <a:grpFill/>
          </p:grpSpPr>
          <p:sp>
            <p:nvSpPr>
              <p:cNvPr id="317"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solidFill>
                <a:schemeClr val="bg1">
                  <a:lumMod val="85000"/>
                </a:schemeClr>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318"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solidFill>
                <a:schemeClr val="bg1">
                  <a:lumMod val="85000"/>
                </a:schemeClr>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sp>
        <p:nvSpPr>
          <p:cNvPr id="337" name="TextBox 336"/>
          <p:cNvSpPr txBox="1"/>
          <p:nvPr/>
        </p:nvSpPr>
        <p:spPr>
          <a:xfrm>
            <a:off x="5090345" y="1677608"/>
            <a:ext cx="1598840" cy="523117"/>
          </a:xfrm>
          <a:prstGeom prst="rect">
            <a:avLst/>
          </a:prstGeom>
          <a:noFill/>
        </p:spPr>
        <p:txBody>
          <a:bodyPr wrap="square" lIns="243744" tIns="121869" rIns="243744" bIns="121869" rtlCol="0">
            <a:spAutoFit/>
          </a:bodyPr>
          <a:lstStyle/>
          <a:p>
            <a:pPr algn="ctr"/>
            <a:r>
              <a:rPr lang="en-US" dirty="0" smtClean="0">
                <a:solidFill>
                  <a:schemeClr val="accent6"/>
                </a:solidFill>
                <a:latin typeface="Lato Regular"/>
                <a:cs typeface="Lato Regular"/>
              </a:rPr>
              <a:t>70%</a:t>
            </a:r>
            <a:endParaRPr lang="en-US" dirty="0">
              <a:solidFill>
                <a:schemeClr val="accent6"/>
              </a:solidFill>
              <a:latin typeface="Lato Regular"/>
              <a:cs typeface="Lato Regular"/>
            </a:endParaRPr>
          </a:p>
        </p:txBody>
      </p:sp>
      <p:cxnSp>
        <p:nvCxnSpPr>
          <p:cNvPr id="338" name="Straight Connector 337"/>
          <p:cNvCxnSpPr/>
          <p:nvPr/>
        </p:nvCxnSpPr>
        <p:spPr>
          <a:xfrm>
            <a:off x="5197487" y="5247941"/>
            <a:ext cx="0" cy="6147608"/>
          </a:xfrm>
          <a:prstGeom prst="line">
            <a:avLst/>
          </a:prstGeom>
          <a:ln w="12700" cmpd="sng">
            <a:solidFill>
              <a:schemeClr val="bg2"/>
            </a:solidFill>
          </a:ln>
          <a:effectLst/>
        </p:spPr>
        <p:style>
          <a:lnRef idx="2">
            <a:schemeClr val="accent1"/>
          </a:lnRef>
          <a:fillRef idx="0">
            <a:schemeClr val="accent1"/>
          </a:fillRef>
          <a:effectRef idx="1">
            <a:schemeClr val="accent1"/>
          </a:effectRef>
          <a:fontRef idx="minor">
            <a:schemeClr val="tx1"/>
          </a:fontRef>
        </p:style>
      </p:cxnSp>
      <p:grpSp>
        <p:nvGrpSpPr>
          <p:cNvPr id="245" name="Group 244"/>
          <p:cNvGrpSpPr/>
          <p:nvPr>
            <p:custDataLst>
              <p:tags r:id="rId3"/>
            </p:custDataLst>
          </p:nvPr>
        </p:nvGrpSpPr>
        <p:grpSpPr>
          <a:xfrm>
            <a:off x="1181809" y="3130448"/>
            <a:ext cx="306056" cy="799771"/>
            <a:chOff x="1006475" y="1212850"/>
            <a:chExt cx="585788" cy="1530350"/>
          </a:xfrm>
          <a:solidFill>
            <a:srgbClr val="41B5E8"/>
          </a:solidFill>
        </p:grpSpPr>
        <p:sp>
          <p:nvSpPr>
            <p:cNvPr id="273"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74"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46" name="Group 245"/>
          <p:cNvGrpSpPr/>
          <p:nvPr>
            <p:custDataLst>
              <p:tags r:id="rId4"/>
            </p:custDataLst>
          </p:nvPr>
        </p:nvGrpSpPr>
        <p:grpSpPr>
          <a:xfrm>
            <a:off x="1519770" y="3130448"/>
            <a:ext cx="306056" cy="799771"/>
            <a:chOff x="1006475" y="1212850"/>
            <a:chExt cx="585788" cy="1530350"/>
          </a:xfrm>
          <a:solidFill>
            <a:srgbClr val="41B5E8"/>
          </a:solidFill>
        </p:grpSpPr>
        <p:sp>
          <p:nvSpPr>
            <p:cNvPr id="271"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72"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47" name="Group 246"/>
          <p:cNvGrpSpPr/>
          <p:nvPr>
            <p:custDataLst>
              <p:tags r:id="rId5"/>
            </p:custDataLst>
          </p:nvPr>
        </p:nvGrpSpPr>
        <p:grpSpPr>
          <a:xfrm>
            <a:off x="1871513" y="3130448"/>
            <a:ext cx="306056" cy="799771"/>
            <a:chOff x="1006475" y="1212850"/>
            <a:chExt cx="585788" cy="1530350"/>
          </a:xfrm>
          <a:solidFill>
            <a:srgbClr val="41B5E8"/>
          </a:solidFill>
        </p:grpSpPr>
        <p:sp>
          <p:nvSpPr>
            <p:cNvPr id="269"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70"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48" name="Group 247"/>
          <p:cNvGrpSpPr/>
          <p:nvPr>
            <p:custDataLst>
              <p:tags r:id="rId6"/>
            </p:custDataLst>
          </p:nvPr>
        </p:nvGrpSpPr>
        <p:grpSpPr>
          <a:xfrm>
            <a:off x="2219482" y="3130448"/>
            <a:ext cx="306056" cy="799771"/>
            <a:chOff x="1006475" y="1212850"/>
            <a:chExt cx="585788" cy="1530350"/>
          </a:xfrm>
          <a:solidFill>
            <a:srgbClr val="41B5E8"/>
          </a:solidFill>
        </p:grpSpPr>
        <p:sp>
          <p:nvSpPr>
            <p:cNvPr id="267"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68"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49" name="Group 248"/>
          <p:cNvGrpSpPr/>
          <p:nvPr>
            <p:custDataLst>
              <p:tags r:id="rId7"/>
            </p:custDataLst>
          </p:nvPr>
        </p:nvGrpSpPr>
        <p:grpSpPr>
          <a:xfrm>
            <a:off x="2566558" y="3113396"/>
            <a:ext cx="306056" cy="799771"/>
            <a:chOff x="1006475" y="1212850"/>
            <a:chExt cx="585788" cy="1530350"/>
          </a:xfrm>
          <a:solidFill>
            <a:srgbClr val="41B5E8"/>
          </a:solidFill>
        </p:grpSpPr>
        <p:sp>
          <p:nvSpPr>
            <p:cNvPr id="265"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66"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50" name="Group 249"/>
          <p:cNvGrpSpPr/>
          <p:nvPr>
            <p:custDataLst>
              <p:tags r:id="rId8"/>
            </p:custDataLst>
          </p:nvPr>
        </p:nvGrpSpPr>
        <p:grpSpPr>
          <a:xfrm>
            <a:off x="2907319" y="3113398"/>
            <a:ext cx="306056" cy="799771"/>
            <a:chOff x="1006475" y="1212850"/>
            <a:chExt cx="585788" cy="1530350"/>
          </a:xfrm>
          <a:solidFill>
            <a:srgbClr val="41B5E8"/>
          </a:solidFill>
        </p:grpSpPr>
        <p:sp>
          <p:nvSpPr>
            <p:cNvPr id="263"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64"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51" name="Group 250"/>
          <p:cNvGrpSpPr/>
          <p:nvPr>
            <p:custDataLst>
              <p:tags r:id="rId9"/>
            </p:custDataLst>
          </p:nvPr>
        </p:nvGrpSpPr>
        <p:grpSpPr>
          <a:xfrm>
            <a:off x="3245279" y="3113398"/>
            <a:ext cx="306056" cy="799771"/>
            <a:chOff x="1006475" y="1212850"/>
            <a:chExt cx="585788" cy="1530350"/>
          </a:xfrm>
          <a:solidFill>
            <a:srgbClr val="41B5E8"/>
          </a:solidFill>
        </p:grpSpPr>
        <p:sp>
          <p:nvSpPr>
            <p:cNvPr id="261"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62"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52" name="Group 251"/>
          <p:cNvGrpSpPr/>
          <p:nvPr>
            <p:custDataLst>
              <p:tags r:id="rId10"/>
            </p:custDataLst>
          </p:nvPr>
        </p:nvGrpSpPr>
        <p:grpSpPr>
          <a:xfrm>
            <a:off x="3597024" y="3113398"/>
            <a:ext cx="306056" cy="799771"/>
            <a:chOff x="1006475" y="1212850"/>
            <a:chExt cx="585788" cy="1530350"/>
          </a:xfrm>
          <a:solidFill>
            <a:srgbClr val="41B5E8"/>
          </a:solidFill>
        </p:grpSpPr>
        <p:sp>
          <p:nvSpPr>
            <p:cNvPr id="259"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60"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53" name="Group 252"/>
          <p:cNvGrpSpPr/>
          <p:nvPr>
            <p:custDataLst>
              <p:tags r:id="rId11"/>
            </p:custDataLst>
          </p:nvPr>
        </p:nvGrpSpPr>
        <p:grpSpPr>
          <a:xfrm>
            <a:off x="3944989" y="3113398"/>
            <a:ext cx="306056" cy="799771"/>
            <a:chOff x="1006475" y="1212850"/>
            <a:chExt cx="585788" cy="1530350"/>
          </a:xfrm>
          <a:solidFill>
            <a:srgbClr val="41B5E8"/>
          </a:solidFill>
        </p:grpSpPr>
        <p:sp>
          <p:nvSpPr>
            <p:cNvPr id="257"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58"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54" name="Group 253"/>
          <p:cNvGrpSpPr/>
          <p:nvPr>
            <p:custDataLst>
              <p:tags r:id="rId12"/>
            </p:custDataLst>
          </p:nvPr>
        </p:nvGrpSpPr>
        <p:grpSpPr>
          <a:xfrm>
            <a:off x="4292068" y="3096347"/>
            <a:ext cx="306056" cy="799771"/>
            <a:chOff x="1006475" y="1212850"/>
            <a:chExt cx="585788" cy="1530350"/>
          </a:xfrm>
          <a:solidFill>
            <a:srgbClr val="DDDDDD"/>
          </a:solidFill>
        </p:grpSpPr>
        <p:sp>
          <p:nvSpPr>
            <p:cNvPr id="255"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56"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339" name="Group 338"/>
          <p:cNvGrpSpPr/>
          <p:nvPr>
            <p:custDataLst>
              <p:tags r:id="rId13"/>
            </p:custDataLst>
          </p:nvPr>
        </p:nvGrpSpPr>
        <p:grpSpPr>
          <a:xfrm>
            <a:off x="5308781" y="2958705"/>
            <a:ext cx="1108867" cy="1109156"/>
            <a:chOff x="9158380" y="3435910"/>
            <a:chExt cx="2288589" cy="2289185"/>
          </a:xfrm>
          <a:solidFill>
            <a:schemeClr val="accent1"/>
          </a:solidFill>
        </p:grpSpPr>
        <p:sp>
          <p:nvSpPr>
            <p:cNvPr id="340" name="Freeform 2"/>
            <p:cNvSpPr>
              <a:spLocks noChangeArrowheads="1"/>
            </p:cNvSpPr>
            <p:nvPr/>
          </p:nvSpPr>
          <p:spPr bwMode="auto">
            <a:xfrm>
              <a:off x="9360043" y="3615290"/>
              <a:ext cx="1877678" cy="1878411"/>
            </a:xfrm>
            <a:custGeom>
              <a:avLst/>
              <a:gdLst>
                <a:gd name="T0" fmla="*/ 10058 w 10059"/>
                <a:gd name="T1" fmla="*/ 5032 h 10064"/>
                <a:gd name="T2" fmla="*/ 10058 w 10059"/>
                <a:gd name="T3" fmla="*/ 5032 h 10064"/>
                <a:gd name="T4" fmla="*/ 5031 w 10059"/>
                <a:gd name="T5" fmla="*/ 10063 h 10064"/>
                <a:gd name="T6" fmla="*/ 0 w 10059"/>
                <a:gd name="T7" fmla="*/ 5032 h 10064"/>
                <a:gd name="T8" fmla="*/ 5031 w 10059"/>
                <a:gd name="T9" fmla="*/ 0 h 10064"/>
                <a:gd name="T10" fmla="*/ 10058 w 10059"/>
                <a:gd name="T11" fmla="*/ 5032 h 10064"/>
              </a:gdLst>
              <a:ahLst/>
              <a:cxnLst>
                <a:cxn ang="0">
                  <a:pos x="T0" y="T1"/>
                </a:cxn>
                <a:cxn ang="0">
                  <a:pos x="T2" y="T3"/>
                </a:cxn>
                <a:cxn ang="0">
                  <a:pos x="T4" y="T5"/>
                </a:cxn>
                <a:cxn ang="0">
                  <a:pos x="T6" y="T7"/>
                </a:cxn>
                <a:cxn ang="0">
                  <a:pos x="T8" y="T9"/>
                </a:cxn>
                <a:cxn ang="0">
                  <a:pos x="T10" y="T11"/>
                </a:cxn>
              </a:cxnLst>
              <a:rect l="0" t="0" r="r" b="b"/>
              <a:pathLst>
                <a:path w="10059" h="10064">
                  <a:moveTo>
                    <a:pt x="10058" y="5032"/>
                  </a:moveTo>
                  <a:lnTo>
                    <a:pt x="10058" y="5032"/>
                  </a:lnTo>
                  <a:cubicBezTo>
                    <a:pt x="10058" y="7808"/>
                    <a:pt x="7807" y="10063"/>
                    <a:pt x="5031" y="10063"/>
                  </a:cubicBezTo>
                  <a:cubicBezTo>
                    <a:pt x="2250" y="10063"/>
                    <a:pt x="0" y="7808"/>
                    <a:pt x="0" y="5032"/>
                  </a:cubicBezTo>
                  <a:cubicBezTo>
                    <a:pt x="0" y="2255"/>
                    <a:pt x="2250" y="0"/>
                    <a:pt x="5031" y="0"/>
                  </a:cubicBezTo>
                  <a:cubicBezTo>
                    <a:pt x="7807" y="0"/>
                    <a:pt x="10058" y="2255"/>
                    <a:pt x="10058" y="5032"/>
                  </a:cubicBezTo>
                </a:path>
              </a:pathLst>
            </a:custGeom>
            <a:solidFill>
              <a:schemeClr val="bg1">
                <a:lumMod val="95000"/>
              </a:schemeClr>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nvGrpSpPr>
            <p:cNvPr id="341" name="Group 340"/>
            <p:cNvGrpSpPr/>
            <p:nvPr/>
          </p:nvGrpSpPr>
          <p:grpSpPr>
            <a:xfrm>
              <a:off x="9158380" y="3435910"/>
              <a:ext cx="2288589" cy="2289185"/>
              <a:chOff x="1119258" y="2257147"/>
              <a:chExt cx="1868076" cy="1868076"/>
            </a:xfrm>
            <a:grpFill/>
          </p:grpSpPr>
          <p:sp>
            <p:nvSpPr>
              <p:cNvPr id="342" name="Freeform 6"/>
              <p:cNvSpPr>
                <a:spLocks/>
              </p:cNvSpPr>
              <p:nvPr/>
            </p:nvSpPr>
            <p:spPr bwMode="auto">
              <a:xfrm>
                <a:off x="2495041" y="2394505"/>
                <a:ext cx="356034" cy="354935"/>
              </a:xfrm>
              <a:custGeom>
                <a:avLst/>
                <a:gdLst>
                  <a:gd name="T0" fmla="*/ 207 w 207"/>
                  <a:gd name="T1" fmla="*/ 181 h 206"/>
                  <a:gd name="T2" fmla="*/ 26 w 207"/>
                  <a:gd name="T3" fmla="*/ 0 h 206"/>
                  <a:gd name="T4" fmla="*/ 0 w 207"/>
                  <a:gd name="T5" fmla="*/ 44 h 206"/>
                  <a:gd name="T6" fmla="*/ 163 w 207"/>
                  <a:gd name="T7" fmla="*/ 206 h 206"/>
                  <a:gd name="T8" fmla="*/ 207 w 207"/>
                  <a:gd name="T9" fmla="*/ 181 h 206"/>
                </a:gdLst>
                <a:ahLst/>
                <a:cxnLst>
                  <a:cxn ang="0">
                    <a:pos x="T0" y="T1"/>
                  </a:cxn>
                  <a:cxn ang="0">
                    <a:pos x="T2" y="T3"/>
                  </a:cxn>
                  <a:cxn ang="0">
                    <a:pos x="T4" y="T5"/>
                  </a:cxn>
                  <a:cxn ang="0">
                    <a:pos x="T6" y="T7"/>
                  </a:cxn>
                  <a:cxn ang="0">
                    <a:pos x="T8" y="T9"/>
                  </a:cxn>
                </a:cxnLst>
                <a:rect l="0" t="0" r="r" b="b"/>
                <a:pathLst>
                  <a:path w="207" h="206">
                    <a:moveTo>
                      <a:pt x="207" y="181"/>
                    </a:moveTo>
                    <a:cubicBezTo>
                      <a:pt x="162" y="107"/>
                      <a:pt x="100" y="45"/>
                      <a:pt x="26" y="0"/>
                    </a:cubicBezTo>
                    <a:cubicBezTo>
                      <a:pt x="0" y="44"/>
                      <a:pt x="0" y="44"/>
                      <a:pt x="0" y="44"/>
                    </a:cubicBezTo>
                    <a:cubicBezTo>
                      <a:pt x="66" y="85"/>
                      <a:pt x="122" y="140"/>
                      <a:pt x="163" y="206"/>
                    </a:cubicBezTo>
                    <a:lnTo>
                      <a:pt x="207" y="181"/>
                    </a:ln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43" name="Freeform 7"/>
              <p:cNvSpPr>
                <a:spLocks/>
              </p:cNvSpPr>
              <p:nvPr/>
            </p:nvSpPr>
            <p:spPr bwMode="auto">
              <a:xfrm>
                <a:off x="2075273" y="2257147"/>
                <a:ext cx="427460" cy="191203"/>
              </a:xfrm>
              <a:custGeom>
                <a:avLst/>
                <a:gdLst>
                  <a:gd name="T0" fmla="*/ 0 w 248"/>
                  <a:gd name="T1" fmla="*/ 0 h 111"/>
                  <a:gd name="T2" fmla="*/ 0 w 248"/>
                  <a:gd name="T3" fmla="*/ 51 h 111"/>
                  <a:gd name="T4" fmla="*/ 222 w 248"/>
                  <a:gd name="T5" fmla="*/ 111 h 111"/>
                  <a:gd name="T6" fmla="*/ 248 w 248"/>
                  <a:gd name="T7" fmla="*/ 67 h 111"/>
                  <a:gd name="T8" fmla="*/ 0 w 248"/>
                  <a:gd name="T9" fmla="*/ 0 h 111"/>
                </a:gdLst>
                <a:ahLst/>
                <a:cxnLst>
                  <a:cxn ang="0">
                    <a:pos x="T0" y="T1"/>
                  </a:cxn>
                  <a:cxn ang="0">
                    <a:pos x="T2" y="T3"/>
                  </a:cxn>
                  <a:cxn ang="0">
                    <a:pos x="T4" y="T5"/>
                  </a:cxn>
                  <a:cxn ang="0">
                    <a:pos x="T6" y="T7"/>
                  </a:cxn>
                  <a:cxn ang="0">
                    <a:pos x="T8" y="T9"/>
                  </a:cxn>
                </a:cxnLst>
                <a:rect l="0" t="0" r="r" b="b"/>
                <a:pathLst>
                  <a:path w="248" h="111">
                    <a:moveTo>
                      <a:pt x="0" y="0"/>
                    </a:moveTo>
                    <a:cubicBezTo>
                      <a:pt x="0" y="51"/>
                      <a:pt x="0" y="51"/>
                      <a:pt x="0" y="51"/>
                    </a:cubicBezTo>
                    <a:cubicBezTo>
                      <a:pt x="80" y="53"/>
                      <a:pt x="156" y="75"/>
                      <a:pt x="222" y="111"/>
                    </a:cubicBezTo>
                    <a:cubicBezTo>
                      <a:pt x="248" y="67"/>
                      <a:pt x="248" y="67"/>
                      <a:pt x="248" y="67"/>
                    </a:cubicBezTo>
                    <a:cubicBezTo>
                      <a:pt x="174" y="26"/>
                      <a:pt x="90" y="2"/>
                      <a:pt x="0"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44" name="Freeform 8"/>
              <p:cNvSpPr>
                <a:spLocks/>
              </p:cNvSpPr>
              <p:nvPr/>
            </p:nvSpPr>
            <p:spPr bwMode="auto">
              <a:xfrm>
                <a:off x="2796131" y="2743946"/>
                <a:ext cx="191203" cy="425262"/>
              </a:xfrm>
              <a:custGeom>
                <a:avLst/>
                <a:gdLst>
                  <a:gd name="T0" fmla="*/ 45 w 111"/>
                  <a:gd name="T1" fmla="*/ 0 h 247"/>
                  <a:gd name="T2" fmla="*/ 0 w 111"/>
                  <a:gd name="T3" fmla="*/ 26 h 247"/>
                  <a:gd name="T4" fmla="*/ 60 w 111"/>
                  <a:gd name="T5" fmla="*/ 247 h 247"/>
                  <a:gd name="T6" fmla="*/ 111 w 111"/>
                  <a:gd name="T7" fmla="*/ 247 h 247"/>
                  <a:gd name="T8" fmla="*/ 45 w 111"/>
                  <a:gd name="T9" fmla="*/ 0 h 247"/>
                </a:gdLst>
                <a:ahLst/>
                <a:cxnLst>
                  <a:cxn ang="0">
                    <a:pos x="T0" y="T1"/>
                  </a:cxn>
                  <a:cxn ang="0">
                    <a:pos x="T2" y="T3"/>
                  </a:cxn>
                  <a:cxn ang="0">
                    <a:pos x="T4" y="T5"/>
                  </a:cxn>
                  <a:cxn ang="0">
                    <a:pos x="T6" y="T7"/>
                  </a:cxn>
                  <a:cxn ang="0">
                    <a:pos x="T8" y="T9"/>
                  </a:cxn>
                </a:cxnLst>
                <a:rect l="0" t="0" r="r" b="b"/>
                <a:pathLst>
                  <a:path w="111" h="247">
                    <a:moveTo>
                      <a:pt x="45" y="0"/>
                    </a:moveTo>
                    <a:cubicBezTo>
                      <a:pt x="0" y="26"/>
                      <a:pt x="0" y="26"/>
                      <a:pt x="0" y="26"/>
                    </a:cubicBezTo>
                    <a:cubicBezTo>
                      <a:pt x="37" y="92"/>
                      <a:pt x="58" y="167"/>
                      <a:pt x="60" y="247"/>
                    </a:cubicBezTo>
                    <a:cubicBezTo>
                      <a:pt x="111" y="247"/>
                      <a:pt x="111" y="247"/>
                      <a:pt x="111" y="247"/>
                    </a:cubicBezTo>
                    <a:cubicBezTo>
                      <a:pt x="109" y="158"/>
                      <a:pt x="85" y="74"/>
                      <a:pt x="45"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45" name="Freeform 9"/>
              <p:cNvSpPr>
                <a:spLocks/>
              </p:cNvSpPr>
              <p:nvPr/>
            </p:nvSpPr>
            <p:spPr bwMode="auto">
              <a:xfrm>
                <a:off x="2796131" y="3213162"/>
                <a:ext cx="191203" cy="427460"/>
              </a:xfrm>
              <a:custGeom>
                <a:avLst/>
                <a:gdLst>
                  <a:gd name="T0" fmla="*/ 60 w 111"/>
                  <a:gd name="T1" fmla="*/ 0 h 248"/>
                  <a:gd name="T2" fmla="*/ 0 w 111"/>
                  <a:gd name="T3" fmla="*/ 222 h 248"/>
                  <a:gd name="T4" fmla="*/ 45 w 111"/>
                  <a:gd name="T5" fmla="*/ 248 h 248"/>
                  <a:gd name="T6" fmla="*/ 111 w 111"/>
                  <a:gd name="T7" fmla="*/ 0 h 248"/>
                  <a:gd name="T8" fmla="*/ 60 w 111"/>
                  <a:gd name="T9" fmla="*/ 0 h 248"/>
                </a:gdLst>
                <a:ahLst/>
                <a:cxnLst>
                  <a:cxn ang="0">
                    <a:pos x="T0" y="T1"/>
                  </a:cxn>
                  <a:cxn ang="0">
                    <a:pos x="T2" y="T3"/>
                  </a:cxn>
                  <a:cxn ang="0">
                    <a:pos x="T4" y="T5"/>
                  </a:cxn>
                  <a:cxn ang="0">
                    <a:pos x="T6" y="T7"/>
                  </a:cxn>
                  <a:cxn ang="0">
                    <a:pos x="T8" y="T9"/>
                  </a:cxn>
                </a:cxnLst>
                <a:rect l="0" t="0" r="r" b="b"/>
                <a:pathLst>
                  <a:path w="111" h="248">
                    <a:moveTo>
                      <a:pt x="60" y="0"/>
                    </a:moveTo>
                    <a:cubicBezTo>
                      <a:pt x="58" y="80"/>
                      <a:pt x="37" y="156"/>
                      <a:pt x="0" y="222"/>
                    </a:cubicBezTo>
                    <a:cubicBezTo>
                      <a:pt x="45" y="248"/>
                      <a:pt x="45" y="248"/>
                      <a:pt x="45" y="248"/>
                    </a:cubicBezTo>
                    <a:cubicBezTo>
                      <a:pt x="85" y="174"/>
                      <a:pt x="109" y="90"/>
                      <a:pt x="111" y="0"/>
                    </a:cubicBezTo>
                    <a:lnTo>
                      <a:pt x="60"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46" name="Freeform 10"/>
              <p:cNvSpPr>
                <a:spLocks/>
              </p:cNvSpPr>
              <p:nvPr/>
            </p:nvSpPr>
            <p:spPr bwMode="auto">
              <a:xfrm>
                <a:off x="2495041" y="3632930"/>
                <a:ext cx="356034" cy="356034"/>
              </a:xfrm>
              <a:custGeom>
                <a:avLst/>
                <a:gdLst>
                  <a:gd name="T0" fmla="*/ 207 w 207"/>
                  <a:gd name="T1" fmla="*/ 26 h 207"/>
                  <a:gd name="T2" fmla="*/ 163 w 207"/>
                  <a:gd name="T3" fmla="*/ 0 h 207"/>
                  <a:gd name="T4" fmla="*/ 0 w 207"/>
                  <a:gd name="T5" fmla="*/ 163 h 207"/>
                  <a:gd name="T6" fmla="*/ 26 w 207"/>
                  <a:gd name="T7" fmla="*/ 207 h 207"/>
                  <a:gd name="T8" fmla="*/ 207 w 207"/>
                  <a:gd name="T9" fmla="*/ 26 h 207"/>
                </a:gdLst>
                <a:ahLst/>
                <a:cxnLst>
                  <a:cxn ang="0">
                    <a:pos x="T0" y="T1"/>
                  </a:cxn>
                  <a:cxn ang="0">
                    <a:pos x="T2" y="T3"/>
                  </a:cxn>
                  <a:cxn ang="0">
                    <a:pos x="T4" y="T5"/>
                  </a:cxn>
                  <a:cxn ang="0">
                    <a:pos x="T6" y="T7"/>
                  </a:cxn>
                  <a:cxn ang="0">
                    <a:pos x="T8" y="T9"/>
                  </a:cxn>
                </a:cxnLst>
                <a:rect l="0" t="0" r="r" b="b"/>
                <a:pathLst>
                  <a:path w="207" h="207">
                    <a:moveTo>
                      <a:pt x="207" y="26"/>
                    </a:moveTo>
                    <a:cubicBezTo>
                      <a:pt x="163" y="0"/>
                      <a:pt x="163" y="0"/>
                      <a:pt x="163" y="0"/>
                    </a:cubicBezTo>
                    <a:cubicBezTo>
                      <a:pt x="122" y="66"/>
                      <a:pt x="66" y="122"/>
                      <a:pt x="0" y="163"/>
                    </a:cubicBezTo>
                    <a:cubicBezTo>
                      <a:pt x="26" y="207"/>
                      <a:pt x="26" y="207"/>
                      <a:pt x="26" y="207"/>
                    </a:cubicBezTo>
                    <a:cubicBezTo>
                      <a:pt x="100" y="162"/>
                      <a:pt x="162" y="100"/>
                      <a:pt x="207" y="2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47" name="Freeform 11"/>
              <p:cNvSpPr>
                <a:spLocks/>
              </p:cNvSpPr>
              <p:nvPr/>
            </p:nvSpPr>
            <p:spPr bwMode="auto">
              <a:xfrm>
                <a:off x="2075273" y="3936217"/>
                <a:ext cx="427460" cy="189006"/>
              </a:xfrm>
              <a:custGeom>
                <a:avLst/>
                <a:gdLst>
                  <a:gd name="T0" fmla="*/ 248 w 248"/>
                  <a:gd name="T1" fmla="*/ 44 h 110"/>
                  <a:gd name="T2" fmla="*/ 222 w 248"/>
                  <a:gd name="T3" fmla="*/ 0 h 110"/>
                  <a:gd name="T4" fmla="*/ 0 w 248"/>
                  <a:gd name="T5" fmla="*/ 59 h 110"/>
                  <a:gd name="T6" fmla="*/ 0 w 248"/>
                  <a:gd name="T7" fmla="*/ 110 h 110"/>
                  <a:gd name="T8" fmla="*/ 248 w 248"/>
                  <a:gd name="T9" fmla="*/ 44 h 110"/>
                </a:gdLst>
                <a:ahLst/>
                <a:cxnLst>
                  <a:cxn ang="0">
                    <a:pos x="T0" y="T1"/>
                  </a:cxn>
                  <a:cxn ang="0">
                    <a:pos x="T2" y="T3"/>
                  </a:cxn>
                  <a:cxn ang="0">
                    <a:pos x="T4" y="T5"/>
                  </a:cxn>
                  <a:cxn ang="0">
                    <a:pos x="T6" y="T7"/>
                  </a:cxn>
                  <a:cxn ang="0">
                    <a:pos x="T8" y="T9"/>
                  </a:cxn>
                </a:cxnLst>
                <a:rect l="0" t="0" r="r" b="b"/>
                <a:pathLst>
                  <a:path w="248" h="110">
                    <a:moveTo>
                      <a:pt x="248" y="44"/>
                    </a:moveTo>
                    <a:cubicBezTo>
                      <a:pt x="222" y="0"/>
                      <a:pt x="222" y="0"/>
                      <a:pt x="222" y="0"/>
                    </a:cubicBezTo>
                    <a:cubicBezTo>
                      <a:pt x="156" y="36"/>
                      <a:pt x="80" y="57"/>
                      <a:pt x="0" y="59"/>
                    </a:cubicBezTo>
                    <a:cubicBezTo>
                      <a:pt x="0" y="110"/>
                      <a:pt x="0" y="110"/>
                      <a:pt x="0" y="110"/>
                    </a:cubicBezTo>
                    <a:cubicBezTo>
                      <a:pt x="90" y="108"/>
                      <a:pt x="174" y="84"/>
                      <a:pt x="248" y="44"/>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48" name="Freeform 12"/>
              <p:cNvSpPr>
                <a:spLocks/>
              </p:cNvSpPr>
              <p:nvPr/>
            </p:nvSpPr>
            <p:spPr bwMode="auto">
              <a:xfrm>
                <a:off x="1606057" y="3936217"/>
                <a:ext cx="425262" cy="189006"/>
              </a:xfrm>
              <a:custGeom>
                <a:avLst/>
                <a:gdLst>
                  <a:gd name="T0" fmla="*/ 0 w 247"/>
                  <a:gd name="T1" fmla="*/ 44 h 110"/>
                  <a:gd name="T2" fmla="*/ 247 w 247"/>
                  <a:gd name="T3" fmla="*/ 110 h 110"/>
                  <a:gd name="T4" fmla="*/ 247 w 247"/>
                  <a:gd name="T5" fmla="*/ 59 h 110"/>
                  <a:gd name="T6" fmla="*/ 26 w 247"/>
                  <a:gd name="T7" fmla="*/ 0 h 110"/>
                  <a:gd name="T8" fmla="*/ 0 w 247"/>
                  <a:gd name="T9" fmla="*/ 44 h 110"/>
                </a:gdLst>
                <a:ahLst/>
                <a:cxnLst>
                  <a:cxn ang="0">
                    <a:pos x="T0" y="T1"/>
                  </a:cxn>
                  <a:cxn ang="0">
                    <a:pos x="T2" y="T3"/>
                  </a:cxn>
                  <a:cxn ang="0">
                    <a:pos x="T4" y="T5"/>
                  </a:cxn>
                  <a:cxn ang="0">
                    <a:pos x="T6" y="T7"/>
                  </a:cxn>
                  <a:cxn ang="0">
                    <a:pos x="T8" y="T9"/>
                  </a:cxn>
                </a:cxnLst>
                <a:rect l="0" t="0" r="r" b="b"/>
                <a:pathLst>
                  <a:path w="247" h="110">
                    <a:moveTo>
                      <a:pt x="0" y="44"/>
                    </a:moveTo>
                    <a:cubicBezTo>
                      <a:pt x="74" y="84"/>
                      <a:pt x="158" y="108"/>
                      <a:pt x="247" y="110"/>
                    </a:cubicBezTo>
                    <a:cubicBezTo>
                      <a:pt x="247" y="59"/>
                      <a:pt x="247" y="59"/>
                      <a:pt x="247" y="59"/>
                    </a:cubicBezTo>
                    <a:cubicBezTo>
                      <a:pt x="167" y="57"/>
                      <a:pt x="92" y="36"/>
                      <a:pt x="26" y="0"/>
                    </a:cubicBezTo>
                    <a:lnTo>
                      <a:pt x="0" y="44"/>
                    </a:ln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49" name="Freeform 13"/>
              <p:cNvSpPr>
                <a:spLocks/>
              </p:cNvSpPr>
              <p:nvPr/>
            </p:nvSpPr>
            <p:spPr bwMode="auto">
              <a:xfrm>
                <a:off x="1256616" y="3632930"/>
                <a:ext cx="354935" cy="356034"/>
              </a:xfrm>
              <a:custGeom>
                <a:avLst/>
                <a:gdLst>
                  <a:gd name="T0" fmla="*/ 44 w 206"/>
                  <a:gd name="T1" fmla="*/ 0 h 207"/>
                  <a:gd name="T2" fmla="*/ 0 w 206"/>
                  <a:gd name="T3" fmla="*/ 26 h 207"/>
                  <a:gd name="T4" fmla="*/ 181 w 206"/>
                  <a:gd name="T5" fmla="*/ 207 h 207"/>
                  <a:gd name="T6" fmla="*/ 206 w 206"/>
                  <a:gd name="T7" fmla="*/ 163 h 207"/>
                  <a:gd name="T8" fmla="*/ 44 w 206"/>
                  <a:gd name="T9" fmla="*/ 0 h 207"/>
                </a:gdLst>
                <a:ahLst/>
                <a:cxnLst>
                  <a:cxn ang="0">
                    <a:pos x="T0" y="T1"/>
                  </a:cxn>
                  <a:cxn ang="0">
                    <a:pos x="T2" y="T3"/>
                  </a:cxn>
                  <a:cxn ang="0">
                    <a:pos x="T4" y="T5"/>
                  </a:cxn>
                  <a:cxn ang="0">
                    <a:pos x="T6" y="T7"/>
                  </a:cxn>
                  <a:cxn ang="0">
                    <a:pos x="T8" y="T9"/>
                  </a:cxn>
                </a:cxnLst>
                <a:rect l="0" t="0" r="r" b="b"/>
                <a:pathLst>
                  <a:path w="206" h="207">
                    <a:moveTo>
                      <a:pt x="44" y="0"/>
                    </a:moveTo>
                    <a:cubicBezTo>
                      <a:pt x="0" y="26"/>
                      <a:pt x="0" y="26"/>
                      <a:pt x="0" y="26"/>
                    </a:cubicBezTo>
                    <a:cubicBezTo>
                      <a:pt x="45" y="100"/>
                      <a:pt x="107" y="162"/>
                      <a:pt x="181" y="207"/>
                    </a:cubicBezTo>
                    <a:cubicBezTo>
                      <a:pt x="206" y="163"/>
                      <a:pt x="206" y="163"/>
                      <a:pt x="206" y="163"/>
                    </a:cubicBezTo>
                    <a:cubicBezTo>
                      <a:pt x="140" y="122"/>
                      <a:pt x="85" y="66"/>
                      <a:pt x="44"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50" name="Freeform 14"/>
              <p:cNvSpPr>
                <a:spLocks/>
              </p:cNvSpPr>
              <p:nvPr/>
            </p:nvSpPr>
            <p:spPr bwMode="auto">
              <a:xfrm>
                <a:off x="1119258" y="3213162"/>
                <a:ext cx="191203" cy="427460"/>
              </a:xfrm>
              <a:custGeom>
                <a:avLst/>
                <a:gdLst>
                  <a:gd name="T0" fmla="*/ 0 w 111"/>
                  <a:gd name="T1" fmla="*/ 0 h 248"/>
                  <a:gd name="T2" fmla="*/ 67 w 111"/>
                  <a:gd name="T3" fmla="*/ 248 h 248"/>
                  <a:gd name="T4" fmla="*/ 111 w 111"/>
                  <a:gd name="T5" fmla="*/ 222 h 248"/>
                  <a:gd name="T6" fmla="*/ 51 w 111"/>
                  <a:gd name="T7" fmla="*/ 0 h 248"/>
                  <a:gd name="T8" fmla="*/ 0 w 111"/>
                  <a:gd name="T9" fmla="*/ 0 h 248"/>
                </a:gdLst>
                <a:ahLst/>
                <a:cxnLst>
                  <a:cxn ang="0">
                    <a:pos x="T0" y="T1"/>
                  </a:cxn>
                  <a:cxn ang="0">
                    <a:pos x="T2" y="T3"/>
                  </a:cxn>
                  <a:cxn ang="0">
                    <a:pos x="T4" y="T5"/>
                  </a:cxn>
                  <a:cxn ang="0">
                    <a:pos x="T6" y="T7"/>
                  </a:cxn>
                  <a:cxn ang="0">
                    <a:pos x="T8" y="T9"/>
                  </a:cxn>
                </a:cxnLst>
                <a:rect l="0" t="0" r="r" b="b"/>
                <a:pathLst>
                  <a:path w="111" h="248">
                    <a:moveTo>
                      <a:pt x="0" y="0"/>
                    </a:moveTo>
                    <a:cubicBezTo>
                      <a:pt x="2" y="90"/>
                      <a:pt x="26" y="174"/>
                      <a:pt x="67" y="248"/>
                    </a:cubicBezTo>
                    <a:cubicBezTo>
                      <a:pt x="111" y="222"/>
                      <a:pt x="111" y="222"/>
                      <a:pt x="111" y="222"/>
                    </a:cubicBezTo>
                    <a:cubicBezTo>
                      <a:pt x="75" y="156"/>
                      <a:pt x="53" y="80"/>
                      <a:pt x="51"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51" name="Freeform 15"/>
              <p:cNvSpPr>
                <a:spLocks/>
              </p:cNvSpPr>
              <p:nvPr/>
            </p:nvSpPr>
            <p:spPr bwMode="auto">
              <a:xfrm>
                <a:off x="1119258" y="2743946"/>
                <a:ext cx="191203" cy="425262"/>
              </a:xfrm>
              <a:custGeom>
                <a:avLst/>
                <a:gdLst>
                  <a:gd name="T0" fmla="*/ 51 w 111"/>
                  <a:gd name="T1" fmla="*/ 247 h 247"/>
                  <a:gd name="T2" fmla="*/ 111 w 111"/>
                  <a:gd name="T3" fmla="*/ 26 h 247"/>
                  <a:gd name="T4" fmla="*/ 67 w 111"/>
                  <a:gd name="T5" fmla="*/ 0 h 247"/>
                  <a:gd name="T6" fmla="*/ 0 w 111"/>
                  <a:gd name="T7" fmla="*/ 247 h 247"/>
                  <a:gd name="T8" fmla="*/ 51 w 111"/>
                  <a:gd name="T9" fmla="*/ 247 h 247"/>
                </a:gdLst>
                <a:ahLst/>
                <a:cxnLst>
                  <a:cxn ang="0">
                    <a:pos x="T0" y="T1"/>
                  </a:cxn>
                  <a:cxn ang="0">
                    <a:pos x="T2" y="T3"/>
                  </a:cxn>
                  <a:cxn ang="0">
                    <a:pos x="T4" y="T5"/>
                  </a:cxn>
                  <a:cxn ang="0">
                    <a:pos x="T6" y="T7"/>
                  </a:cxn>
                  <a:cxn ang="0">
                    <a:pos x="T8" y="T9"/>
                  </a:cxn>
                </a:cxnLst>
                <a:rect l="0" t="0" r="r" b="b"/>
                <a:pathLst>
                  <a:path w="111" h="247">
                    <a:moveTo>
                      <a:pt x="51" y="247"/>
                    </a:moveTo>
                    <a:cubicBezTo>
                      <a:pt x="53" y="167"/>
                      <a:pt x="75" y="92"/>
                      <a:pt x="111" y="26"/>
                    </a:cubicBezTo>
                    <a:cubicBezTo>
                      <a:pt x="67" y="0"/>
                      <a:pt x="67" y="0"/>
                      <a:pt x="67" y="0"/>
                    </a:cubicBezTo>
                    <a:cubicBezTo>
                      <a:pt x="26" y="74"/>
                      <a:pt x="2" y="158"/>
                      <a:pt x="0" y="247"/>
                    </a:cubicBezTo>
                    <a:lnTo>
                      <a:pt x="51" y="247"/>
                    </a:lnTo>
                    <a:close/>
                  </a:path>
                </a:pathLst>
              </a:custGeom>
              <a:grpFill/>
              <a:ln>
                <a:noFill/>
              </a:ln>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52" name="Freeform 16"/>
              <p:cNvSpPr>
                <a:spLocks/>
              </p:cNvSpPr>
              <p:nvPr/>
            </p:nvSpPr>
            <p:spPr bwMode="auto">
              <a:xfrm>
                <a:off x="1256616" y="2394505"/>
                <a:ext cx="354935" cy="354935"/>
              </a:xfrm>
              <a:custGeom>
                <a:avLst/>
                <a:gdLst>
                  <a:gd name="T0" fmla="*/ 0 w 206"/>
                  <a:gd name="T1" fmla="*/ 181 h 206"/>
                  <a:gd name="T2" fmla="*/ 44 w 206"/>
                  <a:gd name="T3" fmla="*/ 206 h 206"/>
                  <a:gd name="T4" fmla="*/ 206 w 206"/>
                  <a:gd name="T5" fmla="*/ 44 h 206"/>
                  <a:gd name="T6" fmla="*/ 181 w 206"/>
                  <a:gd name="T7" fmla="*/ 0 h 206"/>
                  <a:gd name="T8" fmla="*/ 0 w 206"/>
                  <a:gd name="T9" fmla="*/ 181 h 206"/>
                </a:gdLst>
                <a:ahLst/>
                <a:cxnLst>
                  <a:cxn ang="0">
                    <a:pos x="T0" y="T1"/>
                  </a:cxn>
                  <a:cxn ang="0">
                    <a:pos x="T2" y="T3"/>
                  </a:cxn>
                  <a:cxn ang="0">
                    <a:pos x="T4" y="T5"/>
                  </a:cxn>
                  <a:cxn ang="0">
                    <a:pos x="T6" y="T7"/>
                  </a:cxn>
                  <a:cxn ang="0">
                    <a:pos x="T8" y="T9"/>
                  </a:cxn>
                </a:cxnLst>
                <a:rect l="0" t="0" r="r" b="b"/>
                <a:pathLst>
                  <a:path w="206" h="206">
                    <a:moveTo>
                      <a:pt x="0" y="181"/>
                    </a:moveTo>
                    <a:cubicBezTo>
                      <a:pt x="44" y="206"/>
                      <a:pt x="44" y="206"/>
                      <a:pt x="44" y="206"/>
                    </a:cubicBezTo>
                    <a:cubicBezTo>
                      <a:pt x="85" y="140"/>
                      <a:pt x="140" y="85"/>
                      <a:pt x="206" y="44"/>
                    </a:cubicBezTo>
                    <a:cubicBezTo>
                      <a:pt x="181" y="0"/>
                      <a:pt x="181" y="0"/>
                      <a:pt x="181" y="0"/>
                    </a:cubicBezTo>
                    <a:cubicBezTo>
                      <a:pt x="107" y="45"/>
                      <a:pt x="45" y="107"/>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53" name="Freeform 17"/>
              <p:cNvSpPr>
                <a:spLocks/>
              </p:cNvSpPr>
              <p:nvPr/>
            </p:nvSpPr>
            <p:spPr bwMode="auto">
              <a:xfrm>
                <a:off x="1606057" y="2257147"/>
                <a:ext cx="425262" cy="191203"/>
              </a:xfrm>
              <a:custGeom>
                <a:avLst/>
                <a:gdLst>
                  <a:gd name="T0" fmla="*/ 0 w 247"/>
                  <a:gd name="T1" fmla="*/ 67 h 111"/>
                  <a:gd name="T2" fmla="*/ 25 w 247"/>
                  <a:gd name="T3" fmla="*/ 111 h 111"/>
                  <a:gd name="T4" fmla="*/ 247 w 247"/>
                  <a:gd name="T5" fmla="*/ 51 h 111"/>
                  <a:gd name="T6" fmla="*/ 247 w 247"/>
                  <a:gd name="T7" fmla="*/ 0 h 111"/>
                  <a:gd name="T8" fmla="*/ 0 w 247"/>
                  <a:gd name="T9" fmla="*/ 67 h 111"/>
                </a:gdLst>
                <a:ahLst/>
                <a:cxnLst>
                  <a:cxn ang="0">
                    <a:pos x="T0" y="T1"/>
                  </a:cxn>
                  <a:cxn ang="0">
                    <a:pos x="T2" y="T3"/>
                  </a:cxn>
                  <a:cxn ang="0">
                    <a:pos x="T4" y="T5"/>
                  </a:cxn>
                  <a:cxn ang="0">
                    <a:pos x="T6" y="T7"/>
                  </a:cxn>
                  <a:cxn ang="0">
                    <a:pos x="T8" y="T9"/>
                  </a:cxn>
                </a:cxnLst>
                <a:rect l="0" t="0" r="r" b="b"/>
                <a:pathLst>
                  <a:path w="247" h="111">
                    <a:moveTo>
                      <a:pt x="0" y="67"/>
                    </a:moveTo>
                    <a:cubicBezTo>
                      <a:pt x="25" y="111"/>
                      <a:pt x="25" y="111"/>
                      <a:pt x="25" y="111"/>
                    </a:cubicBezTo>
                    <a:cubicBezTo>
                      <a:pt x="92" y="75"/>
                      <a:pt x="167" y="53"/>
                      <a:pt x="247" y="51"/>
                    </a:cubicBezTo>
                    <a:cubicBezTo>
                      <a:pt x="247" y="0"/>
                      <a:pt x="247" y="0"/>
                      <a:pt x="247" y="0"/>
                    </a:cubicBezTo>
                    <a:cubicBezTo>
                      <a:pt x="158" y="2"/>
                      <a:pt x="74" y="26"/>
                      <a:pt x="0"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dirty="0">
                  <a:latin typeface="Calibri Light"/>
                </a:endParaRPr>
              </a:p>
            </p:txBody>
          </p:sp>
        </p:grpSp>
      </p:grpSp>
      <p:sp>
        <p:nvSpPr>
          <p:cNvPr id="371" name="Subtitle 2"/>
          <p:cNvSpPr txBox="1">
            <a:spLocks/>
          </p:cNvSpPr>
          <p:nvPr/>
        </p:nvSpPr>
        <p:spPr>
          <a:xfrm>
            <a:off x="6741748" y="2983433"/>
            <a:ext cx="5894640" cy="1258481"/>
          </a:xfrm>
          <a:prstGeom prst="rect">
            <a:avLst/>
          </a:prstGeom>
        </p:spPr>
        <p:txBody>
          <a:bodyPr vert="horz" lIns="243744" tIns="121869" rIns="243744" bIns="121869"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b="1" dirty="0" smtClean="0">
                <a:latin typeface="Roboto Regular" pitchFamily="2" charset="0"/>
                <a:ea typeface="Roboto Regular" pitchFamily="2" charset="0"/>
                <a:cs typeface="Lato Regular"/>
              </a:rPr>
              <a:t>Description</a:t>
            </a:r>
            <a:endParaRPr lang="en-US" sz="1600" b="1" dirty="0">
              <a:latin typeface="Roboto Regular" pitchFamily="2" charset="0"/>
              <a:ea typeface="Roboto Regular" pitchFamily="2" charset="0"/>
              <a:cs typeface="Lato Regular"/>
            </a:endParaRPr>
          </a:p>
          <a:p>
            <a:pPr marL="0" indent="0">
              <a:buNone/>
            </a:pPr>
            <a:r>
              <a:rPr lang="en-US" sz="1400" dirty="0">
                <a:latin typeface="Roboto Regular" pitchFamily="2" charset="0"/>
                <a:ea typeface="Roboto Regular" pitchFamily="2" charset="0"/>
                <a:cs typeface="Calibri Light"/>
              </a:rPr>
              <a:t>Lorem ipsum dolor sit amet, consectetur adipiscing elit. Integer pulvinar nulla ut ultrices eleifend. Etiam sit amet turpis at neque lacinia fermentum sed vitae velit</a:t>
            </a:r>
            <a:r>
              <a:rPr lang="en-US" sz="1400" dirty="0" smtClean="0">
                <a:latin typeface="Roboto Regular" pitchFamily="2" charset="0"/>
                <a:ea typeface="Roboto Regular" pitchFamily="2" charset="0"/>
                <a:cs typeface="Calibri Light"/>
              </a:rPr>
              <a:t>.</a:t>
            </a:r>
            <a:endParaRPr lang="en-US" sz="1400" dirty="0">
              <a:latin typeface="Roboto Regular" pitchFamily="2" charset="0"/>
              <a:ea typeface="Roboto Regular" pitchFamily="2" charset="0"/>
              <a:cs typeface="Calibri Light"/>
            </a:endParaRPr>
          </a:p>
        </p:txBody>
      </p:sp>
      <p:grpSp>
        <p:nvGrpSpPr>
          <p:cNvPr id="276" name="Group 275"/>
          <p:cNvGrpSpPr/>
          <p:nvPr>
            <p:custDataLst>
              <p:tags r:id="rId14"/>
            </p:custDataLst>
          </p:nvPr>
        </p:nvGrpSpPr>
        <p:grpSpPr>
          <a:xfrm>
            <a:off x="1292886" y="4768758"/>
            <a:ext cx="306056" cy="799771"/>
            <a:chOff x="1006475" y="1212850"/>
            <a:chExt cx="585788" cy="1530350"/>
          </a:xfrm>
          <a:solidFill>
            <a:srgbClr val="0A3E56"/>
          </a:solidFill>
        </p:grpSpPr>
        <p:sp>
          <p:nvSpPr>
            <p:cNvPr id="304"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305"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77" name="Group 276"/>
          <p:cNvGrpSpPr/>
          <p:nvPr>
            <p:custDataLst>
              <p:tags r:id="rId15"/>
            </p:custDataLst>
          </p:nvPr>
        </p:nvGrpSpPr>
        <p:grpSpPr>
          <a:xfrm>
            <a:off x="1630847" y="4768758"/>
            <a:ext cx="306056" cy="799771"/>
            <a:chOff x="1006475" y="1212850"/>
            <a:chExt cx="585788" cy="1530350"/>
          </a:xfrm>
          <a:solidFill>
            <a:srgbClr val="0A3E56"/>
          </a:solidFill>
        </p:grpSpPr>
        <p:sp>
          <p:nvSpPr>
            <p:cNvPr id="302"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303"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78" name="Group 277"/>
          <p:cNvGrpSpPr/>
          <p:nvPr>
            <p:custDataLst>
              <p:tags r:id="rId16"/>
            </p:custDataLst>
          </p:nvPr>
        </p:nvGrpSpPr>
        <p:grpSpPr>
          <a:xfrm>
            <a:off x="1982590" y="4768758"/>
            <a:ext cx="306056" cy="799771"/>
            <a:chOff x="1006475" y="1212850"/>
            <a:chExt cx="585788" cy="1530350"/>
          </a:xfrm>
          <a:solidFill>
            <a:srgbClr val="0A3E56"/>
          </a:solidFill>
        </p:grpSpPr>
        <p:sp>
          <p:nvSpPr>
            <p:cNvPr id="300"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301"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79" name="Group 278"/>
          <p:cNvGrpSpPr/>
          <p:nvPr>
            <p:custDataLst>
              <p:tags r:id="rId17"/>
            </p:custDataLst>
          </p:nvPr>
        </p:nvGrpSpPr>
        <p:grpSpPr>
          <a:xfrm>
            <a:off x="2330559" y="4768758"/>
            <a:ext cx="306056" cy="799771"/>
            <a:chOff x="1006475" y="1212850"/>
            <a:chExt cx="585788" cy="1530350"/>
          </a:xfrm>
          <a:solidFill>
            <a:srgbClr val="0A3E56"/>
          </a:solidFill>
        </p:grpSpPr>
        <p:sp>
          <p:nvSpPr>
            <p:cNvPr id="298"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99"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80" name="Group 279"/>
          <p:cNvGrpSpPr/>
          <p:nvPr>
            <p:custDataLst>
              <p:tags r:id="rId18"/>
            </p:custDataLst>
          </p:nvPr>
        </p:nvGrpSpPr>
        <p:grpSpPr>
          <a:xfrm>
            <a:off x="2677635" y="4751706"/>
            <a:ext cx="306056" cy="799771"/>
            <a:chOff x="1006475" y="1212850"/>
            <a:chExt cx="585788" cy="1530350"/>
          </a:xfrm>
          <a:solidFill>
            <a:srgbClr val="0A3E56"/>
          </a:solidFill>
        </p:grpSpPr>
        <p:sp>
          <p:nvSpPr>
            <p:cNvPr id="296"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97"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81" name="Group 280"/>
          <p:cNvGrpSpPr/>
          <p:nvPr>
            <p:custDataLst>
              <p:tags r:id="rId19"/>
            </p:custDataLst>
          </p:nvPr>
        </p:nvGrpSpPr>
        <p:grpSpPr>
          <a:xfrm>
            <a:off x="3018396" y="4751703"/>
            <a:ext cx="306056" cy="799771"/>
            <a:chOff x="1006475" y="1212850"/>
            <a:chExt cx="585788" cy="1530350"/>
          </a:xfrm>
          <a:solidFill>
            <a:schemeClr val="bg1">
              <a:lumMod val="85000"/>
            </a:schemeClr>
          </a:solidFill>
        </p:grpSpPr>
        <p:sp>
          <p:nvSpPr>
            <p:cNvPr id="294"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95"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82" name="Group 281"/>
          <p:cNvGrpSpPr/>
          <p:nvPr>
            <p:custDataLst>
              <p:tags r:id="rId20"/>
            </p:custDataLst>
          </p:nvPr>
        </p:nvGrpSpPr>
        <p:grpSpPr>
          <a:xfrm>
            <a:off x="3356356" y="4751703"/>
            <a:ext cx="306056" cy="799771"/>
            <a:chOff x="1006475" y="1212850"/>
            <a:chExt cx="585788" cy="1530350"/>
          </a:xfrm>
          <a:solidFill>
            <a:schemeClr val="bg1">
              <a:lumMod val="85000"/>
            </a:schemeClr>
          </a:solidFill>
        </p:grpSpPr>
        <p:sp>
          <p:nvSpPr>
            <p:cNvPr id="292"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93"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83" name="Group 282"/>
          <p:cNvGrpSpPr/>
          <p:nvPr>
            <p:custDataLst>
              <p:tags r:id="rId21"/>
            </p:custDataLst>
          </p:nvPr>
        </p:nvGrpSpPr>
        <p:grpSpPr>
          <a:xfrm>
            <a:off x="3708101" y="4751703"/>
            <a:ext cx="306056" cy="799771"/>
            <a:chOff x="1006475" y="1212850"/>
            <a:chExt cx="585788" cy="1530350"/>
          </a:xfrm>
          <a:solidFill>
            <a:schemeClr val="bg1">
              <a:lumMod val="85000"/>
            </a:schemeClr>
          </a:solidFill>
        </p:grpSpPr>
        <p:sp>
          <p:nvSpPr>
            <p:cNvPr id="290"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91"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84" name="Group 283"/>
          <p:cNvGrpSpPr/>
          <p:nvPr>
            <p:custDataLst>
              <p:tags r:id="rId22"/>
            </p:custDataLst>
          </p:nvPr>
        </p:nvGrpSpPr>
        <p:grpSpPr>
          <a:xfrm>
            <a:off x="4056066" y="4751703"/>
            <a:ext cx="306056" cy="799771"/>
            <a:chOff x="1006475" y="1212850"/>
            <a:chExt cx="585788" cy="1530350"/>
          </a:xfrm>
          <a:solidFill>
            <a:schemeClr val="bg1">
              <a:lumMod val="85000"/>
            </a:schemeClr>
          </a:solidFill>
        </p:grpSpPr>
        <p:sp>
          <p:nvSpPr>
            <p:cNvPr id="288"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89"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285" name="Group 284"/>
          <p:cNvGrpSpPr/>
          <p:nvPr>
            <p:custDataLst>
              <p:tags r:id="rId23"/>
            </p:custDataLst>
          </p:nvPr>
        </p:nvGrpSpPr>
        <p:grpSpPr>
          <a:xfrm>
            <a:off x="4403145" y="4734653"/>
            <a:ext cx="306056" cy="799771"/>
            <a:chOff x="1006475" y="1212850"/>
            <a:chExt cx="585788" cy="1530350"/>
          </a:xfrm>
          <a:solidFill>
            <a:schemeClr val="bg1">
              <a:lumMod val="85000"/>
            </a:schemeClr>
          </a:solidFill>
        </p:grpSpPr>
        <p:sp>
          <p:nvSpPr>
            <p:cNvPr id="286" name="Freeform 1"/>
            <p:cNvSpPr>
              <a:spLocks noChangeArrowheads="1"/>
            </p:cNvSpPr>
            <p:nvPr/>
          </p:nvSpPr>
          <p:spPr bwMode="auto">
            <a:xfrm>
              <a:off x="1006475" y="1516063"/>
              <a:ext cx="585788" cy="1227137"/>
            </a:xfrm>
            <a:custGeom>
              <a:avLst/>
              <a:gdLst>
                <a:gd name="T0" fmla="*/ 1250 w 1626"/>
                <a:gd name="T1" fmla="*/ 0 h 3408"/>
                <a:gd name="T2" fmla="*/ 1250 w 1626"/>
                <a:gd name="T3" fmla="*/ 0 h 3408"/>
                <a:gd name="T4" fmla="*/ 375 w 1626"/>
                <a:gd name="T5" fmla="*/ 0 h 3408"/>
                <a:gd name="T6" fmla="*/ 0 w 1626"/>
                <a:gd name="T7" fmla="*/ 407 h 3408"/>
                <a:gd name="T8" fmla="*/ 0 w 1626"/>
                <a:gd name="T9" fmla="*/ 1500 h 3408"/>
                <a:gd name="T10" fmla="*/ 156 w 1626"/>
                <a:gd name="T11" fmla="*/ 1625 h 3408"/>
                <a:gd name="T12" fmla="*/ 281 w 1626"/>
                <a:gd name="T13" fmla="*/ 1500 h 3408"/>
                <a:gd name="T14" fmla="*/ 281 w 1626"/>
                <a:gd name="T15" fmla="*/ 625 h 3408"/>
                <a:gd name="T16" fmla="*/ 313 w 1626"/>
                <a:gd name="T17" fmla="*/ 563 h 3408"/>
                <a:gd name="T18" fmla="*/ 375 w 1626"/>
                <a:gd name="T19" fmla="*/ 625 h 3408"/>
                <a:gd name="T20" fmla="*/ 375 w 1626"/>
                <a:gd name="T21" fmla="*/ 1688 h 3408"/>
                <a:gd name="T22" fmla="*/ 375 w 1626"/>
                <a:gd name="T23" fmla="*/ 1875 h 3408"/>
                <a:gd name="T24" fmla="*/ 375 w 1626"/>
                <a:gd name="T25" fmla="*/ 3188 h 3408"/>
                <a:gd name="T26" fmla="*/ 563 w 1626"/>
                <a:gd name="T27" fmla="*/ 3407 h 3408"/>
                <a:gd name="T28" fmla="*/ 563 w 1626"/>
                <a:gd name="T29" fmla="*/ 3407 h 3408"/>
                <a:gd name="T30" fmla="*/ 719 w 1626"/>
                <a:gd name="T31" fmla="*/ 3188 h 3408"/>
                <a:gd name="T32" fmla="*/ 719 w 1626"/>
                <a:gd name="T33" fmla="*/ 1875 h 3408"/>
                <a:gd name="T34" fmla="*/ 813 w 1626"/>
                <a:gd name="T35" fmla="*/ 1813 h 3408"/>
                <a:gd name="T36" fmla="*/ 906 w 1626"/>
                <a:gd name="T37" fmla="*/ 1875 h 3408"/>
                <a:gd name="T38" fmla="*/ 906 w 1626"/>
                <a:gd name="T39" fmla="*/ 3188 h 3408"/>
                <a:gd name="T40" fmla="*/ 1062 w 1626"/>
                <a:gd name="T41" fmla="*/ 3407 h 3408"/>
                <a:gd name="T42" fmla="*/ 1062 w 1626"/>
                <a:gd name="T43" fmla="*/ 3407 h 3408"/>
                <a:gd name="T44" fmla="*/ 1250 w 1626"/>
                <a:gd name="T45" fmla="*/ 3188 h 3408"/>
                <a:gd name="T46" fmla="*/ 1250 w 1626"/>
                <a:gd name="T47" fmla="*/ 1875 h 3408"/>
                <a:gd name="T48" fmla="*/ 1250 w 1626"/>
                <a:gd name="T49" fmla="*/ 1688 h 3408"/>
                <a:gd name="T50" fmla="*/ 1250 w 1626"/>
                <a:gd name="T51" fmla="*/ 625 h 3408"/>
                <a:gd name="T52" fmla="*/ 1313 w 1626"/>
                <a:gd name="T53" fmla="*/ 563 h 3408"/>
                <a:gd name="T54" fmla="*/ 1344 w 1626"/>
                <a:gd name="T55" fmla="*/ 625 h 3408"/>
                <a:gd name="T56" fmla="*/ 1344 w 1626"/>
                <a:gd name="T57" fmla="*/ 1500 h 3408"/>
                <a:gd name="T58" fmla="*/ 1469 w 1626"/>
                <a:gd name="T59" fmla="*/ 1625 h 3408"/>
                <a:gd name="T60" fmla="*/ 1625 w 1626"/>
                <a:gd name="T61" fmla="*/ 1500 h 3408"/>
                <a:gd name="T62" fmla="*/ 1625 w 1626"/>
                <a:gd name="T63" fmla="*/ 407 h 3408"/>
                <a:gd name="T64" fmla="*/ 1250 w 1626"/>
                <a:gd name="T65" fmla="*/ 0 h 3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6" h="3408">
                  <a:moveTo>
                    <a:pt x="1250" y="0"/>
                  </a:moveTo>
                  <a:lnTo>
                    <a:pt x="1250" y="0"/>
                  </a:lnTo>
                  <a:cubicBezTo>
                    <a:pt x="375" y="0"/>
                    <a:pt x="375" y="0"/>
                    <a:pt x="375" y="0"/>
                  </a:cubicBezTo>
                  <a:cubicBezTo>
                    <a:pt x="125" y="0"/>
                    <a:pt x="0" y="157"/>
                    <a:pt x="0" y="407"/>
                  </a:cubicBezTo>
                  <a:cubicBezTo>
                    <a:pt x="0" y="1500"/>
                    <a:pt x="0" y="1500"/>
                    <a:pt x="0" y="1500"/>
                  </a:cubicBezTo>
                  <a:cubicBezTo>
                    <a:pt x="0" y="1563"/>
                    <a:pt x="94" y="1625"/>
                    <a:pt x="156" y="1625"/>
                  </a:cubicBezTo>
                  <a:cubicBezTo>
                    <a:pt x="219" y="1625"/>
                    <a:pt x="281" y="1563"/>
                    <a:pt x="281" y="1500"/>
                  </a:cubicBezTo>
                  <a:cubicBezTo>
                    <a:pt x="281" y="1500"/>
                    <a:pt x="281" y="719"/>
                    <a:pt x="281" y="625"/>
                  </a:cubicBezTo>
                  <a:cubicBezTo>
                    <a:pt x="281" y="594"/>
                    <a:pt x="313" y="563"/>
                    <a:pt x="313" y="563"/>
                  </a:cubicBezTo>
                  <a:cubicBezTo>
                    <a:pt x="344" y="563"/>
                    <a:pt x="375" y="594"/>
                    <a:pt x="375" y="625"/>
                  </a:cubicBezTo>
                  <a:cubicBezTo>
                    <a:pt x="375" y="719"/>
                    <a:pt x="375" y="1375"/>
                    <a:pt x="375" y="1688"/>
                  </a:cubicBezTo>
                  <a:cubicBezTo>
                    <a:pt x="375" y="1875"/>
                    <a:pt x="375" y="1875"/>
                    <a:pt x="375" y="1875"/>
                  </a:cubicBezTo>
                  <a:cubicBezTo>
                    <a:pt x="375" y="3188"/>
                    <a:pt x="375" y="3188"/>
                    <a:pt x="375" y="3188"/>
                  </a:cubicBezTo>
                  <a:cubicBezTo>
                    <a:pt x="375" y="3282"/>
                    <a:pt x="469" y="3407"/>
                    <a:pt x="563" y="3407"/>
                  </a:cubicBezTo>
                  <a:lnTo>
                    <a:pt x="563" y="3407"/>
                  </a:lnTo>
                  <a:cubicBezTo>
                    <a:pt x="688" y="3407"/>
                    <a:pt x="719" y="3282"/>
                    <a:pt x="719" y="3188"/>
                  </a:cubicBezTo>
                  <a:cubicBezTo>
                    <a:pt x="719" y="3188"/>
                    <a:pt x="719" y="1969"/>
                    <a:pt x="719" y="1875"/>
                  </a:cubicBezTo>
                  <a:cubicBezTo>
                    <a:pt x="719" y="1844"/>
                    <a:pt x="781" y="1813"/>
                    <a:pt x="813" y="1813"/>
                  </a:cubicBezTo>
                  <a:cubicBezTo>
                    <a:pt x="875" y="1813"/>
                    <a:pt x="906" y="1844"/>
                    <a:pt x="906" y="1875"/>
                  </a:cubicBezTo>
                  <a:cubicBezTo>
                    <a:pt x="906" y="1969"/>
                    <a:pt x="906" y="3188"/>
                    <a:pt x="906" y="3188"/>
                  </a:cubicBezTo>
                  <a:cubicBezTo>
                    <a:pt x="906" y="3282"/>
                    <a:pt x="969" y="3407"/>
                    <a:pt x="1062" y="3407"/>
                  </a:cubicBezTo>
                  <a:lnTo>
                    <a:pt x="1062" y="3407"/>
                  </a:lnTo>
                  <a:cubicBezTo>
                    <a:pt x="1156" y="3407"/>
                    <a:pt x="1250" y="3282"/>
                    <a:pt x="1250" y="3188"/>
                  </a:cubicBezTo>
                  <a:cubicBezTo>
                    <a:pt x="1250" y="1875"/>
                    <a:pt x="1250" y="1875"/>
                    <a:pt x="1250" y="1875"/>
                  </a:cubicBezTo>
                  <a:cubicBezTo>
                    <a:pt x="1250" y="1688"/>
                    <a:pt x="1250" y="1688"/>
                    <a:pt x="1250" y="1688"/>
                  </a:cubicBezTo>
                  <a:cubicBezTo>
                    <a:pt x="1250" y="1375"/>
                    <a:pt x="1250" y="719"/>
                    <a:pt x="1250" y="625"/>
                  </a:cubicBezTo>
                  <a:cubicBezTo>
                    <a:pt x="1250" y="594"/>
                    <a:pt x="1281" y="563"/>
                    <a:pt x="1313" y="563"/>
                  </a:cubicBezTo>
                  <a:cubicBezTo>
                    <a:pt x="1313" y="563"/>
                    <a:pt x="1344" y="594"/>
                    <a:pt x="1344" y="625"/>
                  </a:cubicBezTo>
                  <a:cubicBezTo>
                    <a:pt x="1344" y="719"/>
                    <a:pt x="1344" y="1500"/>
                    <a:pt x="1344" y="1500"/>
                  </a:cubicBezTo>
                  <a:cubicBezTo>
                    <a:pt x="1344" y="1563"/>
                    <a:pt x="1406" y="1625"/>
                    <a:pt x="1469" y="1625"/>
                  </a:cubicBezTo>
                  <a:cubicBezTo>
                    <a:pt x="1563" y="1625"/>
                    <a:pt x="1625" y="1563"/>
                    <a:pt x="1625" y="1500"/>
                  </a:cubicBezTo>
                  <a:cubicBezTo>
                    <a:pt x="1625" y="407"/>
                    <a:pt x="1625" y="407"/>
                    <a:pt x="1625" y="407"/>
                  </a:cubicBezTo>
                  <a:cubicBezTo>
                    <a:pt x="1625" y="157"/>
                    <a:pt x="1500" y="0"/>
                    <a:pt x="1250"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sp>
          <p:nvSpPr>
            <p:cNvPr id="287" name="Freeform 2"/>
            <p:cNvSpPr>
              <a:spLocks noChangeArrowheads="1"/>
            </p:cNvSpPr>
            <p:nvPr/>
          </p:nvSpPr>
          <p:spPr bwMode="auto">
            <a:xfrm>
              <a:off x="1185863" y="1212850"/>
              <a:ext cx="225425" cy="225425"/>
            </a:xfrm>
            <a:custGeom>
              <a:avLst/>
              <a:gdLst>
                <a:gd name="T0" fmla="*/ 313 w 626"/>
                <a:gd name="T1" fmla="*/ 0 h 626"/>
                <a:gd name="T2" fmla="*/ 313 w 626"/>
                <a:gd name="T3" fmla="*/ 0 h 626"/>
                <a:gd name="T4" fmla="*/ 0 w 626"/>
                <a:gd name="T5" fmla="*/ 312 h 626"/>
                <a:gd name="T6" fmla="*/ 313 w 626"/>
                <a:gd name="T7" fmla="*/ 625 h 626"/>
                <a:gd name="T8" fmla="*/ 625 w 626"/>
                <a:gd name="T9" fmla="*/ 312 h 626"/>
                <a:gd name="T10" fmla="*/ 313 w 626"/>
                <a:gd name="T11" fmla="*/ 0 h 626"/>
              </a:gdLst>
              <a:ahLst/>
              <a:cxnLst>
                <a:cxn ang="0">
                  <a:pos x="T0" y="T1"/>
                </a:cxn>
                <a:cxn ang="0">
                  <a:pos x="T2" y="T3"/>
                </a:cxn>
                <a:cxn ang="0">
                  <a:pos x="T4" y="T5"/>
                </a:cxn>
                <a:cxn ang="0">
                  <a:pos x="T6" y="T7"/>
                </a:cxn>
                <a:cxn ang="0">
                  <a:pos x="T8" y="T9"/>
                </a:cxn>
                <a:cxn ang="0">
                  <a:pos x="T10" y="T11"/>
                </a:cxn>
              </a:cxnLst>
              <a:rect l="0" t="0" r="r" b="b"/>
              <a:pathLst>
                <a:path w="626" h="626">
                  <a:moveTo>
                    <a:pt x="313" y="0"/>
                  </a:moveTo>
                  <a:lnTo>
                    <a:pt x="313" y="0"/>
                  </a:lnTo>
                  <a:cubicBezTo>
                    <a:pt x="156" y="0"/>
                    <a:pt x="0" y="156"/>
                    <a:pt x="0" y="312"/>
                  </a:cubicBezTo>
                  <a:cubicBezTo>
                    <a:pt x="0" y="500"/>
                    <a:pt x="156" y="625"/>
                    <a:pt x="313" y="625"/>
                  </a:cubicBezTo>
                  <a:cubicBezTo>
                    <a:pt x="500" y="625"/>
                    <a:pt x="625" y="500"/>
                    <a:pt x="625" y="312"/>
                  </a:cubicBezTo>
                  <a:cubicBezTo>
                    <a:pt x="625" y="156"/>
                    <a:pt x="500" y="0"/>
                    <a:pt x="313" y="0"/>
                  </a:cubicBez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grpSp>
        <p:nvGrpSpPr>
          <p:cNvPr id="354" name="Group 353"/>
          <p:cNvGrpSpPr/>
          <p:nvPr>
            <p:custDataLst>
              <p:tags r:id="rId24"/>
            </p:custDataLst>
          </p:nvPr>
        </p:nvGrpSpPr>
        <p:grpSpPr>
          <a:xfrm>
            <a:off x="5308781" y="4597013"/>
            <a:ext cx="1108867" cy="1109156"/>
            <a:chOff x="9158380" y="3435910"/>
            <a:chExt cx="2288589" cy="2289185"/>
          </a:xfrm>
          <a:solidFill>
            <a:schemeClr val="accent4"/>
          </a:solidFill>
        </p:grpSpPr>
        <p:sp>
          <p:nvSpPr>
            <p:cNvPr id="355" name="Freeform 2"/>
            <p:cNvSpPr>
              <a:spLocks noChangeArrowheads="1"/>
            </p:cNvSpPr>
            <p:nvPr/>
          </p:nvSpPr>
          <p:spPr bwMode="auto">
            <a:xfrm>
              <a:off x="9360043" y="3615290"/>
              <a:ext cx="1877678" cy="1878411"/>
            </a:xfrm>
            <a:custGeom>
              <a:avLst/>
              <a:gdLst>
                <a:gd name="T0" fmla="*/ 10058 w 10059"/>
                <a:gd name="T1" fmla="*/ 5032 h 10064"/>
                <a:gd name="T2" fmla="*/ 10058 w 10059"/>
                <a:gd name="T3" fmla="*/ 5032 h 10064"/>
                <a:gd name="T4" fmla="*/ 5031 w 10059"/>
                <a:gd name="T5" fmla="*/ 10063 h 10064"/>
                <a:gd name="T6" fmla="*/ 0 w 10059"/>
                <a:gd name="T7" fmla="*/ 5032 h 10064"/>
                <a:gd name="T8" fmla="*/ 5031 w 10059"/>
                <a:gd name="T9" fmla="*/ 0 h 10064"/>
                <a:gd name="T10" fmla="*/ 10058 w 10059"/>
                <a:gd name="T11" fmla="*/ 5032 h 10064"/>
              </a:gdLst>
              <a:ahLst/>
              <a:cxnLst>
                <a:cxn ang="0">
                  <a:pos x="T0" y="T1"/>
                </a:cxn>
                <a:cxn ang="0">
                  <a:pos x="T2" y="T3"/>
                </a:cxn>
                <a:cxn ang="0">
                  <a:pos x="T4" y="T5"/>
                </a:cxn>
                <a:cxn ang="0">
                  <a:pos x="T6" y="T7"/>
                </a:cxn>
                <a:cxn ang="0">
                  <a:pos x="T8" y="T9"/>
                </a:cxn>
                <a:cxn ang="0">
                  <a:pos x="T10" y="T11"/>
                </a:cxn>
              </a:cxnLst>
              <a:rect l="0" t="0" r="r" b="b"/>
              <a:pathLst>
                <a:path w="10059" h="10064">
                  <a:moveTo>
                    <a:pt x="10058" y="5032"/>
                  </a:moveTo>
                  <a:lnTo>
                    <a:pt x="10058" y="5032"/>
                  </a:lnTo>
                  <a:cubicBezTo>
                    <a:pt x="10058" y="7808"/>
                    <a:pt x="7807" y="10063"/>
                    <a:pt x="5031" y="10063"/>
                  </a:cubicBezTo>
                  <a:cubicBezTo>
                    <a:pt x="2250" y="10063"/>
                    <a:pt x="0" y="7808"/>
                    <a:pt x="0" y="5032"/>
                  </a:cubicBezTo>
                  <a:cubicBezTo>
                    <a:pt x="0" y="2255"/>
                    <a:pt x="2250" y="0"/>
                    <a:pt x="5031" y="0"/>
                  </a:cubicBezTo>
                  <a:cubicBezTo>
                    <a:pt x="7807" y="0"/>
                    <a:pt x="10058" y="2255"/>
                    <a:pt x="10058" y="5032"/>
                  </a:cubicBezTo>
                </a:path>
              </a:pathLst>
            </a:custGeom>
            <a:solidFill>
              <a:schemeClr val="bg1">
                <a:lumMod val="95000"/>
              </a:schemeClr>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dirty="0">
                <a:latin typeface="Calibri Light"/>
              </a:endParaRPr>
            </a:p>
          </p:txBody>
        </p:sp>
        <p:grpSp>
          <p:nvGrpSpPr>
            <p:cNvPr id="356" name="Group 355"/>
            <p:cNvGrpSpPr/>
            <p:nvPr/>
          </p:nvGrpSpPr>
          <p:grpSpPr>
            <a:xfrm>
              <a:off x="9158380" y="3435910"/>
              <a:ext cx="2288589" cy="2289185"/>
              <a:chOff x="1119258" y="2257147"/>
              <a:chExt cx="1868076" cy="1868076"/>
            </a:xfrm>
            <a:grpFill/>
          </p:grpSpPr>
          <p:sp>
            <p:nvSpPr>
              <p:cNvPr id="357" name="Freeform 6"/>
              <p:cNvSpPr>
                <a:spLocks/>
              </p:cNvSpPr>
              <p:nvPr/>
            </p:nvSpPr>
            <p:spPr bwMode="auto">
              <a:xfrm>
                <a:off x="2495041" y="2394505"/>
                <a:ext cx="356034" cy="354935"/>
              </a:xfrm>
              <a:custGeom>
                <a:avLst/>
                <a:gdLst>
                  <a:gd name="T0" fmla="*/ 207 w 207"/>
                  <a:gd name="T1" fmla="*/ 181 h 206"/>
                  <a:gd name="T2" fmla="*/ 26 w 207"/>
                  <a:gd name="T3" fmla="*/ 0 h 206"/>
                  <a:gd name="T4" fmla="*/ 0 w 207"/>
                  <a:gd name="T5" fmla="*/ 44 h 206"/>
                  <a:gd name="T6" fmla="*/ 163 w 207"/>
                  <a:gd name="T7" fmla="*/ 206 h 206"/>
                  <a:gd name="T8" fmla="*/ 207 w 207"/>
                  <a:gd name="T9" fmla="*/ 181 h 206"/>
                </a:gdLst>
                <a:ahLst/>
                <a:cxnLst>
                  <a:cxn ang="0">
                    <a:pos x="T0" y="T1"/>
                  </a:cxn>
                  <a:cxn ang="0">
                    <a:pos x="T2" y="T3"/>
                  </a:cxn>
                  <a:cxn ang="0">
                    <a:pos x="T4" y="T5"/>
                  </a:cxn>
                  <a:cxn ang="0">
                    <a:pos x="T6" y="T7"/>
                  </a:cxn>
                  <a:cxn ang="0">
                    <a:pos x="T8" y="T9"/>
                  </a:cxn>
                </a:cxnLst>
                <a:rect l="0" t="0" r="r" b="b"/>
                <a:pathLst>
                  <a:path w="207" h="206">
                    <a:moveTo>
                      <a:pt x="207" y="181"/>
                    </a:moveTo>
                    <a:cubicBezTo>
                      <a:pt x="162" y="107"/>
                      <a:pt x="100" y="45"/>
                      <a:pt x="26" y="0"/>
                    </a:cubicBezTo>
                    <a:cubicBezTo>
                      <a:pt x="0" y="44"/>
                      <a:pt x="0" y="44"/>
                      <a:pt x="0" y="44"/>
                    </a:cubicBezTo>
                    <a:cubicBezTo>
                      <a:pt x="66" y="85"/>
                      <a:pt x="122" y="140"/>
                      <a:pt x="163" y="206"/>
                    </a:cubicBezTo>
                    <a:lnTo>
                      <a:pt x="207" y="181"/>
                    </a:ln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58" name="Freeform 7"/>
              <p:cNvSpPr>
                <a:spLocks/>
              </p:cNvSpPr>
              <p:nvPr/>
            </p:nvSpPr>
            <p:spPr bwMode="auto">
              <a:xfrm>
                <a:off x="2075273" y="2257147"/>
                <a:ext cx="427460" cy="191203"/>
              </a:xfrm>
              <a:custGeom>
                <a:avLst/>
                <a:gdLst>
                  <a:gd name="T0" fmla="*/ 0 w 248"/>
                  <a:gd name="T1" fmla="*/ 0 h 111"/>
                  <a:gd name="T2" fmla="*/ 0 w 248"/>
                  <a:gd name="T3" fmla="*/ 51 h 111"/>
                  <a:gd name="T4" fmla="*/ 222 w 248"/>
                  <a:gd name="T5" fmla="*/ 111 h 111"/>
                  <a:gd name="T6" fmla="*/ 248 w 248"/>
                  <a:gd name="T7" fmla="*/ 67 h 111"/>
                  <a:gd name="T8" fmla="*/ 0 w 248"/>
                  <a:gd name="T9" fmla="*/ 0 h 111"/>
                </a:gdLst>
                <a:ahLst/>
                <a:cxnLst>
                  <a:cxn ang="0">
                    <a:pos x="T0" y="T1"/>
                  </a:cxn>
                  <a:cxn ang="0">
                    <a:pos x="T2" y="T3"/>
                  </a:cxn>
                  <a:cxn ang="0">
                    <a:pos x="T4" y="T5"/>
                  </a:cxn>
                  <a:cxn ang="0">
                    <a:pos x="T6" y="T7"/>
                  </a:cxn>
                  <a:cxn ang="0">
                    <a:pos x="T8" y="T9"/>
                  </a:cxn>
                </a:cxnLst>
                <a:rect l="0" t="0" r="r" b="b"/>
                <a:pathLst>
                  <a:path w="248" h="111">
                    <a:moveTo>
                      <a:pt x="0" y="0"/>
                    </a:moveTo>
                    <a:cubicBezTo>
                      <a:pt x="0" y="51"/>
                      <a:pt x="0" y="51"/>
                      <a:pt x="0" y="51"/>
                    </a:cubicBezTo>
                    <a:cubicBezTo>
                      <a:pt x="80" y="53"/>
                      <a:pt x="156" y="75"/>
                      <a:pt x="222" y="111"/>
                    </a:cubicBezTo>
                    <a:cubicBezTo>
                      <a:pt x="248" y="67"/>
                      <a:pt x="248" y="67"/>
                      <a:pt x="248" y="67"/>
                    </a:cubicBezTo>
                    <a:cubicBezTo>
                      <a:pt x="174" y="26"/>
                      <a:pt x="90" y="2"/>
                      <a:pt x="0"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59" name="Freeform 8"/>
              <p:cNvSpPr>
                <a:spLocks/>
              </p:cNvSpPr>
              <p:nvPr/>
            </p:nvSpPr>
            <p:spPr bwMode="auto">
              <a:xfrm>
                <a:off x="2796131" y="2743946"/>
                <a:ext cx="191203" cy="425262"/>
              </a:xfrm>
              <a:custGeom>
                <a:avLst/>
                <a:gdLst>
                  <a:gd name="T0" fmla="*/ 45 w 111"/>
                  <a:gd name="T1" fmla="*/ 0 h 247"/>
                  <a:gd name="T2" fmla="*/ 0 w 111"/>
                  <a:gd name="T3" fmla="*/ 26 h 247"/>
                  <a:gd name="T4" fmla="*/ 60 w 111"/>
                  <a:gd name="T5" fmla="*/ 247 h 247"/>
                  <a:gd name="T6" fmla="*/ 111 w 111"/>
                  <a:gd name="T7" fmla="*/ 247 h 247"/>
                  <a:gd name="T8" fmla="*/ 45 w 111"/>
                  <a:gd name="T9" fmla="*/ 0 h 247"/>
                </a:gdLst>
                <a:ahLst/>
                <a:cxnLst>
                  <a:cxn ang="0">
                    <a:pos x="T0" y="T1"/>
                  </a:cxn>
                  <a:cxn ang="0">
                    <a:pos x="T2" y="T3"/>
                  </a:cxn>
                  <a:cxn ang="0">
                    <a:pos x="T4" y="T5"/>
                  </a:cxn>
                  <a:cxn ang="0">
                    <a:pos x="T6" y="T7"/>
                  </a:cxn>
                  <a:cxn ang="0">
                    <a:pos x="T8" y="T9"/>
                  </a:cxn>
                </a:cxnLst>
                <a:rect l="0" t="0" r="r" b="b"/>
                <a:pathLst>
                  <a:path w="111" h="247">
                    <a:moveTo>
                      <a:pt x="45" y="0"/>
                    </a:moveTo>
                    <a:cubicBezTo>
                      <a:pt x="0" y="26"/>
                      <a:pt x="0" y="26"/>
                      <a:pt x="0" y="26"/>
                    </a:cubicBezTo>
                    <a:cubicBezTo>
                      <a:pt x="37" y="92"/>
                      <a:pt x="58" y="167"/>
                      <a:pt x="60" y="247"/>
                    </a:cubicBezTo>
                    <a:cubicBezTo>
                      <a:pt x="111" y="247"/>
                      <a:pt x="111" y="247"/>
                      <a:pt x="111" y="247"/>
                    </a:cubicBezTo>
                    <a:cubicBezTo>
                      <a:pt x="109" y="158"/>
                      <a:pt x="85" y="74"/>
                      <a:pt x="45"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60" name="Freeform 9"/>
              <p:cNvSpPr>
                <a:spLocks/>
              </p:cNvSpPr>
              <p:nvPr/>
            </p:nvSpPr>
            <p:spPr bwMode="auto">
              <a:xfrm>
                <a:off x="2796131" y="3213162"/>
                <a:ext cx="191203" cy="427460"/>
              </a:xfrm>
              <a:custGeom>
                <a:avLst/>
                <a:gdLst>
                  <a:gd name="T0" fmla="*/ 60 w 111"/>
                  <a:gd name="T1" fmla="*/ 0 h 248"/>
                  <a:gd name="T2" fmla="*/ 0 w 111"/>
                  <a:gd name="T3" fmla="*/ 222 h 248"/>
                  <a:gd name="T4" fmla="*/ 45 w 111"/>
                  <a:gd name="T5" fmla="*/ 248 h 248"/>
                  <a:gd name="T6" fmla="*/ 111 w 111"/>
                  <a:gd name="T7" fmla="*/ 0 h 248"/>
                  <a:gd name="T8" fmla="*/ 60 w 111"/>
                  <a:gd name="T9" fmla="*/ 0 h 248"/>
                </a:gdLst>
                <a:ahLst/>
                <a:cxnLst>
                  <a:cxn ang="0">
                    <a:pos x="T0" y="T1"/>
                  </a:cxn>
                  <a:cxn ang="0">
                    <a:pos x="T2" y="T3"/>
                  </a:cxn>
                  <a:cxn ang="0">
                    <a:pos x="T4" y="T5"/>
                  </a:cxn>
                  <a:cxn ang="0">
                    <a:pos x="T6" y="T7"/>
                  </a:cxn>
                  <a:cxn ang="0">
                    <a:pos x="T8" y="T9"/>
                  </a:cxn>
                </a:cxnLst>
                <a:rect l="0" t="0" r="r" b="b"/>
                <a:pathLst>
                  <a:path w="111" h="248">
                    <a:moveTo>
                      <a:pt x="60" y="0"/>
                    </a:moveTo>
                    <a:cubicBezTo>
                      <a:pt x="58" y="80"/>
                      <a:pt x="37" y="156"/>
                      <a:pt x="0" y="222"/>
                    </a:cubicBezTo>
                    <a:cubicBezTo>
                      <a:pt x="45" y="248"/>
                      <a:pt x="45" y="248"/>
                      <a:pt x="45" y="248"/>
                    </a:cubicBezTo>
                    <a:cubicBezTo>
                      <a:pt x="85" y="174"/>
                      <a:pt x="109" y="90"/>
                      <a:pt x="111" y="0"/>
                    </a:cubicBezTo>
                    <a:lnTo>
                      <a:pt x="60" y="0"/>
                    </a:ln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61" name="Freeform 10"/>
              <p:cNvSpPr>
                <a:spLocks/>
              </p:cNvSpPr>
              <p:nvPr/>
            </p:nvSpPr>
            <p:spPr bwMode="auto">
              <a:xfrm>
                <a:off x="2495041" y="3632930"/>
                <a:ext cx="356034" cy="356034"/>
              </a:xfrm>
              <a:custGeom>
                <a:avLst/>
                <a:gdLst>
                  <a:gd name="T0" fmla="*/ 207 w 207"/>
                  <a:gd name="T1" fmla="*/ 26 h 207"/>
                  <a:gd name="T2" fmla="*/ 163 w 207"/>
                  <a:gd name="T3" fmla="*/ 0 h 207"/>
                  <a:gd name="T4" fmla="*/ 0 w 207"/>
                  <a:gd name="T5" fmla="*/ 163 h 207"/>
                  <a:gd name="T6" fmla="*/ 26 w 207"/>
                  <a:gd name="T7" fmla="*/ 207 h 207"/>
                  <a:gd name="T8" fmla="*/ 207 w 207"/>
                  <a:gd name="T9" fmla="*/ 26 h 207"/>
                </a:gdLst>
                <a:ahLst/>
                <a:cxnLst>
                  <a:cxn ang="0">
                    <a:pos x="T0" y="T1"/>
                  </a:cxn>
                  <a:cxn ang="0">
                    <a:pos x="T2" y="T3"/>
                  </a:cxn>
                  <a:cxn ang="0">
                    <a:pos x="T4" y="T5"/>
                  </a:cxn>
                  <a:cxn ang="0">
                    <a:pos x="T6" y="T7"/>
                  </a:cxn>
                  <a:cxn ang="0">
                    <a:pos x="T8" y="T9"/>
                  </a:cxn>
                </a:cxnLst>
                <a:rect l="0" t="0" r="r" b="b"/>
                <a:pathLst>
                  <a:path w="207" h="207">
                    <a:moveTo>
                      <a:pt x="207" y="26"/>
                    </a:moveTo>
                    <a:cubicBezTo>
                      <a:pt x="163" y="0"/>
                      <a:pt x="163" y="0"/>
                      <a:pt x="163" y="0"/>
                    </a:cubicBezTo>
                    <a:cubicBezTo>
                      <a:pt x="122" y="66"/>
                      <a:pt x="66" y="122"/>
                      <a:pt x="0" y="163"/>
                    </a:cubicBezTo>
                    <a:cubicBezTo>
                      <a:pt x="26" y="207"/>
                      <a:pt x="26" y="207"/>
                      <a:pt x="26" y="207"/>
                    </a:cubicBezTo>
                    <a:cubicBezTo>
                      <a:pt x="100" y="162"/>
                      <a:pt x="162" y="100"/>
                      <a:pt x="207" y="2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62" name="Freeform 11"/>
              <p:cNvSpPr>
                <a:spLocks/>
              </p:cNvSpPr>
              <p:nvPr/>
            </p:nvSpPr>
            <p:spPr bwMode="auto">
              <a:xfrm>
                <a:off x="2075273" y="3936217"/>
                <a:ext cx="427460" cy="189006"/>
              </a:xfrm>
              <a:custGeom>
                <a:avLst/>
                <a:gdLst>
                  <a:gd name="T0" fmla="*/ 248 w 248"/>
                  <a:gd name="T1" fmla="*/ 44 h 110"/>
                  <a:gd name="T2" fmla="*/ 222 w 248"/>
                  <a:gd name="T3" fmla="*/ 0 h 110"/>
                  <a:gd name="T4" fmla="*/ 0 w 248"/>
                  <a:gd name="T5" fmla="*/ 59 h 110"/>
                  <a:gd name="T6" fmla="*/ 0 w 248"/>
                  <a:gd name="T7" fmla="*/ 110 h 110"/>
                  <a:gd name="T8" fmla="*/ 248 w 248"/>
                  <a:gd name="T9" fmla="*/ 44 h 110"/>
                </a:gdLst>
                <a:ahLst/>
                <a:cxnLst>
                  <a:cxn ang="0">
                    <a:pos x="T0" y="T1"/>
                  </a:cxn>
                  <a:cxn ang="0">
                    <a:pos x="T2" y="T3"/>
                  </a:cxn>
                  <a:cxn ang="0">
                    <a:pos x="T4" y="T5"/>
                  </a:cxn>
                  <a:cxn ang="0">
                    <a:pos x="T6" y="T7"/>
                  </a:cxn>
                  <a:cxn ang="0">
                    <a:pos x="T8" y="T9"/>
                  </a:cxn>
                </a:cxnLst>
                <a:rect l="0" t="0" r="r" b="b"/>
                <a:pathLst>
                  <a:path w="248" h="110">
                    <a:moveTo>
                      <a:pt x="248" y="44"/>
                    </a:moveTo>
                    <a:cubicBezTo>
                      <a:pt x="222" y="0"/>
                      <a:pt x="222" y="0"/>
                      <a:pt x="222" y="0"/>
                    </a:cubicBezTo>
                    <a:cubicBezTo>
                      <a:pt x="156" y="36"/>
                      <a:pt x="80" y="57"/>
                      <a:pt x="0" y="59"/>
                    </a:cubicBezTo>
                    <a:cubicBezTo>
                      <a:pt x="0" y="110"/>
                      <a:pt x="0" y="110"/>
                      <a:pt x="0" y="110"/>
                    </a:cubicBezTo>
                    <a:cubicBezTo>
                      <a:pt x="90" y="108"/>
                      <a:pt x="174" y="84"/>
                      <a:pt x="248" y="44"/>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63" name="Freeform 12"/>
              <p:cNvSpPr>
                <a:spLocks/>
              </p:cNvSpPr>
              <p:nvPr/>
            </p:nvSpPr>
            <p:spPr bwMode="auto">
              <a:xfrm>
                <a:off x="1606057" y="3936217"/>
                <a:ext cx="425262" cy="189006"/>
              </a:xfrm>
              <a:custGeom>
                <a:avLst/>
                <a:gdLst>
                  <a:gd name="T0" fmla="*/ 0 w 247"/>
                  <a:gd name="T1" fmla="*/ 44 h 110"/>
                  <a:gd name="T2" fmla="*/ 247 w 247"/>
                  <a:gd name="T3" fmla="*/ 110 h 110"/>
                  <a:gd name="T4" fmla="*/ 247 w 247"/>
                  <a:gd name="T5" fmla="*/ 59 h 110"/>
                  <a:gd name="T6" fmla="*/ 26 w 247"/>
                  <a:gd name="T7" fmla="*/ 0 h 110"/>
                  <a:gd name="T8" fmla="*/ 0 w 247"/>
                  <a:gd name="T9" fmla="*/ 44 h 110"/>
                </a:gdLst>
                <a:ahLst/>
                <a:cxnLst>
                  <a:cxn ang="0">
                    <a:pos x="T0" y="T1"/>
                  </a:cxn>
                  <a:cxn ang="0">
                    <a:pos x="T2" y="T3"/>
                  </a:cxn>
                  <a:cxn ang="0">
                    <a:pos x="T4" y="T5"/>
                  </a:cxn>
                  <a:cxn ang="0">
                    <a:pos x="T6" y="T7"/>
                  </a:cxn>
                  <a:cxn ang="0">
                    <a:pos x="T8" y="T9"/>
                  </a:cxn>
                </a:cxnLst>
                <a:rect l="0" t="0" r="r" b="b"/>
                <a:pathLst>
                  <a:path w="247" h="110">
                    <a:moveTo>
                      <a:pt x="0" y="44"/>
                    </a:moveTo>
                    <a:cubicBezTo>
                      <a:pt x="74" y="84"/>
                      <a:pt x="158" y="108"/>
                      <a:pt x="247" y="110"/>
                    </a:cubicBezTo>
                    <a:cubicBezTo>
                      <a:pt x="247" y="59"/>
                      <a:pt x="247" y="59"/>
                      <a:pt x="247" y="59"/>
                    </a:cubicBezTo>
                    <a:cubicBezTo>
                      <a:pt x="167" y="57"/>
                      <a:pt x="92" y="36"/>
                      <a:pt x="26" y="0"/>
                    </a:cubicBezTo>
                    <a:lnTo>
                      <a:pt x="0" y="44"/>
                    </a:ln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64" name="Freeform 13"/>
              <p:cNvSpPr>
                <a:spLocks/>
              </p:cNvSpPr>
              <p:nvPr/>
            </p:nvSpPr>
            <p:spPr bwMode="auto">
              <a:xfrm>
                <a:off x="1256616" y="3632930"/>
                <a:ext cx="354935" cy="356034"/>
              </a:xfrm>
              <a:custGeom>
                <a:avLst/>
                <a:gdLst>
                  <a:gd name="T0" fmla="*/ 44 w 206"/>
                  <a:gd name="T1" fmla="*/ 0 h 207"/>
                  <a:gd name="T2" fmla="*/ 0 w 206"/>
                  <a:gd name="T3" fmla="*/ 26 h 207"/>
                  <a:gd name="T4" fmla="*/ 181 w 206"/>
                  <a:gd name="T5" fmla="*/ 207 h 207"/>
                  <a:gd name="T6" fmla="*/ 206 w 206"/>
                  <a:gd name="T7" fmla="*/ 163 h 207"/>
                  <a:gd name="T8" fmla="*/ 44 w 206"/>
                  <a:gd name="T9" fmla="*/ 0 h 207"/>
                </a:gdLst>
                <a:ahLst/>
                <a:cxnLst>
                  <a:cxn ang="0">
                    <a:pos x="T0" y="T1"/>
                  </a:cxn>
                  <a:cxn ang="0">
                    <a:pos x="T2" y="T3"/>
                  </a:cxn>
                  <a:cxn ang="0">
                    <a:pos x="T4" y="T5"/>
                  </a:cxn>
                  <a:cxn ang="0">
                    <a:pos x="T6" y="T7"/>
                  </a:cxn>
                  <a:cxn ang="0">
                    <a:pos x="T8" y="T9"/>
                  </a:cxn>
                </a:cxnLst>
                <a:rect l="0" t="0" r="r" b="b"/>
                <a:pathLst>
                  <a:path w="206" h="207">
                    <a:moveTo>
                      <a:pt x="44" y="0"/>
                    </a:moveTo>
                    <a:cubicBezTo>
                      <a:pt x="0" y="26"/>
                      <a:pt x="0" y="26"/>
                      <a:pt x="0" y="26"/>
                    </a:cubicBezTo>
                    <a:cubicBezTo>
                      <a:pt x="45" y="100"/>
                      <a:pt x="107" y="162"/>
                      <a:pt x="181" y="207"/>
                    </a:cubicBezTo>
                    <a:cubicBezTo>
                      <a:pt x="206" y="163"/>
                      <a:pt x="206" y="163"/>
                      <a:pt x="206" y="163"/>
                    </a:cubicBezTo>
                    <a:cubicBezTo>
                      <a:pt x="140" y="122"/>
                      <a:pt x="85" y="66"/>
                      <a:pt x="44" y="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65" name="Freeform 14"/>
              <p:cNvSpPr>
                <a:spLocks/>
              </p:cNvSpPr>
              <p:nvPr/>
            </p:nvSpPr>
            <p:spPr bwMode="auto">
              <a:xfrm>
                <a:off x="1119258" y="3213162"/>
                <a:ext cx="191203" cy="427460"/>
              </a:xfrm>
              <a:custGeom>
                <a:avLst/>
                <a:gdLst>
                  <a:gd name="T0" fmla="*/ 0 w 111"/>
                  <a:gd name="T1" fmla="*/ 0 h 248"/>
                  <a:gd name="T2" fmla="*/ 67 w 111"/>
                  <a:gd name="T3" fmla="*/ 248 h 248"/>
                  <a:gd name="T4" fmla="*/ 111 w 111"/>
                  <a:gd name="T5" fmla="*/ 222 h 248"/>
                  <a:gd name="T6" fmla="*/ 51 w 111"/>
                  <a:gd name="T7" fmla="*/ 0 h 248"/>
                  <a:gd name="T8" fmla="*/ 0 w 111"/>
                  <a:gd name="T9" fmla="*/ 0 h 248"/>
                </a:gdLst>
                <a:ahLst/>
                <a:cxnLst>
                  <a:cxn ang="0">
                    <a:pos x="T0" y="T1"/>
                  </a:cxn>
                  <a:cxn ang="0">
                    <a:pos x="T2" y="T3"/>
                  </a:cxn>
                  <a:cxn ang="0">
                    <a:pos x="T4" y="T5"/>
                  </a:cxn>
                  <a:cxn ang="0">
                    <a:pos x="T6" y="T7"/>
                  </a:cxn>
                  <a:cxn ang="0">
                    <a:pos x="T8" y="T9"/>
                  </a:cxn>
                </a:cxnLst>
                <a:rect l="0" t="0" r="r" b="b"/>
                <a:pathLst>
                  <a:path w="111" h="248">
                    <a:moveTo>
                      <a:pt x="0" y="0"/>
                    </a:moveTo>
                    <a:cubicBezTo>
                      <a:pt x="2" y="90"/>
                      <a:pt x="26" y="174"/>
                      <a:pt x="67" y="248"/>
                    </a:cubicBezTo>
                    <a:cubicBezTo>
                      <a:pt x="111" y="222"/>
                      <a:pt x="111" y="222"/>
                      <a:pt x="111" y="222"/>
                    </a:cubicBezTo>
                    <a:cubicBezTo>
                      <a:pt x="75" y="156"/>
                      <a:pt x="53" y="80"/>
                      <a:pt x="51" y="0"/>
                    </a:cubicBez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66" name="Freeform 15"/>
              <p:cNvSpPr>
                <a:spLocks/>
              </p:cNvSpPr>
              <p:nvPr/>
            </p:nvSpPr>
            <p:spPr bwMode="auto">
              <a:xfrm>
                <a:off x="1119258" y="2743946"/>
                <a:ext cx="191203" cy="425262"/>
              </a:xfrm>
              <a:custGeom>
                <a:avLst/>
                <a:gdLst>
                  <a:gd name="T0" fmla="*/ 51 w 111"/>
                  <a:gd name="T1" fmla="*/ 247 h 247"/>
                  <a:gd name="T2" fmla="*/ 111 w 111"/>
                  <a:gd name="T3" fmla="*/ 26 h 247"/>
                  <a:gd name="T4" fmla="*/ 67 w 111"/>
                  <a:gd name="T5" fmla="*/ 0 h 247"/>
                  <a:gd name="T6" fmla="*/ 0 w 111"/>
                  <a:gd name="T7" fmla="*/ 247 h 247"/>
                  <a:gd name="T8" fmla="*/ 51 w 111"/>
                  <a:gd name="T9" fmla="*/ 247 h 247"/>
                </a:gdLst>
                <a:ahLst/>
                <a:cxnLst>
                  <a:cxn ang="0">
                    <a:pos x="T0" y="T1"/>
                  </a:cxn>
                  <a:cxn ang="0">
                    <a:pos x="T2" y="T3"/>
                  </a:cxn>
                  <a:cxn ang="0">
                    <a:pos x="T4" y="T5"/>
                  </a:cxn>
                  <a:cxn ang="0">
                    <a:pos x="T6" y="T7"/>
                  </a:cxn>
                  <a:cxn ang="0">
                    <a:pos x="T8" y="T9"/>
                  </a:cxn>
                </a:cxnLst>
                <a:rect l="0" t="0" r="r" b="b"/>
                <a:pathLst>
                  <a:path w="111" h="247">
                    <a:moveTo>
                      <a:pt x="51" y="247"/>
                    </a:moveTo>
                    <a:cubicBezTo>
                      <a:pt x="53" y="167"/>
                      <a:pt x="75" y="92"/>
                      <a:pt x="111" y="26"/>
                    </a:cubicBezTo>
                    <a:cubicBezTo>
                      <a:pt x="67" y="0"/>
                      <a:pt x="67" y="0"/>
                      <a:pt x="67" y="0"/>
                    </a:cubicBezTo>
                    <a:cubicBezTo>
                      <a:pt x="26" y="74"/>
                      <a:pt x="2" y="158"/>
                      <a:pt x="0" y="247"/>
                    </a:cubicBezTo>
                    <a:lnTo>
                      <a:pt x="51" y="247"/>
                    </a:lnTo>
                    <a:close/>
                  </a:path>
                </a:pathLst>
              </a:custGeom>
              <a:grpFill/>
              <a:ln>
                <a:noFill/>
              </a:ln>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67" name="Freeform 16"/>
              <p:cNvSpPr>
                <a:spLocks/>
              </p:cNvSpPr>
              <p:nvPr/>
            </p:nvSpPr>
            <p:spPr bwMode="auto">
              <a:xfrm>
                <a:off x="1256616" y="2394505"/>
                <a:ext cx="354935" cy="354935"/>
              </a:xfrm>
              <a:custGeom>
                <a:avLst/>
                <a:gdLst>
                  <a:gd name="T0" fmla="*/ 0 w 206"/>
                  <a:gd name="T1" fmla="*/ 181 h 206"/>
                  <a:gd name="T2" fmla="*/ 44 w 206"/>
                  <a:gd name="T3" fmla="*/ 206 h 206"/>
                  <a:gd name="T4" fmla="*/ 206 w 206"/>
                  <a:gd name="T5" fmla="*/ 44 h 206"/>
                  <a:gd name="T6" fmla="*/ 181 w 206"/>
                  <a:gd name="T7" fmla="*/ 0 h 206"/>
                  <a:gd name="T8" fmla="*/ 0 w 206"/>
                  <a:gd name="T9" fmla="*/ 181 h 206"/>
                </a:gdLst>
                <a:ahLst/>
                <a:cxnLst>
                  <a:cxn ang="0">
                    <a:pos x="T0" y="T1"/>
                  </a:cxn>
                  <a:cxn ang="0">
                    <a:pos x="T2" y="T3"/>
                  </a:cxn>
                  <a:cxn ang="0">
                    <a:pos x="T4" y="T5"/>
                  </a:cxn>
                  <a:cxn ang="0">
                    <a:pos x="T6" y="T7"/>
                  </a:cxn>
                  <a:cxn ang="0">
                    <a:pos x="T8" y="T9"/>
                  </a:cxn>
                </a:cxnLst>
                <a:rect l="0" t="0" r="r" b="b"/>
                <a:pathLst>
                  <a:path w="206" h="206">
                    <a:moveTo>
                      <a:pt x="0" y="181"/>
                    </a:moveTo>
                    <a:cubicBezTo>
                      <a:pt x="44" y="206"/>
                      <a:pt x="44" y="206"/>
                      <a:pt x="44" y="206"/>
                    </a:cubicBezTo>
                    <a:cubicBezTo>
                      <a:pt x="85" y="140"/>
                      <a:pt x="140" y="85"/>
                      <a:pt x="206" y="44"/>
                    </a:cubicBezTo>
                    <a:cubicBezTo>
                      <a:pt x="181" y="0"/>
                      <a:pt x="181" y="0"/>
                      <a:pt x="181" y="0"/>
                    </a:cubicBezTo>
                    <a:cubicBezTo>
                      <a:pt x="107" y="45"/>
                      <a:pt x="45" y="107"/>
                      <a:pt x="0" y="181"/>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dirty="0">
                  <a:latin typeface="Calibri Light"/>
                </a:endParaRPr>
              </a:p>
            </p:txBody>
          </p:sp>
          <p:sp>
            <p:nvSpPr>
              <p:cNvPr id="368" name="Freeform 17"/>
              <p:cNvSpPr>
                <a:spLocks/>
              </p:cNvSpPr>
              <p:nvPr/>
            </p:nvSpPr>
            <p:spPr bwMode="auto">
              <a:xfrm>
                <a:off x="1606057" y="2257147"/>
                <a:ext cx="425262" cy="191203"/>
              </a:xfrm>
              <a:custGeom>
                <a:avLst/>
                <a:gdLst>
                  <a:gd name="T0" fmla="*/ 0 w 247"/>
                  <a:gd name="T1" fmla="*/ 67 h 111"/>
                  <a:gd name="T2" fmla="*/ 25 w 247"/>
                  <a:gd name="T3" fmla="*/ 111 h 111"/>
                  <a:gd name="T4" fmla="*/ 247 w 247"/>
                  <a:gd name="T5" fmla="*/ 51 h 111"/>
                  <a:gd name="T6" fmla="*/ 247 w 247"/>
                  <a:gd name="T7" fmla="*/ 0 h 111"/>
                  <a:gd name="T8" fmla="*/ 0 w 247"/>
                  <a:gd name="T9" fmla="*/ 67 h 111"/>
                </a:gdLst>
                <a:ahLst/>
                <a:cxnLst>
                  <a:cxn ang="0">
                    <a:pos x="T0" y="T1"/>
                  </a:cxn>
                  <a:cxn ang="0">
                    <a:pos x="T2" y="T3"/>
                  </a:cxn>
                  <a:cxn ang="0">
                    <a:pos x="T4" y="T5"/>
                  </a:cxn>
                  <a:cxn ang="0">
                    <a:pos x="T6" y="T7"/>
                  </a:cxn>
                  <a:cxn ang="0">
                    <a:pos x="T8" y="T9"/>
                  </a:cxn>
                </a:cxnLst>
                <a:rect l="0" t="0" r="r" b="b"/>
                <a:pathLst>
                  <a:path w="247" h="111">
                    <a:moveTo>
                      <a:pt x="0" y="67"/>
                    </a:moveTo>
                    <a:cubicBezTo>
                      <a:pt x="25" y="111"/>
                      <a:pt x="25" y="111"/>
                      <a:pt x="25" y="111"/>
                    </a:cubicBezTo>
                    <a:cubicBezTo>
                      <a:pt x="92" y="75"/>
                      <a:pt x="167" y="53"/>
                      <a:pt x="247" y="51"/>
                    </a:cubicBezTo>
                    <a:cubicBezTo>
                      <a:pt x="247" y="0"/>
                      <a:pt x="247" y="0"/>
                      <a:pt x="247" y="0"/>
                    </a:cubicBezTo>
                    <a:cubicBezTo>
                      <a:pt x="158" y="2"/>
                      <a:pt x="74" y="26"/>
                      <a:pt x="0" y="67"/>
                    </a:cubicBezTo>
                    <a:close/>
                  </a:path>
                </a:pathLst>
              </a:custGeom>
              <a:grpFill/>
              <a:ln>
                <a:noFill/>
              </a:ln>
            </p:spPr>
            <p:txBody>
              <a:bodyPr vert="horz" wrap="square" lIns="91440" tIns="45720" rIns="91440" bIns="45720" numCol="1" anchor="t" anchorCtr="0" compatLnSpc="1">
                <a:prstTxWarp prst="textNoShape">
                  <a:avLst/>
                </a:prstTxWarp>
              </a:bodyPr>
              <a:lstStyle/>
              <a:p>
                <a:endParaRPr lang="id-ID" dirty="0">
                  <a:latin typeface="Calibri Light"/>
                </a:endParaRPr>
              </a:p>
            </p:txBody>
          </p:sp>
        </p:grpSp>
      </p:grpSp>
      <p:sp>
        <p:nvSpPr>
          <p:cNvPr id="372" name="Subtitle 2"/>
          <p:cNvSpPr txBox="1">
            <a:spLocks/>
          </p:cNvSpPr>
          <p:nvPr/>
        </p:nvSpPr>
        <p:spPr>
          <a:xfrm>
            <a:off x="6737118" y="4594451"/>
            <a:ext cx="5894640" cy="1472085"/>
          </a:xfrm>
          <a:prstGeom prst="rect">
            <a:avLst/>
          </a:prstGeom>
        </p:spPr>
        <p:txBody>
          <a:bodyPr vert="horz" lIns="243744" tIns="121869" rIns="243744" bIns="121869"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b="1" dirty="0" smtClean="0">
                <a:latin typeface="Roboto Regular" pitchFamily="2" charset="0"/>
                <a:ea typeface="Roboto Regular" pitchFamily="2" charset="0"/>
                <a:cs typeface="Lato Regular"/>
              </a:rPr>
              <a:t>Description</a:t>
            </a:r>
            <a:endParaRPr lang="en-US" sz="1600" b="1" dirty="0">
              <a:latin typeface="Roboto Regular" pitchFamily="2" charset="0"/>
              <a:ea typeface="Roboto Regular" pitchFamily="2" charset="0"/>
              <a:cs typeface="Lato Regular"/>
            </a:endParaRPr>
          </a:p>
          <a:p>
            <a:pPr marL="0" indent="0">
              <a:buNone/>
            </a:pPr>
            <a:r>
              <a:rPr lang="en-US" sz="1400" dirty="0">
                <a:latin typeface="Roboto Regular" pitchFamily="2" charset="0"/>
                <a:ea typeface="Roboto Regular" pitchFamily="2" charset="0"/>
                <a:cs typeface="Calibri Light"/>
              </a:rPr>
              <a:t>Lorem ipsum dolor sit amet, consectetur adipiscing elit. Integer pulvinar nulla ut ultrices eleifend. Etiam sit amet turpis at neque lacinia fermentum sed vitae velit</a:t>
            </a:r>
            <a:r>
              <a:rPr lang="en-US" sz="1400" dirty="0" smtClean="0">
                <a:latin typeface="Roboto Regular" pitchFamily="2" charset="0"/>
                <a:ea typeface="Roboto Regular" pitchFamily="2" charset="0"/>
                <a:cs typeface="Calibri Light"/>
              </a:rPr>
              <a:t>.</a:t>
            </a:r>
            <a:endParaRPr lang="en-US" sz="1400" dirty="0">
              <a:latin typeface="Roboto Regular" pitchFamily="2" charset="0"/>
              <a:ea typeface="Roboto Regular" pitchFamily="2" charset="0"/>
              <a:cs typeface="Calibri Light"/>
            </a:endParaRPr>
          </a:p>
        </p:txBody>
      </p:sp>
      <p:sp>
        <p:nvSpPr>
          <p:cNvPr id="369" name="TextBox 368"/>
          <p:cNvSpPr txBox="1"/>
          <p:nvPr/>
        </p:nvSpPr>
        <p:spPr>
          <a:xfrm>
            <a:off x="5090345" y="3228619"/>
            <a:ext cx="1598840" cy="523117"/>
          </a:xfrm>
          <a:prstGeom prst="rect">
            <a:avLst/>
          </a:prstGeom>
          <a:noFill/>
        </p:spPr>
        <p:txBody>
          <a:bodyPr wrap="square" lIns="243744" tIns="121869" rIns="243744" bIns="121869" rtlCol="0">
            <a:spAutoFit/>
          </a:bodyPr>
          <a:lstStyle/>
          <a:p>
            <a:pPr algn="ctr"/>
            <a:r>
              <a:rPr lang="en-US" dirty="0" smtClean="0">
                <a:solidFill>
                  <a:schemeClr val="accent6"/>
                </a:solidFill>
                <a:latin typeface="Lato Regular"/>
                <a:cs typeface="Lato Regular"/>
              </a:rPr>
              <a:t>90%</a:t>
            </a:r>
            <a:endParaRPr lang="en-US" dirty="0">
              <a:solidFill>
                <a:schemeClr val="accent6"/>
              </a:solidFill>
              <a:latin typeface="Lato Regular"/>
              <a:cs typeface="Lato Regular"/>
            </a:endParaRPr>
          </a:p>
        </p:txBody>
      </p:sp>
      <p:sp>
        <p:nvSpPr>
          <p:cNvPr id="370" name="TextBox 369"/>
          <p:cNvSpPr txBox="1"/>
          <p:nvPr/>
        </p:nvSpPr>
        <p:spPr>
          <a:xfrm>
            <a:off x="5090345" y="4889528"/>
            <a:ext cx="1598840" cy="523117"/>
          </a:xfrm>
          <a:prstGeom prst="rect">
            <a:avLst/>
          </a:prstGeom>
          <a:noFill/>
        </p:spPr>
        <p:txBody>
          <a:bodyPr wrap="square" lIns="243744" tIns="121869" rIns="243744" bIns="121869" rtlCol="0">
            <a:spAutoFit/>
          </a:bodyPr>
          <a:lstStyle/>
          <a:p>
            <a:pPr algn="ctr"/>
            <a:r>
              <a:rPr lang="en-US" dirty="0" smtClean="0">
                <a:solidFill>
                  <a:schemeClr val="accent6"/>
                </a:solidFill>
                <a:latin typeface="Lato Regular"/>
                <a:cs typeface="Lato Regular"/>
              </a:rPr>
              <a:t>50%</a:t>
            </a:r>
            <a:endParaRPr lang="en-US" dirty="0">
              <a:solidFill>
                <a:schemeClr val="accent6"/>
              </a:solidFill>
              <a:latin typeface="Lato Regular"/>
              <a:cs typeface="Lato Regular"/>
            </a:endParaRPr>
          </a:p>
        </p:txBody>
      </p:sp>
      <p:sp>
        <p:nvSpPr>
          <p:cNvPr id="376"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228_84 306_84 245_84 246_84 247_84 248_84 249_84 250_84 251_84 252_84 253_84 254_84 339_84 276_84 277_84 278_84 279_84 280_84 281_84 282_84 283_84 284_84 285_84 354_84</a:t>
            </a:r>
            <a:endParaRPr lang="en-US" sz="100" dirty="0" err="1" smtClean="0">
              <a:solidFill>
                <a:srgbClr val="FFFFFF"/>
              </a:solidFill>
            </a:endParaRPr>
          </a:p>
        </p:txBody>
      </p:sp>
    </p:spTree>
    <p:extLst>
      <p:ext uri="{BB962C8B-B14F-4D97-AF65-F5344CB8AC3E}">
        <p14:creationId xmlns:p14="http://schemas.microsoft.com/office/powerpoint/2010/main" val="74678720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a:t>
            </a:r>
            <a:endParaRPr lang="en-US" dirty="0"/>
          </a:p>
        </p:txBody>
      </p:sp>
      <p:grpSp>
        <p:nvGrpSpPr>
          <p:cNvPr id="3" name="Group 2"/>
          <p:cNvGrpSpPr/>
          <p:nvPr>
            <p:custDataLst>
              <p:tags r:id="rId1"/>
            </p:custDataLst>
          </p:nvPr>
        </p:nvGrpSpPr>
        <p:grpSpPr>
          <a:xfrm>
            <a:off x="990192" y="1847850"/>
            <a:ext cx="10860905" cy="3628267"/>
            <a:chOff x="1823370" y="4256520"/>
            <a:chExt cx="20730915" cy="6925509"/>
          </a:xfrm>
        </p:grpSpPr>
        <p:grpSp>
          <p:nvGrpSpPr>
            <p:cNvPr id="4" name="Group 3"/>
            <p:cNvGrpSpPr/>
            <p:nvPr/>
          </p:nvGrpSpPr>
          <p:grpSpPr>
            <a:xfrm>
              <a:off x="7940702" y="4256520"/>
              <a:ext cx="14579247" cy="6904584"/>
              <a:chOff x="4019359" y="1562560"/>
              <a:chExt cx="7291522" cy="4140000"/>
            </a:xfrm>
          </p:grpSpPr>
          <p:cxnSp>
            <p:nvCxnSpPr>
              <p:cNvPr id="38" name="Straight Connector 37"/>
              <p:cNvCxnSpPr/>
              <p:nvPr/>
            </p:nvCxnSpPr>
            <p:spPr>
              <a:xfrm>
                <a:off x="5846070" y="1562560"/>
                <a:ext cx="0" cy="414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7662148" y="1562560"/>
                <a:ext cx="0" cy="414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019359" y="1562560"/>
                <a:ext cx="0" cy="414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9509188" y="1562560"/>
                <a:ext cx="0" cy="414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1310881" y="1562560"/>
                <a:ext cx="0" cy="4140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5" name="Rectangle 4"/>
            <p:cNvSpPr/>
            <p:nvPr/>
          </p:nvSpPr>
          <p:spPr>
            <a:xfrm>
              <a:off x="1834555" y="8310839"/>
              <a:ext cx="20687903" cy="948442"/>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9" tIns="91445" rIns="182889" bIns="91445" rtlCol="0" anchor="ctr"/>
            <a:lstStyle/>
            <a:p>
              <a:pPr algn="ctr"/>
              <a:endParaRPr lang="en-US">
                <a:solidFill>
                  <a:schemeClr val="tx1"/>
                </a:solidFill>
                <a:latin typeface="Roboto Light"/>
                <a:cs typeface="Roboto Light"/>
              </a:endParaRPr>
            </a:p>
          </p:txBody>
        </p:sp>
        <p:sp>
          <p:nvSpPr>
            <p:cNvPr id="6" name="Rectangle 5"/>
            <p:cNvSpPr/>
            <p:nvPr/>
          </p:nvSpPr>
          <p:spPr>
            <a:xfrm>
              <a:off x="1834555" y="6383893"/>
              <a:ext cx="20687903" cy="948442"/>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9" tIns="91445" rIns="182889" bIns="91445" rtlCol="0" anchor="ctr"/>
            <a:lstStyle/>
            <a:p>
              <a:pPr algn="ctr"/>
              <a:endParaRPr lang="en-US">
                <a:solidFill>
                  <a:schemeClr val="tx1"/>
                </a:solidFill>
                <a:latin typeface="Roboto Light"/>
                <a:cs typeface="Roboto Light"/>
              </a:endParaRPr>
            </a:p>
          </p:txBody>
        </p:sp>
        <p:sp>
          <p:nvSpPr>
            <p:cNvPr id="7" name="Rectangle 6"/>
            <p:cNvSpPr/>
            <p:nvPr/>
          </p:nvSpPr>
          <p:spPr>
            <a:xfrm>
              <a:off x="1834555" y="10212663"/>
              <a:ext cx="20687903" cy="948442"/>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9" tIns="91445" rIns="182889" bIns="91445" rtlCol="0" anchor="ctr"/>
            <a:lstStyle/>
            <a:p>
              <a:pPr algn="ctr"/>
              <a:endParaRPr lang="en-US">
                <a:solidFill>
                  <a:schemeClr val="tx1"/>
                </a:solidFill>
                <a:latin typeface="Roboto Light"/>
                <a:cs typeface="Roboto Light"/>
              </a:endParaRPr>
            </a:p>
          </p:txBody>
        </p:sp>
        <p:sp>
          <p:nvSpPr>
            <p:cNvPr id="8" name="TextBox 7"/>
            <p:cNvSpPr txBox="1"/>
            <p:nvPr/>
          </p:nvSpPr>
          <p:spPr>
            <a:xfrm>
              <a:off x="1823370" y="6472029"/>
              <a:ext cx="6101132" cy="881229"/>
            </a:xfrm>
            <a:prstGeom prst="rect">
              <a:avLst/>
            </a:prstGeom>
            <a:noFill/>
          </p:spPr>
          <p:txBody>
            <a:bodyPr wrap="square" lIns="182889" tIns="91445" rIns="182889" bIns="91445" rtlCol="0">
              <a:spAutoFit/>
            </a:bodyPr>
            <a:lstStyle/>
            <a:p>
              <a:pPr algn="ctr"/>
              <a:r>
                <a:rPr lang="id-ID" dirty="0" smtClean="0">
                  <a:latin typeface="Calibri Light"/>
                  <a:cs typeface="Calibri Light"/>
                </a:rPr>
                <a:t>Element Number One</a:t>
              </a:r>
              <a:endParaRPr lang="en-US" dirty="0">
                <a:latin typeface="Calibri Light"/>
                <a:cs typeface="Calibri Light"/>
              </a:endParaRPr>
            </a:p>
          </p:txBody>
        </p:sp>
        <p:sp>
          <p:nvSpPr>
            <p:cNvPr id="9" name="TextBox 8"/>
            <p:cNvSpPr txBox="1"/>
            <p:nvPr/>
          </p:nvSpPr>
          <p:spPr>
            <a:xfrm>
              <a:off x="1823370" y="7461581"/>
              <a:ext cx="6101132" cy="881229"/>
            </a:xfrm>
            <a:prstGeom prst="rect">
              <a:avLst/>
            </a:prstGeom>
            <a:noFill/>
          </p:spPr>
          <p:txBody>
            <a:bodyPr wrap="square" lIns="182889" tIns="91445" rIns="182889" bIns="91445" rtlCol="0">
              <a:spAutoFit/>
            </a:bodyPr>
            <a:lstStyle/>
            <a:p>
              <a:pPr algn="ctr"/>
              <a:r>
                <a:rPr lang="id-ID" dirty="0" smtClean="0">
                  <a:latin typeface="Calibri Light"/>
                  <a:cs typeface="Calibri Light"/>
                </a:rPr>
                <a:t>Element Number Two</a:t>
              </a:r>
              <a:endParaRPr lang="en-US" dirty="0">
                <a:latin typeface="Calibri Light"/>
                <a:cs typeface="Calibri Light"/>
              </a:endParaRPr>
            </a:p>
          </p:txBody>
        </p:sp>
        <p:sp>
          <p:nvSpPr>
            <p:cNvPr id="10" name="TextBox 9"/>
            <p:cNvSpPr txBox="1"/>
            <p:nvPr/>
          </p:nvSpPr>
          <p:spPr>
            <a:xfrm>
              <a:off x="1823370" y="8398975"/>
              <a:ext cx="6101132" cy="881229"/>
            </a:xfrm>
            <a:prstGeom prst="rect">
              <a:avLst/>
            </a:prstGeom>
            <a:noFill/>
          </p:spPr>
          <p:txBody>
            <a:bodyPr wrap="square" lIns="182889" tIns="91445" rIns="182889" bIns="91445" rtlCol="0">
              <a:spAutoFit/>
            </a:bodyPr>
            <a:lstStyle/>
            <a:p>
              <a:pPr algn="ctr"/>
              <a:r>
                <a:rPr lang="id-ID" dirty="0" smtClean="0">
                  <a:latin typeface="Calibri Light"/>
                  <a:cs typeface="Calibri Light"/>
                </a:rPr>
                <a:t>Element Number Three</a:t>
              </a:r>
              <a:endParaRPr lang="en-US" dirty="0">
                <a:latin typeface="Calibri Light"/>
                <a:cs typeface="Calibri Light"/>
              </a:endParaRPr>
            </a:p>
          </p:txBody>
        </p:sp>
        <p:sp>
          <p:nvSpPr>
            <p:cNvPr id="11" name="TextBox 10"/>
            <p:cNvSpPr txBox="1"/>
            <p:nvPr/>
          </p:nvSpPr>
          <p:spPr>
            <a:xfrm>
              <a:off x="1823370" y="9365484"/>
              <a:ext cx="6101132" cy="881229"/>
            </a:xfrm>
            <a:prstGeom prst="rect">
              <a:avLst/>
            </a:prstGeom>
            <a:noFill/>
          </p:spPr>
          <p:txBody>
            <a:bodyPr wrap="square" lIns="182889" tIns="91445" rIns="182889" bIns="91445" rtlCol="0">
              <a:spAutoFit/>
            </a:bodyPr>
            <a:lstStyle/>
            <a:p>
              <a:pPr algn="ctr"/>
              <a:r>
                <a:rPr lang="id-ID" dirty="0" smtClean="0">
                  <a:latin typeface="Calibri Light"/>
                  <a:cs typeface="Calibri Light"/>
                </a:rPr>
                <a:t>Element Number Four</a:t>
              </a:r>
              <a:endParaRPr lang="en-US" dirty="0">
                <a:latin typeface="Calibri Light"/>
                <a:cs typeface="Calibri Light"/>
              </a:endParaRPr>
            </a:p>
          </p:txBody>
        </p:sp>
        <p:sp>
          <p:nvSpPr>
            <p:cNvPr id="12" name="TextBox 11"/>
            <p:cNvSpPr txBox="1"/>
            <p:nvPr/>
          </p:nvSpPr>
          <p:spPr>
            <a:xfrm>
              <a:off x="1823370" y="10300800"/>
              <a:ext cx="6101132" cy="881229"/>
            </a:xfrm>
            <a:prstGeom prst="rect">
              <a:avLst/>
            </a:prstGeom>
            <a:noFill/>
          </p:spPr>
          <p:txBody>
            <a:bodyPr wrap="square" lIns="182889" tIns="91445" rIns="182889" bIns="91445" rtlCol="0">
              <a:spAutoFit/>
            </a:bodyPr>
            <a:lstStyle/>
            <a:p>
              <a:pPr algn="ctr"/>
              <a:r>
                <a:rPr lang="id-ID" dirty="0" smtClean="0">
                  <a:latin typeface="Calibri Light"/>
                  <a:cs typeface="Calibri Light"/>
                </a:rPr>
                <a:t>Element Number Five</a:t>
              </a:r>
              <a:endParaRPr lang="en-US" dirty="0">
                <a:latin typeface="Calibri Light"/>
                <a:cs typeface="Calibri Light"/>
              </a:endParaRPr>
            </a:p>
          </p:txBody>
        </p:sp>
        <p:sp>
          <p:nvSpPr>
            <p:cNvPr id="13" name="TextBox 12"/>
            <p:cNvSpPr txBox="1"/>
            <p:nvPr/>
          </p:nvSpPr>
          <p:spPr>
            <a:xfrm>
              <a:off x="7938196" y="5504219"/>
              <a:ext cx="3652471" cy="939977"/>
            </a:xfrm>
            <a:prstGeom prst="rect">
              <a:avLst/>
            </a:prstGeom>
            <a:noFill/>
          </p:spPr>
          <p:txBody>
            <a:bodyPr wrap="square" lIns="182889" tIns="91445" rIns="182889" bIns="91445" rtlCol="0">
              <a:spAutoFit/>
            </a:bodyPr>
            <a:lstStyle/>
            <a:p>
              <a:pPr algn="ctr"/>
              <a:r>
                <a:rPr lang="id-ID" sz="2000" b="1" dirty="0" smtClean="0">
                  <a:latin typeface="+mj-lt"/>
                  <a:cs typeface="Lato Regular"/>
                </a:rPr>
                <a:t>Fact 01</a:t>
              </a:r>
              <a:endParaRPr lang="en-US" sz="2000" b="1" dirty="0" smtClean="0">
                <a:latin typeface="+mj-lt"/>
                <a:cs typeface="Lato Regular"/>
              </a:endParaRPr>
            </a:p>
          </p:txBody>
        </p:sp>
        <p:sp>
          <p:nvSpPr>
            <p:cNvPr id="14" name="TextBox 13"/>
            <p:cNvSpPr txBox="1"/>
            <p:nvPr/>
          </p:nvSpPr>
          <p:spPr>
            <a:xfrm>
              <a:off x="1823370" y="5469767"/>
              <a:ext cx="6101132" cy="939977"/>
            </a:xfrm>
            <a:prstGeom prst="rect">
              <a:avLst/>
            </a:prstGeom>
            <a:noFill/>
          </p:spPr>
          <p:txBody>
            <a:bodyPr wrap="square" lIns="182889" tIns="91445" rIns="182889" bIns="91445" rtlCol="0">
              <a:spAutoFit/>
            </a:bodyPr>
            <a:lstStyle/>
            <a:p>
              <a:pPr algn="ctr"/>
              <a:r>
                <a:rPr lang="id-ID" sz="2000" b="1" dirty="0" smtClean="0">
                  <a:latin typeface="+mj-lt"/>
                  <a:cs typeface="Lato Regular"/>
                </a:rPr>
                <a:t>Column Title</a:t>
              </a:r>
              <a:endParaRPr lang="en-US" sz="2000" b="1" dirty="0" smtClean="0">
                <a:latin typeface="+mj-lt"/>
                <a:cs typeface="Lato Regular"/>
              </a:endParaRPr>
            </a:p>
          </p:txBody>
        </p:sp>
        <p:sp>
          <p:nvSpPr>
            <p:cNvPr id="15" name="TextBox 14"/>
            <p:cNvSpPr txBox="1"/>
            <p:nvPr/>
          </p:nvSpPr>
          <p:spPr>
            <a:xfrm>
              <a:off x="11589411" y="5504219"/>
              <a:ext cx="3652471" cy="939977"/>
            </a:xfrm>
            <a:prstGeom prst="rect">
              <a:avLst/>
            </a:prstGeom>
            <a:noFill/>
          </p:spPr>
          <p:txBody>
            <a:bodyPr wrap="square" lIns="182889" tIns="91445" rIns="182889" bIns="91445" rtlCol="0">
              <a:spAutoFit/>
            </a:bodyPr>
            <a:lstStyle/>
            <a:p>
              <a:pPr algn="ctr"/>
              <a:r>
                <a:rPr lang="id-ID" sz="2000" b="1" dirty="0" smtClean="0">
                  <a:latin typeface="+mj-lt"/>
                  <a:cs typeface="Lato Regular"/>
                </a:rPr>
                <a:t>Fact 02</a:t>
              </a:r>
              <a:endParaRPr lang="en-US" sz="2000" b="1" dirty="0" smtClean="0">
                <a:latin typeface="+mj-lt"/>
                <a:cs typeface="Lato Regular"/>
              </a:endParaRPr>
            </a:p>
          </p:txBody>
        </p:sp>
        <p:sp>
          <p:nvSpPr>
            <p:cNvPr id="16" name="TextBox 15"/>
            <p:cNvSpPr txBox="1"/>
            <p:nvPr/>
          </p:nvSpPr>
          <p:spPr>
            <a:xfrm>
              <a:off x="15266977" y="5504219"/>
              <a:ext cx="3652471" cy="939977"/>
            </a:xfrm>
            <a:prstGeom prst="rect">
              <a:avLst/>
            </a:prstGeom>
            <a:noFill/>
          </p:spPr>
          <p:txBody>
            <a:bodyPr wrap="square" lIns="182889" tIns="91445" rIns="182889" bIns="91445" rtlCol="0">
              <a:spAutoFit/>
            </a:bodyPr>
            <a:lstStyle/>
            <a:p>
              <a:pPr algn="ctr"/>
              <a:r>
                <a:rPr lang="id-ID" sz="2000" b="1" dirty="0" smtClean="0">
                  <a:latin typeface="+mj-lt"/>
                  <a:cs typeface="Lato Regular"/>
                </a:rPr>
                <a:t>Fact 03</a:t>
              </a:r>
              <a:endParaRPr lang="en-US" sz="2000" b="1" dirty="0" smtClean="0">
                <a:latin typeface="+mj-lt"/>
                <a:cs typeface="Lato Regular"/>
              </a:endParaRPr>
            </a:p>
          </p:txBody>
        </p:sp>
        <p:sp>
          <p:nvSpPr>
            <p:cNvPr id="17" name="TextBox 16"/>
            <p:cNvSpPr txBox="1"/>
            <p:nvPr/>
          </p:nvSpPr>
          <p:spPr>
            <a:xfrm>
              <a:off x="18901814" y="5504219"/>
              <a:ext cx="3652471" cy="939977"/>
            </a:xfrm>
            <a:prstGeom prst="rect">
              <a:avLst/>
            </a:prstGeom>
            <a:noFill/>
          </p:spPr>
          <p:txBody>
            <a:bodyPr wrap="square" lIns="182889" tIns="91445" rIns="182889" bIns="91445" rtlCol="0">
              <a:spAutoFit/>
            </a:bodyPr>
            <a:lstStyle/>
            <a:p>
              <a:pPr algn="ctr"/>
              <a:r>
                <a:rPr lang="id-ID" sz="2000" b="1" dirty="0" smtClean="0">
                  <a:latin typeface="+mj-lt"/>
                  <a:cs typeface="Lato Regular"/>
                </a:rPr>
                <a:t>Fact 04</a:t>
              </a:r>
              <a:endParaRPr lang="en-US" sz="2000" b="1" dirty="0" smtClean="0">
                <a:latin typeface="+mj-lt"/>
                <a:cs typeface="Lato Regular"/>
              </a:endParaRPr>
            </a:p>
          </p:txBody>
        </p:sp>
        <p:sp>
          <p:nvSpPr>
            <p:cNvPr id="18" name="Freeform 169"/>
            <p:cNvSpPr>
              <a:spLocks noChangeArrowheads="1"/>
            </p:cNvSpPr>
            <p:nvPr/>
          </p:nvSpPr>
          <p:spPr bwMode="auto">
            <a:xfrm>
              <a:off x="9233001" y="4531999"/>
              <a:ext cx="1027469" cy="822294"/>
            </a:xfrm>
            <a:custGeom>
              <a:avLst/>
              <a:gdLst>
                <a:gd name="T0" fmla="*/ 478 w 487"/>
                <a:gd name="T1" fmla="*/ 9 h 390"/>
                <a:gd name="T2" fmla="*/ 478 w 487"/>
                <a:gd name="T3" fmla="*/ 9 h 390"/>
                <a:gd name="T4" fmla="*/ 372 w 487"/>
                <a:gd name="T5" fmla="*/ 195 h 390"/>
                <a:gd name="T6" fmla="*/ 345 w 487"/>
                <a:gd name="T7" fmla="*/ 195 h 390"/>
                <a:gd name="T8" fmla="*/ 292 w 487"/>
                <a:gd name="T9" fmla="*/ 150 h 390"/>
                <a:gd name="T10" fmla="*/ 274 w 487"/>
                <a:gd name="T11" fmla="*/ 150 h 390"/>
                <a:gd name="T12" fmla="*/ 194 w 487"/>
                <a:gd name="T13" fmla="*/ 266 h 390"/>
                <a:gd name="T14" fmla="*/ 177 w 487"/>
                <a:gd name="T15" fmla="*/ 266 h 390"/>
                <a:gd name="T16" fmla="*/ 141 w 487"/>
                <a:gd name="T17" fmla="*/ 239 h 390"/>
                <a:gd name="T18" fmla="*/ 123 w 487"/>
                <a:gd name="T19" fmla="*/ 239 h 390"/>
                <a:gd name="T20" fmla="*/ 8 w 487"/>
                <a:gd name="T21" fmla="*/ 381 h 390"/>
                <a:gd name="T22" fmla="*/ 8 w 487"/>
                <a:gd name="T23" fmla="*/ 389 h 390"/>
                <a:gd name="T24" fmla="*/ 486 w 487"/>
                <a:gd name="T25" fmla="*/ 389 h 390"/>
                <a:gd name="T26" fmla="*/ 486 w 487"/>
                <a:gd name="T27" fmla="*/ 9 h 390"/>
                <a:gd name="T28" fmla="*/ 478 w 487"/>
                <a:gd name="T29" fmla="*/ 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7" h="390">
                  <a:moveTo>
                    <a:pt x="478" y="9"/>
                  </a:moveTo>
                  <a:lnTo>
                    <a:pt x="478" y="9"/>
                  </a:lnTo>
                  <a:cubicBezTo>
                    <a:pt x="372" y="195"/>
                    <a:pt x="372" y="195"/>
                    <a:pt x="372" y="195"/>
                  </a:cubicBezTo>
                  <a:cubicBezTo>
                    <a:pt x="363" y="204"/>
                    <a:pt x="354" y="204"/>
                    <a:pt x="345" y="195"/>
                  </a:cubicBezTo>
                  <a:cubicBezTo>
                    <a:pt x="292" y="150"/>
                    <a:pt x="292" y="150"/>
                    <a:pt x="292" y="150"/>
                  </a:cubicBezTo>
                  <a:cubicBezTo>
                    <a:pt x="283" y="141"/>
                    <a:pt x="283" y="141"/>
                    <a:pt x="274" y="150"/>
                  </a:cubicBezTo>
                  <a:cubicBezTo>
                    <a:pt x="194" y="266"/>
                    <a:pt x="194" y="266"/>
                    <a:pt x="194" y="266"/>
                  </a:cubicBezTo>
                  <a:cubicBezTo>
                    <a:pt x="194" y="275"/>
                    <a:pt x="186" y="275"/>
                    <a:pt x="177" y="266"/>
                  </a:cubicBezTo>
                  <a:cubicBezTo>
                    <a:pt x="141" y="239"/>
                    <a:pt x="141" y="239"/>
                    <a:pt x="141" y="239"/>
                  </a:cubicBezTo>
                  <a:cubicBezTo>
                    <a:pt x="132" y="230"/>
                    <a:pt x="123" y="230"/>
                    <a:pt x="123" y="239"/>
                  </a:cubicBezTo>
                  <a:cubicBezTo>
                    <a:pt x="8" y="381"/>
                    <a:pt x="8" y="381"/>
                    <a:pt x="8" y="381"/>
                  </a:cubicBezTo>
                  <a:cubicBezTo>
                    <a:pt x="0" y="389"/>
                    <a:pt x="0" y="389"/>
                    <a:pt x="8" y="389"/>
                  </a:cubicBezTo>
                  <a:cubicBezTo>
                    <a:pt x="486" y="389"/>
                    <a:pt x="486" y="389"/>
                    <a:pt x="486" y="389"/>
                  </a:cubicBezTo>
                  <a:cubicBezTo>
                    <a:pt x="486" y="9"/>
                    <a:pt x="486" y="9"/>
                    <a:pt x="486" y="9"/>
                  </a:cubicBezTo>
                  <a:cubicBezTo>
                    <a:pt x="486" y="0"/>
                    <a:pt x="486" y="0"/>
                    <a:pt x="478" y="9"/>
                  </a:cubicBezTo>
                </a:path>
              </a:pathLst>
            </a:custGeom>
            <a:solidFill>
              <a:srgbClr val="C8C8C8"/>
            </a:solidFill>
            <a:ln>
              <a:noFill/>
            </a:ln>
            <a:effectLst/>
            <a:extLst/>
          </p:spPr>
          <p:txBody>
            <a:bodyPr wrap="none" anchor="ctr"/>
            <a:lstStyle/>
            <a:p>
              <a:endParaRPr lang="en-US" dirty="0">
                <a:latin typeface="Calibri Light"/>
              </a:endParaRPr>
            </a:p>
          </p:txBody>
        </p:sp>
        <p:sp>
          <p:nvSpPr>
            <p:cNvPr id="19" name="Freeform 65"/>
            <p:cNvSpPr>
              <a:spLocks noChangeArrowheads="1"/>
            </p:cNvSpPr>
            <p:nvPr/>
          </p:nvSpPr>
          <p:spPr bwMode="auto">
            <a:xfrm>
              <a:off x="13025202" y="4506874"/>
              <a:ext cx="887353" cy="887700"/>
            </a:xfrm>
            <a:custGeom>
              <a:avLst/>
              <a:gdLst>
                <a:gd name="T0" fmla="*/ 381 w 417"/>
                <a:gd name="T1" fmla="*/ 203 h 417"/>
                <a:gd name="T2" fmla="*/ 381 w 417"/>
                <a:gd name="T3" fmla="*/ 203 h 417"/>
                <a:gd name="T4" fmla="*/ 416 w 417"/>
                <a:gd name="T5" fmla="*/ 141 h 417"/>
                <a:gd name="T6" fmla="*/ 408 w 417"/>
                <a:gd name="T7" fmla="*/ 106 h 417"/>
                <a:gd name="T8" fmla="*/ 337 w 417"/>
                <a:gd name="T9" fmla="*/ 79 h 417"/>
                <a:gd name="T10" fmla="*/ 319 w 417"/>
                <a:gd name="T11" fmla="*/ 17 h 417"/>
                <a:gd name="T12" fmla="*/ 275 w 417"/>
                <a:gd name="T13" fmla="*/ 0 h 417"/>
                <a:gd name="T14" fmla="*/ 213 w 417"/>
                <a:gd name="T15" fmla="*/ 35 h 417"/>
                <a:gd name="T16" fmla="*/ 151 w 417"/>
                <a:gd name="T17" fmla="*/ 0 h 417"/>
                <a:gd name="T18" fmla="*/ 107 w 417"/>
                <a:gd name="T19" fmla="*/ 17 h 417"/>
                <a:gd name="T20" fmla="*/ 89 w 417"/>
                <a:gd name="T21" fmla="*/ 79 h 417"/>
                <a:gd name="T22" fmla="*/ 18 w 417"/>
                <a:gd name="T23" fmla="*/ 106 h 417"/>
                <a:gd name="T24" fmla="*/ 0 w 417"/>
                <a:gd name="T25" fmla="*/ 141 h 417"/>
                <a:gd name="T26" fmla="*/ 44 w 417"/>
                <a:gd name="T27" fmla="*/ 203 h 417"/>
                <a:gd name="T28" fmla="*/ 0 w 417"/>
                <a:gd name="T29" fmla="*/ 275 h 417"/>
                <a:gd name="T30" fmla="*/ 18 w 417"/>
                <a:gd name="T31" fmla="*/ 310 h 417"/>
                <a:gd name="T32" fmla="*/ 89 w 417"/>
                <a:gd name="T33" fmla="*/ 328 h 417"/>
                <a:gd name="T34" fmla="*/ 107 w 417"/>
                <a:gd name="T35" fmla="*/ 398 h 417"/>
                <a:gd name="T36" fmla="*/ 151 w 417"/>
                <a:gd name="T37" fmla="*/ 416 h 417"/>
                <a:gd name="T38" fmla="*/ 213 w 417"/>
                <a:gd name="T39" fmla="*/ 372 h 417"/>
                <a:gd name="T40" fmla="*/ 275 w 417"/>
                <a:gd name="T41" fmla="*/ 416 h 417"/>
                <a:gd name="T42" fmla="*/ 319 w 417"/>
                <a:gd name="T43" fmla="*/ 398 h 417"/>
                <a:gd name="T44" fmla="*/ 337 w 417"/>
                <a:gd name="T45" fmla="*/ 328 h 417"/>
                <a:gd name="T46" fmla="*/ 408 w 417"/>
                <a:gd name="T47" fmla="*/ 310 h 417"/>
                <a:gd name="T48" fmla="*/ 416 w 417"/>
                <a:gd name="T49" fmla="*/ 265 h 417"/>
                <a:gd name="T50" fmla="*/ 381 w 417"/>
                <a:gd name="T51" fmla="*/ 203 h 417"/>
                <a:gd name="T52" fmla="*/ 213 w 417"/>
                <a:gd name="T53" fmla="*/ 292 h 417"/>
                <a:gd name="T54" fmla="*/ 213 w 417"/>
                <a:gd name="T55" fmla="*/ 292 h 417"/>
                <a:gd name="T56" fmla="*/ 125 w 417"/>
                <a:gd name="T57" fmla="*/ 203 h 417"/>
                <a:gd name="T58" fmla="*/ 213 w 417"/>
                <a:gd name="T59" fmla="*/ 115 h 417"/>
                <a:gd name="T60" fmla="*/ 301 w 417"/>
                <a:gd name="T61" fmla="*/ 203 h 417"/>
                <a:gd name="T62" fmla="*/ 213 w 417"/>
                <a:gd name="T63" fmla="*/ 29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7" h="417">
                  <a:moveTo>
                    <a:pt x="381" y="203"/>
                  </a:moveTo>
                  <a:lnTo>
                    <a:pt x="381" y="203"/>
                  </a:lnTo>
                  <a:cubicBezTo>
                    <a:pt x="381" y="177"/>
                    <a:pt x="399" y="159"/>
                    <a:pt x="416" y="141"/>
                  </a:cubicBezTo>
                  <a:cubicBezTo>
                    <a:pt x="416" y="132"/>
                    <a:pt x="408" y="115"/>
                    <a:pt x="408" y="106"/>
                  </a:cubicBezTo>
                  <a:cubicBezTo>
                    <a:pt x="372" y="115"/>
                    <a:pt x="354" y="97"/>
                    <a:pt x="337" y="79"/>
                  </a:cubicBezTo>
                  <a:cubicBezTo>
                    <a:pt x="319" y="62"/>
                    <a:pt x="310" y="44"/>
                    <a:pt x="319" y="17"/>
                  </a:cubicBezTo>
                  <a:cubicBezTo>
                    <a:pt x="310" y="9"/>
                    <a:pt x="293" y="0"/>
                    <a:pt x="275" y="0"/>
                  </a:cubicBezTo>
                  <a:cubicBezTo>
                    <a:pt x="266" y="17"/>
                    <a:pt x="240" y="35"/>
                    <a:pt x="213" y="35"/>
                  </a:cubicBezTo>
                  <a:cubicBezTo>
                    <a:pt x="187" y="35"/>
                    <a:pt x="160" y="17"/>
                    <a:pt x="151" y="0"/>
                  </a:cubicBezTo>
                  <a:cubicBezTo>
                    <a:pt x="133" y="0"/>
                    <a:pt x="116" y="9"/>
                    <a:pt x="107" y="17"/>
                  </a:cubicBezTo>
                  <a:cubicBezTo>
                    <a:pt x="116" y="44"/>
                    <a:pt x="107" y="62"/>
                    <a:pt x="89" y="79"/>
                  </a:cubicBezTo>
                  <a:cubicBezTo>
                    <a:pt x="72" y="97"/>
                    <a:pt x="44" y="115"/>
                    <a:pt x="18" y="106"/>
                  </a:cubicBezTo>
                  <a:cubicBezTo>
                    <a:pt x="18" y="115"/>
                    <a:pt x="9" y="132"/>
                    <a:pt x="0" y="141"/>
                  </a:cubicBezTo>
                  <a:cubicBezTo>
                    <a:pt x="27" y="159"/>
                    <a:pt x="44" y="177"/>
                    <a:pt x="44" y="203"/>
                  </a:cubicBezTo>
                  <a:cubicBezTo>
                    <a:pt x="44" y="230"/>
                    <a:pt x="27" y="256"/>
                    <a:pt x="0" y="275"/>
                  </a:cubicBezTo>
                  <a:cubicBezTo>
                    <a:pt x="9" y="283"/>
                    <a:pt x="18" y="301"/>
                    <a:pt x="18" y="310"/>
                  </a:cubicBezTo>
                  <a:cubicBezTo>
                    <a:pt x="44" y="310"/>
                    <a:pt x="72" y="310"/>
                    <a:pt x="89" y="328"/>
                  </a:cubicBezTo>
                  <a:cubicBezTo>
                    <a:pt x="107" y="345"/>
                    <a:pt x="116" y="372"/>
                    <a:pt x="107" y="398"/>
                  </a:cubicBezTo>
                  <a:cubicBezTo>
                    <a:pt x="116" y="407"/>
                    <a:pt x="133" y="407"/>
                    <a:pt x="151" y="416"/>
                  </a:cubicBezTo>
                  <a:cubicBezTo>
                    <a:pt x="160" y="389"/>
                    <a:pt x="187" y="372"/>
                    <a:pt x="213" y="372"/>
                  </a:cubicBezTo>
                  <a:cubicBezTo>
                    <a:pt x="240" y="372"/>
                    <a:pt x="266" y="389"/>
                    <a:pt x="275" y="416"/>
                  </a:cubicBezTo>
                  <a:cubicBezTo>
                    <a:pt x="293" y="407"/>
                    <a:pt x="310" y="407"/>
                    <a:pt x="319" y="398"/>
                  </a:cubicBezTo>
                  <a:cubicBezTo>
                    <a:pt x="310" y="372"/>
                    <a:pt x="319" y="345"/>
                    <a:pt x="337" y="328"/>
                  </a:cubicBezTo>
                  <a:cubicBezTo>
                    <a:pt x="354" y="310"/>
                    <a:pt x="372" y="301"/>
                    <a:pt x="408" y="310"/>
                  </a:cubicBezTo>
                  <a:cubicBezTo>
                    <a:pt x="408" y="292"/>
                    <a:pt x="416" y="283"/>
                    <a:pt x="416" y="265"/>
                  </a:cubicBezTo>
                  <a:cubicBezTo>
                    <a:pt x="399" y="256"/>
                    <a:pt x="381" y="230"/>
                    <a:pt x="381" y="203"/>
                  </a:cubicBezTo>
                  <a:close/>
                  <a:moveTo>
                    <a:pt x="213" y="292"/>
                  </a:moveTo>
                  <a:lnTo>
                    <a:pt x="213" y="292"/>
                  </a:lnTo>
                  <a:cubicBezTo>
                    <a:pt x="160" y="292"/>
                    <a:pt x="125" y="256"/>
                    <a:pt x="125" y="203"/>
                  </a:cubicBezTo>
                  <a:cubicBezTo>
                    <a:pt x="125" y="159"/>
                    <a:pt x="160" y="115"/>
                    <a:pt x="213" y="115"/>
                  </a:cubicBezTo>
                  <a:cubicBezTo>
                    <a:pt x="266" y="115"/>
                    <a:pt x="301" y="159"/>
                    <a:pt x="301" y="203"/>
                  </a:cubicBezTo>
                  <a:cubicBezTo>
                    <a:pt x="301" y="256"/>
                    <a:pt x="266" y="292"/>
                    <a:pt x="213" y="292"/>
                  </a:cubicBezTo>
                  <a:close/>
                </a:path>
              </a:pathLst>
            </a:custGeom>
            <a:solidFill>
              <a:srgbClr val="0A3E56"/>
            </a:solidFill>
            <a:ln>
              <a:noFill/>
            </a:ln>
            <a:effectLst/>
            <a:extLst/>
          </p:spPr>
          <p:txBody>
            <a:bodyPr wrap="none" anchor="ctr"/>
            <a:lstStyle/>
            <a:p>
              <a:endParaRPr lang="en-US" dirty="0">
                <a:latin typeface="Calibri Light"/>
              </a:endParaRPr>
            </a:p>
          </p:txBody>
        </p:sp>
        <p:sp>
          <p:nvSpPr>
            <p:cNvPr id="20" name="Freeform 101"/>
            <p:cNvSpPr>
              <a:spLocks noChangeArrowheads="1"/>
            </p:cNvSpPr>
            <p:nvPr/>
          </p:nvSpPr>
          <p:spPr bwMode="auto">
            <a:xfrm>
              <a:off x="16481906" y="4531999"/>
              <a:ext cx="959532" cy="739043"/>
            </a:xfrm>
            <a:custGeom>
              <a:avLst/>
              <a:gdLst>
                <a:gd name="T0" fmla="*/ 80 w 497"/>
                <a:gd name="T1" fmla="*/ 248 h 382"/>
                <a:gd name="T2" fmla="*/ 80 w 497"/>
                <a:gd name="T3" fmla="*/ 248 h 382"/>
                <a:gd name="T4" fmla="*/ 159 w 497"/>
                <a:gd name="T5" fmla="*/ 328 h 382"/>
                <a:gd name="T6" fmla="*/ 248 w 497"/>
                <a:gd name="T7" fmla="*/ 381 h 382"/>
                <a:gd name="T8" fmla="*/ 337 w 497"/>
                <a:gd name="T9" fmla="*/ 337 h 382"/>
                <a:gd name="T10" fmla="*/ 390 w 497"/>
                <a:gd name="T11" fmla="*/ 258 h 382"/>
                <a:gd name="T12" fmla="*/ 248 w 497"/>
                <a:gd name="T13" fmla="*/ 328 h 382"/>
                <a:gd name="T14" fmla="*/ 80 w 497"/>
                <a:gd name="T15" fmla="*/ 248 h 382"/>
                <a:gd name="T16" fmla="*/ 487 w 497"/>
                <a:gd name="T17" fmla="*/ 124 h 382"/>
                <a:gd name="T18" fmla="*/ 487 w 497"/>
                <a:gd name="T19" fmla="*/ 124 h 382"/>
                <a:gd name="T20" fmla="*/ 274 w 497"/>
                <a:gd name="T21" fmla="*/ 9 h 382"/>
                <a:gd name="T22" fmla="*/ 221 w 497"/>
                <a:gd name="T23" fmla="*/ 9 h 382"/>
                <a:gd name="T24" fmla="*/ 9 w 497"/>
                <a:gd name="T25" fmla="*/ 124 h 382"/>
                <a:gd name="T26" fmla="*/ 9 w 497"/>
                <a:gd name="T27" fmla="*/ 160 h 382"/>
                <a:gd name="T28" fmla="*/ 221 w 497"/>
                <a:gd name="T29" fmla="*/ 275 h 382"/>
                <a:gd name="T30" fmla="*/ 274 w 497"/>
                <a:gd name="T31" fmla="*/ 275 h 382"/>
                <a:gd name="T32" fmla="*/ 408 w 497"/>
                <a:gd name="T33" fmla="*/ 195 h 382"/>
                <a:gd name="T34" fmla="*/ 266 w 497"/>
                <a:gd name="T35" fmla="*/ 160 h 382"/>
                <a:gd name="T36" fmla="*/ 248 w 497"/>
                <a:gd name="T37" fmla="*/ 168 h 382"/>
                <a:gd name="T38" fmla="*/ 203 w 497"/>
                <a:gd name="T39" fmla="*/ 133 h 382"/>
                <a:gd name="T40" fmla="*/ 248 w 497"/>
                <a:gd name="T41" fmla="*/ 107 h 382"/>
                <a:gd name="T42" fmla="*/ 293 w 497"/>
                <a:gd name="T43" fmla="*/ 124 h 382"/>
                <a:gd name="T44" fmla="*/ 443 w 497"/>
                <a:gd name="T45" fmla="*/ 177 h 382"/>
                <a:gd name="T46" fmla="*/ 487 w 497"/>
                <a:gd name="T47" fmla="*/ 160 h 382"/>
                <a:gd name="T48" fmla="*/ 487 w 497"/>
                <a:gd name="T49" fmla="*/ 124 h 382"/>
                <a:gd name="T50" fmla="*/ 425 w 497"/>
                <a:gd name="T51" fmla="*/ 346 h 382"/>
                <a:gd name="T52" fmla="*/ 425 w 497"/>
                <a:gd name="T53" fmla="*/ 346 h 382"/>
                <a:gd name="T54" fmla="*/ 461 w 497"/>
                <a:gd name="T55" fmla="*/ 337 h 382"/>
                <a:gd name="T56" fmla="*/ 443 w 497"/>
                <a:gd name="T57" fmla="*/ 177 h 382"/>
                <a:gd name="T58" fmla="*/ 408 w 497"/>
                <a:gd name="T59" fmla="*/ 195 h 382"/>
                <a:gd name="T60" fmla="*/ 425 w 497"/>
                <a:gd name="T61" fmla="*/ 3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97" h="382">
                  <a:moveTo>
                    <a:pt x="80" y="248"/>
                  </a:moveTo>
                  <a:lnTo>
                    <a:pt x="80" y="248"/>
                  </a:lnTo>
                  <a:cubicBezTo>
                    <a:pt x="97" y="293"/>
                    <a:pt x="106" y="311"/>
                    <a:pt x="159" y="328"/>
                  </a:cubicBezTo>
                  <a:cubicBezTo>
                    <a:pt x="203" y="355"/>
                    <a:pt x="230" y="381"/>
                    <a:pt x="248" y="381"/>
                  </a:cubicBezTo>
                  <a:cubicBezTo>
                    <a:pt x="266" y="381"/>
                    <a:pt x="293" y="355"/>
                    <a:pt x="337" y="337"/>
                  </a:cubicBezTo>
                  <a:cubicBezTo>
                    <a:pt x="390" y="311"/>
                    <a:pt x="372" y="311"/>
                    <a:pt x="390" y="258"/>
                  </a:cubicBezTo>
                  <a:cubicBezTo>
                    <a:pt x="248" y="328"/>
                    <a:pt x="248" y="328"/>
                    <a:pt x="248" y="328"/>
                  </a:cubicBezTo>
                  <a:lnTo>
                    <a:pt x="80" y="248"/>
                  </a:lnTo>
                  <a:close/>
                  <a:moveTo>
                    <a:pt x="487" y="124"/>
                  </a:moveTo>
                  <a:lnTo>
                    <a:pt x="487" y="124"/>
                  </a:lnTo>
                  <a:cubicBezTo>
                    <a:pt x="274" y="9"/>
                    <a:pt x="274" y="9"/>
                    <a:pt x="274" y="9"/>
                  </a:cubicBezTo>
                  <a:cubicBezTo>
                    <a:pt x="266" y="0"/>
                    <a:pt x="239" y="0"/>
                    <a:pt x="221" y="9"/>
                  </a:cubicBezTo>
                  <a:cubicBezTo>
                    <a:pt x="9" y="124"/>
                    <a:pt x="9" y="124"/>
                    <a:pt x="9" y="124"/>
                  </a:cubicBezTo>
                  <a:cubicBezTo>
                    <a:pt x="0" y="133"/>
                    <a:pt x="0" y="142"/>
                    <a:pt x="9" y="160"/>
                  </a:cubicBezTo>
                  <a:cubicBezTo>
                    <a:pt x="221" y="275"/>
                    <a:pt x="221" y="275"/>
                    <a:pt x="221" y="275"/>
                  </a:cubicBezTo>
                  <a:cubicBezTo>
                    <a:pt x="239" y="284"/>
                    <a:pt x="266" y="284"/>
                    <a:pt x="274" y="275"/>
                  </a:cubicBezTo>
                  <a:cubicBezTo>
                    <a:pt x="408" y="195"/>
                    <a:pt x="408" y="195"/>
                    <a:pt x="408" y="195"/>
                  </a:cubicBezTo>
                  <a:cubicBezTo>
                    <a:pt x="266" y="160"/>
                    <a:pt x="266" y="160"/>
                    <a:pt x="266" y="160"/>
                  </a:cubicBezTo>
                  <a:cubicBezTo>
                    <a:pt x="257" y="160"/>
                    <a:pt x="257" y="168"/>
                    <a:pt x="248" y="168"/>
                  </a:cubicBezTo>
                  <a:cubicBezTo>
                    <a:pt x="221" y="168"/>
                    <a:pt x="203" y="151"/>
                    <a:pt x="203" y="133"/>
                  </a:cubicBezTo>
                  <a:cubicBezTo>
                    <a:pt x="203" y="124"/>
                    <a:pt x="221" y="107"/>
                    <a:pt x="248" y="107"/>
                  </a:cubicBezTo>
                  <a:cubicBezTo>
                    <a:pt x="266" y="107"/>
                    <a:pt x="284" y="115"/>
                    <a:pt x="293" y="124"/>
                  </a:cubicBezTo>
                  <a:cubicBezTo>
                    <a:pt x="443" y="177"/>
                    <a:pt x="443" y="177"/>
                    <a:pt x="443" y="177"/>
                  </a:cubicBezTo>
                  <a:cubicBezTo>
                    <a:pt x="487" y="160"/>
                    <a:pt x="487" y="160"/>
                    <a:pt x="487" y="160"/>
                  </a:cubicBezTo>
                  <a:cubicBezTo>
                    <a:pt x="496" y="142"/>
                    <a:pt x="496" y="133"/>
                    <a:pt x="487" y="124"/>
                  </a:cubicBezTo>
                  <a:close/>
                  <a:moveTo>
                    <a:pt x="425" y="346"/>
                  </a:moveTo>
                  <a:lnTo>
                    <a:pt x="425" y="346"/>
                  </a:lnTo>
                  <a:cubicBezTo>
                    <a:pt x="416" y="355"/>
                    <a:pt x="452" y="364"/>
                    <a:pt x="461" y="337"/>
                  </a:cubicBezTo>
                  <a:cubicBezTo>
                    <a:pt x="469" y="213"/>
                    <a:pt x="443" y="177"/>
                    <a:pt x="443" y="177"/>
                  </a:cubicBezTo>
                  <a:cubicBezTo>
                    <a:pt x="408" y="195"/>
                    <a:pt x="408" y="195"/>
                    <a:pt x="408" y="195"/>
                  </a:cubicBezTo>
                  <a:cubicBezTo>
                    <a:pt x="408" y="195"/>
                    <a:pt x="443" y="222"/>
                    <a:pt x="425" y="346"/>
                  </a:cubicBezTo>
                  <a:close/>
                </a:path>
              </a:pathLst>
            </a:custGeom>
            <a:solidFill>
              <a:schemeClr val="accent3"/>
            </a:solidFill>
            <a:ln>
              <a:noFill/>
            </a:ln>
            <a:effectLst/>
            <a:extLst/>
          </p:spPr>
          <p:txBody>
            <a:bodyPr wrap="none" anchor="ctr"/>
            <a:lstStyle/>
            <a:p>
              <a:endParaRPr lang="en-US" dirty="0">
                <a:latin typeface="Calibri Light"/>
              </a:endParaRPr>
            </a:p>
          </p:txBody>
        </p:sp>
        <p:sp>
          <p:nvSpPr>
            <p:cNvPr id="21" name="Freeform 97"/>
            <p:cNvSpPr>
              <a:spLocks noChangeArrowheads="1"/>
            </p:cNvSpPr>
            <p:nvPr/>
          </p:nvSpPr>
          <p:spPr bwMode="auto">
            <a:xfrm>
              <a:off x="20276088" y="4585528"/>
              <a:ext cx="872308" cy="749088"/>
            </a:xfrm>
            <a:custGeom>
              <a:avLst/>
              <a:gdLst>
                <a:gd name="T0" fmla="*/ 230 w 497"/>
                <a:gd name="T1" fmla="*/ 231 h 426"/>
                <a:gd name="T2" fmla="*/ 230 w 497"/>
                <a:gd name="T3" fmla="*/ 231 h 426"/>
                <a:gd name="T4" fmla="*/ 274 w 497"/>
                <a:gd name="T5" fmla="*/ 231 h 426"/>
                <a:gd name="T6" fmla="*/ 274 w 497"/>
                <a:gd name="T7" fmla="*/ 275 h 426"/>
                <a:gd name="T8" fmla="*/ 496 w 497"/>
                <a:gd name="T9" fmla="*/ 275 h 426"/>
                <a:gd name="T10" fmla="*/ 487 w 497"/>
                <a:gd name="T11" fmla="*/ 133 h 426"/>
                <a:gd name="T12" fmla="*/ 443 w 497"/>
                <a:gd name="T13" fmla="*/ 80 h 426"/>
                <a:gd name="T14" fmla="*/ 363 w 497"/>
                <a:gd name="T15" fmla="*/ 80 h 426"/>
                <a:gd name="T16" fmla="*/ 337 w 497"/>
                <a:gd name="T17" fmla="*/ 27 h 426"/>
                <a:gd name="T18" fmla="*/ 300 w 497"/>
                <a:gd name="T19" fmla="*/ 0 h 426"/>
                <a:gd name="T20" fmla="*/ 194 w 497"/>
                <a:gd name="T21" fmla="*/ 0 h 426"/>
                <a:gd name="T22" fmla="*/ 168 w 497"/>
                <a:gd name="T23" fmla="*/ 27 h 426"/>
                <a:gd name="T24" fmla="*/ 133 w 497"/>
                <a:gd name="T25" fmla="*/ 80 h 426"/>
                <a:gd name="T26" fmla="*/ 53 w 497"/>
                <a:gd name="T27" fmla="*/ 80 h 426"/>
                <a:gd name="T28" fmla="*/ 9 w 497"/>
                <a:gd name="T29" fmla="*/ 133 h 426"/>
                <a:gd name="T30" fmla="*/ 0 w 497"/>
                <a:gd name="T31" fmla="*/ 275 h 426"/>
                <a:gd name="T32" fmla="*/ 230 w 497"/>
                <a:gd name="T33" fmla="*/ 275 h 426"/>
                <a:gd name="T34" fmla="*/ 230 w 497"/>
                <a:gd name="T35" fmla="*/ 231 h 426"/>
                <a:gd name="T36" fmla="*/ 186 w 497"/>
                <a:gd name="T37" fmla="*/ 53 h 426"/>
                <a:gd name="T38" fmla="*/ 186 w 497"/>
                <a:gd name="T39" fmla="*/ 53 h 426"/>
                <a:gd name="T40" fmla="*/ 212 w 497"/>
                <a:gd name="T41" fmla="*/ 36 h 426"/>
                <a:gd name="T42" fmla="*/ 284 w 497"/>
                <a:gd name="T43" fmla="*/ 36 h 426"/>
                <a:gd name="T44" fmla="*/ 309 w 497"/>
                <a:gd name="T45" fmla="*/ 53 h 426"/>
                <a:gd name="T46" fmla="*/ 319 w 497"/>
                <a:gd name="T47" fmla="*/ 80 h 426"/>
                <a:gd name="T48" fmla="*/ 177 w 497"/>
                <a:gd name="T49" fmla="*/ 80 h 426"/>
                <a:gd name="T50" fmla="*/ 186 w 497"/>
                <a:gd name="T51" fmla="*/ 53 h 426"/>
                <a:gd name="T52" fmla="*/ 274 w 497"/>
                <a:gd name="T53" fmla="*/ 355 h 426"/>
                <a:gd name="T54" fmla="*/ 274 w 497"/>
                <a:gd name="T55" fmla="*/ 355 h 426"/>
                <a:gd name="T56" fmla="*/ 230 w 497"/>
                <a:gd name="T57" fmla="*/ 355 h 426"/>
                <a:gd name="T58" fmla="*/ 230 w 497"/>
                <a:gd name="T59" fmla="*/ 302 h 426"/>
                <a:gd name="T60" fmla="*/ 9 w 497"/>
                <a:gd name="T61" fmla="*/ 302 h 426"/>
                <a:gd name="T62" fmla="*/ 17 w 497"/>
                <a:gd name="T63" fmla="*/ 381 h 426"/>
                <a:gd name="T64" fmla="*/ 62 w 497"/>
                <a:gd name="T65" fmla="*/ 425 h 426"/>
                <a:gd name="T66" fmla="*/ 434 w 497"/>
                <a:gd name="T67" fmla="*/ 425 h 426"/>
                <a:gd name="T68" fmla="*/ 478 w 497"/>
                <a:gd name="T69" fmla="*/ 381 h 426"/>
                <a:gd name="T70" fmla="*/ 487 w 497"/>
                <a:gd name="T71" fmla="*/ 302 h 426"/>
                <a:gd name="T72" fmla="*/ 274 w 497"/>
                <a:gd name="T73" fmla="*/ 302 h 426"/>
                <a:gd name="T74" fmla="*/ 274 w 497"/>
                <a:gd name="T75" fmla="*/ 355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97" h="426">
                  <a:moveTo>
                    <a:pt x="230" y="231"/>
                  </a:moveTo>
                  <a:lnTo>
                    <a:pt x="230" y="231"/>
                  </a:lnTo>
                  <a:cubicBezTo>
                    <a:pt x="274" y="231"/>
                    <a:pt x="274" y="231"/>
                    <a:pt x="274" y="231"/>
                  </a:cubicBezTo>
                  <a:cubicBezTo>
                    <a:pt x="274" y="275"/>
                    <a:pt x="274" y="275"/>
                    <a:pt x="274" y="275"/>
                  </a:cubicBezTo>
                  <a:cubicBezTo>
                    <a:pt x="496" y="275"/>
                    <a:pt x="496" y="275"/>
                    <a:pt x="496" y="275"/>
                  </a:cubicBezTo>
                  <a:cubicBezTo>
                    <a:pt x="496" y="275"/>
                    <a:pt x="496" y="168"/>
                    <a:pt x="487" y="133"/>
                  </a:cubicBezTo>
                  <a:cubicBezTo>
                    <a:pt x="487" y="97"/>
                    <a:pt x="478" y="80"/>
                    <a:pt x="443" y="80"/>
                  </a:cubicBezTo>
                  <a:cubicBezTo>
                    <a:pt x="363" y="80"/>
                    <a:pt x="363" y="80"/>
                    <a:pt x="363" y="80"/>
                  </a:cubicBezTo>
                  <a:cubicBezTo>
                    <a:pt x="345" y="53"/>
                    <a:pt x="337" y="27"/>
                    <a:pt x="337" y="27"/>
                  </a:cubicBezTo>
                  <a:cubicBezTo>
                    <a:pt x="328" y="9"/>
                    <a:pt x="319" y="0"/>
                    <a:pt x="300" y="0"/>
                  </a:cubicBezTo>
                  <a:cubicBezTo>
                    <a:pt x="194" y="0"/>
                    <a:pt x="194" y="0"/>
                    <a:pt x="194" y="0"/>
                  </a:cubicBezTo>
                  <a:cubicBezTo>
                    <a:pt x="177" y="0"/>
                    <a:pt x="168" y="9"/>
                    <a:pt x="168" y="27"/>
                  </a:cubicBezTo>
                  <a:cubicBezTo>
                    <a:pt x="159" y="27"/>
                    <a:pt x="150" y="53"/>
                    <a:pt x="133" y="80"/>
                  </a:cubicBezTo>
                  <a:cubicBezTo>
                    <a:pt x="53" y="80"/>
                    <a:pt x="53" y="80"/>
                    <a:pt x="53" y="80"/>
                  </a:cubicBezTo>
                  <a:cubicBezTo>
                    <a:pt x="17" y="80"/>
                    <a:pt x="9" y="97"/>
                    <a:pt x="9" y="133"/>
                  </a:cubicBezTo>
                  <a:cubicBezTo>
                    <a:pt x="0" y="168"/>
                    <a:pt x="0" y="275"/>
                    <a:pt x="0" y="275"/>
                  </a:cubicBezTo>
                  <a:cubicBezTo>
                    <a:pt x="230" y="275"/>
                    <a:pt x="230" y="275"/>
                    <a:pt x="230" y="275"/>
                  </a:cubicBezTo>
                  <a:lnTo>
                    <a:pt x="230" y="231"/>
                  </a:lnTo>
                  <a:close/>
                  <a:moveTo>
                    <a:pt x="186" y="53"/>
                  </a:moveTo>
                  <a:lnTo>
                    <a:pt x="186" y="53"/>
                  </a:lnTo>
                  <a:cubicBezTo>
                    <a:pt x="194" y="44"/>
                    <a:pt x="194" y="36"/>
                    <a:pt x="212" y="36"/>
                  </a:cubicBezTo>
                  <a:cubicBezTo>
                    <a:pt x="284" y="36"/>
                    <a:pt x="284" y="36"/>
                    <a:pt x="284" y="36"/>
                  </a:cubicBezTo>
                  <a:cubicBezTo>
                    <a:pt x="300" y="36"/>
                    <a:pt x="300" y="44"/>
                    <a:pt x="309" y="53"/>
                  </a:cubicBezTo>
                  <a:cubicBezTo>
                    <a:pt x="309" y="53"/>
                    <a:pt x="319" y="71"/>
                    <a:pt x="319" y="80"/>
                  </a:cubicBezTo>
                  <a:cubicBezTo>
                    <a:pt x="177" y="80"/>
                    <a:pt x="177" y="80"/>
                    <a:pt x="177" y="80"/>
                  </a:cubicBezTo>
                  <a:cubicBezTo>
                    <a:pt x="186" y="71"/>
                    <a:pt x="186" y="53"/>
                    <a:pt x="186" y="53"/>
                  </a:cubicBezTo>
                  <a:close/>
                  <a:moveTo>
                    <a:pt x="274" y="355"/>
                  </a:moveTo>
                  <a:lnTo>
                    <a:pt x="274" y="355"/>
                  </a:lnTo>
                  <a:cubicBezTo>
                    <a:pt x="230" y="355"/>
                    <a:pt x="230" y="355"/>
                    <a:pt x="230" y="355"/>
                  </a:cubicBezTo>
                  <a:cubicBezTo>
                    <a:pt x="230" y="302"/>
                    <a:pt x="230" y="302"/>
                    <a:pt x="230" y="302"/>
                  </a:cubicBezTo>
                  <a:cubicBezTo>
                    <a:pt x="9" y="302"/>
                    <a:pt x="9" y="302"/>
                    <a:pt x="9" y="302"/>
                  </a:cubicBezTo>
                  <a:cubicBezTo>
                    <a:pt x="9" y="302"/>
                    <a:pt x="17" y="346"/>
                    <a:pt x="17" y="381"/>
                  </a:cubicBezTo>
                  <a:cubicBezTo>
                    <a:pt x="17" y="399"/>
                    <a:pt x="26" y="425"/>
                    <a:pt x="62" y="425"/>
                  </a:cubicBezTo>
                  <a:cubicBezTo>
                    <a:pt x="434" y="425"/>
                    <a:pt x="434" y="425"/>
                    <a:pt x="434" y="425"/>
                  </a:cubicBezTo>
                  <a:cubicBezTo>
                    <a:pt x="469" y="425"/>
                    <a:pt x="478" y="399"/>
                    <a:pt x="478" y="381"/>
                  </a:cubicBezTo>
                  <a:cubicBezTo>
                    <a:pt x="478" y="346"/>
                    <a:pt x="487" y="302"/>
                    <a:pt x="487" y="302"/>
                  </a:cubicBezTo>
                  <a:cubicBezTo>
                    <a:pt x="274" y="302"/>
                    <a:pt x="274" y="302"/>
                    <a:pt x="274" y="302"/>
                  </a:cubicBezTo>
                  <a:lnTo>
                    <a:pt x="274" y="355"/>
                  </a:lnTo>
                  <a:close/>
                </a:path>
              </a:pathLst>
            </a:custGeom>
            <a:solidFill>
              <a:schemeClr val="accent4"/>
            </a:solidFill>
            <a:ln>
              <a:noFill/>
            </a:ln>
            <a:effectLst/>
            <a:extLst/>
          </p:spPr>
          <p:txBody>
            <a:bodyPr wrap="none" anchor="ctr"/>
            <a:lstStyle/>
            <a:p>
              <a:endParaRPr lang="en-US" dirty="0">
                <a:latin typeface="Calibri Light"/>
              </a:endParaRPr>
            </a:p>
          </p:txBody>
        </p:sp>
        <p:sp>
          <p:nvSpPr>
            <p:cNvPr id="22" name="Freeform 77"/>
            <p:cNvSpPr>
              <a:spLocks noChangeArrowheads="1"/>
            </p:cNvSpPr>
            <p:nvPr/>
          </p:nvSpPr>
          <p:spPr bwMode="auto">
            <a:xfrm>
              <a:off x="4466235" y="4647984"/>
              <a:ext cx="872308" cy="733643"/>
            </a:xfrm>
            <a:custGeom>
              <a:avLst/>
              <a:gdLst>
                <a:gd name="T0" fmla="*/ 372 w 497"/>
                <a:gd name="T1" fmla="*/ 124 h 418"/>
                <a:gd name="T2" fmla="*/ 372 w 497"/>
                <a:gd name="T3" fmla="*/ 124 h 418"/>
                <a:gd name="T4" fmla="*/ 389 w 497"/>
                <a:gd name="T5" fmla="*/ 124 h 418"/>
                <a:gd name="T6" fmla="*/ 389 w 497"/>
                <a:gd name="T7" fmla="*/ 178 h 418"/>
                <a:gd name="T8" fmla="*/ 496 w 497"/>
                <a:gd name="T9" fmla="*/ 89 h 418"/>
                <a:gd name="T10" fmla="*/ 389 w 497"/>
                <a:gd name="T11" fmla="*/ 0 h 418"/>
                <a:gd name="T12" fmla="*/ 389 w 497"/>
                <a:gd name="T13" fmla="*/ 53 h 418"/>
                <a:gd name="T14" fmla="*/ 372 w 497"/>
                <a:gd name="T15" fmla="*/ 53 h 418"/>
                <a:gd name="T16" fmla="*/ 186 w 497"/>
                <a:gd name="T17" fmla="*/ 187 h 418"/>
                <a:gd name="T18" fmla="*/ 53 w 497"/>
                <a:gd name="T19" fmla="*/ 284 h 418"/>
                <a:gd name="T20" fmla="*/ 0 w 497"/>
                <a:gd name="T21" fmla="*/ 284 h 418"/>
                <a:gd name="T22" fmla="*/ 0 w 497"/>
                <a:gd name="T23" fmla="*/ 355 h 418"/>
                <a:gd name="T24" fmla="*/ 53 w 497"/>
                <a:gd name="T25" fmla="*/ 355 h 418"/>
                <a:gd name="T26" fmla="*/ 239 w 497"/>
                <a:gd name="T27" fmla="*/ 222 h 418"/>
                <a:gd name="T28" fmla="*/ 372 w 497"/>
                <a:gd name="T29" fmla="*/ 124 h 418"/>
                <a:gd name="T30" fmla="*/ 132 w 497"/>
                <a:gd name="T31" fmla="*/ 169 h 418"/>
                <a:gd name="T32" fmla="*/ 132 w 497"/>
                <a:gd name="T33" fmla="*/ 169 h 418"/>
                <a:gd name="T34" fmla="*/ 141 w 497"/>
                <a:gd name="T35" fmla="*/ 152 h 418"/>
                <a:gd name="T36" fmla="*/ 177 w 497"/>
                <a:gd name="T37" fmla="*/ 116 h 418"/>
                <a:gd name="T38" fmla="*/ 53 w 497"/>
                <a:gd name="T39" fmla="*/ 63 h 418"/>
                <a:gd name="T40" fmla="*/ 0 w 497"/>
                <a:gd name="T41" fmla="*/ 63 h 418"/>
                <a:gd name="T42" fmla="*/ 0 w 497"/>
                <a:gd name="T43" fmla="*/ 134 h 418"/>
                <a:gd name="T44" fmla="*/ 53 w 497"/>
                <a:gd name="T45" fmla="*/ 134 h 418"/>
                <a:gd name="T46" fmla="*/ 132 w 497"/>
                <a:gd name="T47" fmla="*/ 169 h 418"/>
                <a:gd name="T48" fmla="*/ 389 w 497"/>
                <a:gd name="T49" fmla="*/ 293 h 418"/>
                <a:gd name="T50" fmla="*/ 389 w 497"/>
                <a:gd name="T51" fmla="*/ 293 h 418"/>
                <a:gd name="T52" fmla="*/ 372 w 497"/>
                <a:gd name="T53" fmla="*/ 293 h 418"/>
                <a:gd name="T54" fmla="*/ 283 w 497"/>
                <a:gd name="T55" fmla="*/ 249 h 418"/>
                <a:gd name="T56" fmla="*/ 283 w 497"/>
                <a:gd name="T57" fmla="*/ 258 h 418"/>
                <a:gd name="T58" fmla="*/ 248 w 497"/>
                <a:gd name="T59" fmla="*/ 302 h 418"/>
                <a:gd name="T60" fmla="*/ 372 w 497"/>
                <a:gd name="T61" fmla="*/ 355 h 418"/>
                <a:gd name="T62" fmla="*/ 389 w 497"/>
                <a:gd name="T63" fmla="*/ 355 h 418"/>
                <a:gd name="T64" fmla="*/ 389 w 497"/>
                <a:gd name="T65" fmla="*/ 417 h 418"/>
                <a:gd name="T66" fmla="*/ 496 w 497"/>
                <a:gd name="T67" fmla="*/ 328 h 418"/>
                <a:gd name="T68" fmla="*/ 389 w 497"/>
                <a:gd name="T69" fmla="*/ 240 h 418"/>
                <a:gd name="T70" fmla="*/ 389 w 497"/>
                <a:gd name="T71" fmla="*/ 293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7" h="418">
                  <a:moveTo>
                    <a:pt x="372" y="124"/>
                  </a:moveTo>
                  <a:lnTo>
                    <a:pt x="372" y="124"/>
                  </a:lnTo>
                  <a:cubicBezTo>
                    <a:pt x="389" y="124"/>
                    <a:pt x="389" y="124"/>
                    <a:pt x="389" y="124"/>
                  </a:cubicBezTo>
                  <a:cubicBezTo>
                    <a:pt x="389" y="178"/>
                    <a:pt x="389" y="178"/>
                    <a:pt x="389" y="178"/>
                  </a:cubicBezTo>
                  <a:cubicBezTo>
                    <a:pt x="496" y="89"/>
                    <a:pt x="496" y="89"/>
                    <a:pt x="496" y="89"/>
                  </a:cubicBezTo>
                  <a:cubicBezTo>
                    <a:pt x="389" y="0"/>
                    <a:pt x="389" y="0"/>
                    <a:pt x="389" y="0"/>
                  </a:cubicBezTo>
                  <a:cubicBezTo>
                    <a:pt x="389" y="53"/>
                    <a:pt x="389" y="53"/>
                    <a:pt x="389" y="53"/>
                  </a:cubicBezTo>
                  <a:cubicBezTo>
                    <a:pt x="372" y="53"/>
                    <a:pt x="372" y="53"/>
                    <a:pt x="372" y="53"/>
                  </a:cubicBezTo>
                  <a:cubicBezTo>
                    <a:pt x="283" y="53"/>
                    <a:pt x="230" y="124"/>
                    <a:pt x="186" y="187"/>
                  </a:cubicBezTo>
                  <a:cubicBezTo>
                    <a:pt x="141" y="240"/>
                    <a:pt x="106" y="284"/>
                    <a:pt x="53" y="284"/>
                  </a:cubicBezTo>
                  <a:cubicBezTo>
                    <a:pt x="0" y="284"/>
                    <a:pt x="0" y="284"/>
                    <a:pt x="0" y="284"/>
                  </a:cubicBezTo>
                  <a:cubicBezTo>
                    <a:pt x="0" y="355"/>
                    <a:pt x="0" y="355"/>
                    <a:pt x="0" y="355"/>
                  </a:cubicBezTo>
                  <a:cubicBezTo>
                    <a:pt x="53" y="355"/>
                    <a:pt x="53" y="355"/>
                    <a:pt x="53" y="355"/>
                  </a:cubicBezTo>
                  <a:cubicBezTo>
                    <a:pt x="141" y="355"/>
                    <a:pt x="194" y="284"/>
                    <a:pt x="239" y="222"/>
                  </a:cubicBezTo>
                  <a:cubicBezTo>
                    <a:pt x="283" y="169"/>
                    <a:pt x="319" y="124"/>
                    <a:pt x="372" y="124"/>
                  </a:cubicBezTo>
                  <a:close/>
                  <a:moveTo>
                    <a:pt x="132" y="169"/>
                  </a:moveTo>
                  <a:lnTo>
                    <a:pt x="132" y="169"/>
                  </a:lnTo>
                  <a:cubicBezTo>
                    <a:pt x="132" y="160"/>
                    <a:pt x="141" y="160"/>
                    <a:pt x="141" y="152"/>
                  </a:cubicBezTo>
                  <a:cubicBezTo>
                    <a:pt x="150" y="143"/>
                    <a:pt x="167" y="124"/>
                    <a:pt x="177" y="116"/>
                  </a:cubicBezTo>
                  <a:cubicBezTo>
                    <a:pt x="141" y="80"/>
                    <a:pt x="106" y="63"/>
                    <a:pt x="53" y="63"/>
                  </a:cubicBezTo>
                  <a:cubicBezTo>
                    <a:pt x="0" y="63"/>
                    <a:pt x="0" y="63"/>
                    <a:pt x="0" y="63"/>
                  </a:cubicBezTo>
                  <a:cubicBezTo>
                    <a:pt x="0" y="134"/>
                    <a:pt x="0" y="134"/>
                    <a:pt x="0" y="134"/>
                  </a:cubicBezTo>
                  <a:cubicBezTo>
                    <a:pt x="53" y="134"/>
                    <a:pt x="53" y="134"/>
                    <a:pt x="53" y="134"/>
                  </a:cubicBezTo>
                  <a:cubicBezTo>
                    <a:pt x="79" y="134"/>
                    <a:pt x="106" y="143"/>
                    <a:pt x="132" y="169"/>
                  </a:cubicBezTo>
                  <a:close/>
                  <a:moveTo>
                    <a:pt x="389" y="293"/>
                  </a:moveTo>
                  <a:lnTo>
                    <a:pt x="389" y="293"/>
                  </a:lnTo>
                  <a:cubicBezTo>
                    <a:pt x="372" y="293"/>
                    <a:pt x="372" y="293"/>
                    <a:pt x="372" y="293"/>
                  </a:cubicBezTo>
                  <a:cubicBezTo>
                    <a:pt x="336" y="293"/>
                    <a:pt x="310" y="275"/>
                    <a:pt x="283" y="249"/>
                  </a:cubicBezTo>
                  <a:cubicBezTo>
                    <a:pt x="283" y="249"/>
                    <a:pt x="283" y="249"/>
                    <a:pt x="283" y="258"/>
                  </a:cubicBezTo>
                  <a:cubicBezTo>
                    <a:pt x="266" y="266"/>
                    <a:pt x="257" y="284"/>
                    <a:pt x="248" y="302"/>
                  </a:cubicBezTo>
                  <a:cubicBezTo>
                    <a:pt x="274" y="337"/>
                    <a:pt x="319" y="355"/>
                    <a:pt x="372" y="355"/>
                  </a:cubicBezTo>
                  <a:cubicBezTo>
                    <a:pt x="389" y="355"/>
                    <a:pt x="389" y="355"/>
                    <a:pt x="389" y="355"/>
                  </a:cubicBezTo>
                  <a:cubicBezTo>
                    <a:pt x="389" y="417"/>
                    <a:pt x="389" y="417"/>
                    <a:pt x="389" y="417"/>
                  </a:cubicBezTo>
                  <a:cubicBezTo>
                    <a:pt x="496" y="328"/>
                    <a:pt x="496" y="328"/>
                    <a:pt x="496" y="328"/>
                  </a:cubicBezTo>
                  <a:cubicBezTo>
                    <a:pt x="389" y="240"/>
                    <a:pt x="389" y="240"/>
                    <a:pt x="389" y="240"/>
                  </a:cubicBezTo>
                  <a:lnTo>
                    <a:pt x="389" y="293"/>
                  </a:lnTo>
                  <a:close/>
                </a:path>
              </a:pathLst>
            </a:custGeom>
            <a:solidFill>
              <a:schemeClr val="tx1"/>
            </a:solidFill>
            <a:ln>
              <a:noFill/>
            </a:ln>
            <a:effectLst/>
            <a:extLst/>
          </p:spPr>
          <p:txBody>
            <a:bodyPr wrap="none" anchor="ctr"/>
            <a:lstStyle/>
            <a:p>
              <a:endParaRPr lang="en-US" dirty="0">
                <a:latin typeface="Calibri Light"/>
              </a:endParaRPr>
            </a:p>
          </p:txBody>
        </p:sp>
        <p:sp>
          <p:nvSpPr>
            <p:cNvPr id="23" name="AutoShape 105"/>
            <p:cNvSpPr>
              <a:spLocks/>
            </p:cNvSpPr>
            <p:nvPr/>
          </p:nvSpPr>
          <p:spPr bwMode="auto">
            <a:xfrm>
              <a:off x="9572891" y="6656518"/>
              <a:ext cx="448281" cy="45037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91" y="17891"/>
                  </a:moveTo>
                  <a:cubicBezTo>
                    <a:pt x="21461" y="18164"/>
                    <a:pt x="21599" y="18475"/>
                    <a:pt x="21599" y="18824"/>
                  </a:cubicBezTo>
                  <a:cubicBezTo>
                    <a:pt x="21599" y="19176"/>
                    <a:pt x="21461" y="19490"/>
                    <a:pt x="21191" y="19760"/>
                  </a:cubicBezTo>
                  <a:lnTo>
                    <a:pt x="19784" y="21192"/>
                  </a:lnTo>
                  <a:cubicBezTo>
                    <a:pt x="19514" y="21465"/>
                    <a:pt x="19196" y="21599"/>
                    <a:pt x="18829" y="21599"/>
                  </a:cubicBezTo>
                  <a:cubicBezTo>
                    <a:pt x="18465" y="21599"/>
                    <a:pt x="18150" y="21465"/>
                    <a:pt x="17889" y="21192"/>
                  </a:cubicBezTo>
                  <a:lnTo>
                    <a:pt x="10800" y="14101"/>
                  </a:lnTo>
                  <a:lnTo>
                    <a:pt x="3684" y="21192"/>
                  </a:lnTo>
                  <a:cubicBezTo>
                    <a:pt x="3410" y="21465"/>
                    <a:pt x="3099" y="21599"/>
                    <a:pt x="2749" y="21599"/>
                  </a:cubicBezTo>
                  <a:cubicBezTo>
                    <a:pt x="2397" y="21599"/>
                    <a:pt x="2083" y="21465"/>
                    <a:pt x="1815" y="21192"/>
                  </a:cubicBezTo>
                  <a:lnTo>
                    <a:pt x="408" y="19787"/>
                  </a:lnTo>
                  <a:cubicBezTo>
                    <a:pt x="135" y="19520"/>
                    <a:pt x="0" y="19200"/>
                    <a:pt x="0" y="18839"/>
                  </a:cubicBezTo>
                  <a:cubicBezTo>
                    <a:pt x="0" y="18481"/>
                    <a:pt x="135" y="18164"/>
                    <a:pt x="408" y="17891"/>
                  </a:cubicBezTo>
                  <a:lnTo>
                    <a:pt x="7556" y="10731"/>
                  </a:lnTo>
                  <a:lnTo>
                    <a:pt x="408" y="3708"/>
                  </a:lnTo>
                  <a:cubicBezTo>
                    <a:pt x="135" y="3435"/>
                    <a:pt x="0" y="3121"/>
                    <a:pt x="0" y="2760"/>
                  </a:cubicBezTo>
                  <a:cubicBezTo>
                    <a:pt x="0" y="2399"/>
                    <a:pt x="135" y="2082"/>
                    <a:pt x="408" y="1815"/>
                  </a:cubicBezTo>
                  <a:lnTo>
                    <a:pt x="1815" y="407"/>
                  </a:lnTo>
                  <a:cubicBezTo>
                    <a:pt x="2085" y="135"/>
                    <a:pt x="2403" y="0"/>
                    <a:pt x="2770" y="0"/>
                  </a:cubicBezTo>
                  <a:cubicBezTo>
                    <a:pt x="3134" y="0"/>
                    <a:pt x="3449" y="134"/>
                    <a:pt x="3710" y="407"/>
                  </a:cubicBezTo>
                  <a:lnTo>
                    <a:pt x="10800" y="7486"/>
                  </a:lnTo>
                  <a:lnTo>
                    <a:pt x="17889" y="407"/>
                  </a:lnTo>
                  <a:cubicBezTo>
                    <a:pt x="18159" y="135"/>
                    <a:pt x="18476" y="0"/>
                    <a:pt x="18838" y="0"/>
                  </a:cubicBezTo>
                  <a:cubicBezTo>
                    <a:pt x="19196" y="0"/>
                    <a:pt x="19514" y="134"/>
                    <a:pt x="19784" y="407"/>
                  </a:cubicBezTo>
                  <a:lnTo>
                    <a:pt x="21191" y="1815"/>
                  </a:lnTo>
                  <a:cubicBezTo>
                    <a:pt x="21461" y="2082"/>
                    <a:pt x="21599" y="2402"/>
                    <a:pt x="21599" y="2769"/>
                  </a:cubicBezTo>
                  <a:cubicBezTo>
                    <a:pt x="21599" y="3133"/>
                    <a:pt x="21461" y="3447"/>
                    <a:pt x="21191" y="3708"/>
                  </a:cubicBezTo>
                  <a:lnTo>
                    <a:pt x="14043" y="10869"/>
                  </a:lnTo>
                  <a:lnTo>
                    <a:pt x="21191" y="17891"/>
                  </a:lnTo>
                  <a:close/>
                </a:path>
              </a:pathLst>
            </a:custGeom>
            <a:solidFill>
              <a:schemeClr val="accent1"/>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24" name="AutoShape 105"/>
            <p:cNvSpPr>
              <a:spLocks/>
            </p:cNvSpPr>
            <p:nvPr/>
          </p:nvSpPr>
          <p:spPr bwMode="auto">
            <a:xfrm>
              <a:off x="9572891" y="8611686"/>
              <a:ext cx="448281" cy="45037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91" y="17891"/>
                  </a:moveTo>
                  <a:cubicBezTo>
                    <a:pt x="21461" y="18164"/>
                    <a:pt x="21599" y="18475"/>
                    <a:pt x="21599" y="18824"/>
                  </a:cubicBezTo>
                  <a:cubicBezTo>
                    <a:pt x="21599" y="19176"/>
                    <a:pt x="21461" y="19490"/>
                    <a:pt x="21191" y="19760"/>
                  </a:cubicBezTo>
                  <a:lnTo>
                    <a:pt x="19784" y="21192"/>
                  </a:lnTo>
                  <a:cubicBezTo>
                    <a:pt x="19514" y="21465"/>
                    <a:pt x="19196" y="21599"/>
                    <a:pt x="18829" y="21599"/>
                  </a:cubicBezTo>
                  <a:cubicBezTo>
                    <a:pt x="18465" y="21599"/>
                    <a:pt x="18150" y="21465"/>
                    <a:pt x="17889" y="21192"/>
                  </a:cubicBezTo>
                  <a:lnTo>
                    <a:pt x="10800" y="14101"/>
                  </a:lnTo>
                  <a:lnTo>
                    <a:pt x="3684" y="21192"/>
                  </a:lnTo>
                  <a:cubicBezTo>
                    <a:pt x="3410" y="21465"/>
                    <a:pt x="3099" y="21599"/>
                    <a:pt x="2749" y="21599"/>
                  </a:cubicBezTo>
                  <a:cubicBezTo>
                    <a:pt x="2397" y="21599"/>
                    <a:pt x="2083" y="21465"/>
                    <a:pt x="1815" y="21192"/>
                  </a:cubicBezTo>
                  <a:lnTo>
                    <a:pt x="408" y="19787"/>
                  </a:lnTo>
                  <a:cubicBezTo>
                    <a:pt x="135" y="19520"/>
                    <a:pt x="0" y="19200"/>
                    <a:pt x="0" y="18839"/>
                  </a:cubicBezTo>
                  <a:cubicBezTo>
                    <a:pt x="0" y="18481"/>
                    <a:pt x="135" y="18164"/>
                    <a:pt x="408" y="17891"/>
                  </a:cubicBezTo>
                  <a:lnTo>
                    <a:pt x="7556" y="10731"/>
                  </a:lnTo>
                  <a:lnTo>
                    <a:pt x="408" y="3708"/>
                  </a:lnTo>
                  <a:cubicBezTo>
                    <a:pt x="135" y="3435"/>
                    <a:pt x="0" y="3121"/>
                    <a:pt x="0" y="2760"/>
                  </a:cubicBezTo>
                  <a:cubicBezTo>
                    <a:pt x="0" y="2399"/>
                    <a:pt x="135" y="2082"/>
                    <a:pt x="408" y="1815"/>
                  </a:cubicBezTo>
                  <a:lnTo>
                    <a:pt x="1815" y="407"/>
                  </a:lnTo>
                  <a:cubicBezTo>
                    <a:pt x="2085" y="135"/>
                    <a:pt x="2403" y="0"/>
                    <a:pt x="2770" y="0"/>
                  </a:cubicBezTo>
                  <a:cubicBezTo>
                    <a:pt x="3134" y="0"/>
                    <a:pt x="3449" y="134"/>
                    <a:pt x="3710" y="407"/>
                  </a:cubicBezTo>
                  <a:lnTo>
                    <a:pt x="10800" y="7486"/>
                  </a:lnTo>
                  <a:lnTo>
                    <a:pt x="17889" y="407"/>
                  </a:lnTo>
                  <a:cubicBezTo>
                    <a:pt x="18159" y="135"/>
                    <a:pt x="18476" y="0"/>
                    <a:pt x="18838" y="0"/>
                  </a:cubicBezTo>
                  <a:cubicBezTo>
                    <a:pt x="19196" y="0"/>
                    <a:pt x="19514" y="134"/>
                    <a:pt x="19784" y="407"/>
                  </a:cubicBezTo>
                  <a:lnTo>
                    <a:pt x="21191" y="1815"/>
                  </a:lnTo>
                  <a:cubicBezTo>
                    <a:pt x="21461" y="2082"/>
                    <a:pt x="21599" y="2402"/>
                    <a:pt x="21599" y="2769"/>
                  </a:cubicBezTo>
                  <a:cubicBezTo>
                    <a:pt x="21599" y="3133"/>
                    <a:pt x="21461" y="3447"/>
                    <a:pt x="21191" y="3708"/>
                  </a:cubicBezTo>
                  <a:lnTo>
                    <a:pt x="14043" y="10869"/>
                  </a:lnTo>
                  <a:lnTo>
                    <a:pt x="21191" y="17891"/>
                  </a:lnTo>
                  <a:close/>
                </a:path>
              </a:pathLst>
            </a:custGeom>
            <a:solidFill>
              <a:schemeClr val="accent1"/>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25" name="AutoShape 105"/>
            <p:cNvSpPr>
              <a:spLocks/>
            </p:cNvSpPr>
            <p:nvPr/>
          </p:nvSpPr>
          <p:spPr bwMode="auto">
            <a:xfrm>
              <a:off x="9572891" y="10513510"/>
              <a:ext cx="448281" cy="45037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91" y="17891"/>
                  </a:moveTo>
                  <a:cubicBezTo>
                    <a:pt x="21461" y="18164"/>
                    <a:pt x="21599" y="18475"/>
                    <a:pt x="21599" y="18824"/>
                  </a:cubicBezTo>
                  <a:cubicBezTo>
                    <a:pt x="21599" y="19176"/>
                    <a:pt x="21461" y="19490"/>
                    <a:pt x="21191" y="19760"/>
                  </a:cubicBezTo>
                  <a:lnTo>
                    <a:pt x="19784" y="21192"/>
                  </a:lnTo>
                  <a:cubicBezTo>
                    <a:pt x="19514" y="21465"/>
                    <a:pt x="19196" y="21599"/>
                    <a:pt x="18829" y="21599"/>
                  </a:cubicBezTo>
                  <a:cubicBezTo>
                    <a:pt x="18465" y="21599"/>
                    <a:pt x="18150" y="21465"/>
                    <a:pt x="17889" y="21192"/>
                  </a:cubicBezTo>
                  <a:lnTo>
                    <a:pt x="10800" y="14101"/>
                  </a:lnTo>
                  <a:lnTo>
                    <a:pt x="3684" y="21192"/>
                  </a:lnTo>
                  <a:cubicBezTo>
                    <a:pt x="3410" y="21465"/>
                    <a:pt x="3099" y="21599"/>
                    <a:pt x="2749" y="21599"/>
                  </a:cubicBezTo>
                  <a:cubicBezTo>
                    <a:pt x="2397" y="21599"/>
                    <a:pt x="2083" y="21465"/>
                    <a:pt x="1815" y="21192"/>
                  </a:cubicBezTo>
                  <a:lnTo>
                    <a:pt x="408" y="19787"/>
                  </a:lnTo>
                  <a:cubicBezTo>
                    <a:pt x="135" y="19520"/>
                    <a:pt x="0" y="19200"/>
                    <a:pt x="0" y="18839"/>
                  </a:cubicBezTo>
                  <a:cubicBezTo>
                    <a:pt x="0" y="18481"/>
                    <a:pt x="135" y="18164"/>
                    <a:pt x="408" y="17891"/>
                  </a:cubicBezTo>
                  <a:lnTo>
                    <a:pt x="7556" y="10731"/>
                  </a:lnTo>
                  <a:lnTo>
                    <a:pt x="408" y="3708"/>
                  </a:lnTo>
                  <a:cubicBezTo>
                    <a:pt x="135" y="3435"/>
                    <a:pt x="0" y="3121"/>
                    <a:pt x="0" y="2760"/>
                  </a:cubicBezTo>
                  <a:cubicBezTo>
                    <a:pt x="0" y="2399"/>
                    <a:pt x="135" y="2082"/>
                    <a:pt x="408" y="1815"/>
                  </a:cubicBezTo>
                  <a:lnTo>
                    <a:pt x="1815" y="407"/>
                  </a:lnTo>
                  <a:cubicBezTo>
                    <a:pt x="2085" y="135"/>
                    <a:pt x="2403" y="0"/>
                    <a:pt x="2770" y="0"/>
                  </a:cubicBezTo>
                  <a:cubicBezTo>
                    <a:pt x="3134" y="0"/>
                    <a:pt x="3449" y="134"/>
                    <a:pt x="3710" y="407"/>
                  </a:cubicBezTo>
                  <a:lnTo>
                    <a:pt x="10800" y="7486"/>
                  </a:lnTo>
                  <a:lnTo>
                    <a:pt x="17889" y="407"/>
                  </a:lnTo>
                  <a:cubicBezTo>
                    <a:pt x="18159" y="135"/>
                    <a:pt x="18476" y="0"/>
                    <a:pt x="18838" y="0"/>
                  </a:cubicBezTo>
                  <a:cubicBezTo>
                    <a:pt x="19196" y="0"/>
                    <a:pt x="19514" y="134"/>
                    <a:pt x="19784" y="407"/>
                  </a:cubicBezTo>
                  <a:lnTo>
                    <a:pt x="21191" y="1815"/>
                  </a:lnTo>
                  <a:cubicBezTo>
                    <a:pt x="21461" y="2082"/>
                    <a:pt x="21599" y="2402"/>
                    <a:pt x="21599" y="2769"/>
                  </a:cubicBezTo>
                  <a:cubicBezTo>
                    <a:pt x="21599" y="3133"/>
                    <a:pt x="21461" y="3447"/>
                    <a:pt x="21191" y="3708"/>
                  </a:cubicBezTo>
                  <a:lnTo>
                    <a:pt x="14043" y="10869"/>
                  </a:lnTo>
                  <a:lnTo>
                    <a:pt x="21191" y="17891"/>
                  </a:lnTo>
                  <a:close/>
                </a:path>
              </a:pathLst>
            </a:custGeom>
            <a:solidFill>
              <a:schemeClr val="accent1"/>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26" name="AutoShape 105"/>
            <p:cNvSpPr>
              <a:spLocks/>
            </p:cNvSpPr>
            <p:nvPr/>
          </p:nvSpPr>
          <p:spPr bwMode="auto">
            <a:xfrm>
              <a:off x="13222679" y="7637930"/>
              <a:ext cx="448281" cy="45037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91" y="17891"/>
                  </a:moveTo>
                  <a:cubicBezTo>
                    <a:pt x="21461" y="18164"/>
                    <a:pt x="21599" y="18475"/>
                    <a:pt x="21599" y="18824"/>
                  </a:cubicBezTo>
                  <a:cubicBezTo>
                    <a:pt x="21599" y="19176"/>
                    <a:pt x="21461" y="19490"/>
                    <a:pt x="21191" y="19760"/>
                  </a:cubicBezTo>
                  <a:lnTo>
                    <a:pt x="19784" y="21192"/>
                  </a:lnTo>
                  <a:cubicBezTo>
                    <a:pt x="19514" y="21465"/>
                    <a:pt x="19196" y="21599"/>
                    <a:pt x="18829" y="21599"/>
                  </a:cubicBezTo>
                  <a:cubicBezTo>
                    <a:pt x="18465" y="21599"/>
                    <a:pt x="18150" y="21465"/>
                    <a:pt x="17889" y="21192"/>
                  </a:cubicBezTo>
                  <a:lnTo>
                    <a:pt x="10800" y="14101"/>
                  </a:lnTo>
                  <a:lnTo>
                    <a:pt x="3684" y="21192"/>
                  </a:lnTo>
                  <a:cubicBezTo>
                    <a:pt x="3410" y="21465"/>
                    <a:pt x="3099" y="21599"/>
                    <a:pt x="2749" y="21599"/>
                  </a:cubicBezTo>
                  <a:cubicBezTo>
                    <a:pt x="2397" y="21599"/>
                    <a:pt x="2083" y="21465"/>
                    <a:pt x="1815" y="21192"/>
                  </a:cubicBezTo>
                  <a:lnTo>
                    <a:pt x="408" y="19787"/>
                  </a:lnTo>
                  <a:cubicBezTo>
                    <a:pt x="135" y="19520"/>
                    <a:pt x="0" y="19200"/>
                    <a:pt x="0" y="18839"/>
                  </a:cubicBezTo>
                  <a:cubicBezTo>
                    <a:pt x="0" y="18481"/>
                    <a:pt x="135" y="18164"/>
                    <a:pt x="408" y="17891"/>
                  </a:cubicBezTo>
                  <a:lnTo>
                    <a:pt x="7556" y="10731"/>
                  </a:lnTo>
                  <a:lnTo>
                    <a:pt x="408" y="3708"/>
                  </a:lnTo>
                  <a:cubicBezTo>
                    <a:pt x="135" y="3435"/>
                    <a:pt x="0" y="3121"/>
                    <a:pt x="0" y="2760"/>
                  </a:cubicBezTo>
                  <a:cubicBezTo>
                    <a:pt x="0" y="2399"/>
                    <a:pt x="135" y="2082"/>
                    <a:pt x="408" y="1815"/>
                  </a:cubicBezTo>
                  <a:lnTo>
                    <a:pt x="1815" y="407"/>
                  </a:lnTo>
                  <a:cubicBezTo>
                    <a:pt x="2085" y="135"/>
                    <a:pt x="2403" y="0"/>
                    <a:pt x="2770" y="0"/>
                  </a:cubicBezTo>
                  <a:cubicBezTo>
                    <a:pt x="3134" y="0"/>
                    <a:pt x="3449" y="134"/>
                    <a:pt x="3710" y="407"/>
                  </a:cubicBezTo>
                  <a:lnTo>
                    <a:pt x="10800" y="7486"/>
                  </a:lnTo>
                  <a:lnTo>
                    <a:pt x="17889" y="407"/>
                  </a:lnTo>
                  <a:cubicBezTo>
                    <a:pt x="18159" y="135"/>
                    <a:pt x="18476" y="0"/>
                    <a:pt x="18838" y="0"/>
                  </a:cubicBezTo>
                  <a:cubicBezTo>
                    <a:pt x="19196" y="0"/>
                    <a:pt x="19514" y="134"/>
                    <a:pt x="19784" y="407"/>
                  </a:cubicBezTo>
                  <a:lnTo>
                    <a:pt x="21191" y="1815"/>
                  </a:lnTo>
                  <a:cubicBezTo>
                    <a:pt x="21461" y="2082"/>
                    <a:pt x="21599" y="2402"/>
                    <a:pt x="21599" y="2769"/>
                  </a:cubicBezTo>
                  <a:cubicBezTo>
                    <a:pt x="21599" y="3133"/>
                    <a:pt x="21461" y="3447"/>
                    <a:pt x="21191" y="3708"/>
                  </a:cubicBezTo>
                  <a:lnTo>
                    <a:pt x="14043" y="10869"/>
                  </a:lnTo>
                  <a:lnTo>
                    <a:pt x="21191" y="17891"/>
                  </a:lnTo>
                  <a:close/>
                </a:path>
              </a:pathLst>
            </a:custGeom>
            <a:solidFill>
              <a:schemeClr val="accent2"/>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27" name="AutoShape 105"/>
            <p:cNvSpPr>
              <a:spLocks/>
            </p:cNvSpPr>
            <p:nvPr/>
          </p:nvSpPr>
          <p:spPr bwMode="auto">
            <a:xfrm>
              <a:off x="13222679" y="9539754"/>
              <a:ext cx="448281" cy="45037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91" y="17891"/>
                  </a:moveTo>
                  <a:cubicBezTo>
                    <a:pt x="21461" y="18164"/>
                    <a:pt x="21599" y="18475"/>
                    <a:pt x="21599" y="18824"/>
                  </a:cubicBezTo>
                  <a:cubicBezTo>
                    <a:pt x="21599" y="19176"/>
                    <a:pt x="21461" y="19490"/>
                    <a:pt x="21191" y="19760"/>
                  </a:cubicBezTo>
                  <a:lnTo>
                    <a:pt x="19784" y="21192"/>
                  </a:lnTo>
                  <a:cubicBezTo>
                    <a:pt x="19514" y="21465"/>
                    <a:pt x="19196" y="21599"/>
                    <a:pt x="18829" y="21599"/>
                  </a:cubicBezTo>
                  <a:cubicBezTo>
                    <a:pt x="18465" y="21599"/>
                    <a:pt x="18150" y="21465"/>
                    <a:pt x="17889" y="21192"/>
                  </a:cubicBezTo>
                  <a:lnTo>
                    <a:pt x="10800" y="14101"/>
                  </a:lnTo>
                  <a:lnTo>
                    <a:pt x="3684" y="21192"/>
                  </a:lnTo>
                  <a:cubicBezTo>
                    <a:pt x="3410" y="21465"/>
                    <a:pt x="3099" y="21599"/>
                    <a:pt x="2749" y="21599"/>
                  </a:cubicBezTo>
                  <a:cubicBezTo>
                    <a:pt x="2397" y="21599"/>
                    <a:pt x="2083" y="21465"/>
                    <a:pt x="1815" y="21192"/>
                  </a:cubicBezTo>
                  <a:lnTo>
                    <a:pt x="408" y="19787"/>
                  </a:lnTo>
                  <a:cubicBezTo>
                    <a:pt x="135" y="19520"/>
                    <a:pt x="0" y="19200"/>
                    <a:pt x="0" y="18839"/>
                  </a:cubicBezTo>
                  <a:cubicBezTo>
                    <a:pt x="0" y="18481"/>
                    <a:pt x="135" y="18164"/>
                    <a:pt x="408" y="17891"/>
                  </a:cubicBezTo>
                  <a:lnTo>
                    <a:pt x="7556" y="10731"/>
                  </a:lnTo>
                  <a:lnTo>
                    <a:pt x="408" y="3708"/>
                  </a:lnTo>
                  <a:cubicBezTo>
                    <a:pt x="135" y="3435"/>
                    <a:pt x="0" y="3121"/>
                    <a:pt x="0" y="2760"/>
                  </a:cubicBezTo>
                  <a:cubicBezTo>
                    <a:pt x="0" y="2399"/>
                    <a:pt x="135" y="2082"/>
                    <a:pt x="408" y="1815"/>
                  </a:cubicBezTo>
                  <a:lnTo>
                    <a:pt x="1815" y="407"/>
                  </a:lnTo>
                  <a:cubicBezTo>
                    <a:pt x="2085" y="135"/>
                    <a:pt x="2403" y="0"/>
                    <a:pt x="2770" y="0"/>
                  </a:cubicBezTo>
                  <a:cubicBezTo>
                    <a:pt x="3134" y="0"/>
                    <a:pt x="3449" y="134"/>
                    <a:pt x="3710" y="407"/>
                  </a:cubicBezTo>
                  <a:lnTo>
                    <a:pt x="10800" y="7486"/>
                  </a:lnTo>
                  <a:lnTo>
                    <a:pt x="17889" y="407"/>
                  </a:lnTo>
                  <a:cubicBezTo>
                    <a:pt x="18159" y="135"/>
                    <a:pt x="18476" y="0"/>
                    <a:pt x="18838" y="0"/>
                  </a:cubicBezTo>
                  <a:cubicBezTo>
                    <a:pt x="19196" y="0"/>
                    <a:pt x="19514" y="134"/>
                    <a:pt x="19784" y="407"/>
                  </a:cubicBezTo>
                  <a:lnTo>
                    <a:pt x="21191" y="1815"/>
                  </a:lnTo>
                  <a:cubicBezTo>
                    <a:pt x="21461" y="2082"/>
                    <a:pt x="21599" y="2402"/>
                    <a:pt x="21599" y="2769"/>
                  </a:cubicBezTo>
                  <a:cubicBezTo>
                    <a:pt x="21599" y="3133"/>
                    <a:pt x="21461" y="3447"/>
                    <a:pt x="21191" y="3708"/>
                  </a:cubicBezTo>
                  <a:lnTo>
                    <a:pt x="14043" y="10869"/>
                  </a:lnTo>
                  <a:lnTo>
                    <a:pt x="21191" y="17891"/>
                  </a:lnTo>
                  <a:close/>
                </a:path>
              </a:pathLst>
            </a:custGeom>
            <a:solidFill>
              <a:schemeClr val="accent2"/>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28" name="AutoShape 105"/>
            <p:cNvSpPr>
              <a:spLocks/>
            </p:cNvSpPr>
            <p:nvPr/>
          </p:nvSpPr>
          <p:spPr bwMode="auto">
            <a:xfrm>
              <a:off x="16861535" y="6656518"/>
              <a:ext cx="448281" cy="45037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91" y="17891"/>
                  </a:moveTo>
                  <a:cubicBezTo>
                    <a:pt x="21461" y="18164"/>
                    <a:pt x="21599" y="18475"/>
                    <a:pt x="21599" y="18824"/>
                  </a:cubicBezTo>
                  <a:cubicBezTo>
                    <a:pt x="21599" y="19176"/>
                    <a:pt x="21461" y="19490"/>
                    <a:pt x="21191" y="19760"/>
                  </a:cubicBezTo>
                  <a:lnTo>
                    <a:pt x="19784" y="21192"/>
                  </a:lnTo>
                  <a:cubicBezTo>
                    <a:pt x="19514" y="21465"/>
                    <a:pt x="19196" y="21599"/>
                    <a:pt x="18829" y="21599"/>
                  </a:cubicBezTo>
                  <a:cubicBezTo>
                    <a:pt x="18465" y="21599"/>
                    <a:pt x="18150" y="21465"/>
                    <a:pt x="17889" y="21192"/>
                  </a:cubicBezTo>
                  <a:lnTo>
                    <a:pt x="10800" y="14101"/>
                  </a:lnTo>
                  <a:lnTo>
                    <a:pt x="3684" y="21192"/>
                  </a:lnTo>
                  <a:cubicBezTo>
                    <a:pt x="3410" y="21465"/>
                    <a:pt x="3099" y="21599"/>
                    <a:pt x="2749" y="21599"/>
                  </a:cubicBezTo>
                  <a:cubicBezTo>
                    <a:pt x="2397" y="21599"/>
                    <a:pt x="2083" y="21465"/>
                    <a:pt x="1815" y="21192"/>
                  </a:cubicBezTo>
                  <a:lnTo>
                    <a:pt x="408" y="19787"/>
                  </a:lnTo>
                  <a:cubicBezTo>
                    <a:pt x="135" y="19520"/>
                    <a:pt x="0" y="19200"/>
                    <a:pt x="0" y="18839"/>
                  </a:cubicBezTo>
                  <a:cubicBezTo>
                    <a:pt x="0" y="18481"/>
                    <a:pt x="135" y="18164"/>
                    <a:pt x="408" y="17891"/>
                  </a:cubicBezTo>
                  <a:lnTo>
                    <a:pt x="7556" y="10731"/>
                  </a:lnTo>
                  <a:lnTo>
                    <a:pt x="408" y="3708"/>
                  </a:lnTo>
                  <a:cubicBezTo>
                    <a:pt x="135" y="3435"/>
                    <a:pt x="0" y="3121"/>
                    <a:pt x="0" y="2760"/>
                  </a:cubicBezTo>
                  <a:cubicBezTo>
                    <a:pt x="0" y="2399"/>
                    <a:pt x="135" y="2082"/>
                    <a:pt x="408" y="1815"/>
                  </a:cubicBezTo>
                  <a:lnTo>
                    <a:pt x="1815" y="407"/>
                  </a:lnTo>
                  <a:cubicBezTo>
                    <a:pt x="2085" y="135"/>
                    <a:pt x="2403" y="0"/>
                    <a:pt x="2770" y="0"/>
                  </a:cubicBezTo>
                  <a:cubicBezTo>
                    <a:pt x="3134" y="0"/>
                    <a:pt x="3449" y="134"/>
                    <a:pt x="3710" y="407"/>
                  </a:cubicBezTo>
                  <a:lnTo>
                    <a:pt x="10800" y="7486"/>
                  </a:lnTo>
                  <a:lnTo>
                    <a:pt x="17889" y="407"/>
                  </a:lnTo>
                  <a:cubicBezTo>
                    <a:pt x="18159" y="135"/>
                    <a:pt x="18476" y="0"/>
                    <a:pt x="18838" y="0"/>
                  </a:cubicBezTo>
                  <a:cubicBezTo>
                    <a:pt x="19196" y="0"/>
                    <a:pt x="19514" y="134"/>
                    <a:pt x="19784" y="407"/>
                  </a:cubicBezTo>
                  <a:lnTo>
                    <a:pt x="21191" y="1815"/>
                  </a:lnTo>
                  <a:cubicBezTo>
                    <a:pt x="21461" y="2082"/>
                    <a:pt x="21599" y="2402"/>
                    <a:pt x="21599" y="2769"/>
                  </a:cubicBezTo>
                  <a:cubicBezTo>
                    <a:pt x="21599" y="3133"/>
                    <a:pt x="21461" y="3447"/>
                    <a:pt x="21191" y="3708"/>
                  </a:cubicBezTo>
                  <a:lnTo>
                    <a:pt x="14043" y="10869"/>
                  </a:lnTo>
                  <a:lnTo>
                    <a:pt x="21191" y="17891"/>
                  </a:lnTo>
                  <a:close/>
                </a:path>
              </a:pathLst>
            </a:custGeom>
            <a:solidFill>
              <a:schemeClr val="accent3"/>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29" name="AutoShape 105"/>
            <p:cNvSpPr>
              <a:spLocks/>
            </p:cNvSpPr>
            <p:nvPr/>
          </p:nvSpPr>
          <p:spPr bwMode="auto">
            <a:xfrm>
              <a:off x="16861535" y="8611686"/>
              <a:ext cx="448281" cy="45037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91" y="17891"/>
                  </a:moveTo>
                  <a:cubicBezTo>
                    <a:pt x="21461" y="18164"/>
                    <a:pt x="21599" y="18475"/>
                    <a:pt x="21599" y="18824"/>
                  </a:cubicBezTo>
                  <a:cubicBezTo>
                    <a:pt x="21599" y="19176"/>
                    <a:pt x="21461" y="19490"/>
                    <a:pt x="21191" y="19760"/>
                  </a:cubicBezTo>
                  <a:lnTo>
                    <a:pt x="19784" y="21192"/>
                  </a:lnTo>
                  <a:cubicBezTo>
                    <a:pt x="19514" y="21465"/>
                    <a:pt x="19196" y="21599"/>
                    <a:pt x="18829" y="21599"/>
                  </a:cubicBezTo>
                  <a:cubicBezTo>
                    <a:pt x="18465" y="21599"/>
                    <a:pt x="18150" y="21465"/>
                    <a:pt x="17889" y="21192"/>
                  </a:cubicBezTo>
                  <a:lnTo>
                    <a:pt x="10800" y="14101"/>
                  </a:lnTo>
                  <a:lnTo>
                    <a:pt x="3684" y="21192"/>
                  </a:lnTo>
                  <a:cubicBezTo>
                    <a:pt x="3410" y="21465"/>
                    <a:pt x="3099" y="21599"/>
                    <a:pt x="2749" y="21599"/>
                  </a:cubicBezTo>
                  <a:cubicBezTo>
                    <a:pt x="2397" y="21599"/>
                    <a:pt x="2083" y="21465"/>
                    <a:pt x="1815" y="21192"/>
                  </a:cubicBezTo>
                  <a:lnTo>
                    <a:pt x="408" y="19787"/>
                  </a:lnTo>
                  <a:cubicBezTo>
                    <a:pt x="135" y="19520"/>
                    <a:pt x="0" y="19200"/>
                    <a:pt x="0" y="18839"/>
                  </a:cubicBezTo>
                  <a:cubicBezTo>
                    <a:pt x="0" y="18481"/>
                    <a:pt x="135" y="18164"/>
                    <a:pt x="408" y="17891"/>
                  </a:cubicBezTo>
                  <a:lnTo>
                    <a:pt x="7556" y="10731"/>
                  </a:lnTo>
                  <a:lnTo>
                    <a:pt x="408" y="3708"/>
                  </a:lnTo>
                  <a:cubicBezTo>
                    <a:pt x="135" y="3435"/>
                    <a:pt x="0" y="3121"/>
                    <a:pt x="0" y="2760"/>
                  </a:cubicBezTo>
                  <a:cubicBezTo>
                    <a:pt x="0" y="2399"/>
                    <a:pt x="135" y="2082"/>
                    <a:pt x="408" y="1815"/>
                  </a:cubicBezTo>
                  <a:lnTo>
                    <a:pt x="1815" y="407"/>
                  </a:lnTo>
                  <a:cubicBezTo>
                    <a:pt x="2085" y="135"/>
                    <a:pt x="2403" y="0"/>
                    <a:pt x="2770" y="0"/>
                  </a:cubicBezTo>
                  <a:cubicBezTo>
                    <a:pt x="3134" y="0"/>
                    <a:pt x="3449" y="134"/>
                    <a:pt x="3710" y="407"/>
                  </a:cubicBezTo>
                  <a:lnTo>
                    <a:pt x="10800" y="7486"/>
                  </a:lnTo>
                  <a:lnTo>
                    <a:pt x="17889" y="407"/>
                  </a:lnTo>
                  <a:cubicBezTo>
                    <a:pt x="18159" y="135"/>
                    <a:pt x="18476" y="0"/>
                    <a:pt x="18838" y="0"/>
                  </a:cubicBezTo>
                  <a:cubicBezTo>
                    <a:pt x="19196" y="0"/>
                    <a:pt x="19514" y="134"/>
                    <a:pt x="19784" y="407"/>
                  </a:cubicBezTo>
                  <a:lnTo>
                    <a:pt x="21191" y="1815"/>
                  </a:lnTo>
                  <a:cubicBezTo>
                    <a:pt x="21461" y="2082"/>
                    <a:pt x="21599" y="2402"/>
                    <a:pt x="21599" y="2769"/>
                  </a:cubicBezTo>
                  <a:cubicBezTo>
                    <a:pt x="21599" y="3133"/>
                    <a:pt x="21461" y="3447"/>
                    <a:pt x="21191" y="3708"/>
                  </a:cubicBezTo>
                  <a:lnTo>
                    <a:pt x="14043" y="10869"/>
                  </a:lnTo>
                  <a:lnTo>
                    <a:pt x="21191" y="17891"/>
                  </a:lnTo>
                  <a:close/>
                </a:path>
              </a:pathLst>
            </a:custGeom>
            <a:solidFill>
              <a:schemeClr val="accent3"/>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30" name="AutoShape 105"/>
            <p:cNvSpPr>
              <a:spLocks/>
            </p:cNvSpPr>
            <p:nvPr/>
          </p:nvSpPr>
          <p:spPr bwMode="auto">
            <a:xfrm>
              <a:off x="16861535" y="10513510"/>
              <a:ext cx="448281" cy="45037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91" y="17891"/>
                  </a:moveTo>
                  <a:cubicBezTo>
                    <a:pt x="21461" y="18164"/>
                    <a:pt x="21599" y="18475"/>
                    <a:pt x="21599" y="18824"/>
                  </a:cubicBezTo>
                  <a:cubicBezTo>
                    <a:pt x="21599" y="19176"/>
                    <a:pt x="21461" y="19490"/>
                    <a:pt x="21191" y="19760"/>
                  </a:cubicBezTo>
                  <a:lnTo>
                    <a:pt x="19784" y="21192"/>
                  </a:lnTo>
                  <a:cubicBezTo>
                    <a:pt x="19514" y="21465"/>
                    <a:pt x="19196" y="21599"/>
                    <a:pt x="18829" y="21599"/>
                  </a:cubicBezTo>
                  <a:cubicBezTo>
                    <a:pt x="18465" y="21599"/>
                    <a:pt x="18150" y="21465"/>
                    <a:pt x="17889" y="21192"/>
                  </a:cubicBezTo>
                  <a:lnTo>
                    <a:pt x="10800" y="14101"/>
                  </a:lnTo>
                  <a:lnTo>
                    <a:pt x="3684" y="21192"/>
                  </a:lnTo>
                  <a:cubicBezTo>
                    <a:pt x="3410" y="21465"/>
                    <a:pt x="3099" y="21599"/>
                    <a:pt x="2749" y="21599"/>
                  </a:cubicBezTo>
                  <a:cubicBezTo>
                    <a:pt x="2397" y="21599"/>
                    <a:pt x="2083" y="21465"/>
                    <a:pt x="1815" y="21192"/>
                  </a:cubicBezTo>
                  <a:lnTo>
                    <a:pt x="408" y="19787"/>
                  </a:lnTo>
                  <a:cubicBezTo>
                    <a:pt x="135" y="19520"/>
                    <a:pt x="0" y="19200"/>
                    <a:pt x="0" y="18839"/>
                  </a:cubicBezTo>
                  <a:cubicBezTo>
                    <a:pt x="0" y="18481"/>
                    <a:pt x="135" y="18164"/>
                    <a:pt x="408" y="17891"/>
                  </a:cubicBezTo>
                  <a:lnTo>
                    <a:pt x="7556" y="10731"/>
                  </a:lnTo>
                  <a:lnTo>
                    <a:pt x="408" y="3708"/>
                  </a:lnTo>
                  <a:cubicBezTo>
                    <a:pt x="135" y="3435"/>
                    <a:pt x="0" y="3121"/>
                    <a:pt x="0" y="2760"/>
                  </a:cubicBezTo>
                  <a:cubicBezTo>
                    <a:pt x="0" y="2399"/>
                    <a:pt x="135" y="2082"/>
                    <a:pt x="408" y="1815"/>
                  </a:cubicBezTo>
                  <a:lnTo>
                    <a:pt x="1815" y="407"/>
                  </a:lnTo>
                  <a:cubicBezTo>
                    <a:pt x="2085" y="135"/>
                    <a:pt x="2403" y="0"/>
                    <a:pt x="2770" y="0"/>
                  </a:cubicBezTo>
                  <a:cubicBezTo>
                    <a:pt x="3134" y="0"/>
                    <a:pt x="3449" y="134"/>
                    <a:pt x="3710" y="407"/>
                  </a:cubicBezTo>
                  <a:lnTo>
                    <a:pt x="10800" y="7486"/>
                  </a:lnTo>
                  <a:lnTo>
                    <a:pt x="17889" y="407"/>
                  </a:lnTo>
                  <a:cubicBezTo>
                    <a:pt x="18159" y="135"/>
                    <a:pt x="18476" y="0"/>
                    <a:pt x="18838" y="0"/>
                  </a:cubicBezTo>
                  <a:cubicBezTo>
                    <a:pt x="19196" y="0"/>
                    <a:pt x="19514" y="134"/>
                    <a:pt x="19784" y="407"/>
                  </a:cubicBezTo>
                  <a:lnTo>
                    <a:pt x="21191" y="1815"/>
                  </a:lnTo>
                  <a:cubicBezTo>
                    <a:pt x="21461" y="2082"/>
                    <a:pt x="21599" y="2402"/>
                    <a:pt x="21599" y="2769"/>
                  </a:cubicBezTo>
                  <a:cubicBezTo>
                    <a:pt x="21599" y="3133"/>
                    <a:pt x="21461" y="3447"/>
                    <a:pt x="21191" y="3708"/>
                  </a:cubicBezTo>
                  <a:lnTo>
                    <a:pt x="14043" y="10869"/>
                  </a:lnTo>
                  <a:lnTo>
                    <a:pt x="21191" y="17891"/>
                  </a:lnTo>
                  <a:close/>
                </a:path>
              </a:pathLst>
            </a:custGeom>
            <a:solidFill>
              <a:schemeClr val="accent3"/>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31" name="AutoShape 105"/>
            <p:cNvSpPr>
              <a:spLocks/>
            </p:cNvSpPr>
            <p:nvPr/>
          </p:nvSpPr>
          <p:spPr bwMode="auto">
            <a:xfrm>
              <a:off x="20501063" y="7637930"/>
              <a:ext cx="448281" cy="45037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91" y="17891"/>
                  </a:moveTo>
                  <a:cubicBezTo>
                    <a:pt x="21461" y="18164"/>
                    <a:pt x="21599" y="18475"/>
                    <a:pt x="21599" y="18824"/>
                  </a:cubicBezTo>
                  <a:cubicBezTo>
                    <a:pt x="21599" y="19176"/>
                    <a:pt x="21461" y="19490"/>
                    <a:pt x="21191" y="19760"/>
                  </a:cubicBezTo>
                  <a:lnTo>
                    <a:pt x="19784" y="21192"/>
                  </a:lnTo>
                  <a:cubicBezTo>
                    <a:pt x="19514" y="21465"/>
                    <a:pt x="19196" y="21599"/>
                    <a:pt x="18829" y="21599"/>
                  </a:cubicBezTo>
                  <a:cubicBezTo>
                    <a:pt x="18465" y="21599"/>
                    <a:pt x="18150" y="21465"/>
                    <a:pt x="17889" y="21192"/>
                  </a:cubicBezTo>
                  <a:lnTo>
                    <a:pt x="10800" y="14101"/>
                  </a:lnTo>
                  <a:lnTo>
                    <a:pt x="3684" y="21192"/>
                  </a:lnTo>
                  <a:cubicBezTo>
                    <a:pt x="3410" y="21465"/>
                    <a:pt x="3099" y="21599"/>
                    <a:pt x="2749" y="21599"/>
                  </a:cubicBezTo>
                  <a:cubicBezTo>
                    <a:pt x="2397" y="21599"/>
                    <a:pt x="2083" y="21465"/>
                    <a:pt x="1815" y="21192"/>
                  </a:cubicBezTo>
                  <a:lnTo>
                    <a:pt x="408" y="19787"/>
                  </a:lnTo>
                  <a:cubicBezTo>
                    <a:pt x="135" y="19520"/>
                    <a:pt x="0" y="19200"/>
                    <a:pt x="0" y="18839"/>
                  </a:cubicBezTo>
                  <a:cubicBezTo>
                    <a:pt x="0" y="18481"/>
                    <a:pt x="135" y="18164"/>
                    <a:pt x="408" y="17891"/>
                  </a:cubicBezTo>
                  <a:lnTo>
                    <a:pt x="7556" y="10731"/>
                  </a:lnTo>
                  <a:lnTo>
                    <a:pt x="408" y="3708"/>
                  </a:lnTo>
                  <a:cubicBezTo>
                    <a:pt x="135" y="3435"/>
                    <a:pt x="0" y="3121"/>
                    <a:pt x="0" y="2760"/>
                  </a:cubicBezTo>
                  <a:cubicBezTo>
                    <a:pt x="0" y="2399"/>
                    <a:pt x="135" y="2082"/>
                    <a:pt x="408" y="1815"/>
                  </a:cubicBezTo>
                  <a:lnTo>
                    <a:pt x="1815" y="407"/>
                  </a:lnTo>
                  <a:cubicBezTo>
                    <a:pt x="2085" y="135"/>
                    <a:pt x="2403" y="0"/>
                    <a:pt x="2770" y="0"/>
                  </a:cubicBezTo>
                  <a:cubicBezTo>
                    <a:pt x="3134" y="0"/>
                    <a:pt x="3449" y="134"/>
                    <a:pt x="3710" y="407"/>
                  </a:cubicBezTo>
                  <a:lnTo>
                    <a:pt x="10800" y="7486"/>
                  </a:lnTo>
                  <a:lnTo>
                    <a:pt x="17889" y="407"/>
                  </a:lnTo>
                  <a:cubicBezTo>
                    <a:pt x="18159" y="135"/>
                    <a:pt x="18476" y="0"/>
                    <a:pt x="18838" y="0"/>
                  </a:cubicBezTo>
                  <a:cubicBezTo>
                    <a:pt x="19196" y="0"/>
                    <a:pt x="19514" y="134"/>
                    <a:pt x="19784" y="407"/>
                  </a:cubicBezTo>
                  <a:lnTo>
                    <a:pt x="21191" y="1815"/>
                  </a:lnTo>
                  <a:cubicBezTo>
                    <a:pt x="21461" y="2082"/>
                    <a:pt x="21599" y="2402"/>
                    <a:pt x="21599" y="2769"/>
                  </a:cubicBezTo>
                  <a:cubicBezTo>
                    <a:pt x="21599" y="3133"/>
                    <a:pt x="21461" y="3447"/>
                    <a:pt x="21191" y="3708"/>
                  </a:cubicBezTo>
                  <a:lnTo>
                    <a:pt x="14043" y="10869"/>
                  </a:lnTo>
                  <a:lnTo>
                    <a:pt x="21191" y="17891"/>
                  </a:lnTo>
                  <a:close/>
                </a:path>
              </a:pathLst>
            </a:custGeom>
            <a:solidFill>
              <a:schemeClr val="accent4"/>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32" name="AutoShape 105"/>
            <p:cNvSpPr>
              <a:spLocks/>
            </p:cNvSpPr>
            <p:nvPr/>
          </p:nvSpPr>
          <p:spPr bwMode="auto">
            <a:xfrm>
              <a:off x="20501063" y="9539754"/>
              <a:ext cx="448281" cy="450373"/>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191" y="17891"/>
                  </a:moveTo>
                  <a:cubicBezTo>
                    <a:pt x="21461" y="18164"/>
                    <a:pt x="21599" y="18475"/>
                    <a:pt x="21599" y="18824"/>
                  </a:cubicBezTo>
                  <a:cubicBezTo>
                    <a:pt x="21599" y="19176"/>
                    <a:pt x="21461" y="19490"/>
                    <a:pt x="21191" y="19760"/>
                  </a:cubicBezTo>
                  <a:lnTo>
                    <a:pt x="19784" y="21192"/>
                  </a:lnTo>
                  <a:cubicBezTo>
                    <a:pt x="19514" y="21465"/>
                    <a:pt x="19196" y="21599"/>
                    <a:pt x="18829" y="21599"/>
                  </a:cubicBezTo>
                  <a:cubicBezTo>
                    <a:pt x="18465" y="21599"/>
                    <a:pt x="18150" y="21465"/>
                    <a:pt x="17889" y="21192"/>
                  </a:cubicBezTo>
                  <a:lnTo>
                    <a:pt x="10800" y="14101"/>
                  </a:lnTo>
                  <a:lnTo>
                    <a:pt x="3684" y="21192"/>
                  </a:lnTo>
                  <a:cubicBezTo>
                    <a:pt x="3410" y="21465"/>
                    <a:pt x="3099" y="21599"/>
                    <a:pt x="2749" y="21599"/>
                  </a:cubicBezTo>
                  <a:cubicBezTo>
                    <a:pt x="2397" y="21599"/>
                    <a:pt x="2083" y="21465"/>
                    <a:pt x="1815" y="21192"/>
                  </a:cubicBezTo>
                  <a:lnTo>
                    <a:pt x="408" y="19787"/>
                  </a:lnTo>
                  <a:cubicBezTo>
                    <a:pt x="135" y="19520"/>
                    <a:pt x="0" y="19200"/>
                    <a:pt x="0" y="18839"/>
                  </a:cubicBezTo>
                  <a:cubicBezTo>
                    <a:pt x="0" y="18481"/>
                    <a:pt x="135" y="18164"/>
                    <a:pt x="408" y="17891"/>
                  </a:cubicBezTo>
                  <a:lnTo>
                    <a:pt x="7556" y="10731"/>
                  </a:lnTo>
                  <a:lnTo>
                    <a:pt x="408" y="3708"/>
                  </a:lnTo>
                  <a:cubicBezTo>
                    <a:pt x="135" y="3435"/>
                    <a:pt x="0" y="3121"/>
                    <a:pt x="0" y="2760"/>
                  </a:cubicBezTo>
                  <a:cubicBezTo>
                    <a:pt x="0" y="2399"/>
                    <a:pt x="135" y="2082"/>
                    <a:pt x="408" y="1815"/>
                  </a:cubicBezTo>
                  <a:lnTo>
                    <a:pt x="1815" y="407"/>
                  </a:lnTo>
                  <a:cubicBezTo>
                    <a:pt x="2085" y="135"/>
                    <a:pt x="2403" y="0"/>
                    <a:pt x="2770" y="0"/>
                  </a:cubicBezTo>
                  <a:cubicBezTo>
                    <a:pt x="3134" y="0"/>
                    <a:pt x="3449" y="134"/>
                    <a:pt x="3710" y="407"/>
                  </a:cubicBezTo>
                  <a:lnTo>
                    <a:pt x="10800" y="7486"/>
                  </a:lnTo>
                  <a:lnTo>
                    <a:pt x="17889" y="407"/>
                  </a:lnTo>
                  <a:cubicBezTo>
                    <a:pt x="18159" y="135"/>
                    <a:pt x="18476" y="0"/>
                    <a:pt x="18838" y="0"/>
                  </a:cubicBezTo>
                  <a:cubicBezTo>
                    <a:pt x="19196" y="0"/>
                    <a:pt x="19514" y="134"/>
                    <a:pt x="19784" y="407"/>
                  </a:cubicBezTo>
                  <a:lnTo>
                    <a:pt x="21191" y="1815"/>
                  </a:lnTo>
                  <a:cubicBezTo>
                    <a:pt x="21461" y="2082"/>
                    <a:pt x="21599" y="2402"/>
                    <a:pt x="21599" y="2769"/>
                  </a:cubicBezTo>
                  <a:cubicBezTo>
                    <a:pt x="21599" y="3133"/>
                    <a:pt x="21461" y="3447"/>
                    <a:pt x="21191" y="3708"/>
                  </a:cubicBezTo>
                  <a:lnTo>
                    <a:pt x="14043" y="10869"/>
                  </a:lnTo>
                  <a:lnTo>
                    <a:pt x="21191" y="17891"/>
                  </a:lnTo>
                  <a:close/>
                </a:path>
              </a:pathLst>
            </a:custGeom>
            <a:solidFill>
              <a:schemeClr val="accent4"/>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33" name="AutoShape 39"/>
            <p:cNvSpPr>
              <a:spLocks/>
            </p:cNvSpPr>
            <p:nvPr/>
          </p:nvSpPr>
          <p:spPr bwMode="auto">
            <a:xfrm>
              <a:off x="9552736" y="7600364"/>
              <a:ext cx="493109" cy="448573"/>
            </a:xfrm>
            <a:custGeom>
              <a:avLst/>
              <a:gdLst>
                <a:gd name="T0" fmla="*/ 10797 w 21595"/>
                <a:gd name="T1" fmla="*/ 10800 h 21600"/>
                <a:gd name="T2" fmla="*/ 10797 w 21595"/>
                <a:gd name="T3" fmla="*/ 10800 h 21600"/>
                <a:gd name="T4" fmla="*/ 10797 w 21595"/>
                <a:gd name="T5" fmla="*/ 10800 h 21600"/>
                <a:gd name="T6" fmla="*/ 10797 w 21595"/>
                <a:gd name="T7" fmla="*/ 10800 h 21600"/>
              </a:gdLst>
              <a:ahLst/>
              <a:cxnLst>
                <a:cxn ang="0">
                  <a:pos x="T0" y="T1"/>
                </a:cxn>
                <a:cxn ang="0">
                  <a:pos x="T2" y="T3"/>
                </a:cxn>
                <a:cxn ang="0">
                  <a:pos x="T4" y="T5"/>
                </a:cxn>
                <a:cxn ang="0">
                  <a:pos x="T6" y="T7"/>
                </a:cxn>
              </a:cxnLst>
              <a:rect l="0" t="0" r="r" b="b"/>
              <a:pathLst>
                <a:path w="21595" h="21600">
                  <a:moveTo>
                    <a:pt x="8043" y="21599"/>
                  </a:moveTo>
                  <a:cubicBezTo>
                    <a:pt x="7769" y="21599"/>
                    <a:pt x="7477" y="21507"/>
                    <a:pt x="7164" y="21320"/>
                  </a:cubicBezTo>
                  <a:cubicBezTo>
                    <a:pt x="6850" y="21132"/>
                    <a:pt x="6608" y="20916"/>
                    <a:pt x="6436" y="20665"/>
                  </a:cubicBezTo>
                  <a:lnTo>
                    <a:pt x="266" y="11697"/>
                  </a:lnTo>
                  <a:cubicBezTo>
                    <a:pt x="88" y="11439"/>
                    <a:pt x="0" y="11120"/>
                    <a:pt x="0" y="10741"/>
                  </a:cubicBezTo>
                  <a:cubicBezTo>
                    <a:pt x="0" y="10362"/>
                    <a:pt x="88" y="10047"/>
                    <a:pt x="266" y="9799"/>
                  </a:cubicBezTo>
                  <a:lnTo>
                    <a:pt x="2307" y="6831"/>
                  </a:lnTo>
                  <a:cubicBezTo>
                    <a:pt x="2488" y="6573"/>
                    <a:pt x="2708" y="6445"/>
                    <a:pt x="2970" y="6452"/>
                  </a:cubicBezTo>
                  <a:cubicBezTo>
                    <a:pt x="3233" y="6459"/>
                    <a:pt x="3448" y="6583"/>
                    <a:pt x="3622" y="6831"/>
                  </a:cubicBezTo>
                  <a:lnTo>
                    <a:pt x="7903" y="13022"/>
                  </a:lnTo>
                  <a:cubicBezTo>
                    <a:pt x="8082" y="13280"/>
                    <a:pt x="8302" y="13408"/>
                    <a:pt x="8567" y="13408"/>
                  </a:cubicBezTo>
                  <a:cubicBezTo>
                    <a:pt x="8827" y="13408"/>
                    <a:pt x="9045" y="13280"/>
                    <a:pt x="9221" y="13022"/>
                  </a:cubicBezTo>
                  <a:lnTo>
                    <a:pt x="17965" y="393"/>
                  </a:lnTo>
                  <a:cubicBezTo>
                    <a:pt x="18144" y="127"/>
                    <a:pt x="18364" y="0"/>
                    <a:pt x="18629" y="0"/>
                  </a:cubicBezTo>
                  <a:cubicBezTo>
                    <a:pt x="18888" y="0"/>
                    <a:pt x="19109" y="127"/>
                    <a:pt x="19292" y="393"/>
                  </a:cubicBezTo>
                  <a:lnTo>
                    <a:pt x="21333" y="3339"/>
                  </a:lnTo>
                  <a:cubicBezTo>
                    <a:pt x="21511" y="3601"/>
                    <a:pt x="21600" y="3920"/>
                    <a:pt x="21595" y="4299"/>
                  </a:cubicBezTo>
                  <a:cubicBezTo>
                    <a:pt x="21590" y="4678"/>
                    <a:pt x="21502" y="4993"/>
                    <a:pt x="21333" y="5241"/>
                  </a:cubicBezTo>
                  <a:lnTo>
                    <a:pt x="10664" y="20665"/>
                  </a:lnTo>
                  <a:cubicBezTo>
                    <a:pt x="10482" y="20930"/>
                    <a:pt x="10237" y="21146"/>
                    <a:pt x="9929" y="21330"/>
                  </a:cubicBezTo>
                  <a:cubicBezTo>
                    <a:pt x="9620" y="21511"/>
                    <a:pt x="9339" y="21599"/>
                    <a:pt x="9079" y="21599"/>
                  </a:cubicBezTo>
                  <a:lnTo>
                    <a:pt x="8043" y="21599"/>
                  </a:lnTo>
                  <a:close/>
                </a:path>
              </a:pathLst>
            </a:custGeom>
            <a:solidFill>
              <a:schemeClr val="tx1"/>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34" name="AutoShape 39"/>
            <p:cNvSpPr>
              <a:spLocks/>
            </p:cNvSpPr>
            <p:nvPr/>
          </p:nvSpPr>
          <p:spPr bwMode="auto">
            <a:xfrm>
              <a:off x="9552736" y="9604291"/>
              <a:ext cx="493109" cy="448573"/>
            </a:xfrm>
            <a:custGeom>
              <a:avLst/>
              <a:gdLst>
                <a:gd name="T0" fmla="*/ 10797 w 21595"/>
                <a:gd name="T1" fmla="*/ 10800 h 21600"/>
                <a:gd name="T2" fmla="*/ 10797 w 21595"/>
                <a:gd name="T3" fmla="*/ 10800 h 21600"/>
                <a:gd name="T4" fmla="*/ 10797 w 21595"/>
                <a:gd name="T5" fmla="*/ 10800 h 21600"/>
                <a:gd name="T6" fmla="*/ 10797 w 21595"/>
                <a:gd name="T7" fmla="*/ 10800 h 21600"/>
              </a:gdLst>
              <a:ahLst/>
              <a:cxnLst>
                <a:cxn ang="0">
                  <a:pos x="T0" y="T1"/>
                </a:cxn>
                <a:cxn ang="0">
                  <a:pos x="T2" y="T3"/>
                </a:cxn>
                <a:cxn ang="0">
                  <a:pos x="T4" y="T5"/>
                </a:cxn>
                <a:cxn ang="0">
                  <a:pos x="T6" y="T7"/>
                </a:cxn>
              </a:cxnLst>
              <a:rect l="0" t="0" r="r" b="b"/>
              <a:pathLst>
                <a:path w="21595" h="21600">
                  <a:moveTo>
                    <a:pt x="8043" y="21599"/>
                  </a:moveTo>
                  <a:cubicBezTo>
                    <a:pt x="7769" y="21599"/>
                    <a:pt x="7477" y="21507"/>
                    <a:pt x="7164" y="21320"/>
                  </a:cubicBezTo>
                  <a:cubicBezTo>
                    <a:pt x="6850" y="21132"/>
                    <a:pt x="6608" y="20916"/>
                    <a:pt x="6436" y="20665"/>
                  </a:cubicBezTo>
                  <a:lnTo>
                    <a:pt x="266" y="11697"/>
                  </a:lnTo>
                  <a:cubicBezTo>
                    <a:pt x="88" y="11439"/>
                    <a:pt x="0" y="11120"/>
                    <a:pt x="0" y="10741"/>
                  </a:cubicBezTo>
                  <a:cubicBezTo>
                    <a:pt x="0" y="10362"/>
                    <a:pt x="88" y="10047"/>
                    <a:pt x="266" y="9799"/>
                  </a:cubicBezTo>
                  <a:lnTo>
                    <a:pt x="2307" y="6831"/>
                  </a:lnTo>
                  <a:cubicBezTo>
                    <a:pt x="2488" y="6573"/>
                    <a:pt x="2708" y="6445"/>
                    <a:pt x="2970" y="6452"/>
                  </a:cubicBezTo>
                  <a:cubicBezTo>
                    <a:pt x="3233" y="6459"/>
                    <a:pt x="3448" y="6583"/>
                    <a:pt x="3622" y="6831"/>
                  </a:cubicBezTo>
                  <a:lnTo>
                    <a:pt x="7903" y="13022"/>
                  </a:lnTo>
                  <a:cubicBezTo>
                    <a:pt x="8082" y="13280"/>
                    <a:pt x="8302" y="13408"/>
                    <a:pt x="8567" y="13408"/>
                  </a:cubicBezTo>
                  <a:cubicBezTo>
                    <a:pt x="8827" y="13408"/>
                    <a:pt x="9045" y="13280"/>
                    <a:pt x="9221" y="13022"/>
                  </a:cubicBezTo>
                  <a:lnTo>
                    <a:pt x="17965" y="393"/>
                  </a:lnTo>
                  <a:cubicBezTo>
                    <a:pt x="18144" y="127"/>
                    <a:pt x="18364" y="0"/>
                    <a:pt x="18629" y="0"/>
                  </a:cubicBezTo>
                  <a:cubicBezTo>
                    <a:pt x="18888" y="0"/>
                    <a:pt x="19109" y="127"/>
                    <a:pt x="19292" y="393"/>
                  </a:cubicBezTo>
                  <a:lnTo>
                    <a:pt x="21333" y="3339"/>
                  </a:lnTo>
                  <a:cubicBezTo>
                    <a:pt x="21511" y="3601"/>
                    <a:pt x="21600" y="3920"/>
                    <a:pt x="21595" y="4299"/>
                  </a:cubicBezTo>
                  <a:cubicBezTo>
                    <a:pt x="21590" y="4678"/>
                    <a:pt x="21502" y="4993"/>
                    <a:pt x="21333" y="5241"/>
                  </a:cubicBezTo>
                  <a:lnTo>
                    <a:pt x="10664" y="20665"/>
                  </a:lnTo>
                  <a:cubicBezTo>
                    <a:pt x="10482" y="20930"/>
                    <a:pt x="10237" y="21146"/>
                    <a:pt x="9929" y="21330"/>
                  </a:cubicBezTo>
                  <a:cubicBezTo>
                    <a:pt x="9620" y="21511"/>
                    <a:pt x="9339" y="21599"/>
                    <a:pt x="9079" y="21599"/>
                  </a:cubicBezTo>
                  <a:lnTo>
                    <a:pt x="8043" y="21599"/>
                  </a:lnTo>
                  <a:close/>
                </a:path>
              </a:pathLst>
            </a:custGeom>
            <a:solidFill>
              <a:schemeClr val="tx1"/>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35" name="AutoShape 39"/>
            <p:cNvSpPr>
              <a:spLocks/>
            </p:cNvSpPr>
            <p:nvPr/>
          </p:nvSpPr>
          <p:spPr bwMode="auto">
            <a:xfrm>
              <a:off x="16816707" y="7675946"/>
              <a:ext cx="493109" cy="448573"/>
            </a:xfrm>
            <a:custGeom>
              <a:avLst/>
              <a:gdLst>
                <a:gd name="T0" fmla="*/ 10797 w 21595"/>
                <a:gd name="T1" fmla="*/ 10800 h 21600"/>
                <a:gd name="T2" fmla="*/ 10797 w 21595"/>
                <a:gd name="T3" fmla="*/ 10800 h 21600"/>
                <a:gd name="T4" fmla="*/ 10797 w 21595"/>
                <a:gd name="T5" fmla="*/ 10800 h 21600"/>
                <a:gd name="T6" fmla="*/ 10797 w 21595"/>
                <a:gd name="T7" fmla="*/ 10800 h 21600"/>
              </a:gdLst>
              <a:ahLst/>
              <a:cxnLst>
                <a:cxn ang="0">
                  <a:pos x="T0" y="T1"/>
                </a:cxn>
                <a:cxn ang="0">
                  <a:pos x="T2" y="T3"/>
                </a:cxn>
                <a:cxn ang="0">
                  <a:pos x="T4" y="T5"/>
                </a:cxn>
                <a:cxn ang="0">
                  <a:pos x="T6" y="T7"/>
                </a:cxn>
              </a:cxnLst>
              <a:rect l="0" t="0" r="r" b="b"/>
              <a:pathLst>
                <a:path w="21595" h="21600">
                  <a:moveTo>
                    <a:pt x="8043" y="21599"/>
                  </a:moveTo>
                  <a:cubicBezTo>
                    <a:pt x="7769" y="21599"/>
                    <a:pt x="7477" y="21507"/>
                    <a:pt x="7164" y="21320"/>
                  </a:cubicBezTo>
                  <a:cubicBezTo>
                    <a:pt x="6850" y="21132"/>
                    <a:pt x="6608" y="20916"/>
                    <a:pt x="6436" y="20665"/>
                  </a:cubicBezTo>
                  <a:lnTo>
                    <a:pt x="266" y="11697"/>
                  </a:lnTo>
                  <a:cubicBezTo>
                    <a:pt x="88" y="11439"/>
                    <a:pt x="0" y="11120"/>
                    <a:pt x="0" y="10741"/>
                  </a:cubicBezTo>
                  <a:cubicBezTo>
                    <a:pt x="0" y="10362"/>
                    <a:pt x="88" y="10047"/>
                    <a:pt x="266" y="9799"/>
                  </a:cubicBezTo>
                  <a:lnTo>
                    <a:pt x="2307" y="6831"/>
                  </a:lnTo>
                  <a:cubicBezTo>
                    <a:pt x="2488" y="6573"/>
                    <a:pt x="2708" y="6445"/>
                    <a:pt x="2970" y="6452"/>
                  </a:cubicBezTo>
                  <a:cubicBezTo>
                    <a:pt x="3233" y="6459"/>
                    <a:pt x="3448" y="6583"/>
                    <a:pt x="3622" y="6831"/>
                  </a:cubicBezTo>
                  <a:lnTo>
                    <a:pt x="7903" y="13022"/>
                  </a:lnTo>
                  <a:cubicBezTo>
                    <a:pt x="8082" y="13280"/>
                    <a:pt x="8302" y="13408"/>
                    <a:pt x="8567" y="13408"/>
                  </a:cubicBezTo>
                  <a:cubicBezTo>
                    <a:pt x="8827" y="13408"/>
                    <a:pt x="9045" y="13280"/>
                    <a:pt x="9221" y="13022"/>
                  </a:cubicBezTo>
                  <a:lnTo>
                    <a:pt x="17965" y="393"/>
                  </a:lnTo>
                  <a:cubicBezTo>
                    <a:pt x="18144" y="127"/>
                    <a:pt x="18364" y="0"/>
                    <a:pt x="18629" y="0"/>
                  </a:cubicBezTo>
                  <a:cubicBezTo>
                    <a:pt x="18888" y="0"/>
                    <a:pt x="19109" y="127"/>
                    <a:pt x="19292" y="393"/>
                  </a:cubicBezTo>
                  <a:lnTo>
                    <a:pt x="21333" y="3339"/>
                  </a:lnTo>
                  <a:cubicBezTo>
                    <a:pt x="21511" y="3601"/>
                    <a:pt x="21600" y="3920"/>
                    <a:pt x="21595" y="4299"/>
                  </a:cubicBezTo>
                  <a:cubicBezTo>
                    <a:pt x="21590" y="4678"/>
                    <a:pt x="21502" y="4993"/>
                    <a:pt x="21333" y="5241"/>
                  </a:cubicBezTo>
                  <a:lnTo>
                    <a:pt x="10664" y="20665"/>
                  </a:lnTo>
                  <a:cubicBezTo>
                    <a:pt x="10482" y="20930"/>
                    <a:pt x="10237" y="21146"/>
                    <a:pt x="9929" y="21330"/>
                  </a:cubicBezTo>
                  <a:cubicBezTo>
                    <a:pt x="9620" y="21511"/>
                    <a:pt x="9339" y="21599"/>
                    <a:pt x="9079" y="21599"/>
                  </a:cubicBezTo>
                  <a:lnTo>
                    <a:pt x="8043" y="21599"/>
                  </a:lnTo>
                  <a:close/>
                </a:path>
              </a:pathLst>
            </a:custGeom>
            <a:solidFill>
              <a:schemeClr val="tx1"/>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36" name="AutoShape 39"/>
            <p:cNvSpPr>
              <a:spLocks/>
            </p:cNvSpPr>
            <p:nvPr/>
          </p:nvSpPr>
          <p:spPr bwMode="auto">
            <a:xfrm>
              <a:off x="16816707" y="9679873"/>
              <a:ext cx="493109" cy="448573"/>
            </a:xfrm>
            <a:custGeom>
              <a:avLst/>
              <a:gdLst>
                <a:gd name="T0" fmla="*/ 10797 w 21595"/>
                <a:gd name="T1" fmla="*/ 10800 h 21600"/>
                <a:gd name="T2" fmla="*/ 10797 w 21595"/>
                <a:gd name="T3" fmla="*/ 10800 h 21600"/>
                <a:gd name="T4" fmla="*/ 10797 w 21595"/>
                <a:gd name="T5" fmla="*/ 10800 h 21600"/>
                <a:gd name="T6" fmla="*/ 10797 w 21595"/>
                <a:gd name="T7" fmla="*/ 10800 h 21600"/>
              </a:gdLst>
              <a:ahLst/>
              <a:cxnLst>
                <a:cxn ang="0">
                  <a:pos x="T0" y="T1"/>
                </a:cxn>
                <a:cxn ang="0">
                  <a:pos x="T2" y="T3"/>
                </a:cxn>
                <a:cxn ang="0">
                  <a:pos x="T4" y="T5"/>
                </a:cxn>
                <a:cxn ang="0">
                  <a:pos x="T6" y="T7"/>
                </a:cxn>
              </a:cxnLst>
              <a:rect l="0" t="0" r="r" b="b"/>
              <a:pathLst>
                <a:path w="21595" h="21600">
                  <a:moveTo>
                    <a:pt x="8043" y="21599"/>
                  </a:moveTo>
                  <a:cubicBezTo>
                    <a:pt x="7769" y="21599"/>
                    <a:pt x="7477" y="21507"/>
                    <a:pt x="7164" y="21320"/>
                  </a:cubicBezTo>
                  <a:cubicBezTo>
                    <a:pt x="6850" y="21132"/>
                    <a:pt x="6608" y="20916"/>
                    <a:pt x="6436" y="20665"/>
                  </a:cubicBezTo>
                  <a:lnTo>
                    <a:pt x="266" y="11697"/>
                  </a:lnTo>
                  <a:cubicBezTo>
                    <a:pt x="88" y="11439"/>
                    <a:pt x="0" y="11120"/>
                    <a:pt x="0" y="10741"/>
                  </a:cubicBezTo>
                  <a:cubicBezTo>
                    <a:pt x="0" y="10362"/>
                    <a:pt x="88" y="10047"/>
                    <a:pt x="266" y="9799"/>
                  </a:cubicBezTo>
                  <a:lnTo>
                    <a:pt x="2307" y="6831"/>
                  </a:lnTo>
                  <a:cubicBezTo>
                    <a:pt x="2488" y="6573"/>
                    <a:pt x="2708" y="6445"/>
                    <a:pt x="2970" y="6452"/>
                  </a:cubicBezTo>
                  <a:cubicBezTo>
                    <a:pt x="3233" y="6459"/>
                    <a:pt x="3448" y="6583"/>
                    <a:pt x="3622" y="6831"/>
                  </a:cubicBezTo>
                  <a:lnTo>
                    <a:pt x="7903" y="13022"/>
                  </a:lnTo>
                  <a:cubicBezTo>
                    <a:pt x="8082" y="13280"/>
                    <a:pt x="8302" y="13408"/>
                    <a:pt x="8567" y="13408"/>
                  </a:cubicBezTo>
                  <a:cubicBezTo>
                    <a:pt x="8827" y="13408"/>
                    <a:pt x="9045" y="13280"/>
                    <a:pt x="9221" y="13022"/>
                  </a:cubicBezTo>
                  <a:lnTo>
                    <a:pt x="17965" y="393"/>
                  </a:lnTo>
                  <a:cubicBezTo>
                    <a:pt x="18144" y="127"/>
                    <a:pt x="18364" y="0"/>
                    <a:pt x="18629" y="0"/>
                  </a:cubicBezTo>
                  <a:cubicBezTo>
                    <a:pt x="18888" y="0"/>
                    <a:pt x="19109" y="127"/>
                    <a:pt x="19292" y="393"/>
                  </a:cubicBezTo>
                  <a:lnTo>
                    <a:pt x="21333" y="3339"/>
                  </a:lnTo>
                  <a:cubicBezTo>
                    <a:pt x="21511" y="3601"/>
                    <a:pt x="21600" y="3920"/>
                    <a:pt x="21595" y="4299"/>
                  </a:cubicBezTo>
                  <a:cubicBezTo>
                    <a:pt x="21590" y="4678"/>
                    <a:pt x="21502" y="4993"/>
                    <a:pt x="21333" y="5241"/>
                  </a:cubicBezTo>
                  <a:lnTo>
                    <a:pt x="10664" y="20665"/>
                  </a:lnTo>
                  <a:cubicBezTo>
                    <a:pt x="10482" y="20930"/>
                    <a:pt x="10237" y="21146"/>
                    <a:pt x="9929" y="21330"/>
                  </a:cubicBezTo>
                  <a:cubicBezTo>
                    <a:pt x="9620" y="21511"/>
                    <a:pt x="9339" y="21599"/>
                    <a:pt x="9079" y="21599"/>
                  </a:cubicBezTo>
                  <a:lnTo>
                    <a:pt x="8043" y="21599"/>
                  </a:lnTo>
                  <a:close/>
                </a:path>
              </a:pathLst>
            </a:custGeom>
            <a:solidFill>
              <a:schemeClr val="tx1"/>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sp>
          <p:nvSpPr>
            <p:cNvPr id="37" name="AutoShape 39"/>
            <p:cNvSpPr>
              <a:spLocks/>
            </p:cNvSpPr>
            <p:nvPr/>
          </p:nvSpPr>
          <p:spPr bwMode="auto">
            <a:xfrm>
              <a:off x="13177851" y="10510719"/>
              <a:ext cx="493109" cy="448573"/>
            </a:xfrm>
            <a:custGeom>
              <a:avLst/>
              <a:gdLst>
                <a:gd name="T0" fmla="*/ 10797 w 21595"/>
                <a:gd name="T1" fmla="*/ 10800 h 21600"/>
                <a:gd name="T2" fmla="*/ 10797 w 21595"/>
                <a:gd name="T3" fmla="*/ 10800 h 21600"/>
                <a:gd name="T4" fmla="*/ 10797 w 21595"/>
                <a:gd name="T5" fmla="*/ 10800 h 21600"/>
                <a:gd name="T6" fmla="*/ 10797 w 21595"/>
                <a:gd name="T7" fmla="*/ 10800 h 21600"/>
              </a:gdLst>
              <a:ahLst/>
              <a:cxnLst>
                <a:cxn ang="0">
                  <a:pos x="T0" y="T1"/>
                </a:cxn>
                <a:cxn ang="0">
                  <a:pos x="T2" y="T3"/>
                </a:cxn>
                <a:cxn ang="0">
                  <a:pos x="T4" y="T5"/>
                </a:cxn>
                <a:cxn ang="0">
                  <a:pos x="T6" y="T7"/>
                </a:cxn>
              </a:cxnLst>
              <a:rect l="0" t="0" r="r" b="b"/>
              <a:pathLst>
                <a:path w="21595" h="21600">
                  <a:moveTo>
                    <a:pt x="8043" y="21599"/>
                  </a:moveTo>
                  <a:cubicBezTo>
                    <a:pt x="7769" y="21599"/>
                    <a:pt x="7477" y="21507"/>
                    <a:pt x="7164" y="21320"/>
                  </a:cubicBezTo>
                  <a:cubicBezTo>
                    <a:pt x="6850" y="21132"/>
                    <a:pt x="6608" y="20916"/>
                    <a:pt x="6436" y="20665"/>
                  </a:cubicBezTo>
                  <a:lnTo>
                    <a:pt x="266" y="11697"/>
                  </a:lnTo>
                  <a:cubicBezTo>
                    <a:pt x="88" y="11439"/>
                    <a:pt x="0" y="11120"/>
                    <a:pt x="0" y="10741"/>
                  </a:cubicBezTo>
                  <a:cubicBezTo>
                    <a:pt x="0" y="10362"/>
                    <a:pt x="88" y="10047"/>
                    <a:pt x="266" y="9799"/>
                  </a:cubicBezTo>
                  <a:lnTo>
                    <a:pt x="2307" y="6831"/>
                  </a:lnTo>
                  <a:cubicBezTo>
                    <a:pt x="2488" y="6573"/>
                    <a:pt x="2708" y="6445"/>
                    <a:pt x="2970" y="6452"/>
                  </a:cubicBezTo>
                  <a:cubicBezTo>
                    <a:pt x="3233" y="6459"/>
                    <a:pt x="3448" y="6583"/>
                    <a:pt x="3622" y="6831"/>
                  </a:cubicBezTo>
                  <a:lnTo>
                    <a:pt x="7903" y="13022"/>
                  </a:lnTo>
                  <a:cubicBezTo>
                    <a:pt x="8082" y="13280"/>
                    <a:pt x="8302" y="13408"/>
                    <a:pt x="8567" y="13408"/>
                  </a:cubicBezTo>
                  <a:cubicBezTo>
                    <a:pt x="8827" y="13408"/>
                    <a:pt x="9045" y="13280"/>
                    <a:pt x="9221" y="13022"/>
                  </a:cubicBezTo>
                  <a:lnTo>
                    <a:pt x="17965" y="393"/>
                  </a:lnTo>
                  <a:cubicBezTo>
                    <a:pt x="18144" y="127"/>
                    <a:pt x="18364" y="0"/>
                    <a:pt x="18629" y="0"/>
                  </a:cubicBezTo>
                  <a:cubicBezTo>
                    <a:pt x="18888" y="0"/>
                    <a:pt x="19109" y="127"/>
                    <a:pt x="19292" y="393"/>
                  </a:cubicBezTo>
                  <a:lnTo>
                    <a:pt x="21333" y="3339"/>
                  </a:lnTo>
                  <a:cubicBezTo>
                    <a:pt x="21511" y="3601"/>
                    <a:pt x="21600" y="3920"/>
                    <a:pt x="21595" y="4299"/>
                  </a:cubicBezTo>
                  <a:cubicBezTo>
                    <a:pt x="21590" y="4678"/>
                    <a:pt x="21502" y="4993"/>
                    <a:pt x="21333" y="5241"/>
                  </a:cubicBezTo>
                  <a:lnTo>
                    <a:pt x="10664" y="20665"/>
                  </a:lnTo>
                  <a:cubicBezTo>
                    <a:pt x="10482" y="20930"/>
                    <a:pt x="10237" y="21146"/>
                    <a:pt x="9929" y="21330"/>
                  </a:cubicBezTo>
                  <a:cubicBezTo>
                    <a:pt x="9620" y="21511"/>
                    <a:pt x="9339" y="21599"/>
                    <a:pt x="9079" y="21599"/>
                  </a:cubicBezTo>
                  <a:lnTo>
                    <a:pt x="8043" y="21599"/>
                  </a:lnTo>
                  <a:close/>
                </a:path>
              </a:pathLst>
            </a:custGeom>
            <a:solidFill>
              <a:schemeClr val="tx1"/>
            </a:solidFill>
            <a:ln>
              <a:noFill/>
            </a:ln>
            <a:effectLst/>
            <a:extLst/>
          </p:spPr>
          <p:txBody>
            <a:bodyPr lIns="101578" tIns="101578" rIns="101578" bIns="101578" anchor="ctr"/>
            <a:lstStyle/>
            <a:p>
              <a:pPr defTabSz="914195">
                <a:defRPr/>
              </a:pPr>
              <a:endParaRPr lang="es-ES" sz="5800" dirty="0">
                <a:solidFill>
                  <a:schemeClr val="bg1"/>
                </a:solidFill>
                <a:effectLst>
                  <a:outerShdw blurRad="38100" dist="38100" dir="2700000" algn="tl">
                    <a:srgbClr val="000000"/>
                  </a:outerShdw>
                </a:effectLst>
                <a:latin typeface="Gill Sans" charset="0"/>
                <a:cs typeface="Gill Sans" charset="0"/>
                <a:sym typeface="Gill Sans" charset="0"/>
              </a:endParaRPr>
            </a:p>
          </p:txBody>
        </p:sp>
      </p:grpSp>
      <p:sp>
        <p:nvSpPr>
          <p:cNvPr id="4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3_84</a:t>
            </a:r>
            <a:endParaRPr lang="en-US" sz="100" dirty="0" err="1" smtClean="0">
              <a:solidFill>
                <a:srgbClr val="FFFFFF"/>
              </a:solidFill>
            </a:endParaRPr>
          </a:p>
        </p:txBody>
      </p:sp>
    </p:spTree>
    <p:extLst>
      <p:ext uri="{BB962C8B-B14F-4D97-AF65-F5344CB8AC3E}">
        <p14:creationId xmlns:p14="http://schemas.microsoft.com/office/powerpoint/2010/main" val="334266550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 </a:t>
            </a:r>
            <a:endParaRPr lang="en-US" dirty="0"/>
          </a:p>
        </p:txBody>
      </p:sp>
      <p:sp>
        <p:nvSpPr>
          <p:cNvPr id="4" name="Title 20"/>
          <p:cNvSpPr txBox="1">
            <a:spLocks/>
          </p:cNvSpPr>
          <p:nvPr/>
        </p:nvSpPr>
        <p:spPr>
          <a:xfrm>
            <a:off x="815958" y="3945015"/>
            <a:ext cx="5540449" cy="369333"/>
          </a:xfrm>
          <a:prstGeom prst="rect">
            <a:avLst/>
          </a:prstGeom>
        </p:spPr>
        <p:txBody>
          <a:bodyPr vert="horz" wrap="square" lIns="91440" tIns="0" rIns="91440"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r>
              <a:rPr lang="en-US" sz="2400" dirty="0">
                <a:solidFill>
                  <a:schemeClr val="tx1"/>
                </a:solidFill>
                <a:latin typeface="+mj-lt"/>
                <a:cs typeface="Open Sans Light"/>
              </a:rPr>
              <a:t>Internal Factors</a:t>
            </a:r>
          </a:p>
        </p:txBody>
      </p:sp>
      <p:sp>
        <p:nvSpPr>
          <p:cNvPr id="5" name="Title 20"/>
          <p:cNvSpPr txBox="1">
            <a:spLocks/>
          </p:cNvSpPr>
          <p:nvPr/>
        </p:nvSpPr>
        <p:spPr>
          <a:xfrm>
            <a:off x="815954" y="4600782"/>
            <a:ext cx="5540453" cy="1212641"/>
          </a:xfrm>
          <a:prstGeom prst="rect">
            <a:avLst/>
          </a:prstGeom>
        </p:spPr>
        <p:txBody>
          <a:bodyPr vert="horz" wrap="square" lIns="91440" tIns="45720" rIns="91440" bIns="4572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30000"/>
              </a:lnSpc>
            </a:pPr>
            <a:r>
              <a:rPr lang="pt-BR" sz="1400" dirty="0">
                <a:solidFill>
                  <a:schemeClr val="tx1"/>
                </a:solidFill>
                <a:latin typeface="Roboto Regular" pitchFamily="2" charset="0"/>
                <a:ea typeface="Roboto Regular" pitchFamily="2" charset="0"/>
                <a:cs typeface="Open Sans Light"/>
              </a:rPr>
              <a:t>Lorem ipsum dolor sit amet, consectetur adipiscing elit. Aliquam tincidunt ante nec sem congue convallis. Pellentesque vel mauris quis nisl ornare rutrum in id risus. Proin vehicula ut sem et tempus. Interdum et malesuada fames ac ante ipsum primis in faucibus. </a:t>
            </a:r>
            <a:endParaRPr lang="en-US" sz="1400" dirty="0">
              <a:solidFill>
                <a:schemeClr val="tx1"/>
              </a:solidFill>
              <a:latin typeface="Roboto Regular" pitchFamily="2" charset="0"/>
              <a:ea typeface="Roboto Regular" pitchFamily="2" charset="0"/>
              <a:cs typeface="Open Sans Light"/>
            </a:endParaRPr>
          </a:p>
        </p:txBody>
      </p:sp>
      <p:sp>
        <p:nvSpPr>
          <p:cNvPr id="7" name="Title 20"/>
          <p:cNvSpPr txBox="1">
            <a:spLocks/>
          </p:cNvSpPr>
          <p:nvPr/>
        </p:nvSpPr>
        <p:spPr>
          <a:xfrm>
            <a:off x="6484886" y="3947826"/>
            <a:ext cx="5540449" cy="369333"/>
          </a:xfrm>
          <a:prstGeom prst="rect">
            <a:avLst/>
          </a:prstGeom>
        </p:spPr>
        <p:txBody>
          <a:bodyPr vert="horz" wrap="square" lIns="91440" tIns="0" rIns="91440"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r>
              <a:rPr lang="en-US" sz="2400" dirty="0">
                <a:solidFill>
                  <a:schemeClr val="tx1"/>
                </a:solidFill>
                <a:latin typeface="+mj-lt"/>
                <a:cs typeface="Open Sans Light"/>
              </a:rPr>
              <a:t>External Resources</a:t>
            </a:r>
          </a:p>
        </p:txBody>
      </p:sp>
      <p:sp>
        <p:nvSpPr>
          <p:cNvPr id="8" name="Title 20"/>
          <p:cNvSpPr txBox="1">
            <a:spLocks/>
          </p:cNvSpPr>
          <p:nvPr/>
        </p:nvSpPr>
        <p:spPr>
          <a:xfrm>
            <a:off x="6484882" y="4597975"/>
            <a:ext cx="5540453" cy="1212640"/>
          </a:xfrm>
          <a:prstGeom prst="rect">
            <a:avLst/>
          </a:prstGeom>
        </p:spPr>
        <p:txBody>
          <a:bodyPr vert="horz" wrap="square" lIns="91440" tIns="45720" rIns="91440" bIns="4572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30000"/>
              </a:lnSpc>
            </a:pPr>
            <a:r>
              <a:rPr lang="pt-BR" sz="1400" dirty="0">
                <a:solidFill>
                  <a:schemeClr val="tx1"/>
                </a:solidFill>
                <a:latin typeface="Roboto Regular" pitchFamily="2" charset="0"/>
                <a:ea typeface="Roboto Regular" pitchFamily="2" charset="0"/>
                <a:cs typeface="Open Sans Light"/>
              </a:rPr>
              <a:t>Lorem ipsum dolor sit amet, consectetur adipiscing elit. Aliquam tincidunt ante nec sem congue convallis. Pellentesque vel mauris quis nisl ornare rutrum in id risus. Proin vehicula ut sem et tempus. Interdum et malesuada fames ac ante ipsum primis in faucibus. </a:t>
            </a:r>
            <a:endParaRPr lang="en-US" sz="1400" dirty="0">
              <a:solidFill>
                <a:schemeClr val="tx1"/>
              </a:solidFill>
              <a:latin typeface="Roboto Regular" pitchFamily="2" charset="0"/>
              <a:ea typeface="Roboto Regular" pitchFamily="2" charset="0"/>
              <a:cs typeface="Open Sans Light"/>
            </a:endParaRPr>
          </a:p>
        </p:txBody>
      </p:sp>
      <p:grpSp>
        <p:nvGrpSpPr>
          <p:cNvPr id="9" name="Group 8"/>
          <p:cNvGrpSpPr/>
          <p:nvPr>
            <p:custDataLst>
              <p:tags r:id="rId1"/>
            </p:custDataLst>
          </p:nvPr>
        </p:nvGrpSpPr>
        <p:grpSpPr>
          <a:xfrm>
            <a:off x="8787917" y="1592822"/>
            <a:ext cx="2601800" cy="1187117"/>
            <a:chOff x="16885661" y="3793072"/>
            <a:chExt cx="6146978" cy="2804667"/>
          </a:xfrm>
        </p:grpSpPr>
        <p:sp>
          <p:nvSpPr>
            <p:cNvPr id="10" name="Freeform 1"/>
            <p:cNvSpPr>
              <a:spLocks noChangeArrowheads="1"/>
            </p:cNvSpPr>
            <p:nvPr/>
          </p:nvSpPr>
          <p:spPr bwMode="auto">
            <a:xfrm rot="10800000">
              <a:off x="16885661" y="3793072"/>
              <a:ext cx="6146978" cy="2804667"/>
            </a:xfrm>
            <a:custGeom>
              <a:avLst/>
              <a:gdLst>
                <a:gd name="T0" fmla="*/ 5874 w 7875"/>
                <a:gd name="T1" fmla="*/ 1811 h 3594"/>
                <a:gd name="T2" fmla="*/ 7874 w 7875"/>
                <a:gd name="T3" fmla="*/ 0 h 3594"/>
                <a:gd name="T4" fmla="*/ 1969 w 7875"/>
                <a:gd name="T5" fmla="*/ 0 h 3594"/>
                <a:gd name="T6" fmla="*/ 0 w 7875"/>
                <a:gd name="T7" fmla="*/ 1811 h 3594"/>
                <a:gd name="T8" fmla="*/ 1969 w 7875"/>
                <a:gd name="T9" fmla="*/ 3593 h 3594"/>
                <a:gd name="T10" fmla="*/ 7874 w 7875"/>
                <a:gd name="T11" fmla="*/ 3593 h 3594"/>
                <a:gd name="T12" fmla="*/ 5874 w 7875"/>
                <a:gd name="T13" fmla="*/ 1811 h 3594"/>
              </a:gdLst>
              <a:ahLst/>
              <a:cxnLst>
                <a:cxn ang="0">
                  <a:pos x="T0" y="T1"/>
                </a:cxn>
                <a:cxn ang="0">
                  <a:pos x="T2" y="T3"/>
                </a:cxn>
                <a:cxn ang="0">
                  <a:pos x="T4" y="T5"/>
                </a:cxn>
                <a:cxn ang="0">
                  <a:pos x="T6" y="T7"/>
                </a:cxn>
                <a:cxn ang="0">
                  <a:pos x="T8" y="T9"/>
                </a:cxn>
                <a:cxn ang="0">
                  <a:pos x="T10" y="T11"/>
                </a:cxn>
                <a:cxn ang="0">
                  <a:pos x="T12" y="T13"/>
                </a:cxn>
              </a:cxnLst>
              <a:rect l="0" t="0" r="r" b="b"/>
              <a:pathLst>
                <a:path w="7875" h="3594">
                  <a:moveTo>
                    <a:pt x="5874" y="1811"/>
                  </a:moveTo>
                  <a:lnTo>
                    <a:pt x="7874" y="0"/>
                  </a:lnTo>
                  <a:lnTo>
                    <a:pt x="1969" y="0"/>
                  </a:lnTo>
                  <a:lnTo>
                    <a:pt x="0" y="1811"/>
                  </a:lnTo>
                  <a:lnTo>
                    <a:pt x="1969" y="3593"/>
                  </a:lnTo>
                  <a:lnTo>
                    <a:pt x="7874" y="3593"/>
                  </a:lnTo>
                  <a:lnTo>
                    <a:pt x="5874" y="1811"/>
                  </a:lnTo>
                </a:path>
              </a:pathLst>
            </a:custGeom>
            <a:solidFill>
              <a:schemeClr val="accent5"/>
            </a:solidFill>
            <a:ln>
              <a:noFill/>
            </a:ln>
            <a:effectLst/>
          </p:spPr>
          <p:txBody>
            <a:bodyPr wrap="none" anchor="ctr"/>
            <a:lstStyle/>
            <a:p>
              <a:endParaRPr lang="en-US">
                <a:latin typeface="Open Sans Light"/>
                <a:cs typeface="Open Sans Light"/>
              </a:endParaRPr>
            </a:p>
          </p:txBody>
        </p:sp>
        <p:sp>
          <p:nvSpPr>
            <p:cNvPr id="11" name="Freeform 328"/>
            <p:cNvSpPr>
              <a:spLocks noChangeArrowheads="1"/>
            </p:cNvSpPr>
            <p:nvPr/>
          </p:nvSpPr>
          <p:spPr bwMode="auto">
            <a:xfrm>
              <a:off x="18560242" y="4496745"/>
              <a:ext cx="2647857" cy="1476643"/>
            </a:xfrm>
            <a:custGeom>
              <a:avLst/>
              <a:gdLst>
                <a:gd name="T0" fmla="*/ 585 w 1564"/>
                <a:gd name="T1" fmla="*/ 610 h 871"/>
                <a:gd name="T2" fmla="*/ 451 w 1564"/>
                <a:gd name="T3" fmla="*/ 744 h 871"/>
                <a:gd name="T4" fmla="*/ 585 w 1564"/>
                <a:gd name="T5" fmla="*/ 870 h 871"/>
                <a:gd name="T6" fmla="*/ 710 w 1564"/>
                <a:gd name="T7" fmla="*/ 744 h 871"/>
                <a:gd name="T8" fmla="*/ 585 w 1564"/>
                <a:gd name="T9" fmla="*/ 610 h 871"/>
                <a:gd name="T10" fmla="*/ 585 w 1564"/>
                <a:gd name="T11" fmla="*/ 811 h 871"/>
                <a:gd name="T12" fmla="*/ 518 w 1564"/>
                <a:gd name="T13" fmla="*/ 744 h 871"/>
                <a:gd name="T14" fmla="*/ 585 w 1564"/>
                <a:gd name="T15" fmla="*/ 677 h 871"/>
                <a:gd name="T16" fmla="*/ 643 w 1564"/>
                <a:gd name="T17" fmla="*/ 744 h 871"/>
                <a:gd name="T18" fmla="*/ 585 w 1564"/>
                <a:gd name="T19" fmla="*/ 811 h 871"/>
                <a:gd name="T20" fmla="*/ 1563 w 1564"/>
                <a:gd name="T21" fmla="*/ 519 h 871"/>
                <a:gd name="T22" fmla="*/ 1563 w 1564"/>
                <a:gd name="T23" fmla="*/ 652 h 871"/>
                <a:gd name="T24" fmla="*/ 1505 w 1564"/>
                <a:gd name="T25" fmla="*/ 719 h 871"/>
                <a:gd name="T26" fmla="*/ 1429 w 1564"/>
                <a:gd name="T27" fmla="*/ 719 h 871"/>
                <a:gd name="T28" fmla="*/ 1262 w 1564"/>
                <a:gd name="T29" fmla="*/ 569 h 871"/>
                <a:gd name="T30" fmla="*/ 1095 w 1564"/>
                <a:gd name="T31" fmla="*/ 719 h 871"/>
                <a:gd name="T32" fmla="*/ 752 w 1564"/>
                <a:gd name="T33" fmla="*/ 719 h 871"/>
                <a:gd name="T34" fmla="*/ 585 w 1564"/>
                <a:gd name="T35" fmla="*/ 569 h 871"/>
                <a:gd name="T36" fmla="*/ 409 w 1564"/>
                <a:gd name="T37" fmla="*/ 719 h 871"/>
                <a:gd name="T38" fmla="*/ 326 w 1564"/>
                <a:gd name="T39" fmla="*/ 719 h 871"/>
                <a:gd name="T40" fmla="*/ 267 w 1564"/>
                <a:gd name="T41" fmla="*/ 652 h 871"/>
                <a:gd name="T42" fmla="*/ 267 w 1564"/>
                <a:gd name="T43" fmla="*/ 519 h 871"/>
                <a:gd name="T44" fmla="*/ 1563 w 1564"/>
                <a:gd name="T45" fmla="*/ 519 h 871"/>
                <a:gd name="T46" fmla="*/ 1262 w 1564"/>
                <a:gd name="T47" fmla="*/ 610 h 871"/>
                <a:gd name="T48" fmla="*/ 1128 w 1564"/>
                <a:gd name="T49" fmla="*/ 744 h 871"/>
                <a:gd name="T50" fmla="*/ 1262 w 1564"/>
                <a:gd name="T51" fmla="*/ 870 h 871"/>
                <a:gd name="T52" fmla="*/ 1396 w 1564"/>
                <a:gd name="T53" fmla="*/ 744 h 871"/>
                <a:gd name="T54" fmla="*/ 1262 w 1564"/>
                <a:gd name="T55" fmla="*/ 610 h 871"/>
                <a:gd name="T56" fmla="*/ 1262 w 1564"/>
                <a:gd name="T57" fmla="*/ 811 h 871"/>
                <a:gd name="T58" fmla="*/ 1195 w 1564"/>
                <a:gd name="T59" fmla="*/ 744 h 871"/>
                <a:gd name="T60" fmla="*/ 1262 w 1564"/>
                <a:gd name="T61" fmla="*/ 677 h 871"/>
                <a:gd name="T62" fmla="*/ 1329 w 1564"/>
                <a:gd name="T63" fmla="*/ 744 h 871"/>
                <a:gd name="T64" fmla="*/ 1262 w 1564"/>
                <a:gd name="T65" fmla="*/ 811 h 871"/>
                <a:gd name="T66" fmla="*/ 1538 w 1564"/>
                <a:gd name="T67" fmla="*/ 376 h 871"/>
                <a:gd name="T68" fmla="*/ 1295 w 1564"/>
                <a:gd name="T69" fmla="*/ 134 h 871"/>
                <a:gd name="T70" fmla="*/ 1229 w 1564"/>
                <a:gd name="T71" fmla="*/ 109 h 871"/>
                <a:gd name="T72" fmla="*/ 1112 w 1564"/>
                <a:gd name="T73" fmla="*/ 109 h 871"/>
                <a:gd name="T74" fmla="*/ 1112 w 1564"/>
                <a:gd name="T75" fmla="*/ 59 h 871"/>
                <a:gd name="T76" fmla="*/ 1045 w 1564"/>
                <a:gd name="T77" fmla="*/ 0 h 871"/>
                <a:gd name="T78" fmla="*/ 326 w 1564"/>
                <a:gd name="T79" fmla="*/ 0 h 871"/>
                <a:gd name="T80" fmla="*/ 267 w 1564"/>
                <a:gd name="T81" fmla="*/ 59 h 871"/>
                <a:gd name="T82" fmla="*/ 267 w 1564"/>
                <a:gd name="T83" fmla="*/ 75 h 871"/>
                <a:gd name="T84" fmla="*/ 8 w 1564"/>
                <a:gd name="T85" fmla="*/ 101 h 871"/>
                <a:gd name="T86" fmla="*/ 459 w 1564"/>
                <a:gd name="T87" fmla="*/ 159 h 871"/>
                <a:gd name="T88" fmla="*/ 0 w 1564"/>
                <a:gd name="T89" fmla="*/ 209 h 871"/>
                <a:gd name="T90" fmla="*/ 459 w 1564"/>
                <a:gd name="T91" fmla="*/ 268 h 871"/>
                <a:gd name="T92" fmla="*/ 0 w 1564"/>
                <a:gd name="T93" fmla="*/ 309 h 871"/>
                <a:gd name="T94" fmla="*/ 267 w 1564"/>
                <a:gd name="T95" fmla="*/ 360 h 871"/>
                <a:gd name="T96" fmla="*/ 267 w 1564"/>
                <a:gd name="T97" fmla="*/ 485 h 871"/>
                <a:gd name="T98" fmla="*/ 1563 w 1564"/>
                <a:gd name="T99" fmla="*/ 485 h 871"/>
                <a:gd name="T100" fmla="*/ 1563 w 1564"/>
                <a:gd name="T101" fmla="*/ 435 h 871"/>
                <a:gd name="T102" fmla="*/ 1538 w 1564"/>
                <a:gd name="T103" fmla="*/ 376 h 871"/>
                <a:gd name="T104" fmla="*/ 1429 w 1564"/>
                <a:gd name="T105" fmla="*/ 385 h 871"/>
                <a:gd name="T106" fmla="*/ 1195 w 1564"/>
                <a:gd name="T107" fmla="*/ 385 h 871"/>
                <a:gd name="T108" fmla="*/ 1178 w 1564"/>
                <a:gd name="T109" fmla="*/ 376 h 871"/>
                <a:gd name="T110" fmla="*/ 1178 w 1564"/>
                <a:gd name="T111" fmla="*/ 193 h 871"/>
                <a:gd name="T112" fmla="*/ 1195 w 1564"/>
                <a:gd name="T113" fmla="*/ 184 h 871"/>
                <a:gd name="T114" fmla="*/ 1237 w 1564"/>
                <a:gd name="T115" fmla="*/ 184 h 871"/>
                <a:gd name="T116" fmla="*/ 1245 w 1564"/>
                <a:gd name="T117" fmla="*/ 184 h 871"/>
                <a:gd name="T118" fmla="*/ 1438 w 1564"/>
                <a:gd name="T119" fmla="*/ 368 h 871"/>
                <a:gd name="T120" fmla="*/ 1429 w 1564"/>
                <a:gd name="T121" fmla="*/ 385 h 871"/>
                <a:gd name="T122" fmla="*/ 1429 w 1564"/>
                <a:gd name="T123" fmla="*/ 385 h 871"/>
                <a:gd name="T124" fmla="*/ 1429 w 1564"/>
                <a:gd name="T125" fmla="*/ 385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64" h="871">
                  <a:moveTo>
                    <a:pt x="585" y="610"/>
                  </a:moveTo>
                  <a:cubicBezTo>
                    <a:pt x="510" y="610"/>
                    <a:pt x="451" y="669"/>
                    <a:pt x="451" y="744"/>
                  </a:cubicBezTo>
                  <a:cubicBezTo>
                    <a:pt x="451" y="820"/>
                    <a:pt x="510" y="870"/>
                    <a:pt x="585" y="870"/>
                  </a:cubicBezTo>
                  <a:cubicBezTo>
                    <a:pt x="652" y="870"/>
                    <a:pt x="710" y="820"/>
                    <a:pt x="710" y="744"/>
                  </a:cubicBezTo>
                  <a:cubicBezTo>
                    <a:pt x="710" y="669"/>
                    <a:pt x="652" y="610"/>
                    <a:pt x="585" y="610"/>
                  </a:cubicBezTo>
                  <a:close/>
                  <a:moveTo>
                    <a:pt x="585" y="811"/>
                  </a:moveTo>
                  <a:cubicBezTo>
                    <a:pt x="543" y="811"/>
                    <a:pt x="518" y="778"/>
                    <a:pt x="518" y="744"/>
                  </a:cubicBezTo>
                  <a:cubicBezTo>
                    <a:pt x="518" y="711"/>
                    <a:pt x="543" y="677"/>
                    <a:pt x="585" y="677"/>
                  </a:cubicBezTo>
                  <a:cubicBezTo>
                    <a:pt x="618" y="677"/>
                    <a:pt x="643" y="711"/>
                    <a:pt x="643" y="744"/>
                  </a:cubicBezTo>
                  <a:cubicBezTo>
                    <a:pt x="643" y="778"/>
                    <a:pt x="618" y="811"/>
                    <a:pt x="585" y="811"/>
                  </a:cubicBezTo>
                  <a:close/>
                  <a:moveTo>
                    <a:pt x="1563" y="519"/>
                  </a:moveTo>
                  <a:cubicBezTo>
                    <a:pt x="1563" y="652"/>
                    <a:pt x="1563" y="652"/>
                    <a:pt x="1563" y="652"/>
                  </a:cubicBezTo>
                  <a:cubicBezTo>
                    <a:pt x="1563" y="694"/>
                    <a:pt x="1538" y="719"/>
                    <a:pt x="1505" y="719"/>
                  </a:cubicBezTo>
                  <a:cubicBezTo>
                    <a:pt x="1429" y="719"/>
                    <a:pt x="1429" y="719"/>
                    <a:pt x="1429" y="719"/>
                  </a:cubicBezTo>
                  <a:cubicBezTo>
                    <a:pt x="1421" y="636"/>
                    <a:pt x="1346" y="569"/>
                    <a:pt x="1262" y="569"/>
                  </a:cubicBezTo>
                  <a:cubicBezTo>
                    <a:pt x="1178" y="569"/>
                    <a:pt x="1103" y="636"/>
                    <a:pt x="1095" y="719"/>
                  </a:cubicBezTo>
                  <a:cubicBezTo>
                    <a:pt x="752" y="719"/>
                    <a:pt x="752" y="719"/>
                    <a:pt x="752" y="719"/>
                  </a:cubicBezTo>
                  <a:cubicBezTo>
                    <a:pt x="735" y="636"/>
                    <a:pt x="669" y="569"/>
                    <a:pt x="585" y="569"/>
                  </a:cubicBezTo>
                  <a:cubicBezTo>
                    <a:pt x="493" y="569"/>
                    <a:pt x="426" y="636"/>
                    <a:pt x="409" y="719"/>
                  </a:cubicBezTo>
                  <a:cubicBezTo>
                    <a:pt x="326" y="719"/>
                    <a:pt x="326" y="719"/>
                    <a:pt x="326" y="719"/>
                  </a:cubicBezTo>
                  <a:cubicBezTo>
                    <a:pt x="292" y="719"/>
                    <a:pt x="267" y="694"/>
                    <a:pt x="267" y="652"/>
                  </a:cubicBezTo>
                  <a:cubicBezTo>
                    <a:pt x="267" y="519"/>
                    <a:pt x="267" y="519"/>
                    <a:pt x="267" y="519"/>
                  </a:cubicBezTo>
                  <a:lnTo>
                    <a:pt x="1563" y="519"/>
                  </a:lnTo>
                  <a:close/>
                  <a:moveTo>
                    <a:pt x="1262" y="610"/>
                  </a:moveTo>
                  <a:cubicBezTo>
                    <a:pt x="1187" y="610"/>
                    <a:pt x="1128" y="669"/>
                    <a:pt x="1128" y="744"/>
                  </a:cubicBezTo>
                  <a:cubicBezTo>
                    <a:pt x="1128" y="820"/>
                    <a:pt x="1187" y="870"/>
                    <a:pt x="1262" y="870"/>
                  </a:cubicBezTo>
                  <a:cubicBezTo>
                    <a:pt x="1337" y="870"/>
                    <a:pt x="1396" y="820"/>
                    <a:pt x="1396" y="744"/>
                  </a:cubicBezTo>
                  <a:cubicBezTo>
                    <a:pt x="1396" y="669"/>
                    <a:pt x="1337" y="610"/>
                    <a:pt x="1262" y="610"/>
                  </a:cubicBezTo>
                  <a:close/>
                  <a:moveTo>
                    <a:pt x="1262" y="811"/>
                  </a:moveTo>
                  <a:cubicBezTo>
                    <a:pt x="1229" y="811"/>
                    <a:pt x="1195" y="778"/>
                    <a:pt x="1195" y="744"/>
                  </a:cubicBezTo>
                  <a:cubicBezTo>
                    <a:pt x="1195" y="711"/>
                    <a:pt x="1229" y="677"/>
                    <a:pt x="1262" y="677"/>
                  </a:cubicBezTo>
                  <a:cubicBezTo>
                    <a:pt x="1295" y="677"/>
                    <a:pt x="1329" y="711"/>
                    <a:pt x="1329" y="744"/>
                  </a:cubicBezTo>
                  <a:cubicBezTo>
                    <a:pt x="1329" y="778"/>
                    <a:pt x="1295" y="811"/>
                    <a:pt x="1262" y="811"/>
                  </a:cubicBezTo>
                  <a:close/>
                  <a:moveTo>
                    <a:pt x="1538" y="376"/>
                  </a:moveTo>
                  <a:cubicBezTo>
                    <a:pt x="1295" y="134"/>
                    <a:pt x="1295" y="134"/>
                    <a:pt x="1295" y="134"/>
                  </a:cubicBezTo>
                  <a:cubicBezTo>
                    <a:pt x="1279" y="117"/>
                    <a:pt x="1254" y="109"/>
                    <a:pt x="1229" y="109"/>
                  </a:cubicBezTo>
                  <a:cubicBezTo>
                    <a:pt x="1112" y="109"/>
                    <a:pt x="1112" y="109"/>
                    <a:pt x="1112" y="109"/>
                  </a:cubicBezTo>
                  <a:cubicBezTo>
                    <a:pt x="1112" y="59"/>
                    <a:pt x="1112" y="59"/>
                    <a:pt x="1112" y="59"/>
                  </a:cubicBezTo>
                  <a:cubicBezTo>
                    <a:pt x="1112" y="25"/>
                    <a:pt x="1078" y="0"/>
                    <a:pt x="1045" y="0"/>
                  </a:cubicBezTo>
                  <a:cubicBezTo>
                    <a:pt x="326" y="0"/>
                    <a:pt x="326" y="0"/>
                    <a:pt x="326" y="0"/>
                  </a:cubicBezTo>
                  <a:cubicBezTo>
                    <a:pt x="292" y="0"/>
                    <a:pt x="267" y="25"/>
                    <a:pt x="267" y="59"/>
                  </a:cubicBezTo>
                  <a:cubicBezTo>
                    <a:pt x="267" y="75"/>
                    <a:pt x="267" y="75"/>
                    <a:pt x="267" y="75"/>
                  </a:cubicBezTo>
                  <a:cubicBezTo>
                    <a:pt x="8" y="101"/>
                    <a:pt x="8" y="101"/>
                    <a:pt x="8" y="101"/>
                  </a:cubicBezTo>
                  <a:cubicBezTo>
                    <a:pt x="459" y="159"/>
                    <a:pt x="459" y="159"/>
                    <a:pt x="459" y="159"/>
                  </a:cubicBezTo>
                  <a:cubicBezTo>
                    <a:pt x="0" y="209"/>
                    <a:pt x="0" y="209"/>
                    <a:pt x="0" y="209"/>
                  </a:cubicBezTo>
                  <a:cubicBezTo>
                    <a:pt x="459" y="268"/>
                    <a:pt x="459" y="268"/>
                    <a:pt x="459" y="268"/>
                  </a:cubicBezTo>
                  <a:cubicBezTo>
                    <a:pt x="0" y="309"/>
                    <a:pt x="0" y="309"/>
                    <a:pt x="0" y="309"/>
                  </a:cubicBezTo>
                  <a:cubicBezTo>
                    <a:pt x="267" y="360"/>
                    <a:pt x="267" y="360"/>
                    <a:pt x="267" y="360"/>
                  </a:cubicBezTo>
                  <a:cubicBezTo>
                    <a:pt x="267" y="485"/>
                    <a:pt x="267" y="485"/>
                    <a:pt x="267" y="485"/>
                  </a:cubicBezTo>
                  <a:cubicBezTo>
                    <a:pt x="1563" y="485"/>
                    <a:pt x="1563" y="485"/>
                    <a:pt x="1563" y="485"/>
                  </a:cubicBezTo>
                  <a:cubicBezTo>
                    <a:pt x="1563" y="435"/>
                    <a:pt x="1563" y="435"/>
                    <a:pt x="1563" y="435"/>
                  </a:cubicBezTo>
                  <a:cubicBezTo>
                    <a:pt x="1563" y="410"/>
                    <a:pt x="1555" y="393"/>
                    <a:pt x="1538" y="376"/>
                  </a:cubicBezTo>
                  <a:close/>
                  <a:moveTo>
                    <a:pt x="1429" y="385"/>
                  </a:moveTo>
                  <a:cubicBezTo>
                    <a:pt x="1195" y="385"/>
                    <a:pt x="1195" y="385"/>
                    <a:pt x="1195" y="385"/>
                  </a:cubicBezTo>
                  <a:cubicBezTo>
                    <a:pt x="1187" y="385"/>
                    <a:pt x="1178" y="376"/>
                    <a:pt x="1178" y="376"/>
                  </a:cubicBezTo>
                  <a:cubicBezTo>
                    <a:pt x="1178" y="193"/>
                    <a:pt x="1178" y="193"/>
                    <a:pt x="1178" y="193"/>
                  </a:cubicBezTo>
                  <a:cubicBezTo>
                    <a:pt x="1178" y="184"/>
                    <a:pt x="1187" y="184"/>
                    <a:pt x="1195" y="184"/>
                  </a:cubicBezTo>
                  <a:cubicBezTo>
                    <a:pt x="1237" y="184"/>
                    <a:pt x="1237" y="184"/>
                    <a:pt x="1237" y="184"/>
                  </a:cubicBezTo>
                  <a:lnTo>
                    <a:pt x="1245" y="184"/>
                  </a:lnTo>
                  <a:cubicBezTo>
                    <a:pt x="1438" y="368"/>
                    <a:pt x="1438" y="368"/>
                    <a:pt x="1438" y="368"/>
                  </a:cubicBezTo>
                  <a:cubicBezTo>
                    <a:pt x="1446" y="376"/>
                    <a:pt x="1438" y="385"/>
                    <a:pt x="1429" y="385"/>
                  </a:cubicBezTo>
                  <a:close/>
                  <a:moveTo>
                    <a:pt x="1429" y="385"/>
                  </a:moveTo>
                  <a:lnTo>
                    <a:pt x="1429" y="385"/>
                  </a:lnTo>
                  <a:close/>
                </a:path>
              </a:pathLst>
            </a:custGeom>
            <a:solidFill>
              <a:schemeClr val="bg1"/>
            </a:solidFill>
            <a:ln>
              <a:noFill/>
            </a:ln>
            <a:effectLst/>
            <a:extLst/>
          </p:spPr>
          <p:txBody>
            <a:bodyPr wrap="none" lIns="243852" tIns="121926" rIns="243852" bIns="121926" anchor="ctr"/>
            <a:lstStyle/>
            <a:p>
              <a:pPr>
                <a:defRPr/>
              </a:pPr>
              <a:endParaRPr lang="en-US">
                <a:latin typeface="Open Sans Light"/>
                <a:cs typeface="Open Sans Light"/>
              </a:endParaRPr>
            </a:p>
          </p:txBody>
        </p:sp>
      </p:grpSp>
      <p:grpSp>
        <p:nvGrpSpPr>
          <p:cNvPr id="12" name="Group 11"/>
          <p:cNvGrpSpPr/>
          <p:nvPr>
            <p:custDataLst>
              <p:tags r:id="rId2"/>
            </p:custDataLst>
          </p:nvPr>
        </p:nvGrpSpPr>
        <p:grpSpPr>
          <a:xfrm>
            <a:off x="1407500" y="1592822"/>
            <a:ext cx="2601800" cy="1187117"/>
            <a:chOff x="1372486" y="3793072"/>
            <a:chExt cx="6146978" cy="2804667"/>
          </a:xfrm>
        </p:grpSpPr>
        <p:sp>
          <p:nvSpPr>
            <p:cNvPr id="13" name="Freeform 1"/>
            <p:cNvSpPr>
              <a:spLocks noChangeArrowheads="1"/>
            </p:cNvSpPr>
            <p:nvPr/>
          </p:nvSpPr>
          <p:spPr bwMode="auto">
            <a:xfrm rot="10800000">
              <a:off x="1372486" y="3793072"/>
              <a:ext cx="6146978" cy="2804667"/>
            </a:xfrm>
            <a:custGeom>
              <a:avLst/>
              <a:gdLst>
                <a:gd name="T0" fmla="*/ 5874 w 7875"/>
                <a:gd name="T1" fmla="*/ 1811 h 3594"/>
                <a:gd name="T2" fmla="*/ 7874 w 7875"/>
                <a:gd name="T3" fmla="*/ 0 h 3594"/>
                <a:gd name="T4" fmla="*/ 1969 w 7875"/>
                <a:gd name="T5" fmla="*/ 0 h 3594"/>
                <a:gd name="T6" fmla="*/ 0 w 7875"/>
                <a:gd name="T7" fmla="*/ 1811 h 3594"/>
                <a:gd name="T8" fmla="*/ 1969 w 7875"/>
                <a:gd name="T9" fmla="*/ 3593 h 3594"/>
                <a:gd name="T10" fmla="*/ 7874 w 7875"/>
                <a:gd name="T11" fmla="*/ 3593 h 3594"/>
                <a:gd name="T12" fmla="*/ 5874 w 7875"/>
                <a:gd name="T13" fmla="*/ 1811 h 3594"/>
              </a:gdLst>
              <a:ahLst/>
              <a:cxnLst>
                <a:cxn ang="0">
                  <a:pos x="T0" y="T1"/>
                </a:cxn>
                <a:cxn ang="0">
                  <a:pos x="T2" y="T3"/>
                </a:cxn>
                <a:cxn ang="0">
                  <a:pos x="T4" y="T5"/>
                </a:cxn>
                <a:cxn ang="0">
                  <a:pos x="T6" y="T7"/>
                </a:cxn>
                <a:cxn ang="0">
                  <a:pos x="T8" y="T9"/>
                </a:cxn>
                <a:cxn ang="0">
                  <a:pos x="T10" y="T11"/>
                </a:cxn>
                <a:cxn ang="0">
                  <a:pos x="T12" y="T13"/>
                </a:cxn>
              </a:cxnLst>
              <a:rect l="0" t="0" r="r" b="b"/>
              <a:pathLst>
                <a:path w="7875" h="3594">
                  <a:moveTo>
                    <a:pt x="5874" y="1811"/>
                  </a:moveTo>
                  <a:lnTo>
                    <a:pt x="7874" y="0"/>
                  </a:lnTo>
                  <a:lnTo>
                    <a:pt x="1969" y="0"/>
                  </a:lnTo>
                  <a:lnTo>
                    <a:pt x="0" y="1811"/>
                  </a:lnTo>
                  <a:lnTo>
                    <a:pt x="1969" y="3593"/>
                  </a:lnTo>
                  <a:lnTo>
                    <a:pt x="7874" y="3593"/>
                  </a:lnTo>
                  <a:lnTo>
                    <a:pt x="5874" y="1811"/>
                  </a:lnTo>
                </a:path>
              </a:pathLst>
            </a:custGeom>
            <a:solidFill>
              <a:srgbClr val="0A3E56"/>
            </a:solidFill>
            <a:ln>
              <a:noFill/>
            </a:ln>
            <a:effectLst/>
          </p:spPr>
          <p:txBody>
            <a:bodyPr wrap="none" anchor="ctr"/>
            <a:lstStyle/>
            <a:p>
              <a:endParaRPr lang="en-US">
                <a:latin typeface="Open Sans Light"/>
                <a:cs typeface="Open Sans Light"/>
              </a:endParaRPr>
            </a:p>
          </p:txBody>
        </p:sp>
        <p:grpSp>
          <p:nvGrpSpPr>
            <p:cNvPr id="14" name="Group 2"/>
            <p:cNvGrpSpPr>
              <a:grpSpLocks/>
            </p:cNvGrpSpPr>
            <p:nvPr/>
          </p:nvGrpSpPr>
          <p:grpSpPr bwMode="auto">
            <a:xfrm>
              <a:off x="3531959" y="4060393"/>
              <a:ext cx="1906518" cy="1888205"/>
              <a:chOff x="1569458" y="688424"/>
              <a:chExt cx="334962" cy="331788"/>
            </a:xfrm>
            <a:solidFill>
              <a:schemeClr val="bg1"/>
            </a:solidFill>
          </p:grpSpPr>
          <p:sp>
            <p:nvSpPr>
              <p:cNvPr id="15" name="Freeform 11"/>
              <p:cNvSpPr>
                <a:spLocks noChangeArrowheads="1"/>
              </p:cNvSpPr>
              <p:nvPr/>
            </p:nvSpPr>
            <p:spPr bwMode="auto">
              <a:xfrm>
                <a:off x="1587500" y="901699"/>
                <a:ext cx="42863" cy="77788"/>
              </a:xfrm>
              <a:custGeom>
                <a:avLst/>
                <a:gdLst>
                  <a:gd name="T0" fmla="*/ 0 w 118"/>
                  <a:gd name="T1" fmla="*/ 183 h 218"/>
                  <a:gd name="T2" fmla="*/ 25 w 118"/>
                  <a:gd name="T3" fmla="*/ 217 h 218"/>
                  <a:gd name="T4" fmla="*/ 84 w 118"/>
                  <a:gd name="T5" fmla="*/ 217 h 218"/>
                  <a:gd name="T6" fmla="*/ 117 w 118"/>
                  <a:gd name="T7" fmla="*/ 183 h 218"/>
                  <a:gd name="T8" fmla="*/ 117 w 118"/>
                  <a:gd name="T9" fmla="*/ 0 h 218"/>
                  <a:gd name="T10" fmla="*/ 17 w 118"/>
                  <a:gd name="T11" fmla="*/ 91 h 218"/>
                  <a:gd name="T12" fmla="*/ 0 w 118"/>
                  <a:gd name="T13" fmla="*/ 75 h 218"/>
                  <a:gd name="T14" fmla="*/ 0 w 118"/>
                  <a:gd name="T15" fmla="*/ 183 h 218"/>
                  <a:gd name="T16" fmla="*/ 0 w 118"/>
                  <a:gd name="T17" fmla="*/ 183 h 218"/>
                  <a:gd name="T18" fmla="*/ 0 w 118"/>
                  <a:gd name="T19" fmla="*/ 18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218">
                    <a:moveTo>
                      <a:pt x="0" y="183"/>
                    </a:moveTo>
                    <a:cubicBezTo>
                      <a:pt x="0" y="200"/>
                      <a:pt x="8" y="217"/>
                      <a:pt x="25" y="217"/>
                    </a:cubicBezTo>
                    <a:cubicBezTo>
                      <a:pt x="84" y="217"/>
                      <a:pt x="84" y="217"/>
                      <a:pt x="84" y="217"/>
                    </a:cubicBezTo>
                    <a:cubicBezTo>
                      <a:pt x="100" y="217"/>
                      <a:pt x="117" y="200"/>
                      <a:pt x="117" y="183"/>
                    </a:cubicBezTo>
                    <a:cubicBezTo>
                      <a:pt x="117" y="0"/>
                      <a:pt x="117" y="0"/>
                      <a:pt x="117" y="0"/>
                    </a:cubicBezTo>
                    <a:cubicBezTo>
                      <a:pt x="17" y="91"/>
                      <a:pt x="17" y="91"/>
                      <a:pt x="17" y="91"/>
                    </a:cubicBezTo>
                    <a:cubicBezTo>
                      <a:pt x="0" y="75"/>
                      <a:pt x="0" y="75"/>
                      <a:pt x="0" y="75"/>
                    </a:cubicBezTo>
                    <a:lnTo>
                      <a:pt x="0" y="183"/>
                    </a:lnTo>
                    <a:close/>
                    <a:moveTo>
                      <a:pt x="0" y="183"/>
                    </a:moveTo>
                    <a:lnTo>
                      <a:pt x="0" y="183"/>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atin typeface="Open Sans Light"/>
                  <a:cs typeface="Open Sans Light"/>
                </a:endParaRPr>
              </a:p>
            </p:txBody>
          </p:sp>
          <p:sp>
            <p:nvSpPr>
              <p:cNvPr id="16" name="Freeform 12"/>
              <p:cNvSpPr>
                <a:spLocks noChangeArrowheads="1"/>
              </p:cNvSpPr>
              <p:nvPr/>
            </p:nvSpPr>
            <p:spPr bwMode="auto">
              <a:xfrm>
                <a:off x="1657350" y="858837"/>
                <a:ext cx="42863" cy="120650"/>
              </a:xfrm>
              <a:custGeom>
                <a:avLst/>
                <a:gdLst>
                  <a:gd name="T0" fmla="*/ 0 w 118"/>
                  <a:gd name="T1" fmla="*/ 301 h 336"/>
                  <a:gd name="T2" fmla="*/ 34 w 118"/>
                  <a:gd name="T3" fmla="*/ 335 h 336"/>
                  <a:gd name="T4" fmla="*/ 84 w 118"/>
                  <a:gd name="T5" fmla="*/ 335 h 336"/>
                  <a:gd name="T6" fmla="*/ 117 w 118"/>
                  <a:gd name="T7" fmla="*/ 301 h 336"/>
                  <a:gd name="T8" fmla="*/ 117 w 118"/>
                  <a:gd name="T9" fmla="*/ 76 h 336"/>
                  <a:gd name="T10" fmla="*/ 42 w 118"/>
                  <a:gd name="T11" fmla="*/ 0 h 336"/>
                  <a:gd name="T12" fmla="*/ 0 w 118"/>
                  <a:gd name="T13" fmla="*/ 42 h 336"/>
                  <a:gd name="T14" fmla="*/ 0 w 118"/>
                  <a:gd name="T15" fmla="*/ 301 h 336"/>
                  <a:gd name="T16" fmla="*/ 0 w 118"/>
                  <a:gd name="T17" fmla="*/ 301 h 336"/>
                  <a:gd name="T18" fmla="*/ 0 w 118"/>
                  <a:gd name="T19" fmla="*/ 301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 h="336">
                    <a:moveTo>
                      <a:pt x="0" y="301"/>
                    </a:moveTo>
                    <a:cubicBezTo>
                      <a:pt x="0" y="318"/>
                      <a:pt x="17" y="335"/>
                      <a:pt x="34" y="335"/>
                    </a:cubicBezTo>
                    <a:cubicBezTo>
                      <a:pt x="84" y="335"/>
                      <a:pt x="84" y="335"/>
                      <a:pt x="84" y="335"/>
                    </a:cubicBezTo>
                    <a:cubicBezTo>
                      <a:pt x="101" y="335"/>
                      <a:pt x="117" y="318"/>
                      <a:pt x="117" y="301"/>
                    </a:cubicBezTo>
                    <a:cubicBezTo>
                      <a:pt x="117" y="76"/>
                      <a:pt x="117" y="76"/>
                      <a:pt x="117" y="76"/>
                    </a:cubicBezTo>
                    <a:cubicBezTo>
                      <a:pt x="42" y="0"/>
                      <a:pt x="42" y="0"/>
                      <a:pt x="42" y="0"/>
                    </a:cubicBezTo>
                    <a:cubicBezTo>
                      <a:pt x="0" y="42"/>
                      <a:pt x="0" y="42"/>
                      <a:pt x="0" y="42"/>
                    </a:cubicBezTo>
                    <a:lnTo>
                      <a:pt x="0" y="301"/>
                    </a:lnTo>
                    <a:close/>
                    <a:moveTo>
                      <a:pt x="0" y="301"/>
                    </a:moveTo>
                    <a:lnTo>
                      <a:pt x="0" y="301"/>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atin typeface="Open Sans Light"/>
                  <a:cs typeface="Open Sans Light"/>
                </a:endParaRPr>
              </a:p>
            </p:txBody>
          </p:sp>
          <p:sp>
            <p:nvSpPr>
              <p:cNvPr id="17" name="Freeform 13"/>
              <p:cNvSpPr>
                <a:spLocks noChangeArrowheads="1"/>
              </p:cNvSpPr>
              <p:nvPr/>
            </p:nvSpPr>
            <p:spPr bwMode="auto">
              <a:xfrm>
                <a:off x="1727200" y="858837"/>
                <a:ext cx="42863" cy="120650"/>
              </a:xfrm>
              <a:custGeom>
                <a:avLst/>
                <a:gdLst>
                  <a:gd name="T0" fmla="*/ 92 w 118"/>
                  <a:gd name="T1" fmla="*/ 335 h 336"/>
                  <a:gd name="T2" fmla="*/ 117 w 118"/>
                  <a:gd name="T3" fmla="*/ 301 h 336"/>
                  <a:gd name="T4" fmla="*/ 117 w 118"/>
                  <a:gd name="T5" fmla="*/ 0 h 336"/>
                  <a:gd name="T6" fmla="*/ 0 w 118"/>
                  <a:gd name="T7" fmla="*/ 118 h 336"/>
                  <a:gd name="T8" fmla="*/ 0 w 118"/>
                  <a:gd name="T9" fmla="*/ 301 h 336"/>
                  <a:gd name="T10" fmla="*/ 33 w 118"/>
                  <a:gd name="T11" fmla="*/ 335 h 336"/>
                  <a:gd name="T12" fmla="*/ 92 w 118"/>
                  <a:gd name="T13" fmla="*/ 335 h 336"/>
                  <a:gd name="T14" fmla="*/ 92 w 118"/>
                  <a:gd name="T15" fmla="*/ 335 h 336"/>
                  <a:gd name="T16" fmla="*/ 92 w 118"/>
                  <a:gd name="T17" fmla="*/ 33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336">
                    <a:moveTo>
                      <a:pt x="92" y="335"/>
                    </a:moveTo>
                    <a:cubicBezTo>
                      <a:pt x="108" y="335"/>
                      <a:pt x="117" y="318"/>
                      <a:pt x="117" y="301"/>
                    </a:cubicBezTo>
                    <a:cubicBezTo>
                      <a:pt x="117" y="0"/>
                      <a:pt x="117" y="0"/>
                      <a:pt x="117" y="0"/>
                    </a:cubicBezTo>
                    <a:cubicBezTo>
                      <a:pt x="0" y="118"/>
                      <a:pt x="0" y="118"/>
                      <a:pt x="0" y="118"/>
                    </a:cubicBezTo>
                    <a:cubicBezTo>
                      <a:pt x="0" y="301"/>
                      <a:pt x="0" y="301"/>
                      <a:pt x="0" y="301"/>
                    </a:cubicBezTo>
                    <a:cubicBezTo>
                      <a:pt x="0" y="318"/>
                      <a:pt x="16" y="335"/>
                      <a:pt x="33" y="335"/>
                    </a:cubicBezTo>
                    <a:lnTo>
                      <a:pt x="92" y="335"/>
                    </a:lnTo>
                    <a:close/>
                    <a:moveTo>
                      <a:pt x="92" y="335"/>
                    </a:moveTo>
                    <a:lnTo>
                      <a:pt x="92" y="335"/>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atin typeface="Open Sans Light"/>
                  <a:cs typeface="Open Sans Light"/>
                </a:endParaRPr>
              </a:p>
            </p:txBody>
          </p:sp>
          <p:sp>
            <p:nvSpPr>
              <p:cNvPr id="18" name="Freeform 14"/>
              <p:cNvSpPr>
                <a:spLocks noChangeArrowheads="1"/>
              </p:cNvSpPr>
              <p:nvPr/>
            </p:nvSpPr>
            <p:spPr bwMode="auto">
              <a:xfrm>
                <a:off x="1795463" y="817562"/>
                <a:ext cx="46037" cy="163512"/>
              </a:xfrm>
              <a:custGeom>
                <a:avLst/>
                <a:gdLst>
                  <a:gd name="T0" fmla="*/ 0 w 126"/>
                  <a:gd name="T1" fmla="*/ 41 h 452"/>
                  <a:gd name="T2" fmla="*/ 0 w 126"/>
                  <a:gd name="T3" fmla="*/ 417 h 452"/>
                  <a:gd name="T4" fmla="*/ 33 w 126"/>
                  <a:gd name="T5" fmla="*/ 451 h 452"/>
                  <a:gd name="T6" fmla="*/ 92 w 126"/>
                  <a:gd name="T7" fmla="*/ 451 h 452"/>
                  <a:gd name="T8" fmla="*/ 125 w 126"/>
                  <a:gd name="T9" fmla="*/ 417 h 452"/>
                  <a:gd name="T10" fmla="*/ 125 w 126"/>
                  <a:gd name="T11" fmla="*/ 66 h 452"/>
                  <a:gd name="T12" fmla="*/ 50 w 126"/>
                  <a:gd name="T13" fmla="*/ 0 h 452"/>
                  <a:gd name="T14" fmla="*/ 0 w 126"/>
                  <a:gd name="T15" fmla="*/ 41 h 452"/>
                  <a:gd name="T16" fmla="*/ 0 w 126"/>
                  <a:gd name="T17" fmla="*/ 41 h 452"/>
                  <a:gd name="T18" fmla="*/ 0 w 126"/>
                  <a:gd name="T19" fmla="*/ 4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 h="452">
                    <a:moveTo>
                      <a:pt x="0" y="41"/>
                    </a:moveTo>
                    <a:cubicBezTo>
                      <a:pt x="0" y="417"/>
                      <a:pt x="0" y="417"/>
                      <a:pt x="0" y="417"/>
                    </a:cubicBezTo>
                    <a:cubicBezTo>
                      <a:pt x="0" y="434"/>
                      <a:pt x="17" y="451"/>
                      <a:pt x="33" y="451"/>
                    </a:cubicBezTo>
                    <a:cubicBezTo>
                      <a:pt x="92" y="451"/>
                      <a:pt x="92" y="451"/>
                      <a:pt x="92" y="451"/>
                    </a:cubicBezTo>
                    <a:cubicBezTo>
                      <a:pt x="109" y="451"/>
                      <a:pt x="125" y="434"/>
                      <a:pt x="125" y="417"/>
                    </a:cubicBezTo>
                    <a:cubicBezTo>
                      <a:pt x="125" y="66"/>
                      <a:pt x="125" y="66"/>
                      <a:pt x="125" y="66"/>
                    </a:cubicBezTo>
                    <a:cubicBezTo>
                      <a:pt x="50" y="0"/>
                      <a:pt x="50" y="0"/>
                      <a:pt x="50" y="0"/>
                    </a:cubicBezTo>
                    <a:lnTo>
                      <a:pt x="0" y="41"/>
                    </a:lnTo>
                    <a:close/>
                    <a:moveTo>
                      <a:pt x="0" y="41"/>
                    </a:moveTo>
                    <a:lnTo>
                      <a:pt x="0" y="41"/>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atin typeface="Open Sans Light"/>
                  <a:cs typeface="Open Sans Light"/>
                </a:endParaRPr>
              </a:p>
            </p:txBody>
          </p:sp>
          <p:sp>
            <p:nvSpPr>
              <p:cNvPr id="19" name="Freeform 15"/>
              <p:cNvSpPr>
                <a:spLocks noChangeArrowheads="1"/>
              </p:cNvSpPr>
              <p:nvPr/>
            </p:nvSpPr>
            <p:spPr bwMode="auto">
              <a:xfrm>
                <a:off x="1576388" y="744537"/>
                <a:ext cx="261937" cy="163512"/>
              </a:xfrm>
              <a:custGeom>
                <a:avLst/>
                <a:gdLst>
                  <a:gd name="T0" fmla="*/ 234 w 728"/>
                  <a:gd name="T1" fmla="*/ 284 h 452"/>
                  <a:gd name="T2" fmla="*/ 292 w 728"/>
                  <a:gd name="T3" fmla="*/ 284 h 452"/>
                  <a:gd name="T4" fmla="*/ 359 w 728"/>
                  <a:gd name="T5" fmla="*/ 351 h 452"/>
                  <a:gd name="T6" fmla="*/ 401 w 728"/>
                  <a:gd name="T7" fmla="*/ 368 h 452"/>
                  <a:gd name="T8" fmla="*/ 434 w 728"/>
                  <a:gd name="T9" fmla="*/ 351 h 452"/>
                  <a:gd name="T10" fmla="*/ 660 w 728"/>
                  <a:gd name="T11" fmla="*/ 134 h 452"/>
                  <a:gd name="T12" fmla="*/ 694 w 728"/>
                  <a:gd name="T13" fmla="*/ 167 h 452"/>
                  <a:gd name="T14" fmla="*/ 710 w 728"/>
                  <a:gd name="T15" fmla="*/ 175 h 452"/>
                  <a:gd name="T16" fmla="*/ 727 w 728"/>
                  <a:gd name="T17" fmla="*/ 159 h 452"/>
                  <a:gd name="T18" fmla="*/ 727 w 728"/>
                  <a:gd name="T19" fmla="*/ 33 h 452"/>
                  <a:gd name="T20" fmla="*/ 719 w 728"/>
                  <a:gd name="T21" fmla="*/ 8 h 452"/>
                  <a:gd name="T22" fmla="*/ 694 w 728"/>
                  <a:gd name="T23" fmla="*/ 0 h 452"/>
                  <a:gd name="T24" fmla="*/ 568 w 728"/>
                  <a:gd name="T25" fmla="*/ 0 h 452"/>
                  <a:gd name="T26" fmla="*/ 551 w 728"/>
                  <a:gd name="T27" fmla="*/ 8 h 452"/>
                  <a:gd name="T28" fmla="*/ 551 w 728"/>
                  <a:gd name="T29" fmla="*/ 33 h 452"/>
                  <a:gd name="T30" fmla="*/ 585 w 728"/>
                  <a:gd name="T31" fmla="*/ 58 h 452"/>
                  <a:gd name="T32" fmla="*/ 426 w 728"/>
                  <a:gd name="T33" fmla="*/ 217 h 452"/>
                  <a:gd name="T34" fmla="*/ 401 w 728"/>
                  <a:gd name="T35" fmla="*/ 225 h 452"/>
                  <a:gd name="T36" fmla="*/ 368 w 728"/>
                  <a:gd name="T37" fmla="*/ 217 h 452"/>
                  <a:gd name="T38" fmla="*/ 292 w 728"/>
                  <a:gd name="T39" fmla="*/ 142 h 452"/>
                  <a:gd name="T40" fmla="*/ 234 w 728"/>
                  <a:gd name="T41" fmla="*/ 142 h 452"/>
                  <a:gd name="T42" fmla="*/ 8 w 728"/>
                  <a:gd name="T43" fmla="*/ 359 h 452"/>
                  <a:gd name="T44" fmla="*/ 0 w 728"/>
                  <a:gd name="T45" fmla="*/ 393 h 452"/>
                  <a:gd name="T46" fmla="*/ 8 w 728"/>
                  <a:gd name="T47" fmla="*/ 426 h 452"/>
                  <a:gd name="T48" fmla="*/ 25 w 728"/>
                  <a:gd name="T49" fmla="*/ 435 h 452"/>
                  <a:gd name="T50" fmla="*/ 83 w 728"/>
                  <a:gd name="T51" fmla="*/ 435 h 452"/>
                  <a:gd name="T52" fmla="*/ 234 w 728"/>
                  <a:gd name="T53" fmla="*/ 284 h 452"/>
                  <a:gd name="T54" fmla="*/ 234 w 728"/>
                  <a:gd name="T55" fmla="*/ 284 h 452"/>
                  <a:gd name="T56" fmla="*/ 234 w 728"/>
                  <a:gd name="T57" fmla="*/ 284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28" h="452">
                    <a:moveTo>
                      <a:pt x="234" y="284"/>
                    </a:moveTo>
                    <a:cubicBezTo>
                      <a:pt x="250" y="267"/>
                      <a:pt x="276" y="267"/>
                      <a:pt x="292" y="284"/>
                    </a:cubicBezTo>
                    <a:cubicBezTo>
                      <a:pt x="359" y="351"/>
                      <a:pt x="359" y="351"/>
                      <a:pt x="359" y="351"/>
                    </a:cubicBezTo>
                    <a:cubicBezTo>
                      <a:pt x="376" y="368"/>
                      <a:pt x="384" y="368"/>
                      <a:pt x="401" y="368"/>
                    </a:cubicBezTo>
                    <a:cubicBezTo>
                      <a:pt x="418" y="368"/>
                      <a:pt x="426" y="368"/>
                      <a:pt x="434" y="351"/>
                    </a:cubicBezTo>
                    <a:cubicBezTo>
                      <a:pt x="660" y="134"/>
                      <a:pt x="660" y="134"/>
                      <a:pt x="660" y="134"/>
                    </a:cubicBezTo>
                    <a:cubicBezTo>
                      <a:pt x="694" y="167"/>
                      <a:pt x="694" y="167"/>
                      <a:pt x="694" y="167"/>
                    </a:cubicBezTo>
                    <a:cubicBezTo>
                      <a:pt x="702" y="175"/>
                      <a:pt x="710" y="175"/>
                      <a:pt x="710" y="175"/>
                    </a:cubicBezTo>
                    <a:cubicBezTo>
                      <a:pt x="719" y="175"/>
                      <a:pt x="727" y="167"/>
                      <a:pt x="727" y="159"/>
                    </a:cubicBezTo>
                    <a:cubicBezTo>
                      <a:pt x="727" y="33"/>
                      <a:pt x="727" y="33"/>
                      <a:pt x="727" y="33"/>
                    </a:cubicBezTo>
                    <a:cubicBezTo>
                      <a:pt x="727" y="25"/>
                      <a:pt x="727" y="16"/>
                      <a:pt x="719" y="8"/>
                    </a:cubicBezTo>
                    <a:cubicBezTo>
                      <a:pt x="710" y="0"/>
                      <a:pt x="702" y="0"/>
                      <a:pt x="694" y="0"/>
                    </a:cubicBezTo>
                    <a:cubicBezTo>
                      <a:pt x="568" y="0"/>
                      <a:pt x="568" y="0"/>
                      <a:pt x="568" y="0"/>
                    </a:cubicBezTo>
                    <a:cubicBezTo>
                      <a:pt x="560" y="0"/>
                      <a:pt x="551" y="0"/>
                      <a:pt x="551" y="8"/>
                    </a:cubicBezTo>
                    <a:cubicBezTo>
                      <a:pt x="543" y="16"/>
                      <a:pt x="551" y="25"/>
                      <a:pt x="551" y="33"/>
                    </a:cubicBezTo>
                    <a:cubicBezTo>
                      <a:pt x="585" y="58"/>
                      <a:pt x="585" y="58"/>
                      <a:pt x="585" y="58"/>
                    </a:cubicBezTo>
                    <a:cubicBezTo>
                      <a:pt x="426" y="217"/>
                      <a:pt x="426" y="217"/>
                      <a:pt x="426" y="217"/>
                    </a:cubicBezTo>
                    <a:cubicBezTo>
                      <a:pt x="426" y="225"/>
                      <a:pt x="409" y="225"/>
                      <a:pt x="401" y="225"/>
                    </a:cubicBezTo>
                    <a:cubicBezTo>
                      <a:pt x="393" y="225"/>
                      <a:pt x="376" y="225"/>
                      <a:pt x="368" y="217"/>
                    </a:cubicBezTo>
                    <a:cubicBezTo>
                      <a:pt x="292" y="142"/>
                      <a:pt x="292" y="142"/>
                      <a:pt x="292" y="142"/>
                    </a:cubicBezTo>
                    <a:cubicBezTo>
                      <a:pt x="276" y="125"/>
                      <a:pt x="250" y="125"/>
                      <a:pt x="234" y="142"/>
                    </a:cubicBezTo>
                    <a:cubicBezTo>
                      <a:pt x="8" y="359"/>
                      <a:pt x="8" y="359"/>
                      <a:pt x="8" y="359"/>
                    </a:cubicBezTo>
                    <a:cubicBezTo>
                      <a:pt x="0" y="368"/>
                      <a:pt x="0" y="384"/>
                      <a:pt x="0" y="393"/>
                    </a:cubicBezTo>
                    <a:cubicBezTo>
                      <a:pt x="0" y="410"/>
                      <a:pt x="0" y="418"/>
                      <a:pt x="8" y="426"/>
                    </a:cubicBezTo>
                    <a:cubicBezTo>
                      <a:pt x="25" y="435"/>
                      <a:pt x="25" y="435"/>
                      <a:pt x="25" y="435"/>
                    </a:cubicBezTo>
                    <a:cubicBezTo>
                      <a:pt x="41" y="451"/>
                      <a:pt x="67" y="451"/>
                      <a:pt x="83" y="435"/>
                    </a:cubicBezTo>
                    <a:lnTo>
                      <a:pt x="234" y="284"/>
                    </a:lnTo>
                    <a:close/>
                    <a:moveTo>
                      <a:pt x="234" y="284"/>
                    </a:moveTo>
                    <a:lnTo>
                      <a:pt x="234" y="284"/>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atin typeface="Open Sans Light"/>
                  <a:cs typeface="Open Sans Light"/>
                </a:endParaRPr>
              </a:p>
            </p:txBody>
          </p:sp>
          <p:sp>
            <p:nvSpPr>
              <p:cNvPr id="20" name="Freeform 16"/>
              <p:cNvSpPr>
                <a:spLocks noChangeArrowheads="1"/>
              </p:cNvSpPr>
              <p:nvPr/>
            </p:nvSpPr>
            <p:spPr bwMode="auto">
              <a:xfrm>
                <a:off x="1569458" y="688424"/>
                <a:ext cx="334962" cy="331788"/>
              </a:xfrm>
              <a:custGeom>
                <a:avLst/>
                <a:gdLst>
                  <a:gd name="T0" fmla="*/ 887 w 929"/>
                  <a:gd name="T1" fmla="*/ 0 h 921"/>
                  <a:gd name="T2" fmla="*/ 836 w 929"/>
                  <a:gd name="T3" fmla="*/ 50 h 921"/>
                  <a:gd name="T4" fmla="*/ 836 w 929"/>
                  <a:gd name="T5" fmla="*/ 837 h 921"/>
                  <a:gd name="T6" fmla="*/ 51 w 929"/>
                  <a:gd name="T7" fmla="*/ 837 h 921"/>
                  <a:gd name="T8" fmla="*/ 0 w 929"/>
                  <a:gd name="T9" fmla="*/ 878 h 921"/>
                  <a:gd name="T10" fmla="*/ 51 w 929"/>
                  <a:gd name="T11" fmla="*/ 920 h 921"/>
                  <a:gd name="T12" fmla="*/ 887 w 929"/>
                  <a:gd name="T13" fmla="*/ 920 h 921"/>
                  <a:gd name="T14" fmla="*/ 928 w 929"/>
                  <a:gd name="T15" fmla="*/ 878 h 921"/>
                  <a:gd name="T16" fmla="*/ 928 w 929"/>
                  <a:gd name="T17" fmla="*/ 50 h 921"/>
                  <a:gd name="T18" fmla="*/ 887 w 929"/>
                  <a:gd name="T19" fmla="*/ 0 h 921"/>
                  <a:gd name="T20" fmla="*/ 887 w 929"/>
                  <a:gd name="T21" fmla="*/ 0 h 921"/>
                  <a:gd name="T22" fmla="*/ 887 w 929"/>
                  <a:gd name="T23" fmla="*/ 0 h 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9" h="921">
                    <a:moveTo>
                      <a:pt x="887" y="0"/>
                    </a:moveTo>
                    <a:cubicBezTo>
                      <a:pt x="862" y="0"/>
                      <a:pt x="836" y="26"/>
                      <a:pt x="836" y="50"/>
                    </a:cubicBezTo>
                    <a:cubicBezTo>
                      <a:pt x="836" y="837"/>
                      <a:pt x="836" y="837"/>
                      <a:pt x="836" y="837"/>
                    </a:cubicBezTo>
                    <a:cubicBezTo>
                      <a:pt x="51" y="837"/>
                      <a:pt x="51" y="837"/>
                      <a:pt x="51" y="837"/>
                    </a:cubicBezTo>
                    <a:cubicBezTo>
                      <a:pt x="26" y="837"/>
                      <a:pt x="0" y="853"/>
                      <a:pt x="0" y="878"/>
                    </a:cubicBezTo>
                    <a:cubicBezTo>
                      <a:pt x="0" y="903"/>
                      <a:pt x="26" y="920"/>
                      <a:pt x="51" y="920"/>
                    </a:cubicBezTo>
                    <a:cubicBezTo>
                      <a:pt x="887" y="920"/>
                      <a:pt x="887" y="920"/>
                      <a:pt x="887" y="920"/>
                    </a:cubicBezTo>
                    <a:cubicBezTo>
                      <a:pt x="912" y="920"/>
                      <a:pt x="928" y="903"/>
                      <a:pt x="928" y="878"/>
                    </a:cubicBezTo>
                    <a:cubicBezTo>
                      <a:pt x="928" y="50"/>
                      <a:pt x="928" y="50"/>
                      <a:pt x="928" y="50"/>
                    </a:cubicBezTo>
                    <a:cubicBezTo>
                      <a:pt x="928" y="26"/>
                      <a:pt x="903" y="0"/>
                      <a:pt x="887" y="0"/>
                    </a:cubicBezTo>
                    <a:close/>
                    <a:moveTo>
                      <a:pt x="887" y="0"/>
                    </a:moveTo>
                    <a:lnTo>
                      <a:pt x="887" y="0"/>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atin typeface="Open Sans Light"/>
                  <a:cs typeface="Open Sans Light"/>
                </a:endParaRPr>
              </a:p>
            </p:txBody>
          </p:sp>
        </p:grpSp>
      </p:grpSp>
      <p:grpSp>
        <p:nvGrpSpPr>
          <p:cNvPr id="21" name="Group 20"/>
          <p:cNvGrpSpPr/>
          <p:nvPr>
            <p:custDataLst>
              <p:tags r:id="rId3"/>
            </p:custDataLst>
          </p:nvPr>
        </p:nvGrpSpPr>
        <p:grpSpPr>
          <a:xfrm>
            <a:off x="6293740" y="1592822"/>
            <a:ext cx="2601800" cy="1187117"/>
            <a:chOff x="11744481" y="3793072"/>
            <a:chExt cx="6146978" cy="2804667"/>
          </a:xfrm>
        </p:grpSpPr>
        <p:sp>
          <p:nvSpPr>
            <p:cNvPr id="22" name="Freeform 1"/>
            <p:cNvSpPr>
              <a:spLocks noChangeArrowheads="1"/>
            </p:cNvSpPr>
            <p:nvPr/>
          </p:nvSpPr>
          <p:spPr bwMode="auto">
            <a:xfrm rot="10800000">
              <a:off x="11744481" y="3793072"/>
              <a:ext cx="6146978" cy="2804667"/>
            </a:xfrm>
            <a:custGeom>
              <a:avLst/>
              <a:gdLst>
                <a:gd name="T0" fmla="*/ 5874 w 7875"/>
                <a:gd name="T1" fmla="*/ 1811 h 3594"/>
                <a:gd name="T2" fmla="*/ 7874 w 7875"/>
                <a:gd name="T3" fmla="*/ 0 h 3594"/>
                <a:gd name="T4" fmla="*/ 1969 w 7875"/>
                <a:gd name="T5" fmla="*/ 0 h 3594"/>
                <a:gd name="T6" fmla="*/ 0 w 7875"/>
                <a:gd name="T7" fmla="*/ 1811 h 3594"/>
                <a:gd name="T8" fmla="*/ 1969 w 7875"/>
                <a:gd name="T9" fmla="*/ 3593 h 3594"/>
                <a:gd name="T10" fmla="*/ 7874 w 7875"/>
                <a:gd name="T11" fmla="*/ 3593 h 3594"/>
                <a:gd name="T12" fmla="*/ 5874 w 7875"/>
                <a:gd name="T13" fmla="*/ 1811 h 3594"/>
              </a:gdLst>
              <a:ahLst/>
              <a:cxnLst>
                <a:cxn ang="0">
                  <a:pos x="T0" y="T1"/>
                </a:cxn>
                <a:cxn ang="0">
                  <a:pos x="T2" y="T3"/>
                </a:cxn>
                <a:cxn ang="0">
                  <a:pos x="T4" y="T5"/>
                </a:cxn>
                <a:cxn ang="0">
                  <a:pos x="T6" y="T7"/>
                </a:cxn>
                <a:cxn ang="0">
                  <a:pos x="T8" y="T9"/>
                </a:cxn>
                <a:cxn ang="0">
                  <a:pos x="T10" y="T11"/>
                </a:cxn>
                <a:cxn ang="0">
                  <a:pos x="T12" y="T13"/>
                </a:cxn>
              </a:cxnLst>
              <a:rect l="0" t="0" r="r" b="b"/>
              <a:pathLst>
                <a:path w="7875" h="3594">
                  <a:moveTo>
                    <a:pt x="5874" y="1811"/>
                  </a:moveTo>
                  <a:lnTo>
                    <a:pt x="7874" y="0"/>
                  </a:lnTo>
                  <a:lnTo>
                    <a:pt x="1969" y="0"/>
                  </a:lnTo>
                  <a:lnTo>
                    <a:pt x="0" y="1811"/>
                  </a:lnTo>
                  <a:lnTo>
                    <a:pt x="1969" y="3593"/>
                  </a:lnTo>
                  <a:lnTo>
                    <a:pt x="7874" y="3593"/>
                  </a:lnTo>
                  <a:lnTo>
                    <a:pt x="5874" y="1811"/>
                  </a:lnTo>
                </a:path>
              </a:pathLst>
            </a:custGeom>
            <a:solidFill>
              <a:schemeClr val="accent4"/>
            </a:solidFill>
            <a:ln>
              <a:noFill/>
            </a:ln>
            <a:effectLst/>
          </p:spPr>
          <p:txBody>
            <a:bodyPr wrap="none" anchor="ctr"/>
            <a:lstStyle/>
            <a:p>
              <a:endParaRPr lang="en-US">
                <a:latin typeface="Open Sans Light"/>
                <a:cs typeface="Open Sans Light"/>
              </a:endParaRPr>
            </a:p>
          </p:txBody>
        </p:sp>
        <p:grpSp>
          <p:nvGrpSpPr>
            <p:cNvPr id="23" name="Group 587"/>
            <p:cNvGrpSpPr>
              <a:grpSpLocks/>
            </p:cNvGrpSpPr>
            <p:nvPr/>
          </p:nvGrpSpPr>
          <p:grpSpPr bwMode="auto">
            <a:xfrm>
              <a:off x="13951966" y="4422983"/>
              <a:ext cx="1821122" cy="1610045"/>
              <a:chOff x="1530350" y="5719762"/>
              <a:chExt cx="452438" cy="400050"/>
            </a:xfrm>
            <a:solidFill>
              <a:schemeClr val="bg1"/>
            </a:solidFill>
          </p:grpSpPr>
          <p:sp>
            <p:nvSpPr>
              <p:cNvPr id="24" name="Freeform 533"/>
              <p:cNvSpPr>
                <a:spLocks noChangeArrowheads="1"/>
              </p:cNvSpPr>
              <p:nvPr/>
            </p:nvSpPr>
            <p:spPr bwMode="auto">
              <a:xfrm>
                <a:off x="1593850" y="5921374"/>
                <a:ext cx="42863" cy="39688"/>
              </a:xfrm>
              <a:custGeom>
                <a:avLst/>
                <a:gdLst>
                  <a:gd name="T0" fmla="*/ 0 w 118"/>
                  <a:gd name="T1" fmla="*/ 0 h 110"/>
                  <a:gd name="T2" fmla="*/ 117 w 118"/>
                  <a:gd name="T3" fmla="*/ 0 h 110"/>
                  <a:gd name="T4" fmla="*/ 117 w 118"/>
                  <a:gd name="T5" fmla="*/ 109 h 110"/>
                  <a:gd name="T6" fmla="*/ 0 w 118"/>
                  <a:gd name="T7" fmla="*/ 109 h 110"/>
                  <a:gd name="T8" fmla="*/ 0 w 118"/>
                  <a:gd name="T9" fmla="*/ 0 h 110"/>
                </a:gdLst>
                <a:ahLst/>
                <a:cxnLst>
                  <a:cxn ang="0">
                    <a:pos x="T0" y="T1"/>
                  </a:cxn>
                  <a:cxn ang="0">
                    <a:pos x="T2" y="T3"/>
                  </a:cxn>
                  <a:cxn ang="0">
                    <a:pos x="T4" y="T5"/>
                  </a:cxn>
                  <a:cxn ang="0">
                    <a:pos x="T6" y="T7"/>
                  </a:cxn>
                  <a:cxn ang="0">
                    <a:pos x="T8" y="T9"/>
                  </a:cxn>
                </a:cxnLst>
                <a:rect l="0" t="0" r="r" b="b"/>
                <a:pathLst>
                  <a:path w="118" h="110">
                    <a:moveTo>
                      <a:pt x="0" y="0"/>
                    </a:moveTo>
                    <a:lnTo>
                      <a:pt x="117" y="0"/>
                    </a:lnTo>
                    <a:lnTo>
                      <a:pt x="117" y="109"/>
                    </a:lnTo>
                    <a:lnTo>
                      <a:pt x="0" y="109"/>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atin typeface="Open Sans Light"/>
                  <a:cs typeface="Open Sans Light"/>
                </a:endParaRPr>
              </a:p>
            </p:txBody>
          </p:sp>
          <p:sp>
            <p:nvSpPr>
              <p:cNvPr id="25" name="Freeform 534"/>
              <p:cNvSpPr>
                <a:spLocks noChangeArrowheads="1"/>
              </p:cNvSpPr>
              <p:nvPr/>
            </p:nvSpPr>
            <p:spPr bwMode="auto">
              <a:xfrm>
                <a:off x="1593850" y="5984874"/>
                <a:ext cx="42863" cy="39688"/>
              </a:xfrm>
              <a:custGeom>
                <a:avLst/>
                <a:gdLst>
                  <a:gd name="T0" fmla="*/ 0 w 118"/>
                  <a:gd name="T1" fmla="*/ 0 h 110"/>
                  <a:gd name="T2" fmla="*/ 117 w 118"/>
                  <a:gd name="T3" fmla="*/ 0 h 110"/>
                  <a:gd name="T4" fmla="*/ 117 w 118"/>
                  <a:gd name="T5" fmla="*/ 109 h 110"/>
                  <a:gd name="T6" fmla="*/ 0 w 118"/>
                  <a:gd name="T7" fmla="*/ 109 h 110"/>
                  <a:gd name="T8" fmla="*/ 0 w 118"/>
                  <a:gd name="T9" fmla="*/ 0 h 110"/>
                </a:gdLst>
                <a:ahLst/>
                <a:cxnLst>
                  <a:cxn ang="0">
                    <a:pos x="T0" y="T1"/>
                  </a:cxn>
                  <a:cxn ang="0">
                    <a:pos x="T2" y="T3"/>
                  </a:cxn>
                  <a:cxn ang="0">
                    <a:pos x="T4" y="T5"/>
                  </a:cxn>
                  <a:cxn ang="0">
                    <a:pos x="T6" y="T7"/>
                  </a:cxn>
                  <a:cxn ang="0">
                    <a:pos x="T8" y="T9"/>
                  </a:cxn>
                </a:cxnLst>
                <a:rect l="0" t="0" r="r" b="b"/>
                <a:pathLst>
                  <a:path w="118" h="110">
                    <a:moveTo>
                      <a:pt x="0" y="0"/>
                    </a:moveTo>
                    <a:lnTo>
                      <a:pt x="117" y="0"/>
                    </a:lnTo>
                    <a:lnTo>
                      <a:pt x="117" y="109"/>
                    </a:lnTo>
                    <a:lnTo>
                      <a:pt x="0" y="109"/>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atin typeface="Open Sans Light"/>
                  <a:cs typeface="Open Sans Light"/>
                </a:endParaRPr>
              </a:p>
            </p:txBody>
          </p:sp>
          <p:sp>
            <p:nvSpPr>
              <p:cNvPr id="26" name="Freeform 535"/>
              <p:cNvSpPr>
                <a:spLocks noChangeArrowheads="1"/>
              </p:cNvSpPr>
              <p:nvPr/>
            </p:nvSpPr>
            <p:spPr bwMode="auto">
              <a:xfrm>
                <a:off x="1663700" y="5857874"/>
                <a:ext cx="39688" cy="39688"/>
              </a:xfrm>
              <a:custGeom>
                <a:avLst/>
                <a:gdLst>
                  <a:gd name="T0" fmla="*/ 0 w 110"/>
                  <a:gd name="T1" fmla="*/ 0 h 110"/>
                  <a:gd name="T2" fmla="*/ 109 w 110"/>
                  <a:gd name="T3" fmla="*/ 0 h 110"/>
                  <a:gd name="T4" fmla="*/ 109 w 110"/>
                  <a:gd name="T5" fmla="*/ 109 h 110"/>
                  <a:gd name="T6" fmla="*/ 0 w 110"/>
                  <a:gd name="T7" fmla="*/ 109 h 110"/>
                  <a:gd name="T8" fmla="*/ 0 w 110"/>
                  <a:gd name="T9" fmla="*/ 0 h 110"/>
                </a:gdLst>
                <a:ahLst/>
                <a:cxnLst>
                  <a:cxn ang="0">
                    <a:pos x="T0" y="T1"/>
                  </a:cxn>
                  <a:cxn ang="0">
                    <a:pos x="T2" y="T3"/>
                  </a:cxn>
                  <a:cxn ang="0">
                    <a:pos x="T4" y="T5"/>
                  </a:cxn>
                  <a:cxn ang="0">
                    <a:pos x="T6" y="T7"/>
                  </a:cxn>
                  <a:cxn ang="0">
                    <a:pos x="T8" y="T9"/>
                  </a:cxn>
                </a:cxnLst>
                <a:rect l="0" t="0" r="r" b="b"/>
                <a:pathLst>
                  <a:path w="110" h="110">
                    <a:moveTo>
                      <a:pt x="0" y="0"/>
                    </a:moveTo>
                    <a:lnTo>
                      <a:pt x="109" y="0"/>
                    </a:lnTo>
                    <a:lnTo>
                      <a:pt x="109" y="109"/>
                    </a:lnTo>
                    <a:lnTo>
                      <a:pt x="0" y="109"/>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atin typeface="Open Sans Light"/>
                  <a:cs typeface="Open Sans Light"/>
                </a:endParaRPr>
              </a:p>
            </p:txBody>
          </p:sp>
          <p:sp>
            <p:nvSpPr>
              <p:cNvPr id="27" name="Freeform 536"/>
              <p:cNvSpPr>
                <a:spLocks noChangeArrowheads="1"/>
              </p:cNvSpPr>
              <p:nvPr/>
            </p:nvSpPr>
            <p:spPr bwMode="auto">
              <a:xfrm>
                <a:off x="1663700" y="5921374"/>
                <a:ext cx="39688" cy="39688"/>
              </a:xfrm>
              <a:custGeom>
                <a:avLst/>
                <a:gdLst>
                  <a:gd name="T0" fmla="*/ 0 w 110"/>
                  <a:gd name="T1" fmla="*/ 0 h 110"/>
                  <a:gd name="T2" fmla="*/ 109 w 110"/>
                  <a:gd name="T3" fmla="*/ 0 h 110"/>
                  <a:gd name="T4" fmla="*/ 109 w 110"/>
                  <a:gd name="T5" fmla="*/ 109 h 110"/>
                  <a:gd name="T6" fmla="*/ 0 w 110"/>
                  <a:gd name="T7" fmla="*/ 109 h 110"/>
                  <a:gd name="T8" fmla="*/ 0 w 110"/>
                  <a:gd name="T9" fmla="*/ 0 h 110"/>
                </a:gdLst>
                <a:ahLst/>
                <a:cxnLst>
                  <a:cxn ang="0">
                    <a:pos x="T0" y="T1"/>
                  </a:cxn>
                  <a:cxn ang="0">
                    <a:pos x="T2" y="T3"/>
                  </a:cxn>
                  <a:cxn ang="0">
                    <a:pos x="T4" y="T5"/>
                  </a:cxn>
                  <a:cxn ang="0">
                    <a:pos x="T6" y="T7"/>
                  </a:cxn>
                  <a:cxn ang="0">
                    <a:pos x="T8" y="T9"/>
                  </a:cxn>
                </a:cxnLst>
                <a:rect l="0" t="0" r="r" b="b"/>
                <a:pathLst>
                  <a:path w="110" h="110">
                    <a:moveTo>
                      <a:pt x="0" y="0"/>
                    </a:moveTo>
                    <a:lnTo>
                      <a:pt x="109" y="0"/>
                    </a:lnTo>
                    <a:lnTo>
                      <a:pt x="109" y="109"/>
                    </a:lnTo>
                    <a:lnTo>
                      <a:pt x="0" y="109"/>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atin typeface="Open Sans Light"/>
                  <a:cs typeface="Open Sans Light"/>
                </a:endParaRPr>
              </a:p>
            </p:txBody>
          </p:sp>
          <p:sp>
            <p:nvSpPr>
              <p:cNvPr id="28" name="Freeform 537"/>
              <p:cNvSpPr>
                <a:spLocks noChangeArrowheads="1"/>
              </p:cNvSpPr>
              <p:nvPr/>
            </p:nvSpPr>
            <p:spPr bwMode="auto">
              <a:xfrm>
                <a:off x="1663700" y="5984874"/>
                <a:ext cx="39688" cy="39688"/>
              </a:xfrm>
              <a:custGeom>
                <a:avLst/>
                <a:gdLst>
                  <a:gd name="T0" fmla="*/ 0 w 110"/>
                  <a:gd name="T1" fmla="*/ 0 h 110"/>
                  <a:gd name="T2" fmla="*/ 109 w 110"/>
                  <a:gd name="T3" fmla="*/ 0 h 110"/>
                  <a:gd name="T4" fmla="*/ 109 w 110"/>
                  <a:gd name="T5" fmla="*/ 109 h 110"/>
                  <a:gd name="T6" fmla="*/ 0 w 110"/>
                  <a:gd name="T7" fmla="*/ 109 h 110"/>
                  <a:gd name="T8" fmla="*/ 0 w 110"/>
                  <a:gd name="T9" fmla="*/ 0 h 110"/>
                </a:gdLst>
                <a:ahLst/>
                <a:cxnLst>
                  <a:cxn ang="0">
                    <a:pos x="T0" y="T1"/>
                  </a:cxn>
                  <a:cxn ang="0">
                    <a:pos x="T2" y="T3"/>
                  </a:cxn>
                  <a:cxn ang="0">
                    <a:pos x="T4" y="T5"/>
                  </a:cxn>
                  <a:cxn ang="0">
                    <a:pos x="T6" y="T7"/>
                  </a:cxn>
                  <a:cxn ang="0">
                    <a:pos x="T8" y="T9"/>
                  </a:cxn>
                </a:cxnLst>
                <a:rect l="0" t="0" r="r" b="b"/>
                <a:pathLst>
                  <a:path w="110" h="110">
                    <a:moveTo>
                      <a:pt x="0" y="0"/>
                    </a:moveTo>
                    <a:lnTo>
                      <a:pt x="109" y="0"/>
                    </a:lnTo>
                    <a:lnTo>
                      <a:pt x="109" y="109"/>
                    </a:lnTo>
                    <a:lnTo>
                      <a:pt x="0" y="109"/>
                    </a:lnTo>
                    <a:lnTo>
                      <a:pt x="0" y="0"/>
                    </a:lnTo>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atin typeface="Open Sans Light"/>
                  <a:cs typeface="Open Sans Light"/>
                </a:endParaRPr>
              </a:p>
            </p:txBody>
          </p:sp>
          <p:sp>
            <p:nvSpPr>
              <p:cNvPr id="29" name="Freeform 538"/>
              <p:cNvSpPr>
                <a:spLocks noChangeArrowheads="1"/>
              </p:cNvSpPr>
              <p:nvPr/>
            </p:nvSpPr>
            <p:spPr bwMode="auto">
              <a:xfrm>
                <a:off x="1530350" y="5719762"/>
                <a:ext cx="452438" cy="400050"/>
              </a:xfrm>
              <a:custGeom>
                <a:avLst/>
                <a:gdLst>
                  <a:gd name="T0" fmla="*/ 1029 w 1255"/>
                  <a:gd name="T1" fmla="*/ 75 h 1113"/>
                  <a:gd name="T2" fmla="*/ 75 w 1255"/>
                  <a:gd name="T3" fmla="*/ 0 h 1113"/>
                  <a:gd name="T4" fmla="*/ 0 w 1255"/>
                  <a:gd name="T5" fmla="*/ 953 h 1113"/>
                  <a:gd name="T6" fmla="*/ 644 w 1255"/>
                  <a:gd name="T7" fmla="*/ 1029 h 1113"/>
                  <a:gd name="T8" fmla="*/ 1254 w 1255"/>
                  <a:gd name="T9" fmla="*/ 736 h 1113"/>
                  <a:gd name="T10" fmla="*/ 335 w 1255"/>
                  <a:gd name="T11" fmla="*/ 75 h 1113"/>
                  <a:gd name="T12" fmla="*/ 694 w 1255"/>
                  <a:gd name="T13" fmla="*/ 167 h 1113"/>
                  <a:gd name="T14" fmla="*/ 335 w 1255"/>
                  <a:gd name="T15" fmla="*/ 75 h 1113"/>
                  <a:gd name="T16" fmla="*/ 937 w 1255"/>
                  <a:gd name="T17" fmla="*/ 251 h 1113"/>
                  <a:gd name="T18" fmla="*/ 878 w 1255"/>
                  <a:gd name="T19" fmla="*/ 368 h 1113"/>
                  <a:gd name="T20" fmla="*/ 661 w 1255"/>
                  <a:gd name="T21" fmla="*/ 385 h 1113"/>
                  <a:gd name="T22" fmla="*/ 552 w 1255"/>
                  <a:gd name="T23" fmla="*/ 494 h 1113"/>
                  <a:gd name="T24" fmla="*/ 510 w 1255"/>
                  <a:gd name="T25" fmla="*/ 736 h 1113"/>
                  <a:gd name="T26" fmla="*/ 92 w 1255"/>
                  <a:gd name="T27" fmla="*/ 920 h 1113"/>
                  <a:gd name="T28" fmla="*/ 845 w 1255"/>
                  <a:gd name="T29" fmla="*/ 435 h 1113"/>
                  <a:gd name="T30" fmla="*/ 911 w 1255"/>
                  <a:gd name="T31" fmla="*/ 435 h 1113"/>
                  <a:gd name="T32" fmla="*/ 845 w 1255"/>
                  <a:gd name="T33" fmla="*/ 435 h 1113"/>
                  <a:gd name="T34" fmla="*/ 577 w 1255"/>
                  <a:gd name="T35" fmla="*/ 769 h 1113"/>
                  <a:gd name="T36" fmla="*/ 577 w 1255"/>
                  <a:gd name="T37" fmla="*/ 703 h 1113"/>
                  <a:gd name="T38" fmla="*/ 878 w 1255"/>
                  <a:gd name="T39" fmla="*/ 1079 h 1113"/>
                  <a:gd name="T40" fmla="*/ 878 w 1255"/>
                  <a:gd name="T41" fmla="*/ 1004 h 1113"/>
                  <a:gd name="T42" fmla="*/ 878 w 1255"/>
                  <a:gd name="T43" fmla="*/ 1079 h 1113"/>
                  <a:gd name="T44" fmla="*/ 945 w 1255"/>
                  <a:gd name="T45" fmla="*/ 728 h 1113"/>
                  <a:gd name="T46" fmla="*/ 878 w 1255"/>
                  <a:gd name="T47" fmla="*/ 803 h 1113"/>
                  <a:gd name="T48" fmla="*/ 661 w 1255"/>
                  <a:gd name="T49" fmla="*/ 627 h 1113"/>
                  <a:gd name="T50" fmla="*/ 694 w 1255"/>
                  <a:gd name="T51" fmla="*/ 585 h 1113"/>
                  <a:gd name="T52" fmla="*/ 878 w 1255"/>
                  <a:gd name="T53" fmla="*/ 669 h 1113"/>
                  <a:gd name="T54" fmla="*/ 1045 w 1255"/>
                  <a:gd name="T55" fmla="*/ 544 h 1113"/>
                  <a:gd name="T56" fmla="*/ 1087 w 1255"/>
                  <a:gd name="T57" fmla="*/ 585 h 1113"/>
                  <a:gd name="T58" fmla="*/ 1146 w 1255"/>
                  <a:gd name="T59" fmla="*/ 736 h 1113"/>
                  <a:gd name="T60" fmla="*/ 1221 w 1255"/>
                  <a:gd name="T61" fmla="*/ 736 h 1113"/>
                  <a:gd name="T62" fmla="*/ 1179 w 1255"/>
                  <a:gd name="T63" fmla="*/ 769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55" h="1113">
                    <a:moveTo>
                      <a:pt x="1029" y="402"/>
                    </a:moveTo>
                    <a:cubicBezTo>
                      <a:pt x="1029" y="75"/>
                      <a:pt x="1029" y="75"/>
                      <a:pt x="1029" y="75"/>
                    </a:cubicBezTo>
                    <a:cubicBezTo>
                      <a:pt x="1029" y="34"/>
                      <a:pt x="995" y="0"/>
                      <a:pt x="953" y="0"/>
                    </a:cubicBezTo>
                    <a:cubicBezTo>
                      <a:pt x="75" y="0"/>
                      <a:pt x="75" y="0"/>
                      <a:pt x="75" y="0"/>
                    </a:cubicBezTo>
                    <a:cubicBezTo>
                      <a:pt x="34" y="0"/>
                      <a:pt x="0" y="34"/>
                      <a:pt x="0" y="75"/>
                    </a:cubicBezTo>
                    <a:cubicBezTo>
                      <a:pt x="0" y="953"/>
                      <a:pt x="0" y="953"/>
                      <a:pt x="0" y="953"/>
                    </a:cubicBezTo>
                    <a:cubicBezTo>
                      <a:pt x="0" y="995"/>
                      <a:pt x="34" y="1029"/>
                      <a:pt x="75" y="1029"/>
                    </a:cubicBezTo>
                    <a:cubicBezTo>
                      <a:pt x="644" y="1029"/>
                      <a:pt x="644" y="1029"/>
                      <a:pt x="644" y="1029"/>
                    </a:cubicBezTo>
                    <a:cubicBezTo>
                      <a:pt x="711" y="1079"/>
                      <a:pt x="795" y="1112"/>
                      <a:pt x="878" y="1112"/>
                    </a:cubicBezTo>
                    <a:cubicBezTo>
                      <a:pt x="1087" y="1112"/>
                      <a:pt x="1254" y="945"/>
                      <a:pt x="1254" y="736"/>
                    </a:cubicBezTo>
                    <a:cubicBezTo>
                      <a:pt x="1254" y="585"/>
                      <a:pt x="1162" y="460"/>
                      <a:pt x="1029" y="402"/>
                    </a:cubicBezTo>
                    <a:close/>
                    <a:moveTo>
                      <a:pt x="335" y="75"/>
                    </a:moveTo>
                    <a:cubicBezTo>
                      <a:pt x="694" y="75"/>
                      <a:pt x="694" y="75"/>
                      <a:pt x="694" y="75"/>
                    </a:cubicBezTo>
                    <a:cubicBezTo>
                      <a:pt x="694" y="167"/>
                      <a:pt x="694" y="167"/>
                      <a:pt x="694" y="167"/>
                    </a:cubicBezTo>
                    <a:cubicBezTo>
                      <a:pt x="335" y="167"/>
                      <a:pt x="335" y="167"/>
                      <a:pt x="335" y="167"/>
                    </a:cubicBezTo>
                    <a:lnTo>
                      <a:pt x="335" y="75"/>
                    </a:lnTo>
                    <a:close/>
                    <a:moveTo>
                      <a:pt x="92" y="251"/>
                    </a:moveTo>
                    <a:cubicBezTo>
                      <a:pt x="937" y="251"/>
                      <a:pt x="937" y="251"/>
                      <a:pt x="937" y="251"/>
                    </a:cubicBezTo>
                    <a:cubicBezTo>
                      <a:pt x="937" y="368"/>
                      <a:pt x="937" y="368"/>
                      <a:pt x="937" y="368"/>
                    </a:cubicBezTo>
                    <a:cubicBezTo>
                      <a:pt x="920" y="368"/>
                      <a:pt x="895" y="368"/>
                      <a:pt x="878" y="368"/>
                    </a:cubicBezTo>
                    <a:cubicBezTo>
                      <a:pt x="795" y="368"/>
                      <a:pt x="719" y="393"/>
                      <a:pt x="661" y="435"/>
                    </a:cubicBezTo>
                    <a:cubicBezTo>
                      <a:pt x="661" y="385"/>
                      <a:pt x="661" y="385"/>
                      <a:pt x="661" y="385"/>
                    </a:cubicBezTo>
                    <a:cubicBezTo>
                      <a:pt x="552" y="385"/>
                      <a:pt x="552" y="385"/>
                      <a:pt x="552" y="385"/>
                    </a:cubicBezTo>
                    <a:cubicBezTo>
                      <a:pt x="552" y="494"/>
                      <a:pt x="552" y="494"/>
                      <a:pt x="552" y="494"/>
                    </a:cubicBezTo>
                    <a:cubicBezTo>
                      <a:pt x="602" y="494"/>
                      <a:pt x="602" y="494"/>
                      <a:pt x="602" y="494"/>
                    </a:cubicBezTo>
                    <a:cubicBezTo>
                      <a:pt x="544" y="560"/>
                      <a:pt x="510" y="644"/>
                      <a:pt x="510" y="736"/>
                    </a:cubicBezTo>
                    <a:cubicBezTo>
                      <a:pt x="510" y="803"/>
                      <a:pt x="527" y="870"/>
                      <a:pt x="560" y="920"/>
                    </a:cubicBezTo>
                    <a:cubicBezTo>
                      <a:pt x="92" y="920"/>
                      <a:pt x="92" y="920"/>
                      <a:pt x="92" y="920"/>
                    </a:cubicBezTo>
                    <a:lnTo>
                      <a:pt x="92" y="251"/>
                    </a:lnTo>
                    <a:close/>
                    <a:moveTo>
                      <a:pt x="845" y="435"/>
                    </a:moveTo>
                    <a:cubicBezTo>
                      <a:pt x="845" y="418"/>
                      <a:pt x="861" y="402"/>
                      <a:pt x="878" y="402"/>
                    </a:cubicBezTo>
                    <a:cubicBezTo>
                      <a:pt x="895" y="402"/>
                      <a:pt x="911" y="418"/>
                      <a:pt x="911" y="435"/>
                    </a:cubicBezTo>
                    <a:cubicBezTo>
                      <a:pt x="911" y="452"/>
                      <a:pt x="895" y="468"/>
                      <a:pt x="878" y="468"/>
                    </a:cubicBezTo>
                    <a:cubicBezTo>
                      <a:pt x="861" y="468"/>
                      <a:pt x="845" y="452"/>
                      <a:pt x="845" y="435"/>
                    </a:cubicBezTo>
                    <a:close/>
                    <a:moveTo>
                      <a:pt x="610" y="736"/>
                    </a:moveTo>
                    <a:cubicBezTo>
                      <a:pt x="610" y="761"/>
                      <a:pt x="594" y="769"/>
                      <a:pt x="577" y="769"/>
                    </a:cubicBezTo>
                    <a:cubicBezTo>
                      <a:pt x="560" y="769"/>
                      <a:pt x="544" y="761"/>
                      <a:pt x="544" y="736"/>
                    </a:cubicBezTo>
                    <a:cubicBezTo>
                      <a:pt x="544" y="719"/>
                      <a:pt x="560" y="703"/>
                      <a:pt x="577" y="703"/>
                    </a:cubicBezTo>
                    <a:cubicBezTo>
                      <a:pt x="594" y="703"/>
                      <a:pt x="610" y="719"/>
                      <a:pt x="610" y="736"/>
                    </a:cubicBezTo>
                    <a:close/>
                    <a:moveTo>
                      <a:pt x="878" y="1079"/>
                    </a:moveTo>
                    <a:cubicBezTo>
                      <a:pt x="861" y="1079"/>
                      <a:pt x="845" y="1062"/>
                      <a:pt x="845" y="1045"/>
                    </a:cubicBezTo>
                    <a:cubicBezTo>
                      <a:pt x="845" y="1020"/>
                      <a:pt x="861" y="1004"/>
                      <a:pt x="878" y="1004"/>
                    </a:cubicBezTo>
                    <a:cubicBezTo>
                      <a:pt x="895" y="1004"/>
                      <a:pt x="911" y="1020"/>
                      <a:pt x="911" y="1045"/>
                    </a:cubicBezTo>
                    <a:cubicBezTo>
                      <a:pt x="911" y="1062"/>
                      <a:pt x="895" y="1079"/>
                      <a:pt x="878" y="1079"/>
                    </a:cubicBezTo>
                    <a:close/>
                    <a:moveTo>
                      <a:pt x="1087" y="585"/>
                    </a:moveTo>
                    <a:cubicBezTo>
                      <a:pt x="945" y="728"/>
                      <a:pt x="945" y="728"/>
                      <a:pt x="945" y="728"/>
                    </a:cubicBezTo>
                    <a:lnTo>
                      <a:pt x="945" y="736"/>
                    </a:lnTo>
                    <a:cubicBezTo>
                      <a:pt x="945" y="778"/>
                      <a:pt x="920" y="803"/>
                      <a:pt x="878" y="803"/>
                    </a:cubicBezTo>
                    <a:cubicBezTo>
                      <a:pt x="845" y="803"/>
                      <a:pt x="811" y="778"/>
                      <a:pt x="811" y="744"/>
                    </a:cubicBezTo>
                    <a:cubicBezTo>
                      <a:pt x="661" y="627"/>
                      <a:pt x="661" y="627"/>
                      <a:pt x="661" y="627"/>
                    </a:cubicBezTo>
                    <a:cubicBezTo>
                      <a:pt x="652" y="619"/>
                      <a:pt x="644" y="594"/>
                      <a:pt x="652" y="585"/>
                    </a:cubicBezTo>
                    <a:cubicBezTo>
                      <a:pt x="661" y="577"/>
                      <a:pt x="686" y="569"/>
                      <a:pt x="694" y="585"/>
                    </a:cubicBezTo>
                    <a:cubicBezTo>
                      <a:pt x="836" y="686"/>
                      <a:pt x="836" y="686"/>
                      <a:pt x="836" y="686"/>
                    </a:cubicBezTo>
                    <a:cubicBezTo>
                      <a:pt x="845" y="677"/>
                      <a:pt x="861" y="669"/>
                      <a:pt x="878" y="669"/>
                    </a:cubicBezTo>
                    <a:cubicBezTo>
                      <a:pt x="895" y="669"/>
                      <a:pt x="903" y="677"/>
                      <a:pt x="911" y="677"/>
                    </a:cubicBezTo>
                    <a:cubicBezTo>
                      <a:pt x="1045" y="544"/>
                      <a:pt x="1045" y="544"/>
                      <a:pt x="1045" y="544"/>
                    </a:cubicBezTo>
                    <a:cubicBezTo>
                      <a:pt x="1062" y="535"/>
                      <a:pt x="1079" y="535"/>
                      <a:pt x="1087" y="544"/>
                    </a:cubicBezTo>
                    <a:cubicBezTo>
                      <a:pt x="1104" y="552"/>
                      <a:pt x="1096" y="569"/>
                      <a:pt x="1087" y="585"/>
                    </a:cubicBezTo>
                    <a:close/>
                    <a:moveTo>
                      <a:pt x="1179" y="769"/>
                    </a:moveTo>
                    <a:cubicBezTo>
                      <a:pt x="1162" y="769"/>
                      <a:pt x="1146" y="761"/>
                      <a:pt x="1146" y="736"/>
                    </a:cubicBezTo>
                    <a:cubicBezTo>
                      <a:pt x="1146" y="719"/>
                      <a:pt x="1162" y="703"/>
                      <a:pt x="1179" y="703"/>
                    </a:cubicBezTo>
                    <a:cubicBezTo>
                      <a:pt x="1204" y="703"/>
                      <a:pt x="1221" y="719"/>
                      <a:pt x="1221" y="736"/>
                    </a:cubicBezTo>
                    <a:cubicBezTo>
                      <a:pt x="1221" y="761"/>
                      <a:pt x="1204" y="769"/>
                      <a:pt x="1179" y="769"/>
                    </a:cubicBezTo>
                    <a:close/>
                    <a:moveTo>
                      <a:pt x="1179" y="769"/>
                    </a:moveTo>
                    <a:lnTo>
                      <a:pt x="1179" y="769"/>
                    </a:lnTo>
                    <a:close/>
                  </a:path>
                </a:pathLst>
              </a:custGeom>
              <a:grp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atin typeface="Open Sans Light"/>
                  <a:cs typeface="Open Sans Light"/>
                </a:endParaRPr>
              </a:p>
            </p:txBody>
          </p:sp>
        </p:grpSp>
      </p:grpSp>
      <p:grpSp>
        <p:nvGrpSpPr>
          <p:cNvPr id="30" name="Group 29"/>
          <p:cNvGrpSpPr/>
          <p:nvPr>
            <p:custDataLst>
              <p:tags r:id="rId4"/>
            </p:custDataLst>
          </p:nvPr>
        </p:nvGrpSpPr>
        <p:grpSpPr>
          <a:xfrm>
            <a:off x="3837282" y="1592822"/>
            <a:ext cx="2601800" cy="1187117"/>
            <a:chOff x="6513666" y="3793072"/>
            <a:chExt cx="6146978" cy="2804667"/>
          </a:xfrm>
        </p:grpSpPr>
        <p:sp>
          <p:nvSpPr>
            <p:cNvPr id="31" name="Freeform 1"/>
            <p:cNvSpPr>
              <a:spLocks noChangeArrowheads="1"/>
            </p:cNvSpPr>
            <p:nvPr/>
          </p:nvSpPr>
          <p:spPr bwMode="auto">
            <a:xfrm rot="10800000">
              <a:off x="6513666" y="3793072"/>
              <a:ext cx="6146978" cy="2804667"/>
            </a:xfrm>
            <a:custGeom>
              <a:avLst/>
              <a:gdLst>
                <a:gd name="T0" fmla="*/ 5874 w 7875"/>
                <a:gd name="T1" fmla="*/ 1811 h 3594"/>
                <a:gd name="T2" fmla="*/ 7874 w 7875"/>
                <a:gd name="T3" fmla="*/ 0 h 3594"/>
                <a:gd name="T4" fmla="*/ 1969 w 7875"/>
                <a:gd name="T5" fmla="*/ 0 h 3594"/>
                <a:gd name="T6" fmla="*/ 0 w 7875"/>
                <a:gd name="T7" fmla="*/ 1811 h 3594"/>
                <a:gd name="T8" fmla="*/ 1969 w 7875"/>
                <a:gd name="T9" fmla="*/ 3593 h 3594"/>
                <a:gd name="T10" fmla="*/ 7874 w 7875"/>
                <a:gd name="T11" fmla="*/ 3593 h 3594"/>
                <a:gd name="T12" fmla="*/ 5874 w 7875"/>
                <a:gd name="T13" fmla="*/ 1811 h 3594"/>
              </a:gdLst>
              <a:ahLst/>
              <a:cxnLst>
                <a:cxn ang="0">
                  <a:pos x="T0" y="T1"/>
                </a:cxn>
                <a:cxn ang="0">
                  <a:pos x="T2" y="T3"/>
                </a:cxn>
                <a:cxn ang="0">
                  <a:pos x="T4" y="T5"/>
                </a:cxn>
                <a:cxn ang="0">
                  <a:pos x="T6" y="T7"/>
                </a:cxn>
                <a:cxn ang="0">
                  <a:pos x="T8" y="T9"/>
                </a:cxn>
                <a:cxn ang="0">
                  <a:pos x="T10" y="T11"/>
                </a:cxn>
                <a:cxn ang="0">
                  <a:pos x="T12" y="T13"/>
                </a:cxn>
              </a:cxnLst>
              <a:rect l="0" t="0" r="r" b="b"/>
              <a:pathLst>
                <a:path w="7875" h="3594">
                  <a:moveTo>
                    <a:pt x="5874" y="1811"/>
                  </a:moveTo>
                  <a:lnTo>
                    <a:pt x="7874" y="0"/>
                  </a:lnTo>
                  <a:lnTo>
                    <a:pt x="1969" y="0"/>
                  </a:lnTo>
                  <a:lnTo>
                    <a:pt x="0" y="1811"/>
                  </a:lnTo>
                  <a:lnTo>
                    <a:pt x="1969" y="3593"/>
                  </a:lnTo>
                  <a:lnTo>
                    <a:pt x="7874" y="3593"/>
                  </a:lnTo>
                  <a:lnTo>
                    <a:pt x="5874" y="1811"/>
                  </a:lnTo>
                </a:path>
              </a:pathLst>
            </a:custGeom>
            <a:solidFill>
              <a:srgbClr val="41B5E8"/>
            </a:solidFill>
            <a:ln>
              <a:noFill/>
            </a:ln>
            <a:effectLst/>
          </p:spPr>
          <p:txBody>
            <a:bodyPr wrap="none" anchor="ctr"/>
            <a:lstStyle/>
            <a:p>
              <a:endParaRPr lang="en-US">
                <a:solidFill>
                  <a:srgbClr val="41B5E8"/>
                </a:solidFill>
                <a:latin typeface="Open Sans Light"/>
                <a:cs typeface="Open Sans Light"/>
              </a:endParaRPr>
            </a:p>
          </p:txBody>
        </p:sp>
        <p:sp>
          <p:nvSpPr>
            <p:cNvPr id="32" name="Freeform 237"/>
            <p:cNvSpPr>
              <a:spLocks noChangeArrowheads="1"/>
            </p:cNvSpPr>
            <p:nvPr/>
          </p:nvSpPr>
          <p:spPr bwMode="auto">
            <a:xfrm>
              <a:off x="8632597" y="4498090"/>
              <a:ext cx="1972142" cy="1448205"/>
            </a:xfrm>
            <a:custGeom>
              <a:avLst/>
              <a:gdLst>
                <a:gd name="T0" fmla="*/ 586 w 1347"/>
                <a:gd name="T1" fmla="*/ 602 h 987"/>
                <a:gd name="T2" fmla="*/ 502 w 1347"/>
                <a:gd name="T3" fmla="*/ 535 h 987"/>
                <a:gd name="T4" fmla="*/ 42 w 1347"/>
                <a:gd name="T5" fmla="*/ 117 h 987"/>
                <a:gd name="T6" fmla="*/ 17 w 1347"/>
                <a:gd name="T7" fmla="*/ 33 h 987"/>
                <a:gd name="T8" fmla="*/ 92 w 1347"/>
                <a:gd name="T9" fmla="*/ 0 h 987"/>
                <a:gd name="T10" fmla="*/ 1255 w 1347"/>
                <a:gd name="T11" fmla="*/ 0 h 987"/>
                <a:gd name="T12" fmla="*/ 1330 w 1347"/>
                <a:gd name="T13" fmla="*/ 41 h 987"/>
                <a:gd name="T14" fmla="*/ 1305 w 1347"/>
                <a:gd name="T15" fmla="*/ 125 h 987"/>
                <a:gd name="T16" fmla="*/ 803 w 1347"/>
                <a:gd name="T17" fmla="*/ 576 h 987"/>
                <a:gd name="T18" fmla="*/ 586 w 1347"/>
                <a:gd name="T19" fmla="*/ 602 h 987"/>
                <a:gd name="T20" fmla="*/ 92 w 1347"/>
                <a:gd name="T21" fmla="*/ 986 h 987"/>
                <a:gd name="T22" fmla="*/ 0 w 1347"/>
                <a:gd name="T23" fmla="*/ 894 h 987"/>
                <a:gd name="T24" fmla="*/ 0 w 1347"/>
                <a:gd name="T25" fmla="*/ 225 h 987"/>
                <a:gd name="T26" fmla="*/ 42 w 1347"/>
                <a:gd name="T27" fmla="*/ 217 h 987"/>
                <a:gd name="T28" fmla="*/ 234 w 1347"/>
                <a:gd name="T29" fmla="*/ 409 h 987"/>
                <a:gd name="T30" fmla="*/ 251 w 1347"/>
                <a:gd name="T31" fmla="*/ 493 h 987"/>
                <a:gd name="T32" fmla="*/ 109 w 1347"/>
                <a:gd name="T33" fmla="*/ 827 h 987"/>
                <a:gd name="T34" fmla="*/ 126 w 1347"/>
                <a:gd name="T35" fmla="*/ 827 h 987"/>
                <a:gd name="T36" fmla="*/ 318 w 1347"/>
                <a:gd name="T37" fmla="*/ 576 h 987"/>
                <a:gd name="T38" fmla="*/ 393 w 1347"/>
                <a:gd name="T39" fmla="*/ 568 h 987"/>
                <a:gd name="T40" fmla="*/ 477 w 1347"/>
                <a:gd name="T41" fmla="*/ 643 h 987"/>
                <a:gd name="T42" fmla="*/ 569 w 1347"/>
                <a:gd name="T43" fmla="*/ 694 h 987"/>
                <a:gd name="T44" fmla="*/ 820 w 1347"/>
                <a:gd name="T45" fmla="*/ 677 h 987"/>
                <a:gd name="T46" fmla="*/ 945 w 1347"/>
                <a:gd name="T47" fmla="*/ 568 h 987"/>
                <a:gd name="T48" fmla="*/ 1020 w 1347"/>
                <a:gd name="T49" fmla="*/ 576 h 987"/>
                <a:gd name="T50" fmla="*/ 1229 w 1347"/>
                <a:gd name="T51" fmla="*/ 853 h 987"/>
                <a:gd name="T52" fmla="*/ 1238 w 1347"/>
                <a:gd name="T53" fmla="*/ 844 h 987"/>
                <a:gd name="T54" fmla="*/ 1096 w 1347"/>
                <a:gd name="T55" fmla="*/ 493 h 987"/>
                <a:gd name="T56" fmla="*/ 1112 w 1347"/>
                <a:gd name="T57" fmla="*/ 409 h 987"/>
                <a:gd name="T58" fmla="*/ 1313 w 1347"/>
                <a:gd name="T59" fmla="*/ 217 h 987"/>
                <a:gd name="T60" fmla="*/ 1346 w 1347"/>
                <a:gd name="T61" fmla="*/ 225 h 987"/>
                <a:gd name="T62" fmla="*/ 1346 w 1347"/>
                <a:gd name="T63" fmla="*/ 903 h 987"/>
                <a:gd name="T64" fmla="*/ 1246 w 1347"/>
                <a:gd name="T65" fmla="*/ 986 h 987"/>
                <a:gd name="T66" fmla="*/ 92 w 1347"/>
                <a:gd name="T67" fmla="*/ 986 h 987"/>
                <a:gd name="T68" fmla="*/ 92 w 1347"/>
                <a:gd name="T69" fmla="*/ 986 h 987"/>
                <a:gd name="T70" fmla="*/ 92 w 1347"/>
                <a:gd name="T71" fmla="*/ 98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47" h="987">
                  <a:moveTo>
                    <a:pt x="586" y="602"/>
                  </a:moveTo>
                  <a:cubicBezTo>
                    <a:pt x="561" y="585"/>
                    <a:pt x="519" y="560"/>
                    <a:pt x="502" y="535"/>
                  </a:cubicBezTo>
                  <a:cubicBezTo>
                    <a:pt x="42" y="117"/>
                    <a:pt x="42" y="117"/>
                    <a:pt x="42" y="117"/>
                  </a:cubicBezTo>
                  <a:cubicBezTo>
                    <a:pt x="26" y="100"/>
                    <a:pt x="9" y="58"/>
                    <a:pt x="17" y="33"/>
                  </a:cubicBezTo>
                  <a:cubicBezTo>
                    <a:pt x="34" y="17"/>
                    <a:pt x="51" y="0"/>
                    <a:pt x="92" y="0"/>
                  </a:cubicBezTo>
                  <a:cubicBezTo>
                    <a:pt x="1255" y="0"/>
                    <a:pt x="1255" y="0"/>
                    <a:pt x="1255" y="0"/>
                  </a:cubicBezTo>
                  <a:cubicBezTo>
                    <a:pt x="1255" y="0"/>
                    <a:pt x="1305" y="0"/>
                    <a:pt x="1330" y="41"/>
                  </a:cubicBezTo>
                  <a:cubicBezTo>
                    <a:pt x="1346" y="67"/>
                    <a:pt x="1330" y="108"/>
                    <a:pt x="1305" y="125"/>
                  </a:cubicBezTo>
                  <a:cubicBezTo>
                    <a:pt x="803" y="576"/>
                    <a:pt x="803" y="576"/>
                    <a:pt x="803" y="576"/>
                  </a:cubicBezTo>
                  <a:cubicBezTo>
                    <a:pt x="803" y="576"/>
                    <a:pt x="711" y="652"/>
                    <a:pt x="586" y="602"/>
                  </a:cubicBezTo>
                  <a:close/>
                  <a:moveTo>
                    <a:pt x="92" y="986"/>
                  </a:moveTo>
                  <a:cubicBezTo>
                    <a:pt x="92" y="986"/>
                    <a:pt x="0" y="978"/>
                    <a:pt x="0" y="894"/>
                  </a:cubicBezTo>
                  <a:cubicBezTo>
                    <a:pt x="0" y="225"/>
                    <a:pt x="0" y="225"/>
                    <a:pt x="0" y="225"/>
                  </a:cubicBezTo>
                  <a:cubicBezTo>
                    <a:pt x="0" y="200"/>
                    <a:pt x="17" y="192"/>
                    <a:pt x="42" y="217"/>
                  </a:cubicBezTo>
                  <a:cubicBezTo>
                    <a:pt x="234" y="409"/>
                    <a:pt x="234" y="409"/>
                    <a:pt x="234" y="409"/>
                  </a:cubicBezTo>
                  <a:cubicBezTo>
                    <a:pt x="260" y="426"/>
                    <a:pt x="268" y="468"/>
                    <a:pt x="251" y="493"/>
                  </a:cubicBezTo>
                  <a:cubicBezTo>
                    <a:pt x="109" y="827"/>
                    <a:pt x="109" y="827"/>
                    <a:pt x="109" y="827"/>
                  </a:cubicBezTo>
                  <a:cubicBezTo>
                    <a:pt x="101" y="853"/>
                    <a:pt x="109" y="853"/>
                    <a:pt x="126" y="827"/>
                  </a:cubicBezTo>
                  <a:cubicBezTo>
                    <a:pt x="318" y="576"/>
                    <a:pt x="318" y="576"/>
                    <a:pt x="318" y="576"/>
                  </a:cubicBezTo>
                  <a:cubicBezTo>
                    <a:pt x="343" y="552"/>
                    <a:pt x="368" y="552"/>
                    <a:pt x="393" y="568"/>
                  </a:cubicBezTo>
                  <a:cubicBezTo>
                    <a:pt x="477" y="643"/>
                    <a:pt x="477" y="643"/>
                    <a:pt x="477" y="643"/>
                  </a:cubicBezTo>
                  <a:cubicBezTo>
                    <a:pt x="502" y="660"/>
                    <a:pt x="544" y="685"/>
                    <a:pt x="569" y="694"/>
                  </a:cubicBezTo>
                  <a:cubicBezTo>
                    <a:pt x="636" y="710"/>
                    <a:pt x="744" y="735"/>
                    <a:pt x="820" y="677"/>
                  </a:cubicBezTo>
                  <a:cubicBezTo>
                    <a:pt x="945" y="568"/>
                    <a:pt x="945" y="568"/>
                    <a:pt x="945" y="568"/>
                  </a:cubicBezTo>
                  <a:cubicBezTo>
                    <a:pt x="970" y="552"/>
                    <a:pt x="1004" y="552"/>
                    <a:pt x="1020" y="576"/>
                  </a:cubicBezTo>
                  <a:cubicBezTo>
                    <a:pt x="1229" y="853"/>
                    <a:pt x="1229" y="853"/>
                    <a:pt x="1229" y="853"/>
                  </a:cubicBezTo>
                  <a:cubicBezTo>
                    <a:pt x="1246" y="877"/>
                    <a:pt x="1246" y="869"/>
                    <a:pt x="1238" y="844"/>
                  </a:cubicBezTo>
                  <a:cubicBezTo>
                    <a:pt x="1096" y="493"/>
                    <a:pt x="1096" y="493"/>
                    <a:pt x="1096" y="493"/>
                  </a:cubicBezTo>
                  <a:cubicBezTo>
                    <a:pt x="1079" y="468"/>
                    <a:pt x="1087" y="434"/>
                    <a:pt x="1112" y="409"/>
                  </a:cubicBezTo>
                  <a:cubicBezTo>
                    <a:pt x="1313" y="217"/>
                    <a:pt x="1313" y="217"/>
                    <a:pt x="1313" y="217"/>
                  </a:cubicBezTo>
                  <a:cubicBezTo>
                    <a:pt x="1330" y="192"/>
                    <a:pt x="1346" y="200"/>
                    <a:pt x="1346" y="225"/>
                  </a:cubicBezTo>
                  <a:cubicBezTo>
                    <a:pt x="1346" y="903"/>
                    <a:pt x="1346" y="903"/>
                    <a:pt x="1346" y="903"/>
                  </a:cubicBezTo>
                  <a:cubicBezTo>
                    <a:pt x="1346" y="903"/>
                    <a:pt x="1338" y="986"/>
                    <a:pt x="1246" y="986"/>
                  </a:cubicBezTo>
                  <a:cubicBezTo>
                    <a:pt x="92" y="986"/>
                    <a:pt x="92" y="986"/>
                    <a:pt x="92" y="986"/>
                  </a:cubicBezTo>
                  <a:close/>
                  <a:moveTo>
                    <a:pt x="92" y="986"/>
                  </a:moveTo>
                  <a:lnTo>
                    <a:pt x="92" y="986"/>
                  </a:lnTo>
                  <a:close/>
                </a:path>
              </a:pathLst>
            </a:custGeom>
            <a:solidFill>
              <a:schemeClr val="bg1"/>
            </a:solidFill>
            <a:ln>
              <a:noFill/>
            </a:ln>
            <a:effectLst/>
            <a:extLst/>
          </p:spPr>
          <p:txBody>
            <a:bodyPr wrap="none" lIns="243852" tIns="121926" rIns="243852" bIns="121926" anchor="ctr"/>
            <a:lstStyle/>
            <a:p>
              <a:pPr>
                <a:defRPr/>
              </a:pPr>
              <a:endParaRPr lang="en-US">
                <a:solidFill>
                  <a:srgbClr val="41B5E8"/>
                </a:solidFill>
                <a:latin typeface="Open Sans Light"/>
                <a:cs typeface="Open Sans Light"/>
              </a:endParaRPr>
            </a:p>
          </p:txBody>
        </p:sp>
      </p:grpSp>
      <p:sp>
        <p:nvSpPr>
          <p:cNvPr id="33" name="Title 20"/>
          <p:cNvSpPr txBox="1">
            <a:spLocks/>
          </p:cNvSpPr>
          <p:nvPr/>
        </p:nvSpPr>
        <p:spPr>
          <a:xfrm>
            <a:off x="1553066" y="3101518"/>
            <a:ext cx="1586442" cy="430893"/>
          </a:xfrm>
          <a:prstGeom prst="rect">
            <a:avLst/>
          </a:prstGeom>
        </p:spPr>
        <p:txBody>
          <a:bodyPr vert="horz" wrap="square" lIns="243852" tIns="0" rIns="243852" bIns="121926" rtlCol="0" anchor="t" anchorCtr="0">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en-US" sz="2000" dirty="0">
                <a:solidFill>
                  <a:schemeClr val="tx1"/>
                </a:solidFill>
                <a:latin typeface="+mj-lt"/>
                <a:cs typeface="Open Sans Light"/>
              </a:rPr>
              <a:t>Statistics</a:t>
            </a:r>
          </a:p>
        </p:txBody>
      </p:sp>
      <p:sp>
        <p:nvSpPr>
          <p:cNvPr id="34" name="Title 20"/>
          <p:cNvSpPr txBox="1">
            <a:spLocks/>
          </p:cNvSpPr>
          <p:nvPr/>
        </p:nvSpPr>
        <p:spPr>
          <a:xfrm>
            <a:off x="3359377" y="3101518"/>
            <a:ext cx="2348835" cy="430893"/>
          </a:xfrm>
          <a:prstGeom prst="rect">
            <a:avLst/>
          </a:prstGeom>
        </p:spPr>
        <p:txBody>
          <a:bodyPr vert="horz" wrap="square" lIns="243852" tIns="0" rIns="243852" bIns="121926" rtlCol="0" anchor="t" anchorCtr="0">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en-US" sz="2000" dirty="0">
                <a:solidFill>
                  <a:schemeClr val="tx1"/>
                </a:solidFill>
                <a:latin typeface="+mj-lt"/>
                <a:cs typeface="Open Sans Light"/>
              </a:rPr>
              <a:t>Communication</a:t>
            </a:r>
          </a:p>
        </p:txBody>
      </p:sp>
      <p:sp>
        <p:nvSpPr>
          <p:cNvPr id="35" name="Title 20"/>
          <p:cNvSpPr txBox="1">
            <a:spLocks/>
          </p:cNvSpPr>
          <p:nvPr/>
        </p:nvSpPr>
        <p:spPr>
          <a:xfrm>
            <a:off x="5928081" y="3101518"/>
            <a:ext cx="2284984" cy="430893"/>
          </a:xfrm>
          <a:prstGeom prst="rect">
            <a:avLst/>
          </a:prstGeom>
        </p:spPr>
        <p:txBody>
          <a:bodyPr vert="horz" wrap="square" lIns="243852" tIns="0" rIns="243852" bIns="121926" rtlCol="0" anchor="t" anchorCtr="0">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en-US" sz="2000" dirty="0">
                <a:solidFill>
                  <a:schemeClr val="tx1"/>
                </a:solidFill>
                <a:latin typeface="+mj-lt"/>
                <a:cs typeface="Open Sans Light"/>
              </a:rPr>
              <a:t>Date and Time</a:t>
            </a:r>
          </a:p>
        </p:txBody>
      </p:sp>
      <p:sp>
        <p:nvSpPr>
          <p:cNvPr id="36" name="Title 20"/>
          <p:cNvSpPr txBox="1">
            <a:spLocks/>
          </p:cNvSpPr>
          <p:nvPr/>
        </p:nvSpPr>
        <p:spPr>
          <a:xfrm>
            <a:off x="8432935" y="3101518"/>
            <a:ext cx="2839602" cy="430893"/>
          </a:xfrm>
          <a:prstGeom prst="rect">
            <a:avLst/>
          </a:prstGeom>
        </p:spPr>
        <p:txBody>
          <a:bodyPr vert="horz" wrap="square" lIns="243852" tIns="0" rIns="243852" bIns="121926" rtlCol="0" anchor="t" anchorCtr="0">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en-US" sz="2000" dirty="0">
                <a:solidFill>
                  <a:schemeClr val="tx1"/>
                </a:solidFill>
                <a:latin typeface="+mj-lt"/>
                <a:cs typeface="Open Sans Light"/>
              </a:rPr>
              <a:t>Delivery Transport</a:t>
            </a:r>
          </a:p>
        </p:txBody>
      </p:sp>
      <p:sp>
        <p:nvSpPr>
          <p:cNvPr id="38"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9_84 12_84 21_84 30_84</a:t>
            </a:r>
            <a:endParaRPr lang="en-US" sz="100" dirty="0" err="1" smtClean="0">
              <a:solidFill>
                <a:srgbClr val="FFFFFF"/>
              </a:solidFill>
            </a:endParaRPr>
          </a:p>
        </p:txBody>
      </p:sp>
    </p:spTree>
    <p:extLst>
      <p:ext uri="{BB962C8B-B14F-4D97-AF65-F5344CB8AC3E}">
        <p14:creationId xmlns:p14="http://schemas.microsoft.com/office/powerpoint/2010/main" val="135827922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ircle diagram</a:t>
            </a:r>
            <a:endParaRPr lang="en-US" dirty="0"/>
          </a:p>
        </p:txBody>
      </p:sp>
      <p:sp>
        <p:nvSpPr>
          <p:cNvPr id="18" name="TextBox 17"/>
          <p:cNvSpPr txBox="1"/>
          <p:nvPr/>
        </p:nvSpPr>
        <p:spPr>
          <a:xfrm>
            <a:off x="1302843" y="1638193"/>
            <a:ext cx="3391550" cy="859798"/>
          </a:xfrm>
          <a:prstGeom prst="rect">
            <a:avLst/>
          </a:prstGeom>
          <a:noFill/>
        </p:spPr>
        <p:txBody>
          <a:bodyPr wrap="square" rtlCol="0">
            <a:noAutofit/>
          </a:bodyPr>
          <a:lstStyle/>
          <a:p>
            <a:pPr>
              <a:lnSpc>
                <a:spcPct val="130000"/>
              </a:lnSpc>
            </a:pPr>
            <a:r>
              <a:rPr lang="en-US" sz="1400" dirty="0" smtClean="0">
                <a:latin typeface="Roboto Regular" pitchFamily="2" charset="0"/>
                <a:ea typeface="Roboto Regular" pitchFamily="2" charset="0"/>
                <a:cs typeface="Open Sans Light"/>
              </a:rPr>
              <a:t>Entrepreneur  It is defined as an individual who organizes or operates a business or businesses. </a:t>
            </a:r>
            <a:endParaRPr lang="en-US" sz="1400" dirty="0">
              <a:latin typeface="Roboto Regular" pitchFamily="2" charset="0"/>
              <a:ea typeface="Roboto Regular" pitchFamily="2" charset="0"/>
              <a:cs typeface="Open Sans Light"/>
            </a:endParaRPr>
          </a:p>
        </p:txBody>
      </p:sp>
      <p:sp>
        <p:nvSpPr>
          <p:cNvPr id="19" name="TextBox 18"/>
          <p:cNvSpPr txBox="1"/>
          <p:nvPr/>
        </p:nvSpPr>
        <p:spPr>
          <a:xfrm>
            <a:off x="1302843" y="1172150"/>
            <a:ext cx="3391550" cy="570426"/>
          </a:xfrm>
          <a:prstGeom prst="rect">
            <a:avLst/>
          </a:prstGeom>
          <a:noFill/>
        </p:spPr>
        <p:txBody>
          <a:bodyPr wrap="square" rtlCol="0">
            <a:noAutofit/>
          </a:bodyPr>
          <a:lstStyle/>
          <a:p>
            <a:pPr>
              <a:lnSpc>
                <a:spcPct val="130000"/>
              </a:lnSpc>
            </a:pPr>
            <a:r>
              <a:rPr lang="en-US" sz="1600" b="1" dirty="0" smtClean="0">
                <a:latin typeface="+mj-lt"/>
                <a:cs typeface="Open Sans"/>
              </a:rPr>
              <a:t>Analytics</a:t>
            </a:r>
            <a:endParaRPr lang="en-US" sz="1600" b="1" dirty="0">
              <a:latin typeface="+mj-lt"/>
              <a:cs typeface="Open Sans"/>
            </a:endParaRPr>
          </a:p>
        </p:txBody>
      </p:sp>
      <p:sp>
        <p:nvSpPr>
          <p:cNvPr id="21" name="TextBox 20"/>
          <p:cNvSpPr txBox="1"/>
          <p:nvPr/>
        </p:nvSpPr>
        <p:spPr>
          <a:xfrm>
            <a:off x="1302843" y="3415735"/>
            <a:ext cx="3391550" cy="859798"/>
          </a:xfrm>
          <a:prstGeom prst="rect">
            <a:avLst/>
          </a:prstGeom>
          <a:noFill/>
        </p:spPr>
        <p:txBody>
          <a:bodyPr wrap="square" rtlCol="0">
            <a:noAutofit/>
          </a:bodyPr>
          <a:lstStyle/>
          <a:p>
            <a:pPr>
              <a:lnSpc>
                <a:spcPct val="130000"/>
              </a:lnSpc>
            </a:pPr>
            <a:r>
              <a:rPr lang="en-US" sz="1400" dirty="0" smtClean="0">
                <a:latin typeface="Roboto Regular" pitchFamily="2" charset="0"/>
                <a:ea typeface="Roboto Regular" pitchFamily="2" charset="0"/>
                <a:cs typeface="Open Sans Light"/>
              </a:rPr>
              <a:t>Entrepreneur  It is defined as an individual who organizes or operates a business or businesses. </a:t>
            </a:r>
            <a:endParaRPr lang="en-US" sz="1400" dirty="0">
              <a:latin typeface="Roboto Regular" pitchFamily="2" charset="0"/>
              <a:ea typeface="Roboto Regular" pitchFamily="2" charset="0"/>
              <a:cs typeface="Open Sans Light"/>
            </a:endParaRPr>
          </a:p>
        </p:txBody>
      </p:sp>
      <p:sp>
        <p:nvSpPr>
          <p:cNvPr id="22" name="TextBox 21"/>
          <p:cNvSpPr txBox="1"/>
          <p:nvPr/>
        </p:nvSpPr>
        <p:spPr>
          <a:xfrm>
            <a:off x="1302843" y="2949692"/>
            <a:ext cx="3391550" cy="570426"/>
          </a:xfrm>
          <a:prstGeom prst="rect">
            <a:avLst/>
          </a:prstGeom>
          <a:noFill/>
        </p:spPr>
        <p:txBody>
          <a:bodyPr wrap="square" rtlCol="0">
            <a:noAutofit/>
          </a:bodyPr>
          <a:lstStyle/>
          <a:p>
            <a:pPr>
              <a:lnSpc>
                <a:spcPct val="130000"/>
              </a:lnSpc>
            </a:pPr>
            <a:r>
              <a:rPr lang="en-US" sz="1600" b="1" dirty="0" smtClean="0">
                <a:latin typeface="+mj-lt"/>
                <a:cs typeface="Open Sans"/>
              </a:rPr>
              <a:t>Cloud Service</a:t>
            </a:r>
            <a:endParaRPr lang="en-US" sz="1600" b="1" dirty="0">
              <a:latin typeface="+mj-lt"/>
              <a:cs typeface="Open Sans"/>
            </a:endParaRPr>
          </a:p>
        </p:txBody>
      </p:sp>
      <p:sp>
        <p:nvSpPr>
          <p:cNvPr id="24" name="TextBox 23"/>
          <p:cNvSpPr txBox="1"/>
          <p:nvPr/>
        </p:nvSpPr>
        <p:spPr>
          <a:xfrm>
            <a:off x="1302843" y="5176765"/>
            <a:ext cx="3391550" cy="859798"/>
          </a:xfrm>
          <a:prstGeom prst="rect">
            <a:avLst/>
          </a:prstGeom>
          <a:noFill/>
        </p:spPr>
        <p:txBody>
          <a:bodyPr wrap="square" rtlCol="0">
            <a:noAutofit/>
          </a:bodyPr>
          <a:lstStyle/>
          <a:p>
            <a:pPr>
              <a:lnSpc>
                <a:spcPct val="130000"/>
              </a:lnSpc>
            </a:pPr>
            <a:r>
              <a:rPr lang="en-US" sz="1400" dirty="0" smtClean="0">
                <a:latin typeface="Roboto Regular" pitchFamily="2" charset="0"/>
                <a:ea typeface="Roboto Regular" pitchFamily="2" charset="0"/>
                <a:cs typeface="Open Sans Light"/>
              </a:rPr>
              <a:t>Entrepreneur  It is defined as an individual who organizes or operates a business or businesses. </a:t>
            </a:r>
            <a:endParaRPr lang="en-US" sz="1400" dirty="0">
              <a:latin typeface="Roboto Regular" pitchFamily="2" charset="0"/>
              <a:ea typeface="Roboto Regular" pitchFamily="2" charset="0"/>
              <a:cs typeface="Open Sans Light"/>
            </a:endParaRPr>
          </a:p>
        </p:txBody>
      </p:sp>
      <p:sp>
        <p:nvSpPr>
          <p:cNvPr id="25" name="TextBox 24"/>
          <p:cNvSpPr txBox="1"/>
          <p:nvPr/>
        </p:nvSpPr>
        <p:spPr>
          <a:xfrm>
            <a:off x="1302843" y="4710722"/>
            <a:ext cx="3391550" cy="570426"/>
          </a:xfrm>
          <a:prstGeom prst="rect">
            <a:avLst/>
          </a:prstGeom>
          <a:noFill/>
        </p:spPr>
        <p:txBody>
          <a:bodyPr wrap="square" rtlCol="0">
            <a:noAutofit/>
          </a:bodyPr>
          <a:lstStyle/>
          <a:p>
            <a:pPr>
              <a:lnSpc>
                <a:spcPct val="130000"/>
              </a:lnSpc>
            </a:pPr>
            <a:r>
              <a:rPr lang="en-US" sz="1600" b="1" dirty="0" smtClean="0">
                <a:latin typeface="+mj-lt"/>
                <a:cs typeface="Open Sans"/>
              </a:rPr>
              <a:t>Film Studio</a:t>
            </a:r>
            <a:endParaRPr lang="en-US" sz="1600" b="1" dirty="0">
              <a:latin typeface="+mj-lt"/>
              <a:cs typeface="Open Sans"/>
            </a:endParaRPr>
          </a:p>
        </p:txBody>
      </p:sp>
      <p:sp>
        <p:nvSpPr>
          <p:cNvPr id="27" name="TextBox 26"/>
          <p:cNvSpPr txBox="1"/>
          <p:nvPr/>
        </p:nvSpPr>
        <p:spPr>
          <a:xfrm>
            <a:off x="8394258" y="1658975"/>
            <a:ext cx="3391550" cy="859798"/>
          </a:xfrm>
          <a:prstGeom prst="rect">
            <a:avLst/>
          </a:prstGeom>
          <a:noFill/>
        </p:spPr>
        <p:txBody>
          <a:bodyPr wrap="square" rtlCol="0">
            <a:noAutofit/>
          </a:bodyPr>
          <a:lstStyle/>
          <a:p>
            <a:pPr algn="r">
              <a:lnSpc>
                <a:spcPct val="130000"/>
              </a:lnSpc>
            </a:pPr>
            <a:r>
              <a:rPr lang="en-US" sz="1400" dirty="0" smtClean="0">
                <a:latin typeface="Roboto Regular" pitchFamily="2" charset="0"/>
                <a:ea typeface="Roboto Regular" pitchFamily="2" charset="0"/>
                <a:cs typeface="Open Sans Light"/>
              </a:rPr>
              <a:t>Entrepreneur  It is defined as an individual who organizes or operates a business or businesses. </a:t>
            </a:r>
            <a:endParaRPr lang="en-US" sz="1400" dirty="0">
              <a:latin typeface="Roboto Regular" pitchFamily="2" charset="0"/>
              <a:ea typeface="Roboto Regular" pitchFamily="2" charset="0"/>
              <a:cs typeface="Open Sans Light"/>
            </a:endParaRPr>
          </a:p>
        </p:txBody>
      </p:sp>
      <p:sp>
        <p:nvSpPr>
          <p:cNvPr id="28" name="TextBox 27"/>
          <p:cNvSpPr txBox="1"/>
          <p:nvPr/>
        </p:nvSpPr>
        <p:spPr>
          <a:xfrm>
            <a:off x="8394258" y="1172150"/>
            <a:ext cx="3391550" cy="570426"/>
          </a:xfrm>
          <a:prstGeom prst="rect">
            <a:avLst/>
          </a:prstGeom>
          <a:noFill/>
        </p:spPr>
        <p:txBody>
          <a:bodyPr wrap="square" rtlCol="0">
            <a:noAutofit/>
          </a:bodyPr>
          <a:lstStyle/>
          <a:p>
            <a:pPr algn="r">
              <a:lnSpc>
                <a:spcPct val="130000"/>
              </a:lnSpc>
            </a:pPr>
            <a:r>
              <a:rPr lang="en-US" sz="1600" b="1" dirty="0" smtClean="0">
                <a:latin typeface="+mj-lt"/>
                <a:cs typeface="Open Sans"/>
              </a:rPr>
              <a:t>Analytics</a:t>
            </a:r>
            <a:endParaRPr lang="en-US" sz="1600" b="1" dirty="0">
              <a:latin typeface="+mj-lt"/>
              <a:cs typeface="Open Sans"/>
            </a:endParaRPr>
          </a:p>
        </p:txBody>
      </p:sp>
      <p:sp>
        <p:nvSpPr>
          <p:cNvPr id="30" name="TextBox 29"/>
          <p:cNvSpPr txBox="1"/>
          <p:nvPr/>
        </p:nvSpPr>
        <p:spPr>
          <a:xfrm>
            <a:off x="8380889" y="3415735"/>
            <a:ext cx="3391550" cy="859798"/>
          </a:xfrm>
          <a:prstGeom prst="rect">
            <a:avLst/>
          </a:prstGeom>
          <a:noFill/>
        </p:spPr>
        <p:txBody>
          <a:bodyPr wrap="square" rtlCol="0">
            <a:noAutofit/>
          </a:bodyPr>
          <a:lstStyle/>
          <a:p>
            <a:pPr algn="r">
              <a:lnSpc>
                <a:spcPct val="130000"/>
              </a:lnSpc>
            </a:pPr>
            <a:r>
              <a:rPr lang="en-US" sz="1400" dirty="0" smtClean="0">
                <a:latin typeface="Roboto Regular" pitchFamily="2" charset="0"/>
                <a:ea typeface="Roboto Regular" pitchFamily="2" charset="0"/>
                <a:cs typeface="Open Sans Light"/>
              </a:rPr>
              <a:t>Entrepreneur  It is defined as an individual who organizes or operates a business or businesses. </a:t>
            </a:r>
            <a:endParaRPr lang="en-US" sz="1400" dirty="0">
              <a:latin typeface="Roboto Regular" pitchFamily="2" charset="0"/>
              <a:ea typeface="Roboto Regular" pitchFamily="2" charset="0"/>
              <a:cs typeface="Open Sans Light"/>
            </a:endParaRPr>
          </a:p>
        </p:txBody>
      </p:sp>
      <p:sp>
        <p:nvSpPr>
          <p:cNvPr id="31" name="TextBox 30"/>
          <p:cNvSpPr txBox="1"/>
          <p:nvPr/>
        </p:nvSpPr>
        <p:spPr>
          <a:xfrm>
            <a:off x="8380889" y="2949692"/>
            <a:ext cx="3391550" cy="570426"/>
          </a:xfrm>
          <a:prstGeom prst="rect">
            <a:avLst/>
          </a:prstGeom>
          <a:noFill/>
        </p:spPr>
        <p:txBody>
          <a:bodyPr wrap="square" rtlCol="0">
            <a:noAutofit/>
          </a:bodyPr>
          <a:lstStyle/>
          <a:p>
            <a:pPr algn="r">
              <a:lnSpc>
                <a:spcPct val="130000"/>
              </a:lnSpc>
            </a:pPr>
            <a:r>
              <a:rPr lang="en-US" sz="1600" b="1" dirty="0" smtClean="0">
                <a:latin typeface="+mj-lt"/>
                <a:cs typeface="Open Sans"/>
              </a:rPr>
              <a:t>Cloud Service</a:t>
            </a:r>
            <a:endParaRPr lang="en-US" sz="1600" b="1" dirty="0">
              <a:latin typeface="+mj-lt"/>
              <a:cs typeface="Open Sans"/>
            </a:endParaRPr>
          </a:p>
        </p:txBody>
      </p:sp>
      <p:sp>
        <p:nvSpPr>
          <p:cNvPr id="33" name="TextBox 32"/>
          <p:cNvSpPr txBox="1"/>
          <p:nvPr/>
        </p:nvSpPr>
        <p:spPr>
          <a:xfrm>
            <a:off x="8371775" y="5176765"/>
            <a:ext cx="3391550" cy="859798"/>
          </a:xfrm>
          <a:prstGeom prst="rect">
            <a:avLst/>
          </a:prstGeom>
          <a:noFill/>
        </p:spPr>
        <p:txBody>
          <a:bodyPr wrap="square" rtlCol="0">
            <a:noAutofit/>
          </a:bodyPr>
          <a:lstStyle/>
          <a:p>
            <a:pPr algn="r">
              <a:lnSpc>
                <a:spcPct val="130000"/>
              </a:lnSpc>
            </a:pPr>
            <a:r>
              <a:rPr lang="en-US" sz="1400" dirty="0" smtClean="0">
                <a:latin typeface="Roboto Regular" pitchFamily="2" charset="0"/>
                <a:ea typeface="Roboto Regular" pitchFamily="2" charset="0"/>
                <a:cs typeface="Open Sans Light"/>
              </a:rPr>
              <a:t>Entrepreneur  It is defined as an individual who organizes or operates a business or businesses. </a:t>
            </a:r>
            <a:endParaRPr lang="en-US" sz="1400" dirty="0">
              <a:latin typeface="Roboto Regular" pitchFamily="2" charset="0"/>
              <a:ea typeface="Roboto Regular" pitchFamily="2" charset="0"/>
              <a:cs typeface="Open Sans Light"/>
            </a:endParaRPr>
          </a:p>
        </p:txBody>
      </p:sp>
      <p:sp>
        <p:nvSpPr>
          <p:cNvPr id="34" name="TextBox 33"/>
          <p:cNvSpPr txBox="1"/>
          <p:nvPr/>
        </p:nvSpPr>
        <p:spPr>
          <a:xfrm>
            <a:off x="8371775" y="4710722"/>
            <a:ext cx="3391550" cy="570426"/>
          </a:xfrm>
          <a:prstGeom prst="rect">
            <a:avLst/>
          </a:prstGeom>
          <a:noFill/>
        </p:spPr>
        <p:txBody>
          <a:bodyPr wrap="square" rtlCol="0">
            <a:noAutofit/>
          </a:bodyPr>
          <a:lstStyle/>
          <a:p>
            <a:pPr algn="r">
              <a:lnSpc>
                <a:spcPct val="130000"/>
              </a:lnSpc>
            </a:pPr>
            <a:r>
              <a:rPr lang="en-US" sz="1600" b="1" dirty="0" smtClean="0">
                <a:latin typeface="+mj-lt"/>
                <a:cs typeface="Open Sans"/>
              </a:rPr>
              <a:t>Film Studio</a:t>
            </a:r>
            <a:endParaRPr lang="en-US" sz="1600" b="1" dirty="0">
              <a:latin typeface="+mj-lt"/>
              <a:cs typeface="Open Sans"/>
            </a:endParaRPr>
          </a:p>
        </p:txBody>
      </p:sp>
      <p:sp>
        <p:nvSpPr>
          <p:cNvPr id="35" name="Freeform 98"/>
          <p:cNvSpPr>
            <a:spLocks noEditPoints="1"/>
          </p:cNvSpPr>
          <p:nvPr/>
        </p:nvSpPr>
        <p:spPr bwMode="auto">
          <a:xfrm>
            <a:off x="399530" y="1251476"/>
            <a:ext cx="481865" cy="358905"/>
          </a:xfrm>
          <a:custGeom>
            <a:avLst/>
            <a:gdLst/>
            <a:ahLst/>
            <a:cxnLst>
              <a:cxn ang="0">
                <a:pos x="55" y="23"/>
              </a:cxn>
              <a:cxn ang="0">
                <a:pos x="25" y="23"/>
              </a:cxn>
              <a:cxn ang="0">
                <a:pos x="12" y="29"/>
              </a:cxn>
              <a:cxn ang="0">
                <a:pos x="0" y="43"/>
              </a:cxn>
              <a:cxn ang="0">
                <a:pos x="0" y="43"/>
              </a:cxn>
              <a:cxn ang="0">
                <a:pos x="0" y="42"/>
              </a:cxn>
              <a:cxn ang="0">
                <a:pos x="0" y="8"/>
              </a:cxn>
              <a:cxn ang="0">
                <a:pos x="8" y="0"/>
              </a:cxn>
              <a:cxn ang="0">
                <a:pos x="19" y="0"/>
              </a:cxn>
              <a:cxn ang="0">
                <a:pos x="27" y="8"/>
              </a:cxn>
              <a:cxn ang="0">
                <a:pos x="27" y="9"/>
              </a:cxn>
              <a:cxn ang="0">
                <a:pos x="47" y="9"/>
              </a:cxn>
              <a:cxn ang="0">
                <a:pos x="55" y="17"/>
              </a:cxn>
              <a:cxn ang="0">
                <a:pos x="55" y="23"/>
              </a:cxn>
              <a:cxn ang="0">
                <a:pos x="66" y="32"/>
              </a:cxn>
              <a:cxn ang="0">
                <a:pos x="54" y="46"/>
              </a:cxn>
              <a:cxn ang="0">
                <a:pos x="44" y="50"/>
              </a:cxn>
              <a:cxn ang="0">
                <a:pos x="5" y="50"/>
              </a:cxn>
              <a:cxn ang="0">
                <a:pos x="2" y="48"/>
              </a:cxn>
              <a:cxn ang="0">
                <a:pos x="3" y="46"/>
              </a:cxn>
              <a:cxn ang="0">
                <a:pos x="15" y="32"/>
              </a:cxn>
              <a:cxn ang="0">
                <a:pos x="25" y="28"/>
              </a:cxn>
              <a:cxn ang="0">
                <a:pos x="64" y="28"/>
              </a:cxn>
              <a:cxn ang="0">
                <a:pos x="67" y="30"/>
              </a:cxn>
              <a:cxn ang="0">
                <a:pos x="66" y="32"/>
              </a:cxn>
            </a:cxnLst>
            <a:rect l="0" t="0" r="r" b="b"/>
            <a:pathLst>
              <a:path w="67" h="50">
                <a:moveTo>
                  <a:pt x="55" y="23"/>
                </a:moveTo>
                <a:cubicBezTo>
                  <a:pt x="25" y="23"/>
                  <a:pt x="25" y="23"/>
                  <a:pt x="25" y="23"/>
                </a:cubicBezTo>
                <a:cubicBezTo>
                  <a:pt x="20" y="23"/>
                  <a:pt x="15" y="26"/>
                  <a:pt x="12" y="29"/>
                </a:cubicBezTo>
                <a:cubicBezTo>
                  <a:pt x="0" y="43"/>
                  <a:pt x="0" y="43"/>
                  <a:pt x="0" y="43"/>
                </a:cubicBezTo>
                <a:cubicBezTo>
                  <a:pt x="0" y="43"/>
                  <a:pt x="0" y="43"/>
                  <a:pt x="0" y="43"/>
                </a:cubicBezTo>
                <a:cubicBezTo>
                  <a:pt x="0" y="43"/>
                  <a:pt x="0" y="43"/>
                  <a:pt x="0" y="42"/>
                </a:cubicBezTo>
                <a:cubicBezTo>
                  <a:pt x="0" y="8"/>
                  <a:pt x="0" y="8"/>
                  <a:pt x="0" y="8"/>
                </a:cubicBezTo>
                <a:cubicBezTo>
                  <a:pt x="0" y="4"/>
                  <a:pt x="3" y="0"/>
                  <a:pt x="8" y="0"/>
                </a:cubicBezTo>
                <a:cubicBezTo>
                  <a:pt x="19" y="0"/>
                  <a:pt x="19" y="0"/>
                  <a:pt x="19" y="0"/>
                </a:cubicBezTo>
                <a:cubicBezTo>
                  <a:pt x="24" y="0"/>
                  <a:pt x="27" y="4"/>
                  <a:pt x="27" y="8"/>
                </a:cubicBezTo>
                <a:cubicBezTo>
                  <a:pt x="27" y="9"/>
                  <a:pt x="27" y="9"/>
                  <a:pt x="27" y="9"/>
                </a:cubicBezTo>
                <a:cubicBezTo>
                  <a:pt x="47" y="9"/>
                  <a:pt x="47" y="9"/>
                  <a:pt x="47" y="9"/>
                </a:cubicBezTo>
                <a:cubicBezTo>
                  <a:pt x="51" y="9"/>
                  <a:pt x="55" y="13"/>
                  <a:pt x="55" y="17"/>
                </a:cubicBezTo>
                <a:lnTo>
                  <a:pt x="55" y="23"/>
                </a:lnTo>
                <a:close/>
                <a:moveTo>
                  <a:pt x="66" y="32"/>
                </a:moveTo>
                <a:cubicBezTo>
                  <a:pt x="54" y="46"/>
                  <a:pt x="54" y="46"/>
                  <a:pt x="54" y="46"/>
                </a:cubicBezTo>
                <a:cubicBezTo>
                  <a:pt x="52" y="48"/>
                  <a:pt x="47" y="50"/>
                  <a:pt x="44" y="50"/>
                </a:cubicBezTo>
                <a:cubicBezTo>
                  <a:pt x="5" y="50"/>
                  <a:pt x="5" y="50"/>
                  <a:pt x="5" y="50"/>
                </a:cubicBezTo>
                <a:cubicBezTo>
                  <a:pt x="4" y="50"/>
                  <a:pt x="2" y="50"/>
                  <a:pt x="2" y="48"/>
                </a:cubicBezTo>
                <a:cubicBezTo>
                  <a:pt x="2" y="48"/>
                  <a:pt x="3" y="47"/>
                  <a:pt x="3" y="46"/>
                </a:cubicBezTo>
                <a:cubicBezTo>
                  <a:pt x="15" y="32"/>
                  <a:pt x="15" y="32"/>
                  <a:pt x="15" y="32"/>
                </a:cubicBezTo>
                <a:cubicBezTo>
                  <a:pt x="18" y="29"/>
                  <a:pt x="22" y="28"/>
                  <a:pt x="25" y="28"/>
                </a:cubicBezTo>
                <a:cubicBezTo>
                  <a:pt x="64" y="28"/>
                  <a:pt x="64" y="28"/>
                  <a:pt x="64" y="28"/>
                </a:cubicBezTo>
                <a:cubicBezTo>
                  <a:pt x="65" y="28"/>
                  <a:pt x="67" y="28"/>
                  <a:pt x="67" y="30"/>
                </a:cubicBezTo>
                <a:cubicBezTo>
                  <a:pt x="67" y="30"/>
                  <a:pt x="66" y="31"/>
                  <a:pt x="66" y="32"/>
                </a:cubicBezTo>
                <a:close/>
              </a:path>
            </a:pathLst>
          </a:custGeom>
          <a:solidFill>
            <a:srgbClr val="76767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7" name="Freeform 115"/>
          <p:cNvSpPr>
            <a:spLocks noEditPoints="1"/>
          </p:cNvSpPr>
          <p:nvPr/>
        </p:nvSpPr>
        <p:spPr bwMode="auto">
          <a:xfrm>
            <a:off x="396121" y="3055283"/>
            <a:ext cx="488683" cy="492223"/>
          </a:xfrm>
          <a:custGeom>
            <a:avLst/>
            <a:gdLst/>
            <a:ahLst/>
            <a:cxnLst>
              <a:cxn ang="0">
                <a:pos x="64" y="32"/>
              </a:cxn>
              <a:cxn ang="0">
                <a:pos x="32" y="64"/>
              </a:cxn>
              <a:cxn ang="0">
                <a:pos x="0" y="32"/>
              </a:cxn>
              <a:cxn ang="0">
                <a:pos x="32" y="0"/>
              </a:cxn>
              <a:cxn ang="0">
                <a:pos x="64" y="32"/>
              </a:cxn>
              <a:cxn ang="0">
                <a:pos x="14" y="38"/>
              </a:cxn>
              <a:cxn ang="0">
                <a:pos x="13" y="32"/>
              </a:cxn>
              <a:cxn ang="0">
                <a:pos x="14" y="26"/>
              </a:cxn>
              <a:cxn ang="0">
                <a:pos x="8" y="19"/>
              </a:cxn>
              <a:cxn ang="0">
                <a:pos x="4" y="32"/>
              </a:cxn>
              <a:cxn ang="0">
                <a:pos x="8" y="45"/>
              </a:cxn>
              <a:cxn ang="0">
                <a:pos x="14" y="38"/>
              </a:cxn>
              <a:cxn ang="0">
                <a:pos x="45" y="32"/>
              </a:cxn>
              <a:cxn ang="0">
                <a:pos x="32" y="18"/>
              </a:cxn>
              <a:cxn ang="0">
                <a:pos x="18" y="32"/>
              </a:cxn>
              <a:cxn ang="0">
                <a:pos x="32" y="46"/>
              </a:cxn>
              <a:cxn ang="0">
                <a:pos x="45" y="32"/>
              </a:cxn>
              <a:cxn ang="0">
                <a:pos x="19" y="8"/>
              </a:cxn>
              <a:cxn ang="0">
                <a:pos x="26" y="15"/>
              </a:cxn>
              <a:cxn ang="0">
                <a:pos x="32" y="14"/>
              </a:cxn>
              <a:cxn ang="0">
                <a:pos x="38" y="15"/>
              </a:cxn>
              <a:cxn ang="0">
                <a:pos x="45" y="8"/>
              </a:cxn>
              <a:cxn ang="0">
                <a:pos x="32" y="5"/>
              </a:cxn>
              <a:cxn ang="0">
                <a:pos x="19" y="8"/>
              </a:cxn>
              <a:cxn ang="0">
                <a:pos x="45" y="56"/>
              </a:cxn>
              <a:cxn ang="0">
                <a:pos x="38" y="49"/>
              </a:cxn>
              <a:cxn ang="0">
                <a:pos x="32" y="50"/>
              </a:cxn>
              <a:cxn ang="0">
                <a:pos x="26" y="49"/>
              </a:cxn>
              <a:cxn ang="0">
                <a:pos x="19" y="56"/>
              </a:cxn>
              <a:cxn ang="0">
                <a:pos x="32" y="60"/>
              </a:cxn>
              <a:cxn ang="0">
                <a:pos x="45" y="56"/>
              </a:cxn>
              <a:cxn ang="0">
                <a:pos x="56" y="45"/>
              </a:cxn>
              <a:cxn ang="0">
                <a:pos x="59" y="32"/>
              </a:cxn>
              <a:cxn ang="0">
                <a:pos x="56" y="19"/>
              </a:cxn>
              <a:cxn ang="0">
                <a:pos x="49" y="26"/>
              </a:cxn>
              <a:cxn ang="0">
                <a:pos x="50" y="32"/>
              </a:cxn>
              <a:cxn ang="0">
                <a:pos x="49" y="38"/>
              </a:cxn>
              <a:cxn ang="0">
                <a:pos x="56" y="45"/>
              </a:cxn>
            </a:cxnLst>
            <a:rect l="0" t="0" r="r" b="b"/>
            <a:pathLst>
              <a:path w="64" h="64">
                <a:moveTo>
                  <a:pt x="64" y="32"/>
                </a:moveTo>
                <a:cubicBezTo>
                  <a:pt x="64" y="50"/>
                  <a:pt x="49" y="64"/>
                  <a:pt x="32" y="64"/>
                </a:cubicBezTo>
                <a:cubicBezTo>
                  <a:pt x="14" y="64"/>
                  <a:pt x="0" y="50"/>
                  <a:pt x="0" y="32"/>
                </a:cubicBezTo>
                <a:cubicBezTo>
                  <a:pt x="0" y="14"/>
                  <a:pt x="14" y="0"/>
                  <a:pt x="32" y="0"/>
                </a:cubicBezTo>
                <a:cubicBezTo>
                  <a:pt x="49" y="0"/>
                  <a:pt x="64" y="14"/>
                  <a:pt x="64" y="32"/>
                </a:cubicBezTo>
                <a:close/>
                <a:moveTo>
                  <a:pt x="14" y="38"/>
                </a:moveTo>
                <a:cubicBezTo>
                  <a:pt x="14" y="36"/>
                  <a:pt x="13" y="34"/>
                  <a:pt x="13" y="32"/>
                </a:cubicBezTo>
                <a:cubicBezTo>
                  <a:pt x="13" y="30"/>
                  <a:pt x="14" y="28"/>
                  <a:pt x="14" y="26"/>
                </a:cubicBezTo>
                <a:cubicBezTo>
                  <a:pt x="8" y="19"/>
                  <a:pt x="8" y="19"/>
                  <a:pt x="8" y="19"/>
                </a:cubicBezTo>
                <a:cubicBezTo>
                  <a:pt x="6" y="23"/>
                  <a:pt x="4" y="28"/>
                  <a:pt x="4" y="32"/>
                </a:cubicBezTo>
                <a:cubicBezTo>
                  <a:pt x="4" y="37"/>
                  <a:pt x="6" y="41"/>
                  <a:pt x="8" y="45"/>
                </a:cubicBezTo>
                <a:lnTo>
                  <a:pt x="14" y="38"/>
                </a:lnTo>
                <a:close/>
                <a:moveTo>
                  <a:pt x="45" y="32"/>
                </a:moveTo>
                <a:cubicBezTo>
                  <a:pt x="45" y="25"/>
                  <a:pt x="39" y="18"/>
                  <a:pt x="32" y="18"/>
                </a:cubicBezTo>
                <a:cubicBezTo>
                  <a:pt x="24" y="18"/>
                  <a:pt x="18" y="25"/>
                  <a:pt x="18" y="32"/>
                </a:cubicBezTo>
                <a:cubicBezTo>
                  <a:pt x="18" y="40"/>
                  <a:pt x="24" y="46"/>
                  <a:pt x="32" y="46"/>
                </a:cubicBezTo>
                <a:cubicBezTo>
                  <a:pt x="39" y="46"/>
                  <a:pt x="45" y="40"/>
                  <a:pt x="45" y="32"/>
                </a:cubicBezTo>
                <a:close/>
                <a:moveTo>
                  <a:pt x="19" y="8"/>
                </a:moveTo>
                <a:cubicBezTo>
                  <a:pt x="26" y="15"/>
                  <a:pt x="26" y="15"/>
                  <a:pt x="26" y="15"/>
                </a:cubicBezTo>
                <a:cubicBezTo>
                  <a:pt x="28" y="14"/>
                  <a:pt x="30" y="14"/>
                  <a:pt x="32" y="14"/>
                </a:cubicBezTo>
                <a:cubicBezTo>
                  <a:pt x="34" y="14"/>
                  <a:pt x="36" y="14"/>
                  <a:pt x="38" y="15"/>
                </a:cubicBezTo>
                <a:cubicBezTo>
                  <a:pt x="45" y="8"/>
                  <a:pt x="45" y="8"/>
                  <a:pt x="45" y="8"/>
                </a:cubicBezTo>
                <a:cubicBezTo>
                  <a:pt x="41" y="6"/>
                  <a:pt x="36" y="5"/>
                  <a:pt x="32" y="5"/>
                </a:cubicBezTo>
                <a:cubicBezTo>
                  <a:pt x="27" y="5"/>
                  <a:pt x="23" y="6"/>
                  <a:pt x="19" y="8"/>
                </a:cubicBezTo>
                <a:close/>
                <a:moveTo>
                  <a:pt x="45" y="56"/>
                </a:moveTo>
                <a:cubicBezTo>
                  <a:pt x="38" y="49"/>
                  <a:pt x="38" y="49"/>
                  <a:pt x="38" y="49"/>
                </a:cubicBezTo>
                <a:cubicBezTo>
                  <a:pt x="36" y="50"/>
                  <a:pt x="34" y="50"/>
                  <a:pt x="32" y="50"/>
                </a:cubicBezTo>
                <a:cubicBezTo>
                  <a:pt x="30" y="50"/>
                  <a:pt x="28" y="50"/>
                  <a:pt x="26" y="49"/>
                </a:cubicBezTo>
                <a:cubicBezTo>
                  <a:pt x="19" y="56"/>
                  <a:pt x="19" y="56"/>
                  <a:pt x="19" y="56"/>
                </a:cubicBezTo>
                <a:cubicBezTo>
                  <a:pt x="23" y="58"/>
                  <a:pt x="27" y="60"/>
                  <a:pt x="32" y="60"/>
                </a:cubicBezTo>
                <a:cubicBezTo>
                  <a:pt x="36" y="60"/>
                  <a:pt x="41" y="58"/>
                  <a:pt x="45" y="56"/>
                </a:cubicBezTo>
                <a:close/>
                <a:moveTo>
                  <a:pt x="56" y="45"/>
                </a:moveTo>
                <a:cubicBezTo>
                  <a:pt x="58" y="41"/>
                  <a:pt x="59" y="37"/>
                  <a:pt x="59" y="32"/>
                </a:cubicBezTo>
                <a:cubicBezTo>
                  <a:pt x="59" y="28"/>
                  <a:pt x="58" y="23"/>
                  <a:pt x="56" y="19"/>
                </a:cubicBezTo>
                <a:cubicBezTo>
                  <a:pt x="49" y="26"/>
                  <a:pt x="49" y="26"/>
                  <a:pt x="49" y="26"/>
                </a:cubicBezTo>
                <a:cubicBezTo>
                  <a:pt x="50" y="28"/>
                  <a:pt x="50" y="30"/>
                  <a:pt x="50" y="32"/>
                </a:cubicBezTo>
                <a:cubicBezTo>
                  <a:pt x="50" y="34"/>
                  <a:pt x="50" y="36"/>
                  <a:pt x="49" y="38"/>
                </a:cubicBezTo>
                <a:lnTo>
                  <a:pt x="56" y="45"/>
                </a:lnTo>
                <a:close/>
              </a:path>
            </a:pathLst>
          </a:custGeom>
          <a:solidFill>
            <a:srgbClr val="0A3E5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8" name="Freeform 116"/>
          <p:cNvSpPr>
            <a:spLocks noEditPoints="1"/>
          </p:cNvSpPr>
          <p:nvPr/>
        </p:nvSpPr>
        <p:spPr bwMode="auto">
          <a:xfrm>
            <a:off x="398954" y="4854137"/>
            <a:ext cx="483017" cy="389532"/>
          </a:xfrm>
          <a:custGeom>
            <a:avLst/>
            <a:gdLst/>
            <a:ahLst/>
            <a:cxnLst>
              <a:cxn ang="0">
                <a:pos x="55" y="27"/>
              </a:cxn>
              <a:cxn ang="0">
                <a:pos x="54" y="27"/>
              </a:cxn>
              <a:cxn ang="0">
                <a:pos x="54" y="27"/>
              </a:cxn>
              <a:cxn ang="0">
                <a:pos x="53" y="27"/>
              </a:cxn>
              <a:cxn ang="0">
                <a:pos x="28" y="6"/>
              </a:cxn>
              <a:cxn ang="0">
                <a:pos x="4" y="27"/>
              </a:cxn>
              <a:cxn ang="0">
                <a:pos x="3" y="27"/>
              </a:cxn>
              <a:cxn ang="0">
                <a:pos x="2" y="27"/>
              </a:cxn>
              <a:cxn ang="0">
                <a:pos x="0" y="24"/>
              </a:cxn>
              <a:cxn ang="0">
                <a:pos x="0" y="23"/>
              </a:cxn>
              <a:cxn ang="0">
                <a:pos x="26" y="1"/>
              </a:cxn>
              <a:cxn ang="0">
                <a:pos x="31" y="1"/>
              </a:cxn>
              <a:cxn ang="0">
                <a:pos x="40" y="8"/>
              </a:cxn>
              <a:cxn ang="0">
                <a:pos x="40" y="1"/>
              </a:cxn>
              <a:cxn ang="0">
                <a:pos x="41" y="0"/>
              </a:cxn>
              <a:cxn ang="0">
                <a:pos x="48" y="0"/>
              </a:cxn>
              <a:cxn ang="0">
                <a:pos x="49" y="1"/>
              </a:cxn>
              <a:cxn ang="0">
                <a:pos x="49" y="16"/>
              </a:cxn>
              <a:cxn ang="0">
                <a:pos x="57" y="23"/>
              </a:cxn>
              <a:cxn ang="0">
                <a:pos x="57" y="24"/>
              </a:cxn>
              <a:cxn ang="0">
                <a:pos x="55" y="27"/>
              </a:cxn>
              <a:cxn ang="0">
                <a:pos x="49" y="44"/>
              </a:cxn>
              <a:cxn ang="0">
                <a:pos x="47" y="46"/>
              </a:cxn>
              <a:cxn ang="0">
                <a:pos x="33" y="46"/>
              </a:cxn>
              <a:cxn ang="0">
                <a:pos x="33" y="32"/>
              </a:cxn>
              <a:cxn ang="0">
                <a:pos x="24" y="32"/>
              </a:cxn>
              <a:cxn ang="0">
                <a:pos x="24" y="46"/>
              </a:cxn>
              <a:cxn ang="0">
                <a:pos x="10" y="46"/>
              </a:cxn>
              <a:cxn ang="0">
                <a:pos x="8" y="44"/>
              </a:cxn>
              <a:cxn ang="0">
                <a:pos x="8" y="27"/>
              </a:cxn>
              <a:cxn ang="0">
                <a:pos x="8" y="26"/>
              </a:cxn>
              <a:cxn ang="0">
                <a:pos x="28" y="9"/>
              </a:cxn>
              <a:cxn ang="0">
                <a:pos x="49" y="26"/>
              </a:cxn>
              <a:cxn ang="0">
                <a:pos x="49" y="27"/>
              </a:cxn>
              <a:cxn ang="0">
                <a:pos x="49" y="44"/>
              </a:cxn>
            </a:cxnLst>
            <a:rect l="0" t="0" r="r" b="b"/>
            <a:pathLst>
              <a:path w="57" h="46">
                <a:moveTo>
                  <a:pt x="55" y="27"/>
                </a:moveTo>
                <a:cubicBezTo>
                  <a:pt x="55" y="27"/>
                  <a:pt x="54" y="27"/>
                  <a:pt x="54" y="27"/>
                </a:cubicBezTo>
                <a:cubicBezTo>
                  <a:pt x="54" y="27"/>
                  <a:pt x="54" y="27"/>
                  <a:pt x="54" y="27"/>
                </a:cubicBezTo>
                <a:cubicBezTo>
                  <a:pt x="54" y="27"/>
                  <a:pt x="53" y="27"/>
                  <a:pt x="53" y="27"/>
                </a:cubicBezTo>
                <a:cubicBezTo>
                  <a:pt x="28" y="6"/>
                  <a:pt x="28" y="6"/>
                  <a:pt x="28" y="6"/>
                </a:cubicBezTo>
                <a:cubicBezTo>
                  <a:pt x="4" y="27"/>
                  <a:pt x="4" y="27"/>
                  <a:pt x="4" y="27"/>
                </a:cubicBezTo>
                <a:cubicBezTo>
                  <a:pt x="4" y="27"/>
                  <a:pt x="3" y="27"/>
                  <a:pt x="3" y="27"/>
                </a:cubicBezTo>
                <a:cubicBezTo>
                  <a:pt x="3" y="27"/>
                  <a:pt x="2" y="27"/>
                  <a:pt x="2" y="27"/>
                </a:cubicBezTo>
                <a:cubicBezTo>
                  <a:pt x="0" y="24"/>
                  <a:pt x="0" y="24"/>
                  <a:pt x="0" y="24"/>
                </a:cubicBezTo>
                <a:cubicBezTo>
                  <a:pt x="0" y="24"/>
                  <a:pt x="0" y="23"/>
                  <a:pt x="0" y="23"/>
                </a:cubicBezTo>
                <a:cubicBezTo>
                  <a:pt x="26" y="1"/>
                  <a:pt x="26" y="1"/>
                  <a:pt x="26" y="1"/>
                </a:cubicBezTo>
                <a:cubicBezTo>
                  <a:pt x="27" y="0"/>
                  <a:pt x="30" y="0"/>
                  <a:pt x="31" y="1"/>
                </a:cubicBezTo>
                <a:cubicBezTo>
                  <a:pt x="40" y="8"/>
                  <a:pt x="40" y="8"/>
                  <a:pt x="40" y="8"/>
                </a:cubicBezTo>
                <a:cubicBezTo>
                  <a:pt x="40" y="1"/>
                  <a:pt x="40" y="1"/>
                  <a:pt x="40" y="1"/>
                </a:cubicBezTo>
                <a:cubicBezTo>
                  <a:pt x="40" y="1"/>
                  <a:pt x="40" y="0"/>
                  <a:pt x="41" y="0"/>
                </a:cubicBezTo>
                <a:cubicBezTo>
                  <a:pt x="48" y="0"/>
                  <a:pt x="48" y="0"/>
                  <a:pt x="48" y="0"/>
                </a:cubicBezTo>
                <a:cubicBezTo>
                  <a:pt x="49" y="0"/>
                  <a:pt x="49" y="1"/>
                  <a:pt x="49" y="1"/>
                </a:cubicBezTo>
                <a:cubicBezTo>
                  <a:pt x="49" y="16"/>
                  <a:pt x="49" y="16"/>
                  <a:pt x="49" y="16"/>
                </a:cubicBezTo>
                <a:cubicBezTo>
                  <a:pt x="57" y="23"/>
                  <a:pt x="57" y="23"/>
                  <a:pt x="57" y="23"/>
                </a:cubicBezTo>
                <a:cubicBezTo>
                  <a:pt x="57" y="23"/>
                  <a:pt x="57" y="24"/>
                  <a:pt x="57" y="24"/>
                </a:cubicBezTo>
                <a:lnTo>
                  <a:pt x="55" y="27"/>
                </a:lnTo>
                <a:close/>
                <a:moveTo>
                  <a:pt x="49" y="44"/>
                </a:moveTo>
                <a:cubicBezTo>
                  <a:pt x="49" y="45"/>
                  <a:pt x="48" y="46"/>
                  <a:pt x="47" y="46"/>
                </a:cubicBezTo>
                <a:cubicBezTo>
                  <a:pt x="33" y="46"/>
                  <a:pt x="33" y="46"/>
                  <a:pt x="33" y="46"/>
                </a:cubicBezTo>
                <a:cubicBezTo>
                  <a:pt x="33" y="32"/>
                  <a:pt x="33" y="32"/>
                  <a:pt x="33" y="32"/>
                </a:cubicBezTo>
                <a:cubicBezTo>
                  <a:pt x="24" y="32"/>
                  <a:pt x="24" y="32"/>
                  <a:pt x="24" y="32"/>
                </a:cubicBezTo>
                <a:cubicBezTo>
                  <a:pt x="24" y="46"/>
                  <a:pt x="24" y="46"/>
                  <a:pt x="24" y="46"/>
                </a:cubicBezTo>
                <a:cubicBezTo>
                  <a:pt x="10" y="46"/>
                  <a:pt x="10" y="46"/>
                  <a:pt x="10" y="46"/>
                </a:cubicBezTo>
                <a:cubicBezTo>
                  <a:pt x="9" y="46"/>
                  <a:pt x="8" y="45"/>
                  <a:pt x="8" y="44"/>
                </a:cubicBezTo>
                <a:cubicBezTo>
                  <a:pt x="8" y="27"/>
                  <a:pt x="8" y="27"/>
                  <a:pt x="8" y="27"/>
                </a:cubicBezTo>
                <a:cubicBezTo>
                  <a:pt x="8" y="27"/>
                  <a:pt x="8" y="26"/>
                  <a:pt x="8" y="26"/>
                </a:cubicBezTo>
                <a:cubicBezTo>
                  <a:pt x="28" y="9"/>
                  <a:pt x="28" y="9"/>
                  <a:pt x="28" y="9"/>
                </a:cubicBezTo>
                <a:cubicBezTo>
                  <a:pt x="49" y="26"/>
                  <a:pt x="49" y="26"/>
                  <a:pt x="49" y="26"/>
                </a:cubicBezTo>
                <a:cubicBezTo>
                  <a:pt x="49" y="26"/>
                  <a:pt x="49" y="27"/>
                  <a:pt x="49" y="27"/>
                </a:cubicBezTo>
                <a:lnTo>
                  <a:pt x="49" y="44"/>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1" name="Freeform 144"/>
          <p:cNvSpPr>
            <a:spLocks noEditPoints="1"/>
          </p:cNvSpPr>
          <p:nvPr/>
        </p:nvSpPr>
        <p:spPr bwMode="auto">
          <a:xfrm>
            <a:off x="12046301" y="1236162"/>
            <a:ext cx="502204" cy="389532"/>
          </a:xfrm>
          <a:custGeom>
            <a:avLst/>
            <a:gdLst/>
            <a:ahLst/>
            <a:cxnLst>
              <a:cxn ang="0">
                <a:pos x="67" y="55"/>
              </a:cxn>
              <a:cxn ang="0">
                <a:pos x="65" y="56"/>
              </a:cxn>
              <a:cxn ang="0">
                <a:pos x="8" y="56"/>
              </a:cxn>
              <a:cxn ang="0">
                <a:pos x="6" y="55"/>
              </a:cxn>
              <a:cxn ang="0">
                <a:pos x="0" y="36"/>
              </a:cxn>
              <a:cxn ang="0">
                <a:pos x="36" y="0"/>
              </a:cxn>
              <a:cxn ang="0">
                <a:pos x="72" y="36"/>
              </a:cxn>
              <a:cxn ang="0">
                <a:pos x="67" y="55"/>
              </a:cxn>
              <a:cxn ang="0">
                <a:pos x="11" y="30"/>
              </a:cxn>
              <a:cxn ang="0">
                <a:pos x="6" y="36"/>
              </a:cxn>
              <a:cxn ang="0">
                <a:pos x="11" y="41"/>
              </a:cxn>
              <a:cxn ang="0">
                <a:pos x="16" y="36"/>
              </a:cxn>
              <a:cxn ang="0">
                <a:pos x="11" y="30"/>
              </a:cxn>
              <a:cxn ang="0">
                <a:pos x="18" y="12"/>
              </a:cxn>
              <a:cxn ang="0">
                <a:pos x="13" y="18"/>
              </a:cxn>
              <a:cxn ang="0">
                <a:pos x="18" y="23"/>
              </a:cxn>
              <a:cxn ang="0">
                <a:pos x="24" y="18"/>
              </a:cxn>
              <a:cxn ang="0">
                <a:pos x="18" y="12"/>
              </a:cxn>
              <a:cxn ang="0">
                <a:pos x="45" y="22"/>
              </a:cxn>
              <a:cxn ang="0">
                <a:pos x="43" y="18"/>
              </a:cxn>
              <a:cxn ang="0">
                <a:pos x="40" y="20"/>
              </a:cxn>
              <a:cxn ang="0">
                <a:pos x="36" y="36"/>
              </a:cxn>
              <a:cxn ang="0">
                <a:pos x="29" y="41"/>
              </a:cxn>
              <a:cxn ang="0">
                <a:pos x="34" y="51"/>
              </a:cxn>
              <a:cxn ang="0">
                <a:pos x="44" y="45"/>
              </a:cxn>
              <a:cxn ang="0">
                <a:pos x="41" y="37"/>
              </a:cxn>
              <a:cxn ang="0">
                <a:pos x="45" y="22"/>
              </a:cxn>
              <a:cxn ang="0">
                <a:pos x="36" y="5"/>
              </a:cxn>
              <a:cxn ang="0">
                <a:pos x="31" y="10"/>
              </a:cxn>
              <a:cxn ang="0">
                <a:pos x="36" y="15"/>
              </a:cxn>
              <a:cxn ang="0">
                <a:pos x="42" y="10"/>
              </a:cxn>
              <a:cxn ang="0">
                <a:pos x="36" y="5"/>
              </a:cxn>
              <a:cxn ang="0">
                <a:pos x="54" y="12"/>
              </a:cxn>
              <a:cxn ang="0">
                <a:pos x="49" y="18"/>
              </a:cxn>
              <a:cxn ang="0">
                <a:pos x="54" y="23"/>
              </a:cxn>
              <a:cxn ang="0">
                <a:pos x="60" y="18"/>
              </a:cxn>
              <a:cxn ang="0">
                <a:pos x="54" y="12"/>
              </a:cxn>
              <a:cxn ang="0">
                <a:pos x="62" y="30"/>
              </a:cxn>
              <a:cxn ang="0">
                <a:pos x="57" y="36"/>
              </a:cxn>
              <a:cxn ang="0">
                <a:pos x="62" y="41"/>
              </a:cxn>
              <a:cxn ang="0">
                <a:pos x="67" y="36"/>
              </a:cxn>
              <a:cxn ang="0">
                <a:pos x="62" y="30"/>
              </a:cxn>
            </a:cxnLst>
            <a:rect l="0" t="0" r="r" b="b"/>
            <a:pathLst>
              <a:path w="72" h="56">
                <a:moveTo>
                  <a:pt x="67" y="55"/>
                </a:moveTo>
                <a:cubicBezTo>
                  <a:pt x="66" y="56"/>
                  <a:pt x="66" y="56"/>
                  <a:pt x="65" y="56"/>
                </a:cubicBezTo>
                <a:cubicBezTo>
                  <a:pt x="8" y="56"/>
                  <a:pt x="8" y="56"/>
                  <a:pt x="8" y="56"/>
                </a:cubicBezTo>
                <a:cubicBezTo>
                  <a:pt x="7" y="56"/>
                  <a:pt x="7" y="56"/>
                  <a:pt x="6" y="55"/>
                </a:cubicBezTo>
                <a:cubicBezTo>
                  <a:pt x="2" y="49"/>
                  <a:pt x="0" y="42"/>
                  <a:pt x="0" y="36"/>
                </a:cubicBezTo>
                <a:cubicBezTo>
                  <a:pt x="0" y="16"/>
                  <a:pt x="17" y="0"/>
                  <a:pt x="36" y="0"/>
                </a:cubicBezTo>
                <a:cubicBezTo>
                  <a:pt x="56" y="0"/>
                  <a:pt x="72" y="16"/>
                  <a:pt x="72" y="36"/>
                </a:cubicBezTo>
                <a:cubicBezTo>
                  <a:pt x="72" y="42"/>
                  <a:pt x="70" y="49"/>
                  <a:pt x="67" y="55"/>
                </a:cubicBezTo>
                <a:close/>
                <a:moveTo>
                  <a:pt x="11" y="30"/>
                </a:moveTo>
                <a:cubicBezTo>
                  <a:pt x="8" y="30"/>
                  <a:pt x="6" y="33"/>
                  <a:pt x="6" y="36"/>
                </a:cubicBezTo>
                <a:cubicBezTo>
                  <a:pt x="6" y="38"/>
                  <a:pt x="8" y="41"/>
                  <a:pt x="11" y="41"/>
                </a:cubicBezTo>
                <a:cubicBezTo>
                  <a:pt x="14" y="41"/>
                  <a:pt x="16" y="38"/>
                  <a:pt x="16" y="36"/>
                </a:cubicBezTo>
                <a:cubicBezTo>
                  <a:pt x="16" y="33"/>
                  <a:pt x="14" y="30"/>
                  <a:pt x="11" y="30"/>
                </a:cubicBezTo>
                <a:close/>
                <a:moveTo>
                  <a:pt x="18" y="12"/>
                </a:moveTo>
                <a:cubicBezTo>
                  <a:pt x="16" y="12"/>
                  <a:pt x="13" y="15"/>
                  <a:pt x="13" y="18"/>
                </a:cubicBezTo>
                <a:cubicBezTo>
                  <a:pt x="13" y="20"/>
                  <a:pt x="16" y="23"/>
                  <a:pt x="18" y="23"/>
                </a:cubicBezTo>
                <a:cubicBezTo>
                  <a:pt x="21" y="23"/>
                  <a:pt x="24" y="20"/>
                  <a:pt x="24" y="18"/>
                </a:cubicBezTo>
                <a:cubicBezTo>
                  <a:pt x="24" y="15"/>
                  <a:pt x="21" y="12"/>
                  <a:pt x="18" y="12"/>
                </a:cubicBezTo>
                <a:close/>
                <a:moveTo>
                  <a:pt x="45" y="22"/>
                </a:moveTo>
                <a:cubicBezTo>
                  <a:pt x="45" y="20"/>
                  <a:pt x="44" y="19"/>
                  <a:pt x="43" y="18"/>
                </a:cubicBezTo>
                <a:cubicBezTo>
                  <a:pt x="42" y="18"/>
                  <a:pt x="40" y="19"/>
                  <a:pt x="40" y="20"/>
                </a:cubicBezTo>
                <a:cubicBezTo>
                  <a:pt x="36" y="36"/>
                  <a:pt x="36" y="36"/>
                  <a:pt x="36" y="36"/>
                </a:cubicBezTo>
                <a:cubicBezTo>
                  <a:pt x="33" y="36"/>
                  <a:pt x="30" y="38"/>
                  <a:pt x="29" y="41"/>
                </a:cubicBezTo>
                <a:cubicBezTo>
                  <a:pt x="28" y="45"/>
                  <a:pt x="30" y="50"/>
                  <a:pt x="34" y="51"/>
                </a:cubicBezTo>
                <a:cubicBezTo>
                  <a:pt x="39" y="52"/>
                  <a:pt x="43" y="49"/>
                  <a:pt x="44" y="45"/>
                </a:cubicBezTo>
                <a:cubicBezTo>
                  <a:pt x="45" y="42"/>
                  <a:pt x="43" y="39"/>
                  <a:pt x="41" y="37"/>
                </a:cubicBezTo>
                <a:lnTo>
                  <a:pt x="45" y="22"/>
                </a:lnTo>
                <a:close/>
                <a:moveTo>
                  <a:pt x="36" y="5"/>
                </a:moveTo>
                <a:cubicBezTo>
                  <a:pt x="34" y="5"/>
                  <a:pt x="31" y="7"/>
                  <a:pt x="31" y="10"/>
                </a:cubicBezTo>
                <a:cubicBezTo>
                  <a:pt x="31" y="13"/>
                  <a:pt x="34" y="15"/>
                  <a:pt x="36" y="15"/>
                </a:cubicBezTo>
                <a:cubicBezTo>
                  <a:pt x="39" y="15"/>
                  <a:pt x="42" y="13"/>
                  <a:pt x="42" y="10"/>
                </a:cubicBezTo>
                <a:cubicBezTo>
                  <a:pt x="42" y="7"/>
                  <a:pt x="39" y="5"/>
                  <a:pt x="36" y="5"/>
                </a:cubicBezTo>
                <a:close/>
                <a:moveTo>
                  <a:pt x="54" y="12"/>
                </a:moveTo>
                <a:cubicBezTo>
                  <a:pt x="52" y="12"/>
                  <a:pt x="49" y="15"/>
                  <a:pt x="49" y="18"/>
                </a:cubicBezTo>
                <a:cubicBezTo>
                  <a:pt x="49" y="20"/>
                  <a:pt x="52" y="23"/>
                  <a:pt x="54" y="23"/>
                </a:cubicBezTo>
                <a:cubicBezTo>
                  <a:pt x="57" y="23"/>
                  <a:pt x="60" y="20"/>
                  <a:pt x="60" y="18"/>
                </a:cubicBezTo>
                <a:cubicBezTo>
                  <a:pt x="60" y="15"/>
                  <a:pt x="57" y="12"/>
                  <a:pt x="54" y="12"/>
                </a:cubicBezTo>
                <a:close/>
                <a:moveTo>
                  <a:pt x="62" y="30"/>
                </a:moveTo>
                <a:cubicBezTo>
                  <a:pt x="59" y="30"/>
                  <a:pt x="57" y="33"/>
                  <a:pt x="57" y="36"/>
                </a:cubicBezTo>
                <a:cubicBezTo>
                  <a:pt x="57" y="38"/>
                  <a:pt x="59" y="41"/>
                  <a:pt x="62" y="41"/>
                </a:cubicBezTo>
                <a:cubicBezTo>
                  <a:pt x="65" y="41"/>
                  <a:pt x="67" y="38"/>
                  <a:pt x="67" y="36"/>
                </a:cubicBezTo>
                <a:cubicBezTo>
                  <a:pt x="67" y="33"/>
                  <a:pt x="65" y="30"/>
                  <a:pt x="62" y="30"/>
                </a:cubicBez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3" name="Freeform 74"/>
          <p:cNvSpPr>
            <a:spLocks noEditPoints="1"/>
          </p:cNvSpPr>
          <p:nvPr/>
        </p:nvSpPr>
        <p:spPr bwMode="auto">
          <a:xfrm>
            <a:off x="12089980" y="3140508"/>
            <a:ext cx="414846" cy="321772"/>
          </a:xfrm>
          <a:custGeom>
            <a:avLst/>
            <a:gdLst/>
            <a:ahLst/>
            <a:cxnLst>
              <a:cxn ang="0">
                <a:pos x="66" y="17"/>
              </a:cxn>
              <a:cxn ang="0">
                <a:pos x="47" y="30"/>
              </a:cxn>
              <a:cxn ang="0">
                <a:pos x="37" y="36"/>
              </a:cxn>
              <a:cxn ang="0">
                <a:pos x="36" y="36"/>
              </a:cxn>
              <a:cxn ang="0">
                <a:pos x="36" y="36"/>
              </a:cxn>
              <a:cxn ang="0">
                <a:pos x="26" y="30"/>
              </a:cxn>
              <a:cxn ang="0">
                <a:pos x="7" y="17"/>
              </a:cxn>
              <a:cxn ang="0">
                <a:pos x="0" y="7"/>
              </a:cxn>
              <a:cxn ang="0">
                <a:pos x="7" y="0"/>
              </a:cxn>
              <a:cxn ang="0">
                <a:pos x="66" y="0"/>
              </a:cxn>
              <a:cxn ang="0">
                <a:pos x="72" y="6"/>
              </a:cxn>
              <a:cxn ang="0">
                <a:pos x="66" y="17"/>
              </a:cxn>
              <a:cxn ang="0">
                <a:pos x="72" y="50"/>
              </a:cxn>
              <a:cxn ang="0">
                <a:pos x="66" y="56"/>
              </a:cxn>
              <a:cxn ang="0">
                <a:pos x="7" y="56"/>
              </a:cxn>
              <a:cxn ang="0">
                <a:pos x="0" y="50"/>
              </a:cxn>
              <a:cxn ang="0">
                <a:pos x="0" y="18"/>
              </a:cxn>
              <a:cxn ang="0">
                <a:pos x="5" y="21"/>
              </a:cxn>
              <a:cxn ang="0">
                <a:pos x="24" y="35"/>
              </a:cxn>
              <a:cxn ang="0">
                <a:pos x="36" y="41"/>
              </a:cxn>
              <a:cxn ang="0">
                <a:pos x="36" y="41"/>
              </a:cxn>
              <a:cxn ang="0">
                <a:pos x="37" y="41"/>
              </a:cxn>
              <a:cxn ang="0">
                <a:pos x="48" y="35"/>
              </a:cxn>
              <a:cxn ang="0">
                <a:pos x="68" y="21"/>
              </a:cxn>
              <a:cxn ang="0">
                <a:pos x="72" y="18"/>
              </a:cxn>
              <a:cxn ang="0">
                <a:pos x="72" y="50"/>
              </a:cxn>
            </a:cxnLst>
            <a:rect l="0" t="0" r="r" b="b"/>
            <a:pathLst>
              <a:path w="72" h="56">
                <a:moveTo>
                  <a:pt x="66" y="17"/>
                </a:moveTo>
                <a:cubicBezTo>
                  <a:pt x="59" y="21"/>
                  <a:pt x="53" y="26"/>
                  <a:pt x="47" y="30"/>
                </a:cubicBezTo>
                <a:cubicBezTo>
                  <a:pt x="44" y="32"/>
                  <a:pt x="40" y="36"/>
                  <a:pt x="37" y="36"/>
                </a:cubicBezTo>
                <a:cubicBezTo>
                  <a:pt x="36" y="36"/>
                  <a:pt x="36" y="36"/>
                  <a:pt x="36" y="36"/>
                </a:cubicBezTo>
                <a:cubicBezTo>
                  <a:pt x="36" y="36"/>
                  <a:pt x="36" y="36"/>
                  <a:pt x="36" y="36"/>
                </a:cubicBezTo>
                <a:cubicBezTo>
                  <a:pt x="33" y="36"/>
                  <a:pt x="29" y="32"/>
                  <a:pt x="26" y="30"/>
                </a:cubicBezTo>
                <a:cubicBezTo>
                  <a:pt x="20" y="26"/>
                  <a:pt x="14" y="21"/>
                  <a:pt x="7" y="17"/>
                </a:cubicBezTo>
                <a:cubicBezTo>
                  <a:pt x="5" y="15"/>
                  <a:pt x="0" y="11"/>
                  <a:pt x="0" y="7"/>
                </a:cubicBezTo>
                <a:cubicBezTo>
                  <a:pt x="0" y="3"/>
                  <a:pt x="3" y="0"/>
                  <a:pt x="7" y="0"/>
                </a:cubicBezTo>
                <a:cubicBezTo>
                  <a:pt x="66" y="0"/>
                  <a:pt x="66" y="0"/>
                  <a:pt x="66" y="0"/>
                </a:cubicBezTo>
                <a:cubicBezTo>
                  <a:pt x="70" y="0"/>
                  <a:pt x="72" y="2"/>
                  <a:pt x="72" y="6"/>
                </a:cubicBezTo>
                <a:cubicBezTo>
                  <a:pt x="72" y="11"/>
                  <a:pt x="69" y="15"/>
                  <a:pt x="66" y="17"/>
                </a:cubicBezTo>
                <a:close/>
                <a:moveTo>
                  <a:pt x="72" y="50"/>
                </a:moveTo>
                <a:cubicBezTo>
                  <a:pt x="72" y="53"/>
                  <a:pt x="70" y="56"/>
                  <a:pt x="66" y="56"/>
                </a:cubicBezTo>
                <a:cubicBezTo>
                  <a:pt x="7" y="56"/>
                  <a:pt x="7" y="56"/>
                  <a:pt x="7" y="56"/>
                </a:cubicBezTo>
                <a:cubicBezTo>
                  <a:pt x="3" y="56"/>
                  <a:pt x="0" y="53"/>
                  <a:pt x="0" y="50"/>
                </a:cubicBezTo>
                <a:cubicBezTo>
                  <a:pt x="0" y="18"/>
                  <a:pt x="0" y="18"/>
                  <a:pt x="0" y="18"/>
                </a:cubicBezTo>
                <a:cubicBezTo>
                  <a:pt x="2" y="19"/>
                  <a:pt x="3" y="20"/>
                  <a:pt x="5" y="21"/>
                </a:cubicBezTo>
                <a:cubicBezTo>
                  <a:pt x="11" y="26"/>
                  <a:pt x="18" y="30"/>
                  <a:pt x="24" y="35"/>
                </a:cubicBezTo>
                <a:cubicBezTo>
                  <a:pt x="28" y="38"/>
                  <a:pt x="32" y="41"/>
                  <a:pt x="36" y="41"/>
                </a:cubicBezTo>
                <a:cubicBezTo>
                  <a:pt x="36" y="41"/>
                  <a:pt x="36" y="41"/>
                  <a:pt x="36" y="41"/>
                </a:cubicBezTo>
                <a:cubicBezTo>
                  <a:pt x="37" y="41"/>
                  <a:pt x="37" y="41"/>
                  <a:pt x="37" y="41"/>
                </a:cubicBezTo>
                <a:cubicBezTo>
                  <a:pt x="41" y="41"/>
                  <a:pt x="45" y="38"/>
                  <a:pt x="48" y="35"/>
                </a:cubicBezTo>
                <a:cubicBezTo>
                  <a:pt x="55" y="30"/>
                  <a:pt x="62" y="26"/>
                  <a:pt x="68" y="21"/>
                </a:cubicBezTo>
                <a:cubicBezTo>
                  <a:pt x="70" y="20"/>
                  <a:pt x="71" y="19"/>
                  <a:pt x="72" y="18"/>
                </a:cubicBezTo>
                <a:lnTo>
                  <a:pt x="72" y="50"/>
                </a:lnTo>
                <a:close/>
              </a:path>
            </a:pathLst>
          </a:custGeom>
          <a:solidFill>
            <a:srgbClr val="58595B"/>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Freeform 152"/>
          <p:cNvSpPr>
            <a:spLocks noEditPoints="1"/>
          </p:cNvSpPr>
          <p:nvPr/>
        </p:nvSpPr>
        <p:spPr bwMode="auto">
          <a:xfrm>
            <a:off x="12064007" y="4833213"/>
            <a:ext cx="466792" cy="431381"/>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rgbClr val="DDDDD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8" name="Group 47"/>
          <p:cNvGrpSpPr/>
          <p:nvPr>
            <p:custDataLst>
              <p:tags r:id="rId1"/>
            </p:custDataLst>
          </p:nvPr>
        </p:nvGrpSpPr>
        <p:grpSpPr>
          <a:xfrm>
            <a:off x="4873794" y="1784495"/>
            <a:ext cx="3341063" cy="3567922"/>
            <a:chOff x="8778695" y="2652085"/>
            <a:chExt cx="7284920" cy="7779568"/>
          </a:xfrm>
        </p:grpSpPr>
        <p:grpSp>
          <p:nvGrpSpPr>
            <p:cNvPr id="3" name="Group 2"/>
            <p:cNvGrpSpPr/>
            <p:nvPr>
              <p:custDataLst>
                <p:tags r:id="rId2"/>
              </p:custDataLst>
            </p:nvPr>
          </p:nvGrpSpPr>
          <p:grpSpPr>
            <a:xfrm>
              <a:off x="8778695" y="2652085"/>
              <a:ext cx="7284920" cy="7779568"/>
              <a:chOff x="7451638" y="2963335"/>
              <a:chExt cx="9458497" cy="10100732"/>
            </a:xfrm>
          </p:grpSpPr>
          <p:sp>
            <p:nvSpPr>
              <p:cNvPr id="4" name="Oval 3"/>
              <p:cNvSpPr/>
              <p:nvPr/>
            </p:nvSpPr>
            <p:spPr bwMode="auto">
              <a:xfrm>
                <a:off x="10940357" y="6777570"/>
                <a:ext cx="2472589" cy="2480733"/>
              </a:xfrm>
              <a:prstGeom prst="ellipse">
                <a:avLst/>
              </a:prstGeom>
              <a:solidFill>
                <a:schemeClr val="bg1">
                  <a:lumMod val="85000"/>
                </a:schemeClr>
              </a:solidFill>
              <a:ln w="9525">
                <a:noFill/>
                <a:round/>
                <a:headEnd/>
                <a:tailEnd/>
              </a:ln>
            </p:spPr>
            <p:txBody>
              <a:bodyPr/>
              <a:lstStyle/>
              <a:p>
                <a:pPr algn="ctr" defTabSz="2751140">
                  <a:defRPr/>
                </a:pPr>
                <a:endParaRPr lang="en-US">
                  <a:latin typeface="+mn-lt"/>
                  <a:ea typeface="+mn-ea"/>
                  <a:cs typeface="+mn-cs"/>
                </a:endParaRPr>
              </a:p>
            </p:txBody>
          </p:sp>
          <p:sp>
            <p:nvSpPr>
              <p:cNvPr id="5" name="Down Arrow 4"/>
              <p:cNvSpPr>
                <a:spLocks noChangeArrowheads="1"/>
              </p:cNvSpPr>
              <p:nvPr/>
            </p:nvSpPr>
            <p:spPr bwMode="auto">
              <a:xfrm rot="-7051138">
                <a:off x="13590812" y="6561593"/>
                <a:ext cx="639235" cy="1147384"/>
              </a:xfrm>
              <a:prstGeom prst="downArrow">
                <a:avLst>
                  <a:gd name="adj1" fmla="val 63519"/>
                  <a:gd name="adj2" fmla="val 50235"/>
                </a:avLst>
              </a:prstGeom>
              <a:solidFill>
                <a:srgbClr val="0A3E56"/>
              </a:solidFill>
              <a:ln>
                <a:noFill/>
              </a:ln>
              <a:extLst>
                <a:ext uri="{91240B29-F687-4f45-9708-019B960494DF}">
                  <a14:hiddenLine xmlns="" xmlns:a14="http://schemas.microsoft.com/office/drawing/2010/main" w="9525">
                    <a:solidFill>
                      <a:srgbClr val="000000"/>
                    </a:solidFill>
                    <a:round/>
                    <a:headEnd/>
                    <a:tailEnd/>
                  </a14:hiddenLine>
                </a:ext>
              </a:extLst>
            </p:spPr>
            <p:txBody>
              <a:bodyPr lIns="243852" tIns="121926" rIns="243852" bIns="121926"/>
              <a:lstStyle/>
              <a:p>
                <a:pPr algn="ctr"/>
                <a:endParaRPr lang="en-US" dirty="0">
                  <a:latin typeface="Arial"/>
                  <a:cs typeface="Arial"/>
                </a:endParaRPr>
              </a:p>
            </p:txBody>
          </p:sp>
          <p:sp>
            <p:nvSpPr>
              <p:cNvPr id="6" name="Down Arrow 5"/>
              <p:cNvSpPr/>
              <p:nvPr/>
            </p:nvSpPr>
            <p:spPr bwMode="auto">
              <a:xfrm rot="14548862" flipH="1" flipV="1">
                <a:off x="10140197" y="8263389"/>
                <a:ext cx="643467" cy="1185488"/>
              </a:xfrm>
              <a:prstGeom prst="downArrow">
                <a:avLst>
                  <a:gd name="adj1" fmla="val 63516"/>
                  <a:gd name="adj2" fmla="val 50000"/>
                </a:avLst>
              </a:prstGeom>
              <a:solidFill>
                <a:schemeClr val="accent5"/>
              </a:solidFill>
              <a:ln w="9525">
                <a:noFill/>
                <a:round/>
                <a:headEnd/>
                <a:tailEnd/>
              </a:ln>
            </p:spPr>
            <p:txBody>
              <a:bodyPr lIns="243852" tIns="121926" rIns="243852" bIns="121926"/>
              <a:lstStyle/>
              <a:p>
                <a:pPr algn="ctr" defTabSz="2751140">
                  <a:defRPr/>
                </a:pPr>
                <a:endParaRPr lang="en-US">
                  <a:latin typeface="+mn-lt"/>
                  <a:ea typeface="+mn-ea"/>
                  <a:cs typeface="+mn-cs"/>
                </a:endParaRPr>
              </a:p>
            </p:txBody>
          </p:sp>
          <p:sp>
            <p:nvSpPr>
              <p:cNvPr id="7" name="Down Arrow 6"/>
              <p:cNvSpPr>
                <a:spLocks noChangeArrowheads="1"/>
              </p:cNvSpPr>
              <p:nvPr/>
            </p:nvSpPr>
            <p:spPr bwMode="auto">
              <a:xfrm rot="10800000">
                <a:off x="11871814" y="5566835"/>
                <a:ext cx="639318" cy="1147232"/>
              </a:xfrm>
              <a:prstGeom prst="downArrow">
                <a:avLst>
                  <a:gd name="adj1" fmla="val 63519"/>
                  <a:gd name="adj2" fmla="val 50235"/>
                </a:avLst>
              </a:prstGeom>
              <a:solidFill>
                <a:srgbClr val="767676"/>
              </a:solidFill>
              <a:ln>
                <a:noFill/>
              </a:ln>
              <a:extLst>
                <a:ext uri="{91240B29-F687-4f45-9708-019B960494DF}">
                  <a14:hiddenLine xmlns="" xmlns:a14="http://schemas.microsoft.com/office/drawing/2010/main" w="9525">
                    <a:solidFill>
                      <a:srgbClr val="000000"/>
                    </a:solidFill>
                    <a:round/>
                    <a:headEnd/>
                    <a:tailEnd/>
                  </a14:hiddenLine>
                </a:ext>
              </a:extLst>
            </p:spPr>
            <p:txBody>
              <a:bodyPr lIns="243852" tIns="121926" rIns="243852" bIns="121926"/>
              <a:lstStyle/>
              <a:p>
                <a:pPr algn="ctr"/>
                <a:endParaRPr lang="en-US" dirty="0">
                  <a:latin typeface="Arial"/>
                  <a:cs typeface="Arial"/>
                </a:endParaRPr>
              </a:p>
            </p:txBody>
          </p:sp>
          <p:sp>
            <p:nvSpPr>
              <p:cNvPr id="8" name="Down Arrow 7"/>
              <p:cNvSpPr/>
              <p:nvPr/>
            </p:nvSpPr>
            <p:spPr bwMode="auto">
              <a:xfrm rot="7051138" flipH="1">
                <a:off x="10159250" y="6559476"/>
                <a:ext cx="643467" cy="1147384"/>
              </a:xfrm>
              <a:prstGeom prst="downArrow">
                <a:avLst>
                  <a:gd name="adj1" fmla="val 63516"/>
                  <a:gd name="adj2" fmla="val 50000"/>
                </a:avLst>
              </a:prstGeom>
              <a:solidFill>
                <a:srgbClr val="DDDDDD"/>
              </a:solidFill>
              <a:ln w="9525">
                <a:noFill/>
                <a:round/>
                <a:headEnd/>
                <a:tailEnd/>
              </a:ln>
            </p:spPr>
            <p:txBody>
              <a:bodyPr lIns="243852" tIns="121926" rIns="243852" bIns="121926"/>
              <a:lstStyle/>
              <a:p>
                <a:pPr algn="ctr" defTabSz="2751140">
                  <a:defRPr/>
                </a:pPr>
                <a:endParaRPr lang="en-US">
                  <a:latin typeface="+mn-lt"/>
                  <a:ea typeface="+mn-ea"/>
                  <a:cs typeface="+mn-cs"/>
                </a:endParaRPr>
              </a:p>
            </p:txBody>
          </p:sp>
          <p:sp>
            <p:nvSpPr>
              <p:cNvPr id="9" name="Down Arrow 8"/>
              <p:cNvSpPr/>
              <p:nvPr/>
            </p:nvSpPr>
            <p:spPr bwMode="auto">
              <a:xfrm rot="10800000" flipV="1">
                <a:off x="11871814" y="9321801"/>
                <a:ext cx="639318" cy="1147235"/>
              </a:xfrm>
              <a:prstGeom prst="downArrow">
                <a:avLst>
                  <a:gd name="adj1" fmla="val 63516"/>
                  <a:gd name="adj2" fmla="val 50000"/>
                </a:avLst>
              </a:prstGeom>
              <a:solidFill>
                <a:schemeClr val="accent4"/>
              </a:solidFill>
              <a:ln w="9525">
                <a:noFill/>
                <a:round/>
                <a:headEnd/>
                <a:tailEnd/>
              </a:ln>
            </p:spPr>
            <p:txBody>
              <a:bodyPr lIns="243852" tIns="121926" rIns="243852" bIns="121926"/>
              <a:lstStyle/>
              <a:p>
                <a:pPr algn="ctr" defTabSz="2751140">
                  <a:defRPr/>
                </a:pPr>
                <a:endParaRPr lang="en-US">
                  <a:latin typeface="+mn-lt"/>
                  <a:ea typeface="+mn-ea"/>
                  <a:cs typeface="+mn-cs"/>
                </a:endParaRPr>
              </a:p>
            </p:txBody>
          </p:sp>
          <p:sp>
            <p:nvSpPr>
              <p:cNvPr id="10" name="Down Arrow 9"/>
              <p:cNvSpPr/>
              <p:nvPr/>
            </p:nvSpPr>
            <p:spPr bwMode="auto">
              <a:xfrm rot="7051138" flipV="1">
                <a:off x="13571761" y="8299373"/>
                <a:ext cx="639232" cy="1185488"/>
              </a:xfrm>
              <a:prstGeom prst="downArrow">
                <a:avLst>
                  <a:gd name="adj1" fmla="val 63516"/>
                  <a:gd name="adj2" fmla="val 50000"/>
                </a:avLst>
              </a:prstGeom>
              <a:solidFill>
                <a:schemeClr val="accent3"/>
              </a:solidFill>
              <a:ln w="9525">
                <a:noFill/>
                <a:round/>
                <a:headEnd/>
                <a:tailEnd/>
              </a:ln>
            </p:spPr>
            <p:txBody>
              <a:bodyPr lIns="243852" tIns="121926" rIns="243852" bIns="121926"/>
              <a:lstStyle/>
              <a:p>
                <a:pPr algn="ctr" defTabSz="2751140">
                  <a:defRPr/>
                </a:pPr>
                <a:endParaRPr lang="en-US" dirty="0">
                  <a:latin typeface="+mn-lt"/>
                  <a:ea typeface="+mn-ea"/>
                  <a:cs typeface="+mn-cs"/>
                </a:endParaRPr>
              </a:p>
            </p:txBody>
          </p:sp>
          <p:sp>
            <p:nvSpPr>
              <p:cNvPr id="11" name="Oval 10"/>
              <p:cNvSpPr>
                <a:spLocks noChangeAspect="1"/>
              </p:cNvSpPr>
              <p:nvPr/>
            </p:nvSpPr>
            <p:spPr bwMode="auto">
              <a:xfrm>
                <a:off x="10906488" y="2963335"/>
                <a:ext cx="2603840" cy="2603501"/>
              </a:xfrm>
              <a:prstGeom prst="ellipse">
                <a:avLst/>
              </a:prstGeom>
              <a:solidFill>
                <a:srgbClr val="767676"/>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2751140">
                  <a:defRPr/>
                </a:pPr>
                <a:endParaRPr lang="en-US" sz="300" b="1" dirty="0">
                  <a:solidFill>
                    <a:schemeClr val="bg1"/>
                  </a:solidFill>
                  <a:latin typeface="+mj-lt"/>
                </a:endParaRPr>
              </a:p>
            </p:txBody>
          </p:sp>
          <p:sp>
            <p:nvSpPr>
              <p:cNvPr id="12" name="Oval 11"/>
              <p:cNvSpPr>
                <a:spLocks noChangeAspect="1"/>
              </p:cNvSpPr>
              <p:nvPr/>
            </p:nvSpPr>
            <p:spPr bwMode="auto">
              <a:xfrm>
                <a:off x="14280894" y="8453968"/>
                <a:ext cx="2603838" cy="2603499"/>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2751140">
                  <a:defRPr/>
                </a:pPr>
                <a:endParaRPr lang="en-US" sz="3200" b="1" dirty="0">
                  <a:latin typeface="+mj-lt"/>
                </a:endParaRPr>
              </a:p>
            </p:txBody>
          </p:sp>
          <p:sp>
            <p:nvSpPr>
              <p:cNvPr id="13" name="Oval 12"/>
              <p:cNvSpPr>
                <a:spLocks noChangeAspect="1"/>
              </p:cNvSpPr>
              <p:nvPr/>
            </p:nvSpPr>
            <p:spPr bwMode="auto">
              <a:xfrm>
                <a:off x="7481275" y="5037668"/>
                <a:ext cx="2603838" cy="2603501"/>
              </a:xfrm>
              <a:prstGeom prst="ellipse">
                <a:avLst/>
              </a:prstGeom>
              <a:solidFill>
                <a:srgbClr val="DDDDDD"/>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2751140">
                  <a:defRPr/>
                </a:pPr>
                <a:endParaRPr lang="en-US" sz="3200" b="1" dirty="0">
                  <a:latin typeface="+mj-lt"/>
                </a:endParaRPr>
              </a:p>
            </p:txBody>
          </p:sp>
          <p:sp>
            <p:nvSpPr>
              <p:cNvPr id="14" name="Oval 13"/>
              <p:cNvSpPr>
                <a:spLocks noChangeAspect="1"/>
              </p:cNvSpPr>
              <p:nvPr/>
            </p:nvSpPr>
            <p:spPr bwMode="auto">
              <a:xfrm>
                <a:off x="10893786" y="10460568"/>
                <a:ext cx="2603838" cy="2603499"/>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2751140">
                  <a:defRPr/>
                </a:pPr>
                <a:endParaRPr lang="en-US" sz="3200" b="1" dirty="0">
                  <a:latin typeface="+mj-lt"/>
                </a:endParaRPr>
              </a:p>
            </p:txBody>
          </p:sp>
          <p:sp>
            <p:nvSpPr>
              <p:cNvPr id="15" name="Oval 14"/>
              <p:cNvSpPr>
                <a:spLocks noChangeAspect="1"/>
              </p:cNvSpPr>
              <p:nvPr/>
            </p:nvSpPr>
            <p:spPr bwMode="auto">
              <a:xfrm>
                <a:off x="7451638" y="8453968"/>
                <a:ext cx="2603840" cy="2603499"/>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2751140">
                  <a:defRPr/>
                </a:pPr>
                <a:endParaRPr lang="en-US" sz="3200" b="1" dirty="0">
                  <a:latin typeface="+mj-lt"/>
                </a:endParaRPr>
              </a:p>
            </p:txBody>
          </p:sp>
          <p:sp>
            <p:nvSpPr>
              <p:cNvPr id="16" name="Oval 15"/>
              <p:cNvSpPr>
                <a:spLocks noChangeAspect="1"/>
              </p:cNvSpPr>
              <p:nvPr/>
            </p:nvSpPr>
            <p:spPr bwMode="auto">
              <a:xfrm>
                <a:off x="14306297" y="5024968"/>
                <a:ext cx="2603838" cy="2603499"/>
              </a:xfrm>
              <a:prstGeom prst="ellipse">
                <a:avLst/>
              </a:prstGeom>
              <a:solidFill>
                <a:srgbClr val="0A3E56"/>
              </a:solidFill>
              <a:ln w="190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2751140">
                  <a:defRPr/>
                </a:pPr>
                <a:endParaRPr lang="en-US" sz="3700" b="1" dirty="0">
                  <a:latin typeface="+mj-lt"/>
                </a:endParaRPr>
              </a:p>
            </p:txBody>
          </p:sp>
        </p:grpSp>
        <p:sp>
          <p:nvSpPr>
            <p:cNvPr id="36" name="Freeform 98"/>
            <p:cNvSpPr>
              <a:spLocks noEditPoints="1"/>
            </p:cNvSpPr>
            <p:nvPr/>
          </p:nvSpPr>
          <p:spPr bwMode="auto">
            <a:xfrm>
              <a:off x="11994609" y="3255284"/>
              <a:ext cx="992603" cy="739317"/>
            </a:xfrm>
            <a:custGeom>
              <a:avLst/>
              <a:gdLst/>
              <a:ahLst/>
              <a:cxnLst>
                <a:cxn ang="0">
                  <a:pos x="55" y="23"/>
                </a:cxn>
                <a:cxn ang="0">
                  <a:pos x="25" y="23"/>
                </a:cxn>
                <a:cxn ang="0">
                  <a:pos x="12" y="29"/>
                </a:cxn>
                <a:cxn ang="0">
                  <a:pos x="0" y="43"/>
                </a:cxn>
                <a:cxn ang="0">
                  <a:pos x="0" y="43"/>
                </a:cxn>
                <a:cxn ang="0">
                  <a:pos x="0" y="42"/>
                </a:cxn>
                <a:cxn ang="0">
                  <a:pos x="0" y="8"/>
                </a:cxn>
                <a:cxn ang="0">
                  <a:pos x="8" y="0"/>
                </a:cxn>
                <a:cxn ang="0">
                  <a:pos x="19" y="0"/>
                </a:cxn>
                <a:cxn ang="0">
                  <a:pos x="27" y="8"/>
                </a:cxn>
                <a:cxn ang="0">
                  <a:pos x="27" y="9"/>
                </a:cxn>
                <a:cxn ang="0">
                  <a:pos x="47" y="9"/>
                </a:cxn>
                <a:cxn ang="0">
                  <a:pos x="55" y="17"/>
                </a:cxn>
                <a:cxn ang="0">
                  <a:pos x="55" y="23"/>
                </a:cxn>
                <a:cxn ang="0">
                  <a:pos x="66" y="32"/>
                </a:cxn>
                <a:cxn ang="0">
                  <a:pos x="54" y="46"/>
                </a:cxn>
                <a:cxn ang="0">
                  <a:pos x="44" y="50"/>
                </a:cxn>
                <a:cxn ang="0">
                  <a:pos x="5" y="50"/>
                </a:cxn>
                <a:cxn ang="0">
                  <a:pos x="2" y="48"/>
                </a:cxn>
                <a:cxn ang="0">
                  <a:pos x="3" y="46"/>
                </a:cxn>
                <a:cxn ang="0">
                  <a:pos x="15" y="32"/>
                </a:cxn>
                <a:cxn ang="0">
                  <a:pos x="25" y="28"/>
                </a:cxn>
                <a:cxn ang="0">
                  <a:pos x="64" y="28"/>
                </a:cxn>
                <a:cxn ang="0">
                  <a:pos x="67" y="30"/>
                </a:cxn>
                <a:cxn ang="0">
                  <a:pos x="66" y="32"/>
                </a:cxn>
              </a:cxnLst>
              <a:rect l="0" t="0" r="r" b="b"/>
              <a:pathLst>
                <a:path w="67" h="50">
                  <a:moveTo>
                    <a:pt x="55" y="23"/>
                  </a:moveTo>
                  <a:cubicBezTo>
                    <a:pt x="25" y="23"/>
                    <a:pt x="25" y="23"/>
                    <a:pt x="25" y="23"/>
                  </a:cubicBezTo>
                  <a:cubicBezTo>
                    <a:pt x="20" y="23"/>
                    <a:pt x="15" y="26"/>
                    <a:pt x="12" y="29"/>
                  </a:cubicBezTo>
                  <a:cubicBezTo>
                    <a:pt x="0" y="43"/>
                    <a:pt x="0" y="43"/>
                    <a:pt x="0" y="43"/>
                  </a:cubicBezTo>
                  <a:cubicBezTo>
                    <a:pt x="0" y="43"/>
                    <a:pt x="0" y="43"/>
                    <a:pt x="0" y="43"/>
                  </a:cubicBezTo>
                  <a:cubicBezTo>
                    <a:pt x="0" y="43"/>
                    <a:pt x="0" y="43"/>
                    <a:pt x="0" y="42"/>
                  </a:cubicBezTo>
                  <a:cubicBezTo>
                    <a:pt x="0" y="8"/>
                    <a:pt x="0" y="8"/>
                    <a:pt x="0" y="8"/>
                  </a:cubicBezTo>
                  <a:cubicBezTo>
                    <a:pt x="0" y="4"/>
                    <a:pt x="3" y="0"/>
                    <a:pt x="8" y="0"/>
                  </a:cubicBezTo>
                  <a:cubicBezTo>
                    <a:pt x="19" y="0"/>
                    <a:pt x="19" y="0"/>
                    <a:pt x="19" y="0"/>
                  </a:cubicBezTo>
                  <a:cubicBezTo>
                    <a:pt x="24" y="0"/>
                    <a:pt x="27" y="4"/>
                    <a:pt x="27" y="8"/>
                  </a:cubicBezTo>
                  <a:cubicBezTo>
                    <a:pt x="27" y="9"/>
                    <a:pt x="27" y="9"/>
                    <a:pt x="27" y="9"/>
                  </a:cubicBezTo>
                  <a:cubicBezTo>
                    <a:pt x="47" y="9"/>
                    <a:pt x="47" y="9"/>
                    <a:pt x="47" y="9"/>
                  </a:cubicBezTo>
                  <a:cubicBezTo>
                    <a:pt x="51" y="9"/>
                    <a:pt x="55" y="13"/>
                    <a:pt x="55" y="17"/>
                  </a:cubicBezTo>
                  <a:lnTo>
                    <a:pt x="55" y="23"/>
                  </a:lnTo>
                  <a:close/>
                  <a:moveTo>
                    <a:pt x="66" y="32"/>
                  </a:moveTo>
                  <a:cubicBezTo>
                    <a:pt x="54" y="46"/>
                    <a:pt x="54" y="46"/>
                    <a:pt x="54" y="46"/>
                  </a:cubicBezTo>
                  <a:cubicBezTo>
                    <a:pt x="52" y="48"/>
                    <a:pt x="47" y="50"/>
                    <a:pt x="44" y="50"/>
                  </a:cubicBezTo>
                  <a:cubicBezTo>
                    <a:pt x="5" y="50"/>
                    <a:pt x="5" y="50"/>
                    <a:pt x="5" y="50"/>
                  </a:cubicBezTo>
                  <a:cubicBezTo>
                    <a:pt x="4" y="50"/>
                    <a:pt x="2" y="50"/>
                    <a:pt x="2" y="48"/>
                  </a:cubicBezTo>
                  <a:cubicBezTo>
                    <a:pt x="2" y="48"/>
                    <a:pt x="3" y="47"/>
                    <a:pt x="3" y="46"/>
                  </a:cubicBezTo>
                  <a:cubicBezTo>
                    <a:pt x="15" y="32"/>
                    <a:pt x="15" y="32"/>
                    <a:pt x="15" y="32"/>
                  </a:cubicBezTo>
                  <a:cubicBezTo>
                    <a:pt x="18" y="29"/>
                    <a:pt x="22" y="28"/>
                    <a:pt x="25" y="28"/>
                  </a:cubicBezTo>
                  <a:cubicBezTo>
                    <a:pt x="64" y="28"/>
                    <a:pt x="64" y="28"/>
                    <a:pt x="64" y="28"/>
                  </a:cubicBezTo>
                  <a:cubicBezTo>
                    <a:pt x="65" y="28"/>
                    <a:pt x="67" y="28"/>
                    <a:pt x="67" y="30"/>
                  </a:cubicBezTo>
                  <a:cubicBezTo>
                    <a:pt x="67" y="30"/>
                    <a:pt x="66" y="31"/>
                    <a:pt x="66" y="32"/>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9" name="Freeform 115"/>
            <p:cNvSpPr>
              <a:spLocks noEditPoints="1"/>
            </p:cNvSpPr>
            <p:nvPr/>
          </p:nvSpPr>
          <p:spPr bwMode="auto">
            <a:xfrm>
              <a:off x="14499709" y="4657297"/>
              <a:ext cx="1107312" cy="1115333"/>
            </a:xfrm>
            <a:custGeom>
              <a:avLst/>
              <a:gdLst/>
              <a:ahLst/>
              <a:cxnLst>
                <a:cxn ang="0">
                  <a:pos x="64" y="32"/>
                </a:cxn>
                <a:cxn ang="0">
                  <a:pos x="32" y="64"/>
                </a:cxn>
                <a:cxn ang="0">
                  <a:pos x="0" y="32"/>
                </a:cxn>
                <a:cxn ang="0">
                  <a:pos x="32" y="0"/>
                </a:cxn>
                <a:cxn ang="0">
                  <a:pos x="64" y="32"/>
                </a:cxn>
                <a:cxn ang="0">
                  <a:pos x="14" y="38"/>
                </a:cxn>
                <a:cxn ang="0">
                  <a:pos x="13" y="32"/>
                </a:cxn>
                <a:cxn ang="0">
                  <a:pos x="14" y="26"/>
                </a:cxn>
                <a:cxn ang="0">
                  <a:pos x="8" y="19"/>
                </a:cxn>
                <a:cxn ang="0">
                  <a:pos x="4" y="32"/>
                </a:cxn>
                <a:cxn ang="0">
                  <a:pos x="8" y="45"/>
                </a:cxn>
                <a:cxn ang="0">
                  <a:pos x="14" y="38"/>
                </a:cxn>
                <a:cxn ang="0">
                  <a:pos x="45" y="32"/>
                </a:cxn>
                <a:cxn ang="0">
                  <a:pos x="32" y="18"/>
                </a:cxn>
                <a:cxn ang="0">
                  <a:pos x="18" y="32"/>
                </a:cxn>
                <a:cxn ang="0">
                  <a:pos x="32" y="46"/>
                </a:cxn>
                <a:cxn ang="0">
                  <a:pos x="45" y="32"/>
                </a:cxn>
                <a:cxn ang="0">
                  <a:pos x="19" y="8"/>
                </a:cxn>
                <a:cxn ang="0">
                  <a:pos x="26" y="15"/>
                </a:cxn>
                <a:cxn ang="0">
                  <a:pos x="32" y="14"/>
                </a:cxn>
                <a:cxn ang="0">
                  <a:pos x="38" y="15"/>
                </a:cxn>
                <a:cxn ang="0">
                  <a:pos x="45" y="8"/>
                </a:cxn>
                <a:cxn ang="0">
                  <a:pos x="32" y="5"/>
                </a:cxn>
                <a:cxn ang="0">
                  <a:pos x="19" y="8"/>
                </a:cxn>
                <a:cxn ang="0">
                  <a:pos x="45" y="56"/>
                </a:cxn>
                <a:cxn ang="0">
                  <a:pos x="38" y="49"/>
                </a:cxn>
                <a:cxn ang="0">
                  <a:pos x="32" y="50"/>
                </a:cxn>
                <a:cxn ang="0">
                  <a:pos x="26" y="49"/>
                </a:cxn>
                <a:cxn ang="0">
                  <a:pos x="19" y="56"/>
                </a:cxn>
                <a:cxn ang="0">
                  <a:pos x="32" y="60"/>
                </a:cxn>
                <a:cxn ang="0">
                  <a:pos x="45" y="56"/>
                </a:cxn>
                <a:cxn ang="0">
                  <a:pos x="56" y="45"/>
                </a:cxn>
                <a:cxn ang="0">
                  <a:pos x="59" y="32"/>
                </a:cxn>
                <a:cxn ang="0">
                  <a:pos x="56" y="19"/>
                </a:cxn>
                <a:cxn ang="0">
                  <a:pos x="49" y="26"/>
                </a:cxn>
                <a:cxn ang="0">
                  <a:pos x="50" y="32"/>
                </a:cxn>
                <a:cxn ang="0">
                  <a:pos x="49" y="38"/>
                </a:cxn>
                <a:cxn ang="0">
                  <a:pos x="56" y="45"/>
                </a:cxn>
              </a:cxnLst>
              <a:rect l="0" t="0" r="r" b="b"/>
              <a:pathLst>
                <a:path w="64" h="64">
                  <a:moveTo>
                    <a:pt x="64" y="32"/>
                  </a:moveTo>
                  <a:cubicBezTo>
                    <a:pt x="64" y="50"/>
                    <a:pt x="49" y="64"/>
                    <a:pt x="32" y="64"/>
                  </a:cubicBezTo>
                  <a:cubicBezTo>
                    <a:pt x="14" y="64"/>
                    <a:pt x="0" y="50"/>
                    <a:pt x="0" y="32"/>
                  </a:cubicBezTo>
                  <a:cubicBezTo>
                    <a:pt x="0" y="14"/>
                    <a:pt x="14" y="0"/>
                    <a:pt x="32" y="0"/>
                  </a:cubicBezTo>
                  <a:cubicBezTo>
                    <a:pt x="49" y="0"/>
                    <a:pt x="64" y="14"/>
                    <a:pt x="64" y="32"/>
                  </a:cubicBezTo>
                  <a:close/>
                  <a:moveTo>
                    <a:pt x="14" y="38"/>
                  </a:moveTo>
                  <a:cubicBezTo>
                    <a:pt x="14" y="36"/>
                    <a:pt x="13" y="34"/>
                    <a:pt x="13" y="32"/>
                  </a:cubicBezTo>
                  <a:cubicBezTo>
                    <a:pt x="13" y="30"/>
                    <a:pt x="14" y="28"/>
                    <a:pt x="14" y="26"/>
                  </a:cubicBezTo>
                  <a:cubicBezTo>
                    <a:pt x="8" y="19"/>
                    <a:pt x="8" y="19"/>
                    <a:pt x="8" y="19"/>
                  </a:cubicBezTo>
                  <a:cubicBezTo>
                    <a:pt x="6" y="23"/>
                    <a:pt x="4" y="28"/>
                    <a:pt x="4" y="32"/>
                  </a:cubicBezTo>
                  <a:cubicBezTo>
                    <a:pt x="4" y="37"/>
                    <a:pt x="6" y="41"/>
                    <a:pt x="8" y="45"/>
                  </a:cubicBezTo>
                  <a:lnTo>
                    <a:pt x="14" y="38"/>
                  </a:lnTo>
                  <a:close/>
                  <a:moveTo>
                    <a:pt x="45" y="32"/>
                  </a:moveTo>
                  <a:cubicBezTo>
                    <a:pt x="45" y="25"/>
                    <a:pt x="39" y="18"/>
                    <a:pt x="32" y="18"/>
                  </a:cubicBezTo>
                  <a:cubicBezTo>
                    <a:pt x="24" y="18"/>
                    <a:pt x="18" y="25"/>
                    <a:pt x="18" y="32"/>
                  </a:cubicBezTo>
                  <a:cubicBezTo>
                    <a:pt x="18" y="40"/>
                    <a:pt x="24" y="46"/>
                    <a:pt x="32" y="46"/>
                  </a:cubicBezTo>
                  <a:cubicBezTo>
                    <a:pt x="39" y="46"/>
                    <a:pt x="45" y="40"/>
                    <a:pt x="45" y="32"/>
                  </a:cubicBezTo>
                  <a:close/>
                  <a:moveTo>
                    <a:pt x="19" y="8"/>
                  </a:moveTo>
                  <a:cubicBezTo>
                    <a:pt x="26" y="15"/>
                    <a:pt x="26" y="15"/>
                    <a:pt x="26" y="15"/>
                  </a:cubicBezTo>
                  <a:cubicBezTo>
                    <a:pt x="28" y="14"/>
                    <a:pt x="30" y="14"/>
                    <a:pt x="32" y="14"/>
                  </a:cubicBezTo>
                  <a:cubicBezTo>
                    <a:pt x="34" y="14"/>
                    <a:pt x="36" y="14"/>
                    <a:pt x="38" y="15"/>
                  </a:cubicBezTo>
                  <a:cubicBezTo>
                    <a:pt x="45" y="8"/>
                    <a:pt x="45" y="8"/>
                    <a:pt x="45" y="8"/>
                  </a:cubicBezTo>
                  <a:cubicBezTo>
                    <a:pt x="41" y="6"/>
                    <a:pt x="36" y="5"/>
                    <a:pt x="32" y="5"/>
                  </a:cubicBezTo>
                  <a:cubicBezTo>
                    <a:pt x="27" y="5"/>
                    <a:pt x="23" y="6"/>
                    <a:pt x="19" y="8"/>
                  </a:cubicBezTo>
                  <a:close/>
                  <a:moveTo>
                    <a:pt x="45" y="56"/>
                  </a:moveTo>
                  <a:cubicBezTo>
                    <a:pt x="38" y="49"/>
                    <a:pt x="38" y="49"/>
                    <a:pt x="38" y="49"/>
                  </a:cubicBezTo>
                  <a:cubicBezTo>
                    <a:pt x="36" y="50"/>
                    <a:pt x="34" y="50"/>
                    <a:pt x="32" y="50"/>
                  </a:cubicBezTo>
                  <a:cubicBezTo>
                    <a:pt x="30" y="50"/>
                    <a:pt x="28" y="50"/>
                    <a:pt x="26" y="49"/>
                  </a:cubicBezTo>
                  <a:cubicBezTo>
                    <a:pt x="19" y="56"/>
                    <a:pt x="19" y="56"/>
                    <a:pt x="19" y="56"/>
                  </a:cubicBezTo>
                  <a:cubicBezTo>
                    <a:pt x="23" y="58"/>
                    <a:pt x="27" y="60"/>
                    <a:pt x="32" y="60"/>
                  </a:cubicBezTo>
                  <a:cubicBezTo>
                    <a:pt x="36" y="60"/>
                    <a:pt x="41" y="58"/>
                    <a:pt x="45" y="56"/>
                  </a:cubicBezTo>
                  <a:close/>
                  <a:moveTo>
                    <a:pt x="56" y="45"/>
                  </a:moveTo>
                  <a:cubicBezTo>
                    <a:pt x="58" y="41"/>
                    <a:pt x="59" y="37"/>
                    <a:pt x="59" y="32"/>
                  </a:cubicBezTo>
                  <a:cubicBezTo>
                    <a:pt x="59" y="28"/>
                    <a:pt x="58" y="23"/>
                    <a:pt x="56" y="19"/>
                  </a:cubicBezTo>
                  <a:cubicBezTo>
                    <a:pt x="49" y="26"/>
                    <a:pt x="49" y="26"/>
                    <a:pt x="49" y="26"/>
                  </a:cubicBezTo>
                  <a:cubicBezTo>
                    <a:pt x="50" y="28"/>
                    <a:pt x="50" y="30"/>
                    <a:pt x="50" y="32"/>
                  </a:cubicBezTo>
                  <a:cubicBezTo>
                    <a:pt x="50" y="34"/>
                    <a:pt x="50" y="36"/>
                    <a:pt x="49" y="38"/>
                  </a:cubicBezTo>
                  <a:lnTo>
                    <a:pt x="56" y="4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0" name="Freeform 116"/>
            <p:cNvSpPr>
              <a:spLocks noEditPoints="1"/>
            </p:cNvSpPr>
            <p:nvPr/>
          </p:nvSpPr>
          <p:spPr bwMode="auto">
            <a:xfrm>
              <a:off x="14425347" y="7333832"/>
              <a:ext cx="1203920" cy="970908"/>
            </a:xfrm>
            <a:custGeom>
              <a:avLst/>
              <a:gdLst/>
              <a:ahLst/>
              <a:cxnLst>
                <a:cxn ang="0">
                  <a:pos x="55" y="27"/>
                </a:cxn>
                <a:cxn ang="0">
                  <a:pos x="54" y="27"/>
                </a:cxn>
                <a:cxn ang="0">
                  <a:pos x="54" y="27"/>
                </a:cxn>
                <a:cxn ang="0">
                  <a:pos x="53" y="27"/>
                </a:cxn>
                <a:cxn ang="0">
                  <a:pos x="28" y="6"/>
                </a:cxn>
                <a:cxn ang="0">
                  <a:pos x="4" y="27"/>
                </a:cxn>
                <a:cxn ang="0">
                  <a:pos x="3" y="27"/>
                </a:cxn>
                <a:cxn ang="0">
                  <a:pos x="2" y="27"/>
                </a:cxn>
                <a:cxn ang="0">
                  <a:pos x="0" y="24"/>
                </a:cxn>
                <a:cxn ang="0">
                  <a:pos x="0" y="23"/>
                </a:cxn>
                <a:cxn ang="0">
                  <a:pos x="26" y="1"/>
                </a:cxn>
                <a:cxn ang="0">
                  <a:pos x="31" y="1"/>
                </a:cxn>
                <a:cxn ang="0">
                  <a:pos x="40" y="8"/>
                </a:cxn>
                <a:cxn ang="0">
                  <a:pos x="40" y="1"/>
                </a:cxn>
                <a:cxn ang="0">
                  <a:pos x="41" y="0"/>
                </a:cxn>
                <a:cxn ang="0">
                  <a:pos x="48" y="0"/>
                </a:cxn>
                <a:cxn ang="0">
                  <a:pos x="49" y="1"/>
                </a:cxn>
                <a:cxn ang="0">
                  <a:pos x="49" y="16"/>
                </a:cxn>
                <a:cxn ang="0">
                  <a:pos x="57" y="23"/>
                </a:cxn>
                <a:cxn ang="0">
                  <a:pos x="57" y="24"/>
                </a:cxn>
                <a:cxn ang="0">
                  <a:pos x="55" y="27"/>
                </a:cxn>
                <a:cxn ang="0">
                  <a:pos x="49" y="44"/>
                </a:cxn>
                <a:cxn ang="0">
                  <a:pos x="47" y="46"/>
                </a:cxn>
                <a:cxn ang="0">
                  <a:pos x="33" y="46"/>
                </a:cxn>
                <a:cxn ang="0">
                  <a:pos x="33" y="32"/>
                </a:cxn>
                <a:cxn ang="0">
                  <a:pos x="24" y="32"/>
                </a:cxn>
                <a:cxn ang="0">
                  <a:pos x="24" y="46"/>
                </a:cxn>
                <a:cxn ang="0">
                  <a:pos x="10" y="46"/>
                </a:cxn>
                <a:cxn ang="0">
                  <a:pos x="8" y="44"/>
                </a:cxn>
                <a:cxn ang="0">
                  <a:pos x="8" y="27"/>
                </a:cxn>
                <a:cxn ang="0">
                  <a:pos x="8" y="26"/>
                </a:cxn>
                <a:cxn ang="0">
                  <a:pos x="28" y="9"/>
                </a:cxn>
                <a:cxn ang="0">
                  <a:pos x="49" y="26"/>
                </a:cxn>
                <a:cxn ang="0">
                  <a:pos x="49" y="27"/>
                </a:cxn>
                <a:cxn ang="0">
                  <a:pos x="49" y="44"/>
                </a:cxn>
              </a:cxnLst>
              <a:rect l="0" t="0" r="r" b="b"/>
              <a:pathLst>
                <a:path w="57" h="46">
                  <a:moveTo>
                    <a:pt x="55" y="27"/>
                  </a:moveTo>
                  <a:cubicBezTo>
                    <a:pt x="55" y="27"/>
                    <a:pt x="54" y="27"/>
                    <a:pt x="54" y="27"/>
                  </a:cubicBezTo>
                  <a:cubicBezTo>
                    <a:pt x="54" y="27"/>
                    <a:pt x="54" y="27"/>
                    <a:pt x="54" y="27"/>
                  </a:cubicBezTo>
                  <a:cubicBezTo>
                    <a:pt x="54" y="27"/>
                    <a:pt x="53" y="27"/>
                    <a:pt x="53" y="27"/>
                  </a:cubicBezTo>
                  <a:cubicBezTo>
                    <a:pt x="28" y="6"/>
                    <a:pt x="28" y="6"/>
                    <a:pt x="28" y="6"/>
                  </a:cubicBezTo>
                  <a:cubicBezTo>
                    <a:pt x="4" y="27"/>
                    <a:pt x="4" y="27"/>
                    <a:pt x="4" y="27"/>
                  </a:cubicBezTo>
                  <a:cubicBezTo>
                    <a:pt x="4" y="27"/>
                    <a:pt x="3" y="27"/>
                    <a:pt x="3" y="27"/>
                  </a:cubicBezTo>
                  <a:cubicBezTo>
                    <a:pt x="3" y="27"/>
                    <a:pt x="2" y="27"/>
                    <a:pt x="2" y="27"/>
                  </a:cubicBezTo>
                  <a:cubicBezTo>
                    <a:pt x="0" y="24"/>
                    <a:pt x="0" y="24"/>
                    <a:pt x="0" y="24"/>
                  </a:cubicBezTo>
                  <a:cubicBezTo>
                    <a:pt x="0" y="24"/>
                    <a:pt x="0" y="23"/>
                    <a:pt x="0" y="23"/>
                  </a:cubicBezTo>
                  <a:cubicBezTo>
                    <a:pt x="26" y="1"/>
                    <a:pt x="26" y="1"/>
                    <a:pt x="26" y="1"/>
                  </a:cubicBezTo>
                  <a:cubicBezTo>
                    <a:pt x="27" y="0"/>
                    <a:pt x="30" y="0"/>
                    <a:pt x="31" y="1"/>
                  </a:cubicBezTo>
                  <a:cubicBezTo>
                    <a:pt x="40" y="8"/>
                    <a:pt x="40" y="8"/>
                    <a:pt x="40" y="8"/>
                  </a:cubicBezTo>
                  <a:cubicBezTo>
                    <a:pt x="40" y="1"/>
                    <a:pt x="40" y="1"/>
                    <a:pt x="40" y="1"/>
                  </a:cubicBezTo>
                  <a:cubicBezTo>
                    <a:pt x="40" y="1"/>
                    <a:pt x="40" y="0"/>
                    <a:pt x="41" y="0"/>
                  </a:cubicBezTo>
                  <a:cubicBezTo>
                    <a:pt x="48" y="0"/>
                    <a:pt x="48" y="0"/>
                    <a:pt x="48" y="0"/>
                  </a:cubicBezTo>
                  <a:cubicBezTo>
                    <a:pt x="49" y="0"/>
                    <a:pt x="49" y="1"/>
                    <a:pt x="49" y="1"/>
                  </a:cubicBezTo>
                  <a:cubicBezTo>
                    <a:pt x="49" y="16"/>
                    <a:pt x="49" y="16"/>
                    <a:pt x="49" y="16"/>
                  </a:cubicBezTo>
                  <a:cubicBezTo>
                    <a:pt x="57" y="23"/>
                    <a:pt x="57" y="23"/>
                    <a:pt x="57" y="23"/>
                  </a:cubicBezTo>
                  <a:cubicBezTo>
                    <a:pt x="57" y="23"/>
                    <a:pt x="57" y="24"/>
                    <a:pt x="57" y="24"/>
                  </a:cubicBezTo>
                  <a:lnTo>
                    <a:pt x="55" y="27"/>
                  </a:lnTo>
                  <a:close/>
                  <a:moveTo>
                    <a:pt x="49" y="44"/>
                  </a:moveTo>
                  <a:cubicBezTo>
                    <a:pt x="49" y="45"/>
                    <a:pt x="48" y="46"/>
                    <a:pt x="47" y="46"/>
                  </a:cubicBezTo>
                  <a:cubicBezTo>
                    <a:pt x="33" y="46"/>
                    <a:pt x="33" y="46"/>
                    <a:pt x="33" y="46"/>
                  </a:cubicBezTo>
                  <a:cubicBezTo>
                    <a:pt x="33" y="32"/>
                    <a:pt x="33" y="32"/>
                    <a:pt x="33" y="32"/>
                  </a:cubicBezTo>
                  <a:cubicBezTo>
                    <a:pt x="24" y="32"/>
                    <a:pt x="24" y="32"/>
                    <a:pt x="24" y="32"/>
                  </a:cubicBezTo>
                  <a:cubicBezTo>
                    <a:pt x="24" y="46"/>
                    <a:pt x="24" y="46"/>
                    <a:pt x="24" y="46"/>
                  </a:cubicBezTo>
                  <a:cubicBezTo>
                    <a:pt x="10" y="46"/>
                    <a:pt x="10" y="46"/>
                    <a:pt x="10" y="46"/>
                  </a:cubicBezTo>
                  <a:cubicBezTo>
                    <a:pt x="9" y="46"/>
                    <a:pt x="8" y="45"/>
                    <a:pt x="8" y="44"/>
                  </a:cubicBezTo>
                  <a:cubicBezTo>
                    <a:pt x="8" y="27"/>
                    <a:pt x="8" y="27"/>
                    <a:pt x="8" y="27"/>
                  </a:cubicBezTo>
                  <a:cubicBezTo>
                    <a:pt x="8" y="27"/>
                    <a:pt x="8" y="26"/>
                    <a:pt x="8" y="26"/>
                  </a:cubicBezTo>
                  <a:cubicBezTo>
                    <a:pt x="28" y="9"/>
                    <a:pt x="28" y="9"/>
                    <a:pt x="28" y="9"/>
                  </a:cubicBezTo>
                  <a:cubicBezTo>
                    <a:pt x="49" y="26"/>
                    <a:pt x="49" y="26"/>
                    <a:pt x="49" y="26"/>
                  </a:cubicBezTo>
                  <a:cubicBezTo>
                    <a:pt x="49" y="26"/>
                    <a:pt x="49" y="27"/>
                    <a:pt x="49" y="27"/>
                  </a:cubicBezTo>
                  <a:lnTo>
                    <a:pt x="49" y="4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2" name="Freeform 144"/>
            <p:cNvSpPr>
              <a:spLocks noEditPoints="1"/>
            </p:cNvSpPr>
            <p:nvPr/>
          </p:nvSpPr>
          <p:spPr bwMode="auto">
            <a:xfrm>
              <a:off x="11900301" y="8994299"/>
              <a:ext cx="1034498" cy="802404"/>
            </a:xfrm>
            <a:custGeom>
              <a:avLst/>
              <a:gdLst/>
              <a:ahLst/>
              <a:cxnLst>
                <a:cxn ang="0">
                  <a:pos x="67" y="55"/>
                </a:cxn>
                <a:cxn ang="0">
                  <a:pos x="65" y="56"/>
                </a:cxn>
                <a:cxn ang="0">
                  <a:pos x="8" y="56"/>
                </a:cxn>
                <a:cxn ang="0">
                  <a:pos x="6" y="55"/>
                </a:cxn>
                <a:cxn ang="0">
                  <a:pos x="0" y="36"/>
                </a:cxn>
                <a:cxn ang="0">
                  <a:pos x="36" y="0"/>
                </a:cxn>
                <a:cxn ang="0">
                  <a:pos x="72" y="36"/>
                </a:cxn>
                <a:cxn ang="0">
                  <a:pos x="67" y="55"/>
                </a:cxn>
                <a:cxn ang="0">
                  <a:pos x="11" y="30"/>
                </a:cxn>
                <a:cxn ang="0">
                  <a:pos x="6" y="36"/>
                </a:cxn>
                <a:cxn ang="0">
                  <a:pos x="11" y="41"/>
                </a:cxn>
                <a:cxn ang="0">
                  <a:pos x="16" y="36"/>
                </a:cxn>
                <a:cxn ang="0">
                  <a:pos x="11" y="30"/>
                </a:cxn>
                <a:cxn ang="0">
                  <a:pos x="18" y="12"/>
                </a:cxn>
                <a:cxn ang="0">
                  <a:pos x="13" y="18"/>
                </a:cxn>
                <a:cxn ang="0">
                  <a:pos x="18" y="23"/>
                </a:cxn>
                <a:cxn ang="0">
                  <a:pos x="24" y="18"/>
                </a:cxn>
                <a:cxn ang="0">
                  <a:pos x="18" y="12"/>
                </a:cxn>
                <a:cxn ang="0">
                  <a:pos x="45" y="22"/>
                </a:cxn>
                <a:cxn ang="0">
                  <a:pos x="43" y="18"/>
                </a:cxn>
                <a:cxn ang="0">
                  <a:pos x="40" y="20"/>
                </a:cxn>
                <a:cxn ang="0">
                  <a:pos x="36" y="36"/>
                </a:cxn>
                <a:cxn ang="0">
                  <a:pos x="29" y="41"/>
                </a:cxn>
                <a:cxn ang="0">
                  <a:pos x="34" y="51"/>
                </a:cxn>
                <a:cxn ang="0">
                  <a:pos x="44" y="45"/>
                </a:cxn>
                <a:cxn ang="0">
                  <a:pos x="41" y="37"/>
                </a:cxn>
                <a:cxn ang="0">
                  <a:pos x="45" y="22"/>
                </a:cxn>
                <a:cxn ang="0">
                  <a:pos x="36" y="5"/>
                </a:cxn>
                <a:cxn ang="0">
                  <a:pos x="31" y="10"/>
                </a:cxn>
                <a:cxn ang="0">
                  <a:pos x="36" y="15"/>
                </a:cxn>
                <a:cxn ang="0">
                  <a:pos x="42" y="10"/>
                </a:cxn>
                <a:cxn ang="0">
                  <a:pos x="36" y="5"/>
                </a:cxn>
                <a:cxn ang="0">
                  <a:pos x="54" y="12"/>
                </a:cxn>
                <a:cxn ang="0">
                  <a:pos x="49" y="18"/>
                </a:cxn>
                <a:cxn ang="0">
                  <a:pos x="54" y="23"/>
                </a:cxn>
                <a:cxn ang="0">
                  <a:pos x="60" y="18"/>
                </a:cxn>
                <a:cxn ang="0">
                  <a:pos x="54" y="12"/>
                </a:cxn>
                <a:cxn ang="0">
                  <a:pos x="62" y="30"/>
                </a:cxn>
                <a:cxn ang="0">
                  <a:pos x="57" y="36"/>
                </a:cxn>
                <a:cxn ang="0">
                  <a:pos x="62" y="41"/>
                </a:cxn>
                <a:cxn ang="0">
                  <a:pos x="67" y="36"/>
                </a:cxn>
                <a:cxn ang="0">
                  <a:pos x="62" y="30"/>
                </a:cxn>
              </a:cxnLst>
              <a:rect l="0" t="0" r="r" b="b"/>
              <a:pathLst>
                <a:path w="72" h="56">
                  <a:moveTo>
                    <a:pt x="67" y="55"/>
                  </a:moveTo>
                  <a:cubicBezTo>
                    <a:pt x="66" y="56"/>
                    <a:pt x="66" y="56"/>
                    <a:pt x="65" y="56"/>
                  </a:cubicBezTo>
                  <a:cubicBezTo>
                    <a:pt x="8" y="56"/>
                    <a:pt x="8" y="56"/>
                    <a:pt x="8" y="56"/>
                  </a:cubicBezTo>
                  <a:cubicBezTo>
                    <a:pt x="7" y="56"/>
                    <a:pt x="7" y="56"/>
                    <a:pt x="6" y="55"/>
                  </a:cubicBezTo>
                  <a:cubicBezTo>
                    <a:pt x="2" y="49"/>
                    <a:pt x="0" y="42"/>
                    <a:pt x="0" y="36"/>
                  </a:cubicBezTo>
                  <a:cubicBezTo>
                    <a:pt x="0" y="16"/>
                    <a:pt x="17" y="0"/>
                    <a:pt x="36" y="0"/>
                  </a:cubicBezTo>
                  <a:cubicBezTo>
                    <a:pt x="56" y="0"/>
                    <a:pt x="72" y="16"/>
                    <a:pt x="72" y="36"/>
                  </a:cubicBezTo>
                  <a:cubicBezTo>
                    <a:pt x="72" y="42"/>
                    <a:pt x="70" y="49"/>
                    <a:pt x="67" y="55"/>
                  </a:cubicBezTo>
                  <a:close/>
                  <a:moveTo>
                    <a:pt x="11" y="30"/>
                  </a:moveTo>
                  <a:cubicBezTo>
                    <a:pt x="8" y="30"/>
                    <a:pt x="6" y="33"/>
                    <a:pt x="6" y="36"/>
                  </a:cubicBezTo>
                  <a:cubicBezTo>
                    <a:pt x="6" y="38"/>
                    <a:pt x="8" y="41"/>
                    <a:pt x="11" y="41"/>
                  </a:cubicBezTo>
                  <a:cubicBezTo>
                    <a:pt x="14" y="41"/>
                    <a:pt x="16" y="38"/>
                    <a:pt x="16" y="36"/>
                  </a:cubicBezTo>
                  <a:cubicBezTo>
                    <a:pt x="16" y="33"/>
                    <a:pt x="14" y="30"/>
                    <a:pt x="11" y="30"/>
                  </a:cubicBezTo>
                  <a:close/>
                  <a:moveTo>
                    <a:pt x="18" y="12"/>
                  </a:moveTo>
                  <a:cubicBezTo>
                    <a:pt x="16" y="12"/>
                    <a:pt x="13" y="15"/>
                    <a:pt x="13" y="18"/>
                  </a:cubicBezTo>
                  <a:cubicBezTo>
                    <a:pt x="13" y="20"/>
                    <a:pt x="16" y="23"/>
                    <a:pt x="18" y="23"/>
                  </a:cubicBezTo>
                  <a:cubicBezTo>
                    <a:pt x="21" y="23"/>
                    <a:pt x="24" y="20"/>
                    <a:pt x="24" y="18"/>
                  </a:cubicBezTo>
                  <a:cubicBezTo>
                    <a:pt x="24" y="15"/>
                    <a:pt x="21" y="12"/>
                    <a:pt x="18" y="12"/>
                  </a:cubicBezTo>
                  <a:close/>
                  <a:moveTo>
                    <a:pt x="45" y="22"/>
                  </a:moveTo>
                  <a:cubicBezTo>
                    <a:pt x="45" y="20"/>
                    <a:pt x="44" y="19"/>
                    <a:pt x="43" y="18"/>
                  </a:cubicBezTo>
                  <a:cubicBezTo>
                    <a:pt x="42" y="18"/>
                    <a:pt x="40" y="19"/>
                    <a:pt x="40" y="20"/>
                  </a:cubicBezTo>
                  <a:cubicBezTo>
                    <a:pt x="36" y="36"/>
                    <a:pt x="36" y="36"/>
                    <a:pt x="36" y="36"/>
                  </a:cubicBezTo>
                  <a:cubicBezTo>
                    <a:pt x="33" y="36"/>
                    <a:pt x="30" y="38"/>
                    <a:pt x="29" y="41"/>
                  </a:cubicBezTo>
                  <a:cubicBezTo>
                    <a:pt x="28" y="45"/>
                    <a:pt x="30" y="50"/>
                    <a:pt x="34" y="51"/>
                  </a:cubicBezTo>
                  <a:cubicBezTo>
                    <a:pt x="39" y="52"/>
                    <a:pt x="43" y="49"/>
                    <a:pt x="44" y="45"/>
                  </a:cubicBezTo>
                  <a:cubicBezTo>
                    <a:pt x="45" y="42"/>
                    <a:pt x="43" y="39"/>
                    <a:pt x="41" y="37"/>
                  </a:cubicBezTo>
                  <a:lnTo>
                    <a:pt x="45" y="22"/>
                  </a:lnTo>
                  <a:close/>
                  <a:moveTo>
                    <a:pt x="36" y="5"/>
                  </a:moveTo>
                  <a:cubicBezTo>
                    <a:pt x="34" y="5"/>
                    <a:pt x="31" y="7"/>
                    <a:pt x="31" y="10"/>
                  </a:cubicBezTo>
                  <a:cubicBezTo>
                    <a:pt x="31" y="13"/>
                    <a:pt x="34" y="15"/>
                    <a:pt x="36" y="15"/>
                  </a:cubicBezTo>
                  <a:cubicBezTo>
                    <a:pt x="39" y="15"/>
                    <a:pt x="42" y="13"/>
                    <a:pt x="42" y="10"/>
                  </a:cubicBezTo>
                  <a:cubicBezTo>
                    <a:pt x="42" y="7"/>
                    <a:pt x="39" y="5"/>
                    <a:pt x="36" y="5"/>
                  </a:cubicBezTo>
                  <a:close/>
                  <a:moveTo>
                    <a:pt x="54" y="12"/>
                  </a:moveTo>
                  <a:cubicBezTo>
                    <a:pt x="52" y="12"/>
                    <a:pt x="49" y="15"/>
                    <a:pt x="49" y="18"/>
                  </a:cubicBezTo>
                  <a:cubicBezTo>
                    <a:pt x="49" y="20"/>
                    <a:pt x="52" y="23"/>
                    <a:pt x="54" y="23"/>
                  </a:cubicBezTo>
                  <a:cubicBezTo>
                    <a:pt x="57" y="23"/>
                    <a:pt x="60" y="20"/>
                    <a:pt x="60" y="18"/>
                  </a:cubicBezTo>
                  <a:cubicBezTo>
                    <a:pt x="60" y="15"/>
                    <a:pt x="57" y="12"/>
                    <a:pt x="54" y="12"/>
                  </a:cubicBezTo>
                  <a:close/>
                  <a:moveTo>
                    <a:pt x="62" y="30"/>
                  </a:moveTo>
                  <a:cubicBezTo>
                    <a:pt x="59" y="30"/>
                    <a:pt x="57" y="33"/>
                    <a:pt x="57" y="36"/>
                  </a:cubicBezTo>
                  <a:cubicBezTo>
                    <a:pt x="57" y="38"/>
                    <a:pt x="59" y="41"/>
                    <a:pt x="62" y="41"/>
                  </a:cubicBezTo>
                  <a:cubicBezTo>
                    <a:pt x="65" y="41"/>
                    <a:pt x="67" y="38"/>
                    <a:pt x="67" y="36"/>
                  </a:cubicBezTo>
                  <a:cubicBezTo>
                    <a:pt x="67" y="33"/>
                    <a:pt x="65" y="30"/>
                    <a:pt x="62" y="30"/>
                  </a:cubicBez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4" name="Freeform 74"/>
            <p:cNvSpPr>
              <a:spLocks noEditPoints="1"/>
            </p:cNvSpPr>
            <p:nvPr/>
          </p:nvSpPr>
          <p:spPr bwMode="auto">
            <a:xfrm>
              <a:off x="9305719" y="7535149"/>
              <a:ext cx="940004" cy="729108"/>
            </a:xfrm>
            <a:custGeom>
              <a:avLst/>
              <a:gdLst/>
              <a:ahLst/>
              <a:cxnLst>
                <a:cxn ang="0">
                  <a:pos x="66" y="17"/>
                </a:cxn>
                <a:cxn ang="0">
                  <a:pos x="47" y="30"/>
                </a:cxn>
                <a:cxn ang="0">
                  <a:pos x="37" y="36"/>
                </a:cxn>
                <a:cxn ang="0">
                  <a:pos x="36" y="36"/>
                </a:cxn>
                <a:cxn ang="0">
                  <a:pos x="36" y="36"/>
                </a:cxn>
                <a:cxn ang="0">
                  <a:pos x="26" y="30"/>
                </a:cxn>
                <a:cxn ang="0">
                  <a:pos x="7" y="17"/>
                </a:cxn>
                <a:cxn ang="0">
                  <a:pos x="0" y="7"/>
                </a:cxn>
                <a:cxn ang="0">
                  <a:pos x="7" y="0"/>
                </a:cxn>
                <a:cxn ang="0">
                  <a:pos x="66" y="0"/>
                </a:cxn>
                <a:cxn ang="0">
                  <a:pos x="72" y="6"/>
                </a:cxn>
                <a:cxn ang="0">
                  <a:pos x="66" y="17"/>
                </a:cxn>
                <a:cxn ang="0">
                  <a:pos x="72" y="50"/>
                </a:cxn>
                <a:cxn ang="0">
                  <a:pos x="66" y="56"/>
                </a:cxn>
                <a:cxn ang="0">
                  <a:pos x="7" y="56"/>
                </a:cxn>
                <a:cxn ang="0">
                  <a:pos x="0" y="50"/>
                </a:cxn>
                <a:cxn ang="0">
                  <a:pos x="0" y="18"/>
                </a:cxn>
                <a:cxn ang="0">
                  <a:pos x="5" y="21"/>
                </a:cxn>
                <a:cxn ang="0">
                  <a:pos x="24" y="35"/>
                </a:cxn>
                <a:cxn ang="0">
                  <a:pos x="36" y="41"/>
                </a:cxn>
                <a:cxn ang="0">
                  <a:pos x="36" y="41"/>
                </a:cxn>
                <a:cxn ang="0">
                  <a:pos x="37" y="41"/>
                </a:cxn>
                <a:cxn ang="0">
                  <a:pos x="48" y="35"/>
                </a:cxn>
                <a:cxn ang="0">
                  <a:pos x="68" y="21"/>
                </a:cxn>
                <a:cxn ang="0">
                  <a:pos x="72" y="18"/>
                </a:cxn>
                <a:cxn ang="0">
                  <a:pos x="72" y="50"/>
                </a:cxn>
              </a:cxnLst>
              <a:rect l="0" t="0" r="r" b="b"/>
              <a:pathLst>
                <a:path w="72" h="56">
                  <a:moveTo>
                    <a:pt x="66" y="17"/>
                  </a:moveTo>
                  <a:cubicBezTo>
                    <a:pt x="59" y="21"/>
                    <a:pt x="53" y="26"/>
                    <a:pt x="47" y="30"/>
                  </a:cubicBezTo>
                  <a:cubicBezTo>
                    <a:pt x="44" y="32"/>
                    <a:pt x="40" y="36"/>
                    <a:pt x="37" y="36"/>
                  </a:cubicBezTo>
                  <a:cubicBezTo>
                    <a:pt x="36" y="36"/>
                    <a:pt x="36" y="36"/>
                    <a:pt x="36" y="36"/>
                  </a:cubicBezTo>
                  <a:cubicBezTo>
                    <a:pt x="36" y="36"/>
                    <a:pt x="36" y="36"/>
                    <a:pt x="36" y="36"/>
                  </a:cubicBezTo>
                  <a:cubicBezTo>
                    <a:pt x="33" y="36"/>
                    <a:pt x="29" y="32"/>
                    <a:pt x="26" y="30"/>
                  </a:cubicBezTo>
                  <a:cubicBezTo>
                    <a:pt x="20" y="26"/>
                    <a:pt x="14" y="21"/>
                    <a:pt x="7" y="17"/>
                  </a:cubicBezTo>
                  <a:cubicBezTo>
                    <a:pt x="5" y="15"/>
                    <a:pt x="0" y="11"/>
                    <a:pt x="0" y="7"/>
                  </a:cubicBezTo>
                  <a:cubicBezTo>
                    <a:pt x="0" y="3"/>
                    <a:pt x="3" y="0"/>
                    <a:pt x="7" y="0"/>
                  </a:cubicBezTo>
                  <a:cubicBezTo>
                    <a:pt x="66" y="0"/>
                    <a:pt x="66" y="0"/>
                    <a:pt x="66" y="0"/>
                  </a:cubicBezTo>
                  <a:cubicBezTo>
                    <a:pt x="70" y="0"/>
                    <a:pt x="72" y="2"/>
                    <a:pt x="72" y="6"/>
                  </a:cubicBezTo>
                  <a:cubicBezTo>
                    <a:pt x="72" y="11"/>
                    <a:pt x="69" y="15"/>
                    <a:pt x="66" y="17"/>
                  </a:cubicBezTo>
                  <a:close/>
                  <a:moveTo>
                    <a:pt x="72" y="50"/>
                  </a:moveTo>
                  <a:cubicBezTo>
                    <a:pt x="72" y="53"/>
                    <a:pt x="70" y="56"/>
                    <a:pt x="66" y="56"/>
                  </a:cubicBezTo>
                  <a:cubicBezTo>
                    <a:pt x="7" y="56"/>
                    <a:pt x="7" y="56"/>
                    <a:pt x="7" y="56"/>
                  </a:cubicBezTo>
                  <a:cubicBezTo>
                    <a:pt x="3" y="56"/>
                    <a:pt x="0" y="53"/>
                    <a:pt x="0" y="50"/>
                  </a:cubicBezTo>
                  <a:cubicBezTo>
                    <a:pt x="0" y="18"/>
                    <a:pt x="0" y="18"/>
                    <a:pt x="0" y="18"/>
                  </a:cubicBezTo>
                  <a:cubicBezTo>
                    <a:pt x="2" y="19"/>
                    <a:pt x="3" y="20"/>
                    <a:pt x="5" y="21"/>
                  </a:cubicBezTo>
                  <a:cubicBezTo>
                    <a:pt x="11" y="26"/>
                    <a:pt x="18" y="30"/>
                    <a:pt x="24" y="35"/>
                  </a:cubicBezTo>
                  <a:cubicBezTo>
                    <a:pt x="28" y="38"/>
                    <a:pt x="32" y="41"/>
                    <a:pt x="36" y="41"/>
                  </a:cubicBezTo>
                  <a:cubicBezTo>
                    <a:pt x="36" y="41"/>
                    <a:pt x="36" y="41"/>
                    <a:pt x="36" y="41"/>
                  </a:cubicBezTo>
                  <a:cubicBezTo>
                    <a:pt x="37" y="41"/>
                    <a:pt x="37" y="41"/>
                    <a:pt x="37" y="41"/>
                  </a:cubicBezTo>
                  <a:cubicBezTo>
                    <a:pt x="41" y="41"/>
                    <a:pt x="45" y="38"/>
                    <a:pt x="48" y="35"/>
                  </a:cubicBezTo>
                  <a:cubicBezTo>
                    <a:pt x="55" y="30"/>
                    <a:pt x="62" y="26"/>
                    <a:pt x="68" y="21"/>
                  </a:cubicBezTo>
                  <a:cubicBezTo>
                    <a:pt x="70" y="20"/>
                    <a:pt x="71" y="19"/>
                    <a:pt x="72" y="18"/>
                  </a:cubicBezTo>
                  <a:lnTo>
                    <a:pt x="72" y="5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6" name="Freeform 152"/>
            <p:cNvSpPr>
              <a:spLocks noEditPoints="1"/>
            </p:cNvSpPr>
            <p:nvPr/>
          </p:nvSpPr>
          <p:spPr bwMode="auto">
            <a:xfrm>
              <a:off x="9241051" y="4801123"/>
              <a:ext cx="1057708" cy="977472"/>
            </a:xfrm>
            <a:custGeom>
              <a:avLst/>
              <a:gdLst/>
              <a:ahLst/>
              <a:cxnLst>
                <a:cxn ang="0">
                  <a:pos x="67" y="20"/>
                </a:cxn>
                <a:cxn ang="0">
                  <a:pos x="46" y="36"/>
                </a:cxn>
                <a:cxn ang="0">
                  <a:pos x="42" y="40"/>
                </a:cxn>
                <a:cxn ang="0">
                  <a:pos x="39" y="47"/>
                </a:cxn>
                <a:cxn ang="0">
                  <a:pos x="44" y="52"/>
                </a:cxn>
                <a:cxn ang="0">
                  <a:pos x="52" y="58"/>
                </a:cxn>
                <a:cxn ang="0">
                  <a:pos x="52" y="61"/>
                </a:cxn>
                <a:cxn ang="0">
                  <a:pos x="51" y="62"/>
                </a:cxn>
                <a:cxn ang="0">
                  <a:pos x="17" y="62"/>
                </a:cxn>
                <a:cxn ang="0">
                  <a:pos x="16" y="61"/>
                </a:cxn>
                <a:cxn ang="0">
                  <a:pos x="16" y="58"/>
                </a:cxn>
                <a:cxn ang="0">
                  <a:pos x="24" y="52"/>
                </a:cxn>
                <a:cxn ang="0">
                  <a:pos x="29" y="47"/>
                </a:cxn>
                <a:cxn ang="0">
                  <a:pos x="26" y="40"/>
                </a:cxn>
                <a:cxn ang="0">
                  <a:pos x="22" y="36"/>
                </a:cxn>
                <a:cxn ang="0">
                  <a:pos x="0" y="20"/>
                </a:cxn>
                <a:cxn ang="0">
                  <a:pos x="0" y="15"/>
                </a:cxn>
                <a:cxn ang="0">
                  <a:pos x="4" y="11"/>
                </a:cxn>
                <a:cxn ang="0">
                  <a:pos x="16" y="11"/>
                </a:cxn>
                <a:cxn ang="0">
                  <a:pos x="16" y="7"/>
                </a:cxn>
                <a:cxn ang="0">
                  <a:pos x="22" y="0"/>
                </a:cxn>
                <a:cxn ang="0">
                  <a:pos x="45" y="0"/>
                </a:cxn>
                <a:cxn ang="0">
                  <a:pos x="52" y="7"/>
                </a:cxn>
                <a:cxn ang="0">
                  <a:pos x="52" y="11"/>
                </a:cxn>
                <a:cxn ang="0">
                  <a:pos x="63" y="11"/>
                </a:cxn>
                <a:cxn ang="0">
                  <a:pos x="67" y="15"/>
                </a:cxn>
                <a:cxn ang="0">
                  <a:pos x="67" y="20"/>
                </a:cxn>
                <a:cxn ang="0">
                  <a:pos x="16" y="16"/>
                </a:cxn>
                <a:cxn ang="0">
                  <a:pos x="6" y="16"/>
                </a:cxn>
                <a:cxn ang="0">
                  <a:pos x="6" y="20"/>
                </a:cxn>
                <a:cxn ang="0">
                  <a:pos x="19" y="31"/>
                </a:cxn>
                <a:cxn ang="0">
                  <a:pos x="16" y="16"/>
                </a:cxn>
                <a:cxn ang="0">
                  <a:pos x="62" y="16"/>
                </a:cxn>
                <a:cxn ang="0">
                  <a:pos x="52" y="16"/>
                </a:cxn>
                <a:cxn ang="0">
                  <a:pos x="49" y="31"/>
                </a:cxn>
                <a:cxn ang="0">
                  <a:pos x="62" y="20"/>
                </a:cxn>
                <a:cxn ang="0">
                  <a:pos x="62" y="16"/>
                </a:cxn>
              </a:cxnLst>
              <a:rect l="0" t="0" r="r" b="b"/>
              <a:pathLst>
                <a:path w="67" h="62">
                  <a:moveTo>
                    <a:pt x="67" y="20"/>
                  </a:moveTo>
                  <a:cubicBezTo>
                    <a:pt x="67" y="27"/>
                    <a:pt x="58" y="36"/>
                    <a:pt x="46" y="36"/>
                  </a:cubicBezTo>
                  <a:cubicBezTo>
                    <a:pt x="44" y="38"/>
                    <a:pt x="42" y="40"/>
                    <a:pt x="42" y="40"/>
                  </a:cubicBezTo>
                  <a:cubicBezTo>
                    <a:pt x="40" y="42"/>
                    <a:pt x="39" y="44"/>
                    <a:pt x="39" y="47"/>
                  </a:cubicBezTo>
                  <a:cubicBezTo>
                    <a:pt x="39" y="49"/>
                    <a:pt x="40" y="52"/>
                    <a:pt x="44" y="52"/>
                  </a:cubicBezTo>
                  <a:cubicBezTo>
                    <a:pt x="48" y="52"/>
                    <a:pt x="52" y="54"/>
                    <a:pt x="52" y="58"/>
                  </a:cubicBezTo>
                  <a:cubicBezTo>
                    <a:pt x="52" y="61"/>
                    <a:pt x="52" y="61"/>
                    <a:pt x="52" y="61"/>
                  </a:cubicBezTo>
                  <a:cubicBezTo>
                    <a:pt x="52" y="62"/>
                    <a:pt x="51" y="62"/>
                    <a:pt x="51" y="62"/>
                  </a:cubicBezTo>
                  <a:cubicBezTo>
                    <a:pt x="17" y="62"/>
                    <a:pt x="17" y="62"/>
                    <a:pt x="17" y="62"/>
                  </a:cubicBezTo>
                  <a:cubicBezTo>
                    <a:pt x="16" y="62"/>
                    <a:pt x="16" y="62"/>
                    <a:pt x="16" y="61"/>
                  </a:cubicBezTo>
                  <a:cubicBezTo>
                    <a:pt x="16" y="58"/>
                    <a:pt x="16" y="58"/>
                    <a:pt x="16" y="58"/>
                  </a:cubicBezTo>
                  <a:cubicBezTo>
                    <a:pt x="16" y="54"/>
                    <a:pt x="20" y="52"/>
                    <a:pt x="24" y="52"/>
                  </a:cubicBezTo>
                  <a:cubicBezTo>
                    <a:pt x="27" y="52"/>
                    <a:pt x="29" y="49"/>
                    <a:pt x="29" y="47"/>
                  </a:cubicBezTo>
                  <a:cubicBezTo>
                    <a:pt x="29" y="44"/>
                    <a:pt x="28" y="42"/>
                    <a:pt x="26" y="40"/>
                  </a:cubicBezTo>
                  <a:cubicBezTo>
                    <a:pt x="25" y="40"/>
                    <a:pt x="24" y="38"/>
                    <a:pt x="22" y="36"/>
                  </a:cubicBezTo>
                  <a:cubicBezTo>
                    <a:pt x="10" y="36"/>
                    <a:pt x="0" y="27"/>
                    <a:pt x="0" y="20"/>
                  </a:cubicBezTo>
                  <a:cubicBezTo>
                    <a:pt x="0" y="15"/>
                    <a:pt x="0" y="15"/>
                    <a:pt x="0" y="15"/>
                  </a:cubicBezTo>
                  <a:cubicBezTo>
                    <a:pt x="0" y="12"/>
                    <a:pt x="2" y="11"/>
                    <a:pt x="4" y="11"/>
                  </a:cubicBezTo>
                  <a:cubicBezTo>
                    <a:pt x="16" y="11"/>
                    <a:pt x="16" y="11"/>
                    <a:pt x="16" y="11"/>
                  </a:cubicBezTo>
                  <a:cubicBezTo>
                    <a:pt x="16" y="7"/>
                    <a:pt x="16" y="7"/>
                    <a:pt x="16" y="7"/>
                  </a:cubicBezTo>
                  <a:cubicBezTo>
                    <a:pt x="16" y="3"/>
                    <a:pt x="19" y="0"/>
                    <a:pt x="22" y="0"/>
                  </a:cubicBezTo>
                  <a:cubicBezTo>
                    <a:pt x="45" y="0"/>
                    <a:pt x="45" y="0"/>
                    <a:pt x="45" y="0"/>
                  </a:cubicBezTo>
                  <a:cubicBezTo>
                    <a:pt x="49" y="0"/>
                    <a:pt x="52" y="3"/>
                    <a:pt x="52" y="7"/>
                  </a:cubicBezTo>
                  <a:cubicBezTo>
                    <a:pt x="52" y="11"/>
                    <a:pt x="52" y="11"/>
                    <a:pt x="52" y="11"/>
                  </a:cubicBezTo>
                  <a:cubicBezTo>
                    <a:pt x="63" y="11"/>
                    <a:pt x="63" y="11"/>
                    <a:pt x="63" y="11"/>
                  </a:cubicBezTo>
                  <a:cubicBezTo>
                    <a:pt x="66" y="11"/>
                    <a:pt x="67" y="12"/>
                    <a:pt x="67" y="15"/>
                  </a:cubicBezTo>
                  <a:lnTo>
                    <a:pt x="67" y="20"/>
                  </a:lnTo>
                  <a:close/>
                  <a:moveTo>
                    <a:pt x="16" y="16"/>
                  </a:moveTo>
                  <a:cubicBezTo>
                    <a:pt x="6" y="16"/>
                    <a:pt x="6" y="16"/>
                    <a:pt x="6" y="16"/>
                  </a:cubicBezTo>
                  <a:cubicBezTo>
                    <a:pt x="6" y="20"/>
                    <a:pt x="6" y="20"/>
                    <a:pt x="6" y="20"/>
                  </a:cubicBezTo>
                  <a:cubicBezTo>
                    <a:pt x="6" y="24"/>
                    <a:pt x="11" y="29"/>
                    <a:pt x="19" y="31"/>
                  </a:cubicBezTo>
                  <a:cubicBezTo>
                    <a:pt x="17" y="27"/>
                    <a:pt x="16" y="22"/>
                    <a:pt x="16" y="16"/>
                  </a:cubicBezTo>
                  <a:close/>
                  <a:moveTo>
                    <a:pt x="62" y="16"/>
                  </a:moveTo>
                  <a:cubicBezTo>
                    <a:pt x="52" y="16"/>
                    <a:pt x="52" y="16"/>
                    <a:pt x="52" y="16"/>
                  </a:cubicBezTo>
                  <a:cubicBezTo>
                    <a:pt x="52" y="22"/>
                    <a:pt x="51" y="27"/>
                    <a:pt x="49" y="31"/>
                  </a:cubicBezTo>
                  <a:cubicBezTo>
                    <a:pt x="57" y="29"/>
                    <a:pt x="62" y="24"/>
                    <a:pt x="62" y="20"/>
                  </a:cubicBezTo>
                  <a:lnTo>
                    <a:pt x="62" y="16"/>
                  </a:lnTo>
                  <a:close/>
                </a:path>
              </a:pathLst>
            </a:custGeom>
            <a:solidFill>
              <a:srgbClr val="767676"/>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47" name="Freeform 82"/>
            <p:cNvSpPr>
              <a:spLocks noEditPoints="1"/>
            </p:cNvSpPr>
            <p:nvPr/>
          </p:nvSpPr>
          <p:spPr bwMode="auto">
            <a:xfrm>
              <a:off x="12070702" y="6088538"/>
              <a:ext cx="657658" cy="777234"/>
            </a:xfrm>
            <a:custGeom>
              <a:avLst/>
              <a:gdLst/>
              <a:ahLst/>
              <a:cxnLst>
                <a:cxn ang="0">
                  <a:pos x="61" y="26"/>
                </a:cxn>
                <a:cxn ang="0">
                  <a:pos x="61" y="68"/>
                </a:cxn>
                <a:cxn ang="0">
                  <a:pos x="58" y="72"/>
                </a:cxn>
                <a:cxn ang="0">
                  <a:pos x="4" y="72"/>
                </a:cxn>
                <a:cxn ang="0">
                  <a:pos x="0" y="68"/>
                </a:cxn>
                <a:cxn ang="0">
                  <a:pos x="0" y="4"/>
                </a:cxn>
                <a:cxn ang="0">
                  <a:pos x="4" y="0"/>
                </a:cxn>
                <a:cxn ang="0">
                  <a:pos x="36" y="0"/>
                </a:cxn>
                <a:cxn ang="0">
                  <a:pos x="36" y="22"/>
                </a:cxn>
                <a:cxn ang="0">
                  <a:pos x="40" y="26"/>
                </a:cxn>
                <a:cxn ang="0">
                  <a:pos x="61" y="26"/>
                </a:cxn>
                <a:cxn ang="0">
                  <a:pos x="46" y="32"/>
                </a:cxn>
                <a:cxn ang="0">
                  <a:pos x="45" y="31"/>
                </a:cxn>
                <a:cxn ang="0">
                  <a:pos x="16" y="31"/>
                </a:cxn>
                <a:cxn ang="0">
                  <a:pos x="15" y="32"/>
                </a:cxn>
                <a:cxn ang="0">
                  <a:pos x="15" y="35"/>
                </a:cxn>
                <a:cxn ang="0">
                  <a:pos x="16" y="36"/>
                </a:cxn>
                <a:cxn ang="0">
                  <a:pos x="45" y="36"/>
                </a:cxn>
                <a:cxn ang="0">
                  <a:pos x="46" y="35"/>
                </a:cxn>
                <a:cxn ang="0">
                  <a:pos x="46" y="32"/>
                </a:cxn>
                <a:cxn ang="0">
                  <a:pos x="46" y="43"/>
                </a:cxn>
                <a:cxn ang="0">
                  <a:pos x="45" y="41"/>
                </a:cxn>
                <a:cxn ang="0">
                  <a:pos x="16" y="41"/>
                </a:cxn>
                <a:cxn ang="0">
                  <a:pos x="15" y="43"/>
                </a:cxn>
                <a:cxn ang="0">
                  <a:pos x="15" y="45"/>
                </a:cxn>
                <a:cxn ang="0">
                  <a:pos x="16" y="47"/>
                </a:cxn>
                <a:cxn ang="0">
                  <a:pos x="45" y="47"/>
                </a:cxn>
                <a:cxn ang="0">
                  <a:pos x="46" y="45"/>
                </a:cxn>
                <a:cxn ang="0">
                  <a:pos x="46" y="43"/>
                </a:cxn>
                <a:cxn ang="0">
                  <a:pos x="46" y="53"/>
                </a:cxn>
                <a:cxn ang="0">
                  <a:pos x="45" y="52"/>
                </a:cxn>
                <a:cxn ang="0">
                  <a:pos x="16" y="52"/>
                </a:cxn>
                <a:cxn ang="0">
                  <a:pos x="15" y="53"/>
                </a:cxn>
                <a:cxn ang="0">
                  <a:pos x="15" y="56"/>
                </a:cxn>
                <a:cxn ang="0">
                  <a:pos x="16" y="57"/>
                </a:cxn>
                <a:cxn ang="0">
                  <a:pos x="45" y="57"/>
                </a:cxn>
                <a:cxn ang="0">
                  <a:pos x="46" y="56"/>
                </a:cxn>
                <a:cxn ang="0">
                  <a:pos x="46" y="53"/>
                </a:cxn>
                <a:cxn ang="0">
                  <a:pos x="60" y="21"/>
                </a:cxn>
                <a:cxn ang="0">
                  <a:pos x="41" y="21"/>
                </a:cxn>
                <a:cxn ang="0">
                  <a:pos x="41" y="2"/>
                </a:cxn>
                <a:cxn ang="0">
                  <a:pos x="42" y="3"/>
                </a:cxn>
                <a:cxn ang="0">
                  <a:pos x="59" y="19"/>
                </a:cxn>
                <a:cxn ang="0">
                  <a:pos x="60" y="21"/>
                </a:cxn>
              </a:cxnLst>
              <a:rect l="0" t="0" r="r" b="b"/>
              <a:pathLst>
                <a:path w="61" h="72">
                  <a:moveTo>
                    <a:pt x="61" y="26"/>
                  </a:moveTo>
                  <a:cubicBezTo>
                    <a:pt x="61" y="68"/>
                    <a:pt x="61" y="68"/>
                    <a:pt x="61" y="68"/>
                  </a:cubicBezTo>
                  <a:cubicBezTo>
                    <a:pt x="61" y="71"/>
                    <a:pt x="60" y="72"/>
                    <a:pt x="58" y="72"/>
                  </a:cubicBezTo>
                  <a:cubicBezTo>
                    <a:pt x="4" y="72"/>
                    <a:pt x="4" y="72"/>
                    <a:pt x="4" y="72"/>
                  </a:cubicBezTo>
                  <a:cubicBezTo>
                    <a:pt x="1" y="72"/>
                    <a:pt x="0" y="71"/>
                    <a:pt x="0" y="68"/>
                  </a:cubicBezTo>
                  <a:cubicBezTo>
                    <a:pt x="0" y="4"/>
                    <a:pt x="0" y="4"/>
                    <a:pt x="0" y="4"/>
                  </a:cubicBezTo>
                  <a:cubicBezTo>
                    <a:pt x="0" y="2"/>
                    <a:pt x="1" y="0"/>
                    <a:pt x="4" y="0"/>
                  </a:cubicBezTo>
                  <a:cubicBezTo>
                    <a:pt x="36" y="0"/>
                    <a:pt x="36" y="0"/>
                    <a:pt x="36" y="0"/>
                  </a:cubicBezTo>
                  <a:cubicBezTo>
                    <a:pt x="36" y="22"/>
                    <a:pt x="36" y="22"/>
                    <a:pt x="36" y="22"/>
                  </a:cubicBezTo>
                  <a:cubicBezTo>
                    <a:pt x="36" y="24"/>
                    <a:pt x="37" y="26"/>
                    <a:pt x="40" y="26"/>
                  </a:cubicBezTo>
                  <a:lnTo>
                    <a:pt x="61" y="26"/>
                  </a:lnTo>
                  <a:close/>
                  <a:moveTo>
                    <a:pt x="46" y="32"/>
                  </a:moveTo>
                  <a:cubicBezTo>
                    <a:pt x="46" y="32"/>
                    <a:pt x="45" y="31"/>
                    <a:pt x="45" y="31"/>
                  </a:cubicBezTo>
                  <a:cubicBezTo>
                    <a:pt x="16" y="31"/>
                    <a:pt x="16" y="31"/>
                    <a:pt x="16" y="31"/>
                  </a:cubicBezTo>
                  <a:cubicBezTo>
                    <a:pt x="16" y="31"/>
                    <a:pt x="15" y="32"/>
                    <a:pt x="15" y="32"/>
                  </a:cubicBezTo>
                  <a:cubicBezTo>
                    <a:pt x="15" y="35"/>
                    <a:pt x="15" y="35"/>
                    <a:pt x="15" y="35"/>
                  </a:cubicBezTo>
                  <a:cubicBezTo>
                    <a:pt x="15" y="36"/>
                    <a:pt x="16" y="36"/>
                    <a:pt x="16" y="36"/>
                  </a:cubicBezTo>
                  <a:cubicBezTo>
                    <a:pt x="45" y="36"/>
                    <a:pt x="45" y="36"/>
                    <a:pt x="45" y="36"/>
                  </a:cubicBezTo>
                  <a:cubicBezTo>
                    <a:pt x="45" y="36"/>
                    <a:pt x="46" y="36"/>
                    <a:pt x="46" y="35"/>
                  </a:cubicBezTo>
                  <a:lnTo>
                    <a:pt x="46" y="32"/>
                  </a:lnTo>
                  <a:close/>
                  <a:moveTo>
                    <a:pt x="46" y="43"/>
                  </a:moveTo>
                  <a:cubicBezTo>
                    <a:pt x="46" y="42"/>
                    <a:pt x="45" y="41"/>
                    <a:pt x="45" y="41"/>
                  </a:cubicBezTo>
                  <a:cubicBezTo>
                    <a:pt x="16" y="41"/>
                    <a:pt x="16" y="41"/>
                    <a:pt x="16" y="41"/>
                  </a:cubicBezTo>
                  <a:cubicBezTo>
                    <a:pt x="16" y="41"/>
                    <a:pt x="15" y="42"/>
                    <a:pt x="15" y="43"/>
                  </a:cubicBezTo>
                  <a:cubicBezTo>
                    <a:pt x="15" y="45"/>
                    <a:pt x="15" y="45"/>
                    <a:pt x="15" y="45"/>
                  </a:cubicBezTo>
                  <a:cubicBezTo>
                    <a:pt x="15" y="46"/>
                    <a:pt x="16" y="47"/>
                    <a:pt x="16" y="47"/>
                  </a:cubicBezTo>
                  <a:cubicBezTo>
                    <a:pt x="45" y="47"/>
                    <a:pt x="45" y="47"/>
                    <a:pt x="45" y="47"/>
                  </a:cubicBezTo>
                  <a:cubicBezTo>
                    <a:pt x="45" y="47"/>
                    <a:pt x="46" y="46"/>
                    <a:pt x="46" y="45"/>
                  </a:cubicBezTo>
                  <a:lnTo>
                    <a:pt x="46" y="43"/>
                  </a:lnTo>
                  <a:close/>
                  <a:moveTo>
                    <a:pt x="46" y="53"/>
                  </a:moveTo>
                  <a:cubicBezTo>
                    <a:pt x="46" y="52"/>
                    <a:pt x="45" y="52"/>
                    <a:pt x="45" y="52"/>
                  </a:cubicBezTo>
                  <a:cubicBezTo>
                    <a:pt x="16" y="52"/>
                    <a:pt x="16" y="52"/>
                    <a:pt x="16" y="52"/>
                  </a:cubicBezTo>
                  <a:cubicBezTo>
                    <a:pt x="16" y="52"/>
                    <a:pt x="15" y="52"/>
                    <a:pt x="15" y="53"/>
                  </a:cubicBezTo>
                  <a:cubicBezTo>
                    <a:pt x="15" y="56"/>
                    <a:pt x="15" y="56"/>
                    <a:pt x="15" y="56"/>
                  </a:cubicBezTo>
                  <a:cubicBezTo>
                    <a:pt x="15" y="56"/>
                    <a:pt x="16" y="57"/>
                    <a:pt x="16" y="57"/>
                  </a:cubicBezTo>
                  <a:cubicBezTo>
                    <a:pt x="45" y="57"/>
                    <a:pt x="45" y="57"/>
                    <a:pt x="45" y="57"/>
                  </a:cubicBezTo>
                  <a:cubicBezTo>
                    <a:pt x="45" y="57"/>
                    <a:pt x="46" y="56"/>
                    <a:pt x="46" y="56"/>
                  </a:cubicBezTo>
                  <a:lnTo>
                    <a:pt x="46" y="53"/>
                  </a:lnTo>
                  <a:close/>
                  <a:moveTo>
                    <a:pt x="60" y="21"/>
                  </a:moveTo>
                  <a:cubicBezTo>
                    <a:pt x="41" y="21"/>
                    <a:pt x="41" y="21"/>
                    <a:pt x="41" y="21"/>
                  </a:cubicBezTo>
                  <a:cubicBezTo>
                    <a:pt x="41" y="2"/>
                    <a:pt x="41" y="2"/>
                    <a:pt x="41" y="2"/>
                  </a:cubicBezTo>
                  <a:cubicBezTo>
                    <a:pt x="41" y="2"/>
                    <a:pt x="42" y="3"/>
                    <a:pt x="42" y="3"/>
                  </a:cubicBezTo>
                  <a:cubicBezTo>
                    <a:pt x="59" y="19"/>
                    <a:pt x="59" y="19"/>
                    <a:pt x="59" y="19"/>
                  </a:cubicBezTo>
                  <a:cubicBezTo>
                    <a:pt x="59" y="20"/>
                    <a:pt x="59" y="20"/>
                    <a:pt x="60" y="21"/>
                  </a:cubicBezTo>
                  <a:close/>
                </a:path>
              </a:pathLst>
            </a:custGeom>
            <a:solidFill>
              <a:schemeClr val="bg1">
                <a:lumMod val="5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9"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48_84</a:t>
            </a:r>
            <a:endParaRPr lang="en-US" sz="100" dirty="0" err="1" smtClean="0">
              <a:solidFill>
                <a:srgbClr val="FFFFFF"/>
              </a:solidFill>
            </a:endParaRPr>
          </a:p>
        </p:txBody>
      </p:sp>
    </p:spTree>
    <p:extLst>
      <p:ext uri="{BB962C8B-B14F-4D97-AF65-F5344CB8AC3E}">
        <p14:creationId xmlns:p14="http://schemas.microsoft.com/office/powerpoint/2010/main" val="29945289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EXT &amp; IMAGE</a:t>
            </a:r>
            <a:endParaRPr lang="en-US" dirty="0"/>
          </a:p>
        </p:txBody>
      </p:sp>
      <p:sp>
        <p:nvSpPr>
          <p:cNvPr id="20" name="TextBox 19"/>
          <p:cNvSpPr txBox="1"/>
          <p:nvPr/>
        </p:nvSpPr>
        <p:spPr>
          <a:xfrm>
            <a:off x="6161683" y="1527873"/>
            <a:ext cx="5887244" cy="3691460"/>
          </a:xfrm>
          <a:prstGeom prst="rect">
            <a:avLst/>
          </a:prstGeom>
          <a:noFill/>
        </p:spPr>
        <p:txBody>
          <a:bodyPr wrap="square" rtlCol="0">
            <a:spAutoFit/>
          </a:bodyPr>
          <a:lstStyle/>
          <a:p>
            <a:pPr algn="just">
              <a:lnSpc>
                <a:spcPct val="120000"/>
              </a:lnSpc>
            </a:pPr>
            <a:r>
              <a:rPr lang="pt-BR" sz="1400" b="1" dirty="0">
                <a:latin typeface="Roboto Regular" pitchFamily="2" charset="0"/>
                <a:ea typeface="Roboto Regular" pitchFamily="2" charset="0"/>
                <a:cs typeface="Lato Regular"/>
              </a:rPr>
              <a:t>Lorem ipsum dolor </a:t>
            </a:r>
            <a:r>
              <a:rPr lang="pt-BR" sz="1400" dirty="0">
                <a:latin typeface="Roboto Regular" pitchFamily="2" charset="0"/>
                <a:ea typeface="Roboto Regular" pitchFamily="2" charset="0"/>
                <a:cs typeface="Calibri Light"/>
              </a:rPr>
              <a:t>sit amet, eos numquam accommodare et. In cibo graeco dicunt sea. Augue zril sapientem ne mei, ad suas voluptatibus eum. Tempor mediocrem imperdiet no usu, tractatos salutatus ut est. Eu vel detraxit laboramus. Cu nam unum liber audiam, sed an graeci prompta invenire, in gubergren percipitur scribentur nam. Sale omnis indoctum has ei, ne sed ludus tamquam urbanitas. Vis id illud iusto, id omnium percipitur duo. </a:t>
            </a:r>
          </a:p>
          <a:p>
            <a:pPr algn="just">
              <a:lnSpc>
                <a:spcPct val="120000"/>
              </a:lnSpc>
            </a:pPr>
            <a:endParaRPr lang="pt-BR" sz="1400" dirty="0">
              <a:latin typeface="Roboto Regular" pitchFamily="2" charset="0"/>
              <a:ea typeface="Roboto Regular" pitchFamily="2" charset="0"/>
              <a:cs typeface="Calibri Light"/>
            </a:endParaRPr>
          </a:p>
          <a:p>
            <a:pPr algn="just">
              <a:lnSpc>
                <a:spcPct val="120000"/>
              </a:lnSpc>
            </a:pPr>
            <a:r>
              <a:rPr lang="pt-BR" sz="1400" dirty="0">
                <a:latin typeface="Roboto Regular" pitchFamily="2" charset="0"/>
                <a:ea typeface="Roboto Regular" pitchFamily="2" charset="0"/>
                <a:cs typeface="Calibri Light"/>
              </a:rPr>
              <a:t>Ex habemus imperdiet maiestatis sit, ei utroque laoreet philosophia mea. Est movet omnium principes te, id suas mandamus patrioque est. Eu quo solet facete dignissim, et has iuvaret ullamcorper intellegebat, ex doming facilis urbanitas est. Quis ridens te pro, quo no appareat mnesarchum. Elitr latine per ne. Id mazim graecis usu, mollis posidonium ius ea, id tempor graecis mel. </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2361" y="1527873"/>
            <a:ext cx="4140201" cy="4167379"/>
          </a:xfrm>
          <a:prstGeom prst="rect">
            <a:avLst/>
          </a:prstGeom>
        </p:spPr>
      </p:pic>
      <p:sp>
        <p:nvSpPr>
          <p:cNvPr id="2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768776264"/>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ad map</a:t>
            </a:r>
            <a:endParaRPr lang="en-US" dirty="0"/>
          </a:p>
        </p:txBody>
      </p:sp>
      <p:grpSp>
        <p:nvGrpSpPr>
          <p:cNvPr id="50" name="Group 49"/>
          <p:cNvGrpSpPr/>
          <p:nvPr>
            <p:custDataLst>
              <p:tags r:id="rId1"/>
            </p:custDataLst>
          </p:nvPr>
        </p:nvGrpSpPr>
        <p:grpSpPr>
          <a:xfrm>
            <a:off x="1147636" y="1908311"/>
            <a:ext cx="10443613" cy="3729754"/>
            <a:chOff x="2675786" y="4006147"/>
            <a:chExt cx="18929980" cy="6760513"/>
          </a:xfrm>
        </p:grpSpPr>
        <p:grpSp>
          <p:nvGrpSpPr>
            <p:cNvPr id="3" name="Group 2"/>
            <p:cNvGrpSpPr/>
            <p:nvPr>
              <p:custDataLst>
                <p:tags r:id="rId2"/>
              </p:custDataLst>
            </p:nvPr>
          </p:nvGrpSpPr>
          <p:grpSpPr>
            <a:xfrm>
              <a:off x="13867138" y="4840932"/>
              <a:ext cx="1546697" cy="1547100"/>
              <a:chOff x="5222775" y="1833299"/>
              <a:chExt cx="618294" cy="618294"/>
            </a:xfrm>
          </p:grpSpPr>
          <p:sp>
            <p:nvSpPr>
              <p:cNvPr id="4" name="Oval 3"/>
              <p:cNvSpPr/>
              <p:nvPr/>
            </p:nvSpPr>
            <p:spPr>
              <a:xfrm>
                <a:off x="5222775" y="1833299"/>
                <a:ext cx="618294" cy="61829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20" tIns="45709" rIns="91420" bIns="45709" rtlCol="0" anchor="ctr"/>
              <a:lstStyle/>
              <a:p>
                <a:pPr algn="ctr"/>
                <a:endParaRPr lang="en-US" sz="1100" dirty="0">
                  <a:latin typeface="+mj-lt"/>
                </a:endParaRPr>
              </a:p>
            </p:txBody>
          </p:sp>
          <p:sp>
            <p:nvSpPr>
              <p:cNvPr id="5" name="TextBox 4"/>
              <p:cNvSpPr txBox="1"/>
              <p:nvPr/>
            </p:nvSpPr>
            <p:spPr>
              <a:xfrm>
                <a:off x="5283586" y="1856521"/>
                <a:ext cx="436880" cy="557364"/>
              </a:xfrm>
              <a:prstGeom prst="rect">
                <a:avLst/>
              </a:prstGeom>
              <a:noFill/>
            </p:spPr>
            <p:txBody>
              <a:bodyPr wrap="square" lIns="91420" tIns="45709" rIns="91420" bIns="45709" rtlCol="0">
                <a:spAutoFit/>
              </a:bodyPr>
              <a:lstStyle/>
              <a:p>
                <a:pPr algn="ctr"/>
                <a:r>
                  <a:rPr lang="tr-TR" sz="4400" dirty="0">
                    <a:solidFill>
                      <a:schemeClr val="bg1"/>
                    </a:solidFill>
                    <a:latin typeface="+mj-lt"/>
                    <a:cs typeface="Sosa Regular"/>
                  </a:rPr>
                  <a:t>Ý</a:t>
                </a:r>
                <a:endParaRPr lang="en-US" sz="4400" dirty="0">
                  <a:latin typeface="+mj-lt"/>
                </a:endParaRPr>
              </a:p>
            </p:txBody>
          </p:sp>
        </p:grpSp>
        <p:sp>
          <p:nvSpPr>
            <p:cNvPr id="6" name="Freeform 1"/>
            <p:cNvSpPr>
              <a:spLocks noChangeArrowheads="1"/>
            </p:cNvSpPr>
            <p:nvPr/>
          </p:nvSpPr>
          <p:spPr bwMode="auto">
            <a:xfrm rot="5400000">
              <a:off x="18475114" y="3765539"/>
              <a:ext cx="2752593" cy="3233810"/>
            </a:xfrm>
            <a:custGeom>
              <a:avLst/>
              <a:gdLst>
                <a:gd name="T0" fmla="*/ 1782 w 2658"/>
                <a:gd name="T1" fmla="*/ 0 h 2470"/>
                <a:gd name="T2" fmla="*/ 1782 w 2658"/>
                <a:gd name="T3" fmla="*/ 0 h 2470"/>
                <a:gd name="T4" fmla="*/ 1782 w 2658"/>
                <a:gd name="T5" fmla="*/ 438 h 2470"/>
                <a:gd name="T6" fmla="*/ 1469 w 2658"/>
                <a:gd name="T7" fmla="*/ 438 h 2470"/>
                <a:gd name="T8" fmla="*/ 375 w 2658"/>
                <a:gd name="T9" fmla="*/ 1219 h 2470"/>
                <a:gd name="T10" fmla="*/ 1469 w 2658"/>
                <a:gd name="T11" fmla="*/ 2032 h 2470"/>
                <a:gd name="T12" fmla="*/ 2188 w 2658"/>
                <a:gd name="T13" fmla="*/ 2032 h 2470"/>
                <a:gd name="T14" fmla="*/ 2188 w 2658"/>
                <a:gd name="T15" fmla="*/ 2469 h 2470"/>
                <a:gd name="T16" fmla="*/ 2657 w 2658"/>
                <a:gd name="T17" fmla="*/ 2469 h 2470"/>
                <a:gd name="T18" fmla="*/ 1500 w 2658"/>
                <a:gd name="T19" fmla="*/ 2469 h 2470"/>
                <a:gd name="T20" fmla="*/ 0 w 2658"/>
                <a:gd name="T21" fmla="*/ 1219 h 2470"/>
                <a:gd name="T22" fmla="*/ 1469 w 2658"/>
                <a:gd name="T23" fmla="*/ 0 h 2470"/>
                <a:gd name="T24" fmla="*/ 1782 w 2658"/>
                <a:gd name="T25" fmla="*/ 0 h 2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58" h="2470">
                  <a:moveTo>
                    <a:pt x="1782" y="0"/>
                  </a:moveTo>
                  <a:lnTo>
                    <a:pt x="1782" y="0"/>
                  </a:lnTo>
                  <a:cubicBezTo>
                    <a:pt x="1782" y="438"/>
                    <a:pt x="1782" y="438"/>
                    <a:pt x="1782" y="438"/>
                  </a:cubicBezTo>
                  <a:cubicBezTo>
                    <a:pt x="1469" y="438"/>
                    <a:pt x="1469" y="438"/>
                    <a:pt x="1469" y="438"/>
                  </a:cubicBezTo>
                  <a:cubicBezTo>
                    <a:pt x="688" y="438"/>
                    <a:pt x="375" y="781"/>
                    <a:pt x="375" y="1219"/>
                  </a:cubicBezTo>
                  <a:cubicBezTo>
                    <a:pt x="375" y="1719"/>
                    <a:pt x="719" y="2032"/>
                    <a:pt x="1469" y="2032"/>
                  </a:cubicBezTo>
                  <a:cubicBezTo>
                    <a:pt x="2188" y="2032"/>
                    <a:pt x="2188" y="2032"/>
                    <a:pt x="2188" y="2032"/>
                  </a:cubicBezTo>
                  <a:cubicBezTo>
                    <a:pt x="2188" y="2469"/>
                    <a:pt x="2188" y="2469"/>
                    <a:pt x="2188" y="2469"/>
                  </a:cubicBezTo>
                  <a:cubicBezTo>
                    <a:pt x="2657" y="2469"/>
                    <a:pt x="2657" y="2469"/>
                    <a:pt x="2657" y="2469"/>
                  </a:cubicBezTo>
                  <a:cubicBezTo>
                    <a:pt x="1500" y="2469"/>
                    <a:pt x="1500" y="2469"/>
                    <a:pt x="1500" y="2469"/>
                  </a:cubicBezTo>
                  <a:cubicBezTo>
                    <a:pt x="438" y="2469"/>
                    <a:pt x="0" y="1938"/>
                    <a:pt x="0" y="1219"/>
                  </a:cubicBezTo>
                  <a:cubicBezTo>
                    <a:pt x="0" y="532"/>
                    <a:pt x="407" y="0"/>
                    <a:pt x="1469" y="0"/>
                  </a:cubicBezTo>
                  <a:lnTo>
                    <a:pt x="1782" y="0"/>
                  </a:lnTo>
                </a:path>
              </a:pathLst>
            </a:custGeom>
            <a:solidFill>
              <a:schemeClr val="bg1">
                <a:lumMod val="85000"/>
              </a:schemeClr>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243785" tIns="121892" rIns="243785" bIns="121892" anchor="ctr"/>
            <a:lstStyle/>
            <a:p>
              <a:endParaRPr lang="en-US" sz="1100" dirty="0">
                <a:latin typeface="+mj-lt"/>
              </a:endParaRPr>
            </a:p>
          </p:txBody>
        </p:sp>
        <p:sp>
          <p:nvSpPr>
            <p:cNvPr id="7" name="Freeform 2"/>
            <p:cNvSpPr>
              <a:spLocks noChangeArrowheads="1"/>
            </p:cNvSpPr>
            <p:nvPr/>
          </p:nvSpPr>
          <p:spPr bwMode="auto">
            <a:xfrm rot="5400000">
              <a:off x="16083200" y="5810248"/>
              <a:ext cx="2264156" cy="3193388"/>
            </a:xfrm>
            <a:custGeom>
              <a:avLst/>
              <a:gdLst>
                <a:gd name="T0" fmla="*/ 750 w 2187"/>
                <a:gd name="T1" fmla="*/ 0 h 2438"/>
                <a:gd name="T2" fmla="*/ 750 w 2187"/>
                <a:gd name="T3" fmla="*/ 0 h 2438"/>
                <a:gd name="T4" fmla="*/ 2186 w 2187"/>
                <a:gd name="T5" fmla="*/ 1187 h 2438"/>
                <a:gd name="T6" fmla="*/ 719 w 2187"/>
                <a:gd name="T7" fmla="*/ 2437 h 2438"/>
                <a:gd name="T8" fmla="*/ 0 w 2187"/>
                <a:gd name="T9" fmla="*/ 2437 h 2438"/>
                <a:gd name="T10" fmla="*/ 469 w 2187"/>
                <a:gd name="T11" fmla="*/ 2437 h 2438"/>
                <a:gd name="T12" fmla="*/ 469 w 2187"/>
                <a:gd name="T13" fmla="*/ 2031 h 2438"/>
                <a:gd name="T14" fmla="*/ 750 w 2187"/>
                <a:gd name="T15" fmla="*/ 2031 h 2438"/>
                <a:gd name="T16" fmla="*/ 1843 w 2187"/>
                <a:gd name="T17" fmla="*/ 1218 h 2438"/>
                <a:gd name="T18" fmla="*/ 750 w 2187"/>
                <a:gd name="T19" fmla="*/ 437 h 2438"/>
                <a:gd name="T20" fmla="*/ 469 w 2187"/>
                <a:gd name="T21" fmla="*/ 437 h 2438"/>
                <a:gd name="T22" fmla="*/ 0 w 2187"/>
                <a:gd name="T23" fmla="*/ 437 h 2438"/>
                <a:gd name="T24" fmla="*/ 0 w 2187"/>
                <a:gd name="T25" fmla="*/ 0 h 2438"/>
                <a:gd name="T26" fmla="*/ 750 w 2187"/>
                <a:gd name="T27" fmla="*/ 0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87" h="2438">
                  <a:moveTo>
                    <a:pt x="750" y="0"/>
                  </a:moveTo>
                  <a:lnTo>
                    <a:pt x="750" y="0"/>
                  </a:lnTo>
                  <a:cubicBezTo>
                    <a:pt x="1780" y="0"/>
                    <a:pt x="2186" y="500"/>
                    <a:pt x="2186" y="1187"/>
                  </a:cubicBezTo>
                  <a:cubicBezTo>
                    <a:pt x="2186" y="1906"/>
                    <a:pt x="1749" y="2437"/>
                    <a:pt x="719" y="2437"/>
                  </a:cubicBezTo>
                  <a:cubicBezTo>
                    <a:pt x="0" y="2437"/>
                    <a:pt x="0" y="2437"/>
                    <a:pt x="0" y="2437"/>
                  </a:cubicBezTo>
                  <a:cubicBezTo>
                    <a:pt x="469" y="2437"/>
                    <a:pt x="469" y="2437"/>
                    <a:pt x="469" y="2437"/>
                  </a:cubicBezTo>
                  <a:cubicBezTo>
                    <a:pt x="469" y="2031"/>
                    <a:pt x="469" y="2031"/>
                    <a:pt x="469" y="2031"/>
                  </a:cubicBezTo>
                  <a:cubicBezTo>
                    <a:pt x="750" y="2031"/>
                    <a:pt x="750" y="2031"/>
                    <a:pt x="750" y="2031"/>
                  </a:cubicBezTo>
                  <a:cubicBezTo>
                    <a:pt x="1499" y="2031"/>
                    <a:pt x="1843" y="1687"/>
                    <a:pt x="1843" y="1218"/>
                  </a:cubicBezTo>
                  <a:cubicBezTo>
                    <a:pt x="1843" y="750"/>
                    <a:pt x="1499" y="437"/>
                    <a:pt x="750" y="437"/>
                  </a:cubicBezTo>
                  <a:cubicBezTo>
                    <a:pt x="469" y="437"/>
                    <a:pt x="469" y="437"/>
                    <a:pt x="469" y="437"/>
                  </a:cubicBezTo>
                  <a:cubicBezTo>
                    <a:pt x="0" y="437"/>
                    <a:pt x="0" y="437"/>
                    <a:pt x="0" y="437"/>
                  </a:cubicBezTo>
                  <a:cubicBezTo>
                    <a:pt x="0" y="0"/>
                    <a:pt x="0" y="0"/>
                    <a:pt x="0" y="0"/>
                  </a:cubicBezTo>
                  <a:lnTo>
                    <a:pt x="750" y="0"/>
                  </a:lnTo>
                </a:path>
              </a:pathLst>
            </a:custGeom>
            <a:solidFill>
              <a:schemeClr val="accent5"/>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243785" tIns="121892" rIns="243785" bIns="121892" anchor="ctr"/>
            <a:lstStyle/>
            <a:p>
              <a:endParaRPr lang="en-US" sz="1100" dirty="0">
                <a:latin typeface="+mj-lt"/>
              </a:endParaRPr>
            </a:p>
          </p:txBody>
        </p:sp>
        <p:sp>
          <p:nvSpPr>
            <p:cNvPr id="8" name="Freeform 3"/>
            <p:cNvSpPr>
              <a:spLocks noChangeArrowheads="1"/>
            </p:cNvSpPr>
            <p:nvPr/>
          </p:nvSpPr>
          <p:spPr bwMode="auto">
            <a:xfrm rot="5400000">
              <a:off x="12724946" y="4237669"/>
              <a:ext cx="3656426" cy="3193386"/>
            </a:xfrm>
            <a:custGeom>
              <a:avLst/>
              <a:gdLst>
                <a:gd name="T0" fmla="*/ 2657 w 3532"/>
                <a:gd name="T1" fmla="*/ 0 h 2437"/>
                <a:gd name="T2" fmla="*/ 2657 w 3532"/>
                <a:gd name="T3" fmla="*/ 0 h 2437"/>
                <a:gd name="T4" fmla="*/ 2657 w 3532"/>
                <a:gd name="T5" fmla="*/ 406 h 2437"/>
                <a:gd name="T6" fmla="*/ 2188 w 3532"/>
                <a:gd name="T7" fmla="*/ 406 h 2437"/>
                <a:gd name="T8" fmla="*/ 1469 w 3532"/>
                <a:gd name="T9" fmla="*/ 406 h 2437"/>
                <a:gd name="T10" fmla="*/ 375 w 3532"/>
                <a:gd name="T11" fmla="*/ 1187 h 2437"/>
                <a:gd name="T12" fmla="*/ 1469 w 3532"/>
                <a:gd name="T13" fmla="*/ 2000 h 2437"/>
                <a:gd name="T14" fmla="*/ 1750 w 3532"/>
                <a:gd name="T15" fmla="*/ 2000 h 2437"/>
                <a:gd name="T16" fmla="*/ 1750 w 3532"/>
                <a:gd name="T17" fmla="*/ 2436 h 2437"/>
                <a:gd name="T18" fmla="*/ 3531 w 3532"/>
                <a:gd name="T19" fmla="*/ 2436 h 2437"/>
                <a:gd name="T20" fmla="*/ 1500 w 3532"/>
                <a:gd name="T21" fmla="*/ 2436 h 2437"/>
                <a:gd name="T22" fmla="*/ 0 w 3532"/>
                <a:gd name="T23" fmla="*/ 1187 h 2437"/>
                <a:gd name="T24" fmla="*/ 1469 w 3532"/>
                <a:gd name="T25" fmla="*/ 0 h 2437"/>
                <a:gd name="T26" fmla="*/ 2657 w 3532"/>
                <a:gd name="T27" fmla="*/ 0 h 2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32" h="2437">
                  <a:moveTo>
                    <a:pt x="2657" y="0"/>
                  </a:moveTo>
                  <a:lnTo>
                    <a:pt x="2657" y="0"/>
                  </a:lnTo>
                  <a:cubicBezTo>
                    <a:pt x="2657" y="406"/>
                    <a:pt x="2657" y="406"/>
                    <a:pt x="2657" y="406"/>
                  </a:cubicBezTo>
                  <a:cubicBezTo>
                    <a:pt x="2188" y="406"/>
                    <a:pt x="2188" y="406"/>
                    <a:pt x="2188" y="406"/>
                  </a:cubicBezTo>
                  <a:cubicBezTo>
                    <a:pt x="1469" y="406"/>
                    <a:pt x="1469" y="406"/>
                    <a:pt x="1469" y="406"/>
                  </a:cubicBezTo>
                  <a:cubicBezTo>
                    <a:pt x="688" y="406"/>
                    <a:pt x="375" y="750"/>
                    <a:pt x="375" y="1187"/>
                  </a:cubicBezTo>
                  <a:cubicBezTo>
                    <a:pt x="375" y="1687"/>
                    <a:pt x="719" y="2000"/>
                    <a:pt x="1469" y="2000"/>
                  </a:cubicBezTo>
                  <a:cubicBezTo>
                    <a:pt x="1750" y="2000"/>
                    <a:pt x="1750" y="2000"/>
                    <a:pt x="1750" y="2000"/>
                  </a:cubicBezTo>
                  <a:cubicBezTo>
                    <a:pt x="1750" y="2436"/>
                    <a:pt x="1750" y="2436"/>
                    <a:pt x="1750" y="2436"/>
                  </a:cubicBezTo>
                  <a:cubicBezTo>
                    <a:pt x="3531" y="2436"/>
                    <a:pt x="3531" y="2436"/>
                    <a:pt x="3531" y="2436"/>
                  </a:cubicBezTo>
                  <a:cubicBezTo>
                    <a:pt x="1500" y="2436"/>
                    <a:pt x="1500" y="2436"/>
                    <a:pt x="1500" y="2436"/>
                  </a:cubicBezTo>
                  <a:cubicBezTo>
                    <a:pt x="438" y="2436"/>
                    <a:pt x="0" y="1906"/>
                    <a:pt x="0" y="1187"/>
                  </a:cubicBezTo>
                  <a:cubicBezTo>
                    <a:pt x="0" y="500"/>
                    <a:pt x="407" y="0"/>
                    <a:pt x="1469" y="0"/>
                  </a:cubicBezTo>
                  <a:lnTo>
                    <a:pt x="2657" y="0"/>
                  </a:lnTo>
                </a:path>
              </a:pathLst>
            </a:custGeom>
            <a:solidFill>
              <a:schemeClr val="accent4"/>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243785" tIns="121892" rIns="243785" bIns="121892" anchor="ctr"/>
            <a:lstStyle/>
            <a:p>
              <a:endParaRPr lang="en-US" sz="1100" dirty="0">
                <a:latin typeface="+mj-lt"/>
              </a:endParaRPr>
            </a:p>
          </p:txBody>
        </p:sp>
        <p:sp>
          <p:nvSpPr>
            <p:cNvPr id="9" name="Freeform 4"/>
            <p:cNvSpPr>
              <a:spLocks noChangeArrowheads="1"/>
            </p:cNvSpPr>
            <p:nvPr/>
          </p:nvSpPr>
          <p:spPr bwMode="auto">
            <a:xfrm rot="5400000">
              <a:off x="10099014" y="6013717"/>
              <a:ext cx="3624474" cy="3233810"/>
            </a:xfrm>
            <a:custGeom>
              <a:avLst/>
              <a:gdLst>
                <a:gd name="T0" fmla="*/ 2062 w 3500"/>
                <a:gd name="T1" fmla="*/ 0 h 2469"/>
                <a:gd name="T2" fmla="*/ 2062 w 3500"/>
                <a:gd name="T3" fmla="*/ 0 h 2469"/>
                <a:gd name="T4" fmla="*/ 3499 w 3500"/>
                <a:gd name="T5" fmla="*/ 1186 h 2469"/>
                <a:gd name="T6" fmla="*/ 2031 w 3500"/>
                <a:gd name="T7" fmla="*/ 2468 h 2469"/>
                <a:gd name="T8" fmla="*/ 0 w 3500"/>
                <a:gd name="T9" fmla="*/ 2468 h 2469"/>
                <a:gd name="T10" fmla="*/ 1781 w 3500"/>
                <a:gd name="T11" fmla="*/ 2468 h 2469"/>
                <a:gd name="T12" fmla="*/ 1781 w 3500"/>
                <a:gd name="T13" fmla="*/ 2030 h 2469"/>
                <a:gd name="T14" fmla="*/ 2062 w 3500"/>
                <a:gd name="T15" fmla="*/ 2030 h 2469"/>
                <a:gd name="T16" fmla="*/ 3156 w 3500"/>
                <a:gd name="T17" fmla="*/ 1218 h 2469"/>
                <a:gd name="T18" fmla="*/ 2062 w 3500"/>
                <a:gd name="T19" fmla="*/ 436 h 2469"/>
                <a:gd name="T20" fmla="*/ 1781 w 3500"/>
                <a:gd name="T21" fmla="*/ 436 h 2469"/>
                <a:gd name="T22" fmla="*/ 0 w 3500"/>
                <a:gd name="T23" fmla="*/ 436 h 2469"/>
                <a:gd name="T24" fmla="*/ 0 w 3500"/>
                <a:gd name="T25" fmla="*/ 0 h 2469"/>
                <a:gd name="T26" fmla="*/ 2062 w 3500"/>
                <a:gd name="T27" fmla="*/ 0 h 2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00" h="2469">
                  <a:moveTo>
                    <a:pt x="2062" y="0"/>
                  </a:moveTo>
                  <a:lnTo>
                    <a:pt x="2062" y="0"/>
                  </a:lnTo>
                  <a:cubicBezTo>
                    <a:pt x="3093" y="0"/>
                    <a:pt x="3499" y="530"/>
                    <a:pt x="3499" y="1186"/>
                  </a:cubicBezTo>
                  <a:cubicBezTo>
                    <a:pt x="3499" y="1905"/>
                    <a:pt x="3062" y="2468"/>
                    <a:pt x="2031" y="2468"/>
                  </a:cubicBezTo>
                  <a:cubicBezTo>
                    <a:pt x="0" y="2468"/>
                    <a:pt x="0" y="2468"/>
                    <a:pt x="0" y="2468"/>
                  </a:cubicBezTo>
                  <a:cubicBezTo>
                    <a:pt x="1781" y="2468"/>
                    <a:pt x="1781" y="2468"/>
                    <a:pt x="1781" y="2468"/>
                  </a:cubicBezTo>
                  <a:cubicBezTo>
                    <a:pt x="1781" y="2030"/>
                    <a:pt x="1781" y="2030"/>
                    <a:pt x="1781" y="2030"/>
                  </a:cubicBezTo>
                  <a:cubicBezTo>
                    <a:pt x="2062" y="2030"/>
                    <a:pt x="2062" y="2030"/>
                    <a:pt x="2062" y="2030"/>
                  </a:cubicBezTo>
                  <a:cubicBezTo>
                    <a:pt x="2812" y="2030"/>
                    <a:pt x="3156" y="1718"/>
                    <a:pt x="3156" y="1218"/>
                  </a:cubicBezTo>
                  <a:cubicBezTo>
                    <a:pt x="3156" y="780"/>
                    <a:pt x="2812" y="436"/>
                    <a:pt x="2062" y="436"/>
                  </a:cubicBezTo>
                  <a:cubicBezTo>
                    <a:pt x="1781" y="436"/>
                    <a:pt x="1781" y="436"/>
                    <a:pt x="1781" y="436"/>
                  </a:cubicBezTo>
                  <a:cubicBezTo>
                    <a:pt x="0" y="436"/>
                    <a:pt x="0" y="436"/>
                    <a:pt x="0" y="436"/>
                  </a:cubicBezTo>
                  <a:cubicBezTo>
                    <a:pt x="0" y="0"/>
                    <a:pt x="0" y="0"/>
                    <a:pt x="0" y="0"/>
                  </a:cubicBezTo>
                  <a:lnTo>
                    <a:pt x="2062" y="0"/>
                  </a:lnTo>
                </a:path>
              </a:pathLst>
            </a:custGeom>
            <a:solidFill>
              <a:schemeClr val="accent3"/>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243785" tIns="121892" rIns="243785" bIns="121892" anchor="ctr"/>
            <a:lstStyle/>
            <a:p>
              <a:endParaRPr lang="en-US" sz="1100" dirty="0">
                <a:latin typeface="+mj-lt"/>
              </a:endParaRPr>
            </a:p>
          </p:txBody>
        </p:sp>
        <p:sp>
          <p:nvSpPr>
            <p:cNvPr id="10" name="Freeform 5"/>
            <p:cNvSpPr>
              <a:spLocks noChangeArrowheads="1"/>
            </p:cNvSpPr>
            <p:nvPr/>
          </p:nvSpPr>
          <p:spPr bwMode="auto">
            <a:xfrm rot="5400000">
              <a:off x="6800984" y="4883595"/>
              <a:ext cx="4948276" cy="3193386"/>
            </a:xfrm>
            <a:custGeom>
              <a:avLst/>
              <a:gdLst>
                <a:gd name="T0" fmla="*/ 1750 w 4782"/>
                <a:gd name="T1" fmla="*/ 2438 h 2439"/>
                <a:gd name="T2" fmla="*/ 1750 w 4782"/>
                <a:gd name="T3" fmla="*/ 2438 h 2439"/>
                <a:gd name="T4" fmla="*/ 1750 w 4782"/>
                <a:gd name="T5" fmla="*/ 2000 h 2439"/>
                <a:gd name="T6" fmla="*/ 1469 w 4782"/>
                <a:gd name="T7" fmla="*/ 2000 h 2439"/>
                <a:gd name="T8" fmla="*/ 375 w 4782"/>
                <a:gd name="T9" fmla="*/ 1188 h 2439"/>
                <a:gd name="T10" fmla="*/ 1469 w 4782"/>
                <a:gd name="T11" fmla="*/ 438 h 2439"/>
                <a:gd name="T12" fmla="*/ 1750 w 4782"/>
                <a:gd name="T13" fmla="*/ 438 h 2439"/>
                <a:gd name="T14" fmla="*/ 3531 w 4782"/>
                <a:gd name="T15" fmla="*/ 438 h 2439"/>
                <a:gd name="T16" fmla="*/ 3531 w 4782"/>
                <a:gd name="T17" fmla="*/ 0 h 2439"/>
                <a:gd name="T18" fmla="*/ 1469 w 4782"/>
                <a:gd name="T19" fmla="*/ 0 h 2439"/>
                <a:gd name="T20" fmla="*/ 0 w 4782"/>
                <a:gd name="T21" fmla="*/ 1188 h 2439"/>
                <a:gd name="T22" fmla="*/ 1500 w 4782"/>
                <a:gd name="T23" fmla="*/ 2438 h 2439"/>
                <a:gd name="T24" fmla="*/ 4781 w 4782"/>
                <a:gd name="T25" fmla="*/ 2438 h 2439"/>
                <a:gd name="T26" fmla="*/ 1750 w 4782"/>
                <a:gd name="T27" fmla="*/ 2438 h 2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2" h="2439">
                  <a:moveTo>
                    <a:pt x="1750" y="2438"/>
                  </a:moveTo>
                  <a:lnTo>
                    <a:pt x="1750" y="2438"/>
                  </a:lnTo>
                  <a:cubicBezTo>
                    <a:pt x="1750" y="2000"/>
                    <a:pt x="1750" y="2000"/>
                    <a:pt x="1750" y="2000"/>
                  </a:cubicBezTo>
                  <a:cubicBezTo>
                    <a:pt x="1469" y="2000"/>
                    <a:pt x="1469" y="2000"/>
                    <a:pt x="1469" y="2000"/>
                  </a:cubicBezTo>
                  <a:cubicBezTo>
                    <a:pt x="719" y="2000"/>
                    <a:pt x="375" y="1688"/>
                    <a:pt x="375" y="1188"/>
                  </a:cubicBezTo>
                  <a:cubicBezTo>
                    <a:pt x="375" y="750"/>
                    <a:pt x="688" y="438"/>
                    <a:pt x="1469" y="438"/>
                  </a:cubicBezTo>
                  <a:cubicBezTo>
                    <a:pt x="1750" y="438"/>
                    <a:pt x="1750" y="438"/>
                    <a:pt x="1750" y="438"/>
                  </a:cubicBezTo>
                  <a:cubicBezTo>
                    <a:pt x="3531" y="438"/>
                    <a:pt x="3531" y="438"/>
                    <a:pt x="3531" y="438"/>
                  </a:cubicBezTo>
                  <a:cubicBezTo>
                    <a:pt x="3531" y="0"/>
                    <a:pt x="3531" y="0"/>
                    <a:pt x="3531" y="0"/>
                  </a:cubicBezTo>
                  <a:cubicBezTo>
                    <a:pt x="1469" y="0"/>
                    <a:pt x="1469" y="0"/>
                    <a:pt x="1469" y="0"/>
                  </a:cubicBezTo>
                  <a:cubicBezTo>
                    <a:pt x="407" y="0"/>
                    <a:pt x="0" y="500"/>
                    <a:pt x="0" y="1188"/>
                  </a:cubicBezTo>
                  <a:cubicBezTo>
                    <a:pt x="0" y="1906"/>
                    <a:pt x="438" y="2438"/>
                    <a:pt x="1500" y="2438"/>
                  </a:cubicBezTo>
                  <a:cubicBezTo>
                    <a:pt x="4781" y="2438"/>
                    <a:pt x="4781" y="2438"/>
                    <a:pt x="4781" y="2438"/>
                  </a:cubicBezTo>
                  <a:lnTo>
                    <a:pt x="1750" y="2438"/>
                  </a:lnTo>
                </a:path>
              </a:pathLst>
            </a:custGeom>
            <a:solidFill>
              <a:srgbClr val="0070C0"/>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243785" tIns="121892" rIns="243785" bIns="121892" anchor="ctr"/>
            <a:lstStyle/>
            <a:p>
              <a:endParaRPr lang="en-US" sz="1100" dirty="0">
                <a:latin typeface="+mj-lt"/>
              </a:endParaRPr>
            </a:p>
          </p:txBody>
        </p:sp>
        <p:sp>
          <p:nvSpPr>
            <p:cNvPr id="11" name="Freeform 6"/>
            <p:cNvSpPr>
              <a:spLocks noChangeArrowheads="1"/>
            </p:cNvSpPr>
            <p:nvPr/>
          </p:nvSpPr>
          <p:spPr bwMode="auto">
            <a:xfrm rot="5400000">
              <a:off x="3258731" y="5769499"/>
              <a:ext cx="6760512" cy="3233810"/>
            </a:xfrm>
            <a:custGeom>
              <a:avLst/>
              <a:gdLst>
                <a:gd name="T0" fmla="*/ 5062 w 6532"/>
                <a:gd name="T1" fmla="*/ 0 h 2470"/>
                <a:gd name="T2" fmla="*/ 5062 w 6532"/>
                <a:gd name="T3" fmla="*/ 0 h 2470"/>
                <a:gd name="T4" fmla="*/ 6531 w 6532"/>
                <a:gd name="T5" fmla="*/ 1219 h 2470"/>
                <a:gd name="T6" fmla="*/ 5062 w 6532"/>
                <a:gd name="T7" fmla="*/ 2469 h 2470"/>
                <a:gd name="T8" fmla="*/ 0 w 6532"/>
                <a:gd name="T9" fmla="*/ 2469 h 2470"/>
                <a:gd name="T10" fmla="*/ 0 w 6532"/>
                <a:gd name="T11" fmla="*/ 2031 h 2470"/>
                <a:gd name="T12" fmla="*/ 5062 w 6532"/>
                <a:gd name="T13" fmla="*/ 2031 h 2470"/>
                <a:gd name="T14" fmla="*/ 6156 w 6532"/>
                <a:gd name="T15" fmla="*/ 1219 h 2470"/>
                <a:gd name="T16" fmla="*/ 5062 w 6532"/>
                <a:gd name="T17" fmla="*/ 438 h 2470"/>
                <a:gd name="T18" fmla="*/ 4781 w 6532"/>
                <a:gd name="T19" fmla="*/ 438 h 2470"/>
                <a:gd name="T20" fmla="*/ 1750 w 6532"/>
                <a:gd name="T21" fmla="*/ 438 h 2470"/>
                <a:gd name="T22" fmla="*/ 1750 w 6532"/>
                <a:gd name="T23" fmla="*/ 0 h 2470"/>
                <a:gd name="T24" fmla="*/ 5062 w 6532"/>
                <a:gd name="T25" fmla="*/ 0 h 2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32" h="2470">
                  <a:moveTo>
                    <a:pt x="5062" y="0"/>
                  </a:moveTo>
                  <a:lnTo>
                    <a:pt x="5062" y="0"/>
                  </a:lnTo>
                  <a:cubicBezTo>
                    <a:pt x="6124" y="0"/>
                    <a:pt x="6531" y="531"/>
                    <a:pt x="6531" y="1219"/>
                  </a:cubicBezTo>
                  <a:cubicBezTo>
                    <a:pt x="6531" y="1937"/>
                    <a:pt x="6093" y="2469"/>
                    <a:pt x="5062" y="2469"/>
                  </a:cubicBezTo>
                  <a:cubicBezTo>
                    <a:pt x="0" y="2469"/>
                    <a:pt x="0" y="2469"/>
                    <a:pt x="0" y="2469"/>
                  </a:cubicBezTo>
                  <a:cubicBezTo>
                    <a:pt x="0" y="2031"/>
                    <a:pt x="0" y="2031"/>
                    <a:pt x="0" y="2031"/>
                  </a:cubicBezTo>
                  <a:cubicBezTo>
                    <a:pt x="5062" y="2031"/>
                    <a:pt x="5062" y="2031"/>
                    <a:pt x="5062" y="2031"/>
                  </a:cubicBezTo>
                  <a:cubicBezTo>
                    <a:pt x="5843" y="2031"/>
                    <a:pt x="6156" y="1719"/>
                    <a:pt x="6156" y="1219"/>
                  </a:cubicBezTo>
                  <a:cubicBezTo>
                    <a:pt x="6156" y="781"/>
                    <a:pt x="5843" y="438"/>
                    <a:pt x="5062" y="438"/>
                  </a:cubicBezTo>
                  <a:cubicBezTo>
                    <a:pt x="4781" y="438"/>
                    <a:pt x="4781" y="438"/>
                    <a:pt x="4781" y="438"/>
                  </a:cubicBezTo>
                  <a:cubicBezTo>
                    <a:pt x="1750" y="438"/>
                    <a:pt x="1750" y="438"/>
                    <a:pt x="1750" y="438"/>
                  </a:cubicBezTo>
                  <a:cubicBezTo>
                    <a:pt x="1750" y="0"/>
                    <a:pt x="1750" y="0"/>
                    <a:pt x="1750" y="0"/>
                  </a:cubicBezTo>
                  <a:lnTo>
                    <a:pt x="5062" y="0"/>
                  </a:ln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lIns="243785" tIns="121892" rIns="243785" bIns="121892" anchor="ctr"/>
            <a:lstStyle/>
            <a:p>
              <a:endParaRPr lang="en-US" sz="1100" dirty="0">
                <a:latin typeface="+mj-lt"/>
              </a:endParaRPr>
            </a:p>
          </p:txBody>
        </p:sp>
        <p:sp>
          <p:nvSpPr>
            <p:cNvPr id="12" name="Oval 11"/>
            <p:cNvSpPr/>
            <p:nvPr/>
          </p:nvSpPr>
          <p:spPr>
            <a:xfrm>
              <a:off x="5948203" y="8426608"/>
              <a:ext cx="1546697" cy="1547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82803" tIns="91400" rIns="182803" bIns="91400" rtlCol="0" anchor="ctr"/>
            <a:lstStyle/>
            <a:p>
              <a:pPr algn="ctr"/>
              <a:endParaRPr lang="en-US" sz="1100" dirty="0">
                <a:latin typeface="+mj-lt"/>
              </a:endParaRPr>
            </a:p>
          </p:txBody>
        </p:sp>
        <p:sp>
          <p:nvSpPr>
            <p:cNvPr id="13" name="Oval 12"/>
            <p:cNvSpPr/>
            <p:nvPr/>
          </p:nvSpPr>
          <p:spPr>
            <a:xfrm>
              <a:off x="8591446" y="4840932"/>
              <a:ext cx="1546697" cy="1547100"/>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182803" tIns="91400" rIns="182803" bIns="91400" rtlCol="0" anchor="ctr"/>
            <a:lstStyle/>
            <a:p>
              <a:pPr algn="ctr"/>
              <a:endParaRPr lang="en-US" sz="1100" dirty="0">
                <a:latin typeface="+mj-lt"/>
              </a:endParaRPr>
            </a:p>
          </p:txBody>
        </p:sp>
        <p:sp>
          <p:nvSpPr>
            <p:cNvPr id="14" name="Oval 13"/>
            <p:cNvSpPr/>
            <p:nvPr/>
          </p:nvSpPr>
          <p:spPr>
            <a:xfrm>
              <a:off x="11231968" y="7254900"/>
              <a:ext cx="1546697" cy="15471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82803" tIns="91400" rIns="182803" bIns="91400" rtlCol="0" anchor="ctr"/>
            <a:lstStyle/>
            <a:p>
              <a:pPr algn="ctr"/>
              <a:endParaRPr lang="en-US" sz="1100" dirty="0">
                <a:latin typeface="+mj-lt"/>
              </a:endParaRPr>
            </a:p>
          </p:txBody>
        </p:sp>
        <p:sp>
          <p:nvSpPr>
            <p:cNvPr id="15" name="Oval 14"/>
            <p:cNvSpPr/>
            <p:nvPr/>
          </p:nvSpPr>
          <p:spPr>
            <a:xfrm>
              <a:off x="19153631" y="4840932"/>
              <a:ext cx="1546697" cy="1547100"/>
            </a:xfrm>
            <a:prstGeom prst="ellips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lIns="182803" tIns="91400" rIns="182803" bIns="91400" rtlCol="0" anchor="ctr"/>
            <a:lstStyle/>
            <a:p>
              <a:pPr algn="ctr"/>
              <a:endParaRPr lang="en-US" sz="1100" dirty="0">
                <a:latin typeface="+mj-lt"/>
              </a:endParaRPr>
            </a:p>
          </p:txBody>
        </p:sp>
        <p:sp>
          <p:nvSpPr>
            <p:cNvPr id="16" name="Oval 15"/>
            <p:cNvSpPr/>
            <p:nvPr/>
          </p:nvSpPr>
          <p:spPr>
            <a:xfrm>
              <a:off x="16550359" y="6369206"/>
              <a:ext cx="1546697" cy="15471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82803" tIns="91400" rIns="182803" bIns="91400" rtlCol="0" anchor="ctr"/>
            <a:lstStyle/>
            <a:p>
              <a:pPr algn="ctr"/>
              <a:endParaRPr lang="en-US" sz="1100" dirty="0">
                <a:latin typeface="+mj-lt"/>
              </a:endParaRPr>
            </a:p>
          </p:txBody>
        </p:sp>
        <p:sp>
          <p:nvSpPr>
            <p:cNvPr id="17" name="Oval 16"/>
            <p:cNvSpPr/>
            <p:nvPr/>
          </p:nvSpPr>
          <p:spPr>
            <a:xfrm>
              <a:off x="3279542" y="4068864"/>
              <a:ext cx="1546697" cy="15471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82803" tIns="91400" rIns="182803" bIns="91400" rtlCol="0" anchor="ctr"/>
            <a:lstStyle/>
            <a:p>
              <a:pPr algn="ctr"/>
              <a:endParaRPr lang="en-US" sz="1100" dirty="0">
                <a:latin typeface="+mj-lt"/>
              </a:endParaRPr>
            </a:p>
          </p:txBody>
        </p:sp>
        <p:sp>
          <p:nvSpPr>
            <p:cNvPr id="18" name="TextBox 17"/>
            <p:cNvSpPr txBox="1"/>
            <p:nvPr/>
          </p:nvSpPr>
          <p:spPr>
            <a:xfrm>
              <a:off x="2675786" y="5698227"/>
              <a:ext cx="2730082" cy="948178"/>
            </a:xfrm>
            <a:prstGeom prst="rect">
              <a:avLst/>
            </a:prstGeom>
            <a:noFill/>
          </p:spPr>
          <p:txBody>
            <a:bodyPr vert="horz" wrap="square" lIns="243731" tIns="121864" rIns="243731" bIns="121864" rtlCol="0">
              <a:spAutoFit/>
            </a:bodyPr>
            <a:lstStyle/>
            <a:p>
              <a:pPr algn="ctr"/>
              <a:r>
                <a:rPr lang="en-US" dirty="0">
                  <a:latin typeface="+mj-lt"/>
                  <a:cs typeface="Lato Regular"/>
                </a:rPr>
                <a:t>START</a:t>
              </a:r>
            </a:p>
          </p:txBody>
        </p:sp>
        <p:sp>
          <p:nvSpPr>
            <p:cNvPr id="19" name="TextBox 18"/>
            <p:cNvSpPr txBox="1"/>
            <p:nvPr/>
          </p:nvSpPr>
          <p:spPr>
            <a:xfrm>
              <a:off x="5154034" y="7614462"/>
              <a:ext cx="3049883" cy="892390"/>
            </a:xfrm>
            <a:prstGeom prst="rect">
              <a:avLst/>
            </a:prstGeom>
            <a:noFill/>
          </p:spPr>
          <p:txBody>
            <a:bodyPr vert="horz" wrap="square" lIns="243731" tIns="121864" rIns="243731" bIns="121864" rtlCol="0">
              <a:spAutoFit/>
            </a:bodyPr>
            <a:lstStyle/>
            <a:p>
              <a:pPr algn="ctr"/>
              <a:r>
                <a:rPr lang="en-US" sz="1600" dirty="0">
                  <a:latin typeface="+mj-lt"/>
                  <a:cs typeface="Lato Regular"/>
                </a:rPr>
                <a:t>RESEARCH</a:t>
              </a:r>
            </a:p>
          </p:txBody>
        </p:sp>
        <p:sp>
          <p:nvSpPr>
            <p:cNvPr id="20" name="TextBox 19"/>
            <p:cNvSpPr txBox="1"/>
            <p:nvPr/>
          </p:nvSpPr>
          <p:spPr>
            <a:xfrm>
              <a:off x="10592965" y="6522321"/>
              <a:ext cx="2601457" cy="892390"/>
            </a:xfrm>
            <a:prstGeom prst="rect">
              <a:avLst/>
            </a:prstGeom>
            <a:noFill/>
          </p:spPr>
          <p:txBody>
            <a:bodyPr vert="horz" wrap="square" lIns="243731" tIns="121864" rIns="243731" bIns="121864" rtlCol="0">
              <a:spAutoFit/>
            </a:bodyPr>
            <a:lstStyle/>
            <a:p>
              <a:pPr algn="ctr"/>
              <a:r>
                <a:rPr lang="en-US" sz="1600" dirty="0">
                  <a:latin typeface="+mj-lt"/>
                  <a:cs typeface="Lato Regular"/>
                </a:rPr>
                <a:t>DEVELOP</a:t>
              </a:r>
            </a:p>
          </p:txBody>
        </p:sp>
        <p:sp>
          <p:nvSpPr>
            <p:cNvPr id="21" name="TextBox 20"/>
            <p:cNvSpPr txBox="1"/>
            <p:nvPr/>
          </p:nvSpPr>
          <p:spPr>
            <a:xfrm>
              <a:off x="8021793" y="6522319"/>
              <a:ext cx="2517264" cy="892390"/>
            </a:xfrm>
            <a:prstGeom prst="rect">
              <a:avLst/>
            </a:prstGeom>
            <a:noFill/>
          </p:spPr>
          <p:txBody>
            <a:bodyPr vert="horz" wrap="square" lIns="243731" tIns="121864" rIns="243731" bIns="121864" rtlCol="0">
              <a:spAutoFit/>
            </a:bodyPr>
            <a:lstStyle/>
            <a:p>
              <a:pPr algn="ctr"/>
              <a:r>
                <a:rPr lang="en-US" sz="1600" dirty="0">
                  <a:latin typeface="+mj-lt"/>
                  <a:cs typeface="Lato Regular"/>
                </a:rPr>
                <a:t>DESIGN</a:t>
              </a:r>
            </a:p>
          </p:txBody>
        </p:sp>
        <p:sp>
          <p:nvSpPr>
            <p:cNvPr id="22" name="TextBox 21"/>
            <p:cNvSpPr txBox="1"/>
            <p:nvPr/>
          </p:nvSpPr>
          <p:spPr>
            <a:xfrm>
              <a:off x="13248329" y="6517020"/>
              <a:ext cx="2587110" cy="892390"/>
            </a:xfrm>
            <a:prstGeom prst="rect">
              <a:avLst/>
            </a:prstGeom>
            <a:noFill/>
          </p:spPr>
          <p:txBody>
            <a:bodyPr vert="horz" wrap="square" lIns="243731" tIns="121864" rIns="243731" bIns="121864" rtlCol="0">
              <a:spAutoFit/>
            </a:bodyPr>
            <a:lstStyle/>
            <a:p>
              <a:pPr algn="ctr"/>
              <a:r>
                <a:rPr lang="en-US" sz="1600" dirty="0">
                  <a:latin typeface="+mj-lt"/>
                  <a:cs typeface="Lato Regular"/>
                </a:rPr>
                <a:t>TEAM</a:t>
              </a:r>
            </a:p>
          </p:txBody>
        </p:sp>
        <p:sp>
          <p:nvSpPr>
            <p:cNvPr id="23" name="TextBox 22"/>
            <p:cNvSpPr txBox="1"/>
            <p:nvPr/>
          </p:nvSpPr>
          <p:spPr>
            <a:xfrm>
              <a:off x="15862541" y="5581965"/>
              <a:ext cx="2639465" cy="892390"/>
            </a:xfrm>
            <a:prstGeom prst="rect">
              <a:avLst/>
            </a:prstGeom>
            <a:noFill/>
          </p:spPr>
          <p:txBody>
            <a:bodyPr vert="horz" wrap="square" lIns="243731" tIns="121864" rIns="243731" bIns="121864" rtlCol="0">
              <a:spAutoFit/>
            </a:bodyPr>
            <a:lstStyle/>
            <a:p>
              <a:pPr algn="ctr"/>
              <a:r>
                <a:rPr lang="en-US" sz="1600" dirty="0">
                  <a:latin typeface="+mj-lt"/>
                  <a:cs typeface="Lato Regular"/>
                </a:rPr>
                <a:t>TIME</a:t>
              </a:r>
            </a:p>
          </p:txBody>
        </p:sp>
        <p:sp>
          <p:nvSpPr>
            <p:cNvPr id="24" name="TextBox 23"/>
            <p:cNvSpPr txBox="1"/>
            <p:nvPr/>
          </p:nvSpPr>
          <p:spPr>
            <a:xfrm>
              <a:off x="18502008" y="6606786"/>
              <a:ext cx="3103758" cy="948178"/>
            </a:xfrm>
            <a:prstGeom prst="rect">
              <a:avLst/>
            </a:prstGeom>
            <a:noFill/>
          </p:spPr>
          <p:txBody>
            <a:bodyPr vert="horz" wrap="square" lIns="243731" tIns="121864" rIns="243731" bIns="121864" rtlCol="0">
              <a:spAutoFit/>
            </a:bodyPr>
            <a:lstStyle/>
            <a:p>
              <a:pPr algn="ctr"/>
              <a:r>
                <a:rPr lang="en-US" dirty="0">
                  <a:latin typeface="+mj-lt"/>
                  <a:cs typeface="Lato Regular"/>
                </a:rPr>
                <a:t>END</a:t>
              </a:r>
            </a:p>
          </p:txBody>
        </p:sp>
        <p:sp>
          <p:nvSpPr>
            <p:cNvPr id="25" name="AutoShape 82"/>
            <p:cNvSpPr>
              <a:spLocks/>
            </p:cNvSpPr>
            <p:nvPr/>
          </p:nvSpPr>
          <p:spPr bwMode="auto">
            <a:xfrm>
              <a:off x="14341156" y="5320794"/>
              <a:ext cx="588231" cy="58838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3767" y="5419"/>
                  </a:moveTo>
                  <a:cubicBezTo>
                    <a:pt x="4051" y="5419"/>
                    <a:pt x="4271" y="5505"/>
                    <a:pt x="4428" y="5687"/>
                  </a:cubicBezTo>
                  <a:cubicBezTo>
                    <a:pt x="4586" y="5865"/>
                    <a:pt x="4701" y="6078"/>
                    <a:pt x="4766" y="6326"/>
                  </a:cubicBezTo>
                  <a:cubicBezTo>
                    <a:pt x="4835" y="6574"/>
                    <a:pt x="4879" y="6836"/>
                    <a:pt x="4893" y="7106"/>
                  </a:cubicBezTo>
                  <a:cubicBezTo>
                    <a:pt x="4910" y="7377"/>
                    <a:pt x="4917" y="7596"/>
                    <a:pt x="4917" y="7760"/>
                  </a:cubicBezTo>
                  <a:lnTo>
                    <a:pt x="4917" y="9856"/>
                  </a:lnTo>
                  <a:cubicBezTo>
                    <a:pt x="4809" y="9928"/>
                    <a:pt x="4720" y="10015"/>
                    <a:pt x="4646" y="10110"/>
                  </a:cubicBezTo>
                  <a:cubicBezTo>
                    <a:pt x="4574" y="10208"/>
                    <a:pt x="4468" y="10257"/>
                    <a:pt x="4329" y="10257"/>
                  </a:cubicBezTo>
                  <a:lnTo>
                    <a:pt x="561" y="10257"/>
                  </a:lnTo>
                  <a:cubicBezTo>
                    <a:pt x="439" y="10257"/>
                    <a:pt x="338" y="10208"/>
                    <a:pt x="256" y="10110"/>
                  </a:cubicBezTo>
                  <a:cubicBezTo>
                    <a:pt x="177" y="10015"/>
                    <a:pt x="93" y="9928"/>
                    <a:pt x="0" y="9856"/>
                  </a:cubicBezTo>
                  <a:lnTo>
                    <a:pt x="0" y="7760"/>
                  </a:lnTo>
                  <a:cubicBezTo>
                    <a:pt x="0" y="7596"/>
                    <a:pt x="4" y="7377"/>
                    <a:pt x="12" y="7106"/>
                  </a:cubicBezTo>
                  <a:cubicBezTo>
                    <a:pt x="19" y="6836"/>
                    <a:pt x="57" y="6574"/>
                    <a:pt x="124" y="6326"/>
                  </a:cubicBezTo>
                  <a:cubicBezTo>
                    <a:pt x="196" y="6078"/>
                    <a:pt x="309" y="5865"/>
                    <a:pt x="465" y="5687"/>
                  </a:cubicBezTo>
                  <a:cubicBezTo>
                    <a:pt x="624" y="5508"/>
                    <a:pt x="842" y="5419"/>
                    <a:pt x="1123" y="5419"/>
                  </a:cubicBezTo>
                  <a:cubicBezTo>
                    <a:pt x="782" y="5151"/>
                    <a:pt x="508" y="4803"/>
                    <a:pt x="304" y="4377"/>
                  </a:cubicBezTo>
                  <a:cubicBezTo>
                    <a:pt x="103" y="3950"/>
                    <a:pt x="0" y="3469"/>
                    <a:pt x="0" y="2937"/>
                  </a:cubicBezTo>
                  <a:cubicBezTo>
                    <a:pt x="0" y="2539"/>
                    <a:pt x="64" y="2162"/>
                    <a:pt x="189" y="1805"/>
                  </a:cubicBezTo>
                  <a:cubicBezTo>
                    <a:pt x="316" y="1448"/>
                    <a:pt x="491" y="1134"/>
                    <a:pt x="717" y="861"/>
                  </a:cubicBezTo>
                  <a:cubicBezTo>
                    <a:pt x="943" y="590"/>
                    <a:pt x="1207" y="380"/>
                    <a:pt x="1504" y="227"/>
                  </a:cubicBezTo>
                  <a:cubicBezTo>
                    <a:pt x="1804" y="77"/>
                    <a:pt x="2119" y="0"/>
                    <a:pt x="2445" y="0"/>
                  </a:cubicBezTo>
                  <a:cubicBezTo>
                    <a:pt x="2793" y="0"/>
                    <a:pt x="3115" y="77"/>
                    <a:pt x="3412" y="227"/>
                  </a:cubicBezTo>
                  <a:cubicBezTo>
                    <a:pt x="3712" y="380"/>
                    <a:pt x="3969" y="590"/>
                    <a:pt x="4188" y="861"/>
                  </a:cubicBezTo>
                  <a:cubicBezTo>
                    <a:pt x="4406" y="1134"/>
                    <a:pt x="4584" y="1448"/>
                    <a:pt x="4716" y="1805"/>
                  </a:cubicBezTo>
                  <a:cubicBezTo>
                    <a:pt x="4850" y="2162"/>
                    <a:pt x="4917" y="2539"/>
                    <a:pt x="4917" y="2937"/>
                  </a:cubicBezTo>
                  <a:cubicBezTo>
                    <a:pt x="4917" y="3458"/>
                    <a:pt x="4814" y="3939"/>
                    <a:pt x="4603" y="4371"/>
                  </a:cubicBezTo>
                  <a:cubicBezTo>
                    <a:pt x="4392" y="4800"/>
                    <a:pt x="4115" y="5151"/>
                    <a:pt x="3767" y="5419"/>
                  </a:cubicBezTo>
                  <a:moveTo>
                    <a:pt x="18165" y="12062"/>
                  </a:moveTo>
                  <a:cubicBezTo>
                    <a:pt x="18672" y="12604"/>
                    <a:pt x="19070" y="13142"/>
                    <a:pt x="19356" y="13669"/>
                  </a:cubicBezTo>
                  <a:cubicBezTo>
                    <a:pt x="19641" y="14196"/>
                    <a:pt x="19788" y="14801"/>
                    <a:pt x="19788" y="15480"/>
                  </a:cubicBezTo>
                  <a:lnTo>
                    <a:pt x="19788" y="20816"/>
                  </a:lnTo>
                  <a:cubicBezTo>
                    <a:pt x="19694" y="20868"/>
                    <a:pt x="19620" y="20931"/>
                    <a:pt x="19557" y="20995"/>
                  </a:cubicBezTo>
                  <a:cubicBezTo>
                    <a:pt x="19497" y="21061"/>
                    <a:pt x="19425" y="21122"/>
                    <a:pt x="19344" y="21191"/>
                  </a:cubicBezTo>
                  <a:cubicBezTo>
                    <a:pt x="19262" y="21251"/>
                    <a:pt x="19173" y="21317"/>
                    <a:pt x="19075" y="21386"/>
                  </a:cubicBezTo>
                  <a:cubicBezTo>
                    <a:pt x="18976" y="21455"/>
                    <a:pt x="18835" y="21528"/>
                    <a:pt x="18662" y="21599"/>
                  </a:cubicBezTo>
                  <a:lnTo>
                    <a:pt x="2942" y="21599"/>
                  </a:lnTo>
                  <a:cubicBezTo>
                    <a:pt x="2675" y="21599"/>
                    <a:pt x="2467" y="21499"/>
                    <a:pt x="2318" y="21291"/>
                  </a:cubicBezTo>
                  <a:cubicBezTo>
                    <a:pt x="2167" y="21081"/>
                    <a:pt x="2003" y="20926"/>
                    <a:pt x="1819" y="20816"/>
                  </a:cubicBezTo>
                  <a:lnTo>
                    <a:pt x="1819" y="15480"/>
                  </a:lnTo>
                  <a:cubicBezTo>
                    <a:pt x="1819" y="14763"/>
                    <a:pt x="1989" y="14127"/>
                    <a:pt x="2335" y="13571"/>
                  </a:cubicBezTo>
                  <a:cubicBezTo>
                    <a:pt x="2678" y="13018"/>
                    <a:pt x="3052" y="12511"/>
                    <a:pt x="3460" y="12062"/>
                  </a:cubicBezTo>
                  <a:cubicBezTo>
                    <a:pt x="3535" y="11970"/>
                    <a:pt x="3633" y="11869"/>
                    <a:pt x="3753" y="11766"/>
                  </a:cubicBezTo>
                  <a:cubicBezTo>
                    <a:pt x="3873" y="11659"/>
                    <a:pt x="4000" y="11590"/>
                    <a:pt x="4137" y="11553"/>
                  </a:cubicBezTo>
                  <a:cubicBezTo>
                    <a:pt x="4276" y="11495"/>
                    <a:pt x="4432" y="11466"/>
                    <a:pt x="4610" y="11455"/>
                  </a:cubicBezTo>
                  <a:cubicBezTo>
                    <a:pt x="4785" y="11446"/>
                    <a:pt x="4956" y="11423"/>
                    <a:pt x="5126" y="11388"/>
                  </a:cubicBezTo>
                  <a:cubicBezTo>
                    <a:pt x="5594" y="11299"/>
                    <a:pt x="6091" y="11210"/>
                    <a:pt x="6621" y="11121"/>
                  </a:cubicBezTo>
                  <a:cubicBezTo>
                    <a:pt x="7149" y="11034"/>
                    <a:pt x="7665" y="10945"/>
                    <a:pt x="8172" y="10853"/>
                  </a:cubicBezTo>
                  <a:cubicBezTo>
                    <a:pt x="7483" y="10326"/>
                    <a:pt x="6928" y="9632"/>
                    <a:pt x="6513" y="8762"/>
                  </a:cubicBezTo>
                  <a:cubicBezTo>
                    <a:pt x="6093" y="7896"/>
                    <a:pt x="5884" y="6940"/>
                    <a:pt x="5884" y="5903"/>
                  </a:cubicBezTo>
                  <a:cubicBezTo>
                    <a:pt x="5884" y="5097"/>
                    <a:pt x="6016" y="4331"/>
                    <a:pt x="6275" y="3608"/>
                  </a:cubicBezTo>
                  <a:cubicBezTo>
                    <a:pt x="6535" y="2885"/>
                    <a:pt x="6887" y="2260"/>
                    <a:pt x="7331" y="1733"/>
                  </a:cubicBezTo>
                  <a:cubicBezTo>
                    <a:pt x="7778" y="1203"/>
                    <a:pt x="8299" y="786"/>
                    <a:pt x="8894" y="472"/>
                  </a:cubicBezTo>
                  <a:cubicBezTo>
                    <a:pt x="9494" y="158"/>
                    <a:pt x="10125" y="3"/>
                    <a:pt x="10802" y="3"/>
                  </a:cubicBezTo>
                  <a:cubicBezTo>
                    <a:pt x="11476" y="3"/>
                    <a:pt x="12112" y="158"/>
                    <a:pt x="12710" y="472"/>
                  </a:cubicBezTo>
                  <a:cubicBezTo>
                    <a:pt x="13307" y="786"/>
                    <a:pt x="13826" y="1203"/>
                    <a:pt x="14272" y="1733"/>
                  </a:cubicBezTo>
                  <a:cubicBezTo>
                    <a:pt x="14716" y="2260"/>
                    <a:pt x="15067" y="2885"/>
                    <a:pt x="15328" y="3608"/>
                  </a:cubicBezTo>
                  <a:cubicBezTo>
                    <a:pt x="15590" y="4331"/>
                    <a:pt x="15719" y="5097"/>
                    <a:pt x="15719" y="5903"/>
                  </a:cubicBezTo>
                  <a:cubicBezTo>
                    <a:pt x="15719" y="6939"/>
                    <a:pt x="15513" y="7890"/>
                    <a:pt x="15100" y="8757"/>
                  </a:cubicBezTo>
                  <a:cubicBezTo>
                    <a:pt x="14685" y="9620"/>
                    <a:pt x="14128" y="10320"/>
                    <a:pt x="13432" y="10853"/>
                  </a:cubicBezTo>
                  <a:cubicBezTo>
                    <a:pt x="13936" y="10945"/>
                    <a:pt x="14452" y="11031"/>
                    <a:pt x="14978" y="11115"/>
                  </a:cubicBezTo>
                  <a:cubicBezTo>
                    <a:pt x="15504" y="11198"/>
                    <a:pt x="16005" y="11288"/>
                    <a:pt x="16478" y="11388"/>
                  </a:cubicBezTo>
                  <a:cubicBezTo>
                    <a:pt x="16653" y="11426"/>
                    <a:pt x="16826" y="11449"/>
                    <a:pt x="16994" y="11455"/>
                  </a:cubicBezTo>
                  <a:cubicBezTo>
                    <a:pt x="17162" y="11466"/>
                    <a:pt x="17323" y="11495"/>
                    <a:pt x="17467" y="11553"/>
                  </a:cubicBezTo>
                  <a:cubicBezTo>
                    <a:pt x="17603" y="11590"/>
                    <a:pt x="17731" y="11659"/>
                    <a:pt x="17851" y="11766"/>
                  </a:cubicBezTo>
                  <a:cubicBezTo>
                    <a:pt x="17966" y="11869"/>
                    <a:pt x="18074" y="11970"/>
                    <a:pt x="18165" y="12062"/>
                  </a:cubicBezTo>
                  <a:moveTo>
                    <a:pt x="20474" y="5419"/>
                  </a:moveTo>
                  <a:cubicBezTo>
                    <a:pt x="20757" y="5419"/>
                    <a:pt x="20973" y="5505"/>
                    <a:pt x="21124" y="5687"/>
                  </a:cubicBezTo>
                  <a:cubicBezTo>
                    <a:pt x="21271" y="5865"/>
                    <a:pt x="21381" y="6078"/>
                    <a:pt x="21448" y="6326"/>
                  </a:cubicBezTo>
                  <a:cubicBezTo>
                    <a:pt x="21520" y="6574"/>
                    <a:pt x="21561" y="6836"/>
                    <a:pt x="21576" y="7106"/>
                  </a:cubicBezTo>
                  <a:cubicBezTo>
                    <a:pt x="21592" y="7377"/>
                    <a:pt x="21599" y="7596"/>
                    <a:pt x="21599" y="7760"/>
                  </a:cubicBezTo>
                  <a:lnTo>
                    <a:pt x="21599" y="9856"/>
                  </a:lnTo>
                  <a:cubicBezTo>
                    <a:pt x="21508" y="9928"/>
                    <a:pt x="21422" y="10015"/>
                    <a:pt x="21340" y="10110"/>
                  </a:cubicBezTo>
                  <a:cubicBezTo>
                    <a:pt x="21261" y="10208"/>
                    <a:pt x="21158" y="10257"/>
                    <a:pt x="21036" y="10257"/>
                  </a:cubicBezTo>
                  <a:lnTo>
                    <a:pt x="17268" y="10257"/>
                  </a:lnTo>
                  <a:cubicBezTo>
                    <a:pt x="17131" y="10257"/>
                    <a:pt x="17023" y="10208"/>
                    <a:pt x="16953" y="10110"/>
                  </a:cubicBezTo>
                  <a:cubicBezTo>
                    <a:pt x="16879" y="10015"/>
                    <a:pt x="16790" y="9928"/>
                    <a:pt x="16682" y="9856"/>
                  </a:cubicBezTo>
                  <a:lnTo>
                    <a:pt x="16682" y="7760"/>
                  </a:lnTo>
                  <a:cubicBezTo>
                    <a:pt x="16682" y="7596"/>
                    <a:pt x="16692" y="7377"/>
                    <a:pt x="16706" y="7106"/>
                  </a:cubicBezTo>
                  <a:cubicBezTo>
                    <a:pt x="16720" y="6836"/>
                    <a:pt x="16766" y="6574"/>
                    <a:pt x="16836" y="6326"/>
                  </a:cubicBezTo>
                  <a:cubicBezTo>
                    <a:pt x="16912" y="6078"/>
                    <a:pt x="17023" y="5865"/>
                    <a:pt x="17183" y="5687"/>
                  </a:cubicBezTo>
                  <a:cubicBezTo>
                    <a:pt x="17337" y="5508"/>
                    <a:pt x="17556" y="5419"/>
                    <a:pt x="17829" y="5419"/>
                  </a:cubicBezTo>
                  <a:cubicBezTo>
                    <a:pt x="17488" y="5151"/>
                    <a:pt x="17210" y="4803"/>
                    <a:pt x="16999" y="4377"/>
                  </a:cubicBezTo>
                  <a:cubicBezTo>
                    <a:pt x="16788" y="3950"/>
                    <a:pt x="16682" y="3469"/>
                    <a:pt x="16682" y="2937"/>
                  </a:cubicBezTo>
                  <a:cubicBezTo>
                    <a:pt x="16682" y="2539"/>
                    <a:pt x="16744" y="2162"/>
                    <a:pt x="16872" y="1805"/>
                  </a:cubicBezTo>
                  <a:cubicBezTo>
                    <a:pt x="16999" y="1448"/>
                    <a:pt x="17174" y="1134"/>
                    <a:pt x="17400" y="861"/>
                  </a:cubicBezTo>
                  <a:cubicBezTo>
                    <a:pt x="17625" y="590"/>
                    <a:pt x="17889" y="380"/>
                    <a:pt x="18187" y="227"/>
                  </a:cubicBezTo>
                  <a:cubicBezTo>
                    <a:pt x="18487" y="77"/>
                    <a:pt x="18808" y="0"/>
                    <a:pt x="19152" y="0"/>
                  </a:cubicBezTo>
                  <a:cubicBezTo>
                    <a:pt x="19480" y="0"/>
                    <a:pt x="19795" y="77"/>
                    <a:pt x="20095" y="227"/>
                  </a:cubicBezTo>
                  <a:cubicBezTo>
                    <a:pt x="20395" y="380"/>
                    <a:pt x="20656" y="590"/>
                    <a:pt x="20882" y="861"/>
                  </a:cubicBezTo>
                  <a:cubicBezTo>
                    <a:pt x="21108" y="1134"/>
                    <a:pt x="21285" y="1448"/>
                    <a:pt x="21412" y="1805"/>
                  </a:cubicBezTo>
                  <a:cubicBezTo>
                    <a:pt x="21537" y="2162"/>
                    <a:pt x="21599" y="2539"/>
                    <a:pt x="21599" y="2937"/>
                  </a:cubicBezTo>
                  <a:cubicBezTo>
                    <a:pt x="21599" y="3458"/>
                    <a:pt x="21499" y="3939"/>
                    <a:pt x="21295" y="4371"/>
                  </a:cubicBezTo>
                  <a:cubicBezTo>
                    <a:pt x="21093" y="4800"/>
                    <a:pt x="20820" y="5151"/>
                    <a:pt x="20474" y="5419"/>
                  </a:cubicBezTo>
                </a:path>
              </a:pathLst>
            </a:custGeom>
            <a:solidFill>
              <a:schemeClr val="bg2"/>
            </a:solidFill>
            <a:ln>
              <a:noFill/>
            </a:ln>
            <a:effectLst/>
            <a:extLst/>
          </p:spPr>
          <p:txBody>
            <a:bodyPr lIns="101578" tIns="101578" rIns="101578" bIns="101578" anchor="ctr"/>
            <a:lstStyle/>
            <a:p>
              <a:pPr defTabSz="914195">
                <a:defRPr/>
              </a:pPr>
              <a:endParaRPr lang="es-ES" sz="4000" dirty="0">
                <a:solidFill>
                  <a:srgbClr val="44CEB9"/>
                </a:solidFill>
                <a:effectLst>
                  <a:outerShdw blurRad="38100" dist="38100" dir="2700000" algn="tl">
                    <a:srgbClr val="000000"/>
                  </a:outerShdw>
                </a:effectLst>
                <a:latin typeface="+mj-lt"/>
                <a:cs typeface="Gill Sans" charset="0"/>
                <a:sym typeface="Gill Sans" charset="0"/>
              </a:endParaRPr>
            </a:p>
          </p:txBody>
        </p:sp>
        <p:sp>
          <p:nvSpPr>
            <p:cNvPr id="26" name="AutoShape 29"/>
            <p:cNvSpPr>
              <a:spLocks/>
            </p:cNvSpPr>
            <p:nvPr/>
          </p:nvSpPr>
          <p:spPr bwMode="auto">
            <a:xfrm>
              <a:off x="3744276" y="4495012"/>
              <a:ext cx="712107" cy="71229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3598" y="2167"/>
                  </a:moveTo>
                  <a:cubicBezTo>
                    <a:pt x="3598" y="2549"/>
                    <a:pt x="3517" y="2902"/>
                    <a:pt x="3358" y="3213"/>
                  </a:cubicBezTo>
                  <a:cubicBezTo>
                    <a:pt x="3197" y="3525"/>
                    <a:pt x="2981" y="3792"/>
                    <a:pt x="2707" y="4006"/>
                  </a:cubicBezTo>
                  <a:lnTo>
                    <a:pt x="2707" y="21050"/>
                  </a:lnTo>
                  <a:cubicBezTo>
                    <a:pt x="2707" y="21203"/>
                    <a:pt x="2663" y="21329"/>
                    <a:pt x="2580" y="21438"/>
                  </a:cubicBezTo>
                  <a:cubicBezTo>
                    <a:pt x="2492" y="21547"/>
                    <a:pt x="2386" y="21599"/>
                    <a:pt x="2262" y="21599"/>
                  </a:cubicBezTo>
                  <a:lnTo>
                    <a:pt x="1348" y="21599"/>
                  </a:lnTo>
                  <a:cubicBezTo>
                    <a:pt x="1221" y="21599"/>
                    <a:pt x="1118" y="21544"/>
                    <a:pt x="1038" y="21438"/>
                  </a:cubicBezTo>
                  <a:cubicBezTo>
                    <a:pt x="954" y="21329"/>
                    <a:pt x="913" y="21203"/>
                    <a:pt x="913" y="21050"/>
                  </a:cubicBezTo>
                  <a:lnTo>
                    <a:pt x="913" y="4006"/>
                  </a:lnTo>
                  <a:cubicBezTo>
                    <a:pt x="641" y="3792"/>
                    <a:pt x="421" y="3525"/>
                    <a:pt x="252" y="3213"/>
                  </a:cubicBezTo>
                  <a:cubicBezTo>
                    <a:pt x="83" y="2902"/>
                    <a:pt x="0" y="2549"/>
                    <a:pt x="0" y="2167"/>
                  </a:cubicBezTo>
                  <a:cubicBezTo>
                    <a:pt x="0" y="1574"/>
                    <a:pt x="176" y="1069"/>
                    <a:pt x="528" y="640"/>
                  </a:cubicBezTo>
                  <a:cubicBezTo>
                    <a:pt x="878" y="211"/>
                    <a:pt x="1304" y="0"/>
                    <a:pt x="1804" y="0"/>
                  </a:cubicBezTo>
                  <a:cubicBezTo>
                    <a:pt x="2296" y="0"/>
                    <a:pt x="2719" y="211"/>
                    <a:pt x="3069" y="640"/>
                  </a:cubicBezTo>
                  <a:cubicBezTo>
                    <a:pt x="3422" y="1069"/>
                    <a:pt x="3598" y="1571"/>
                    <a:pt x="3598" y="2167"/>
                  </a:cubicBezTo>
                  <a:moveTo>
                    <a:pt x="20838" y="2476"/>
                  </a:moveTo>
                  <a:cubicBezTo>
                    <a:pt x="21063" y="2323"/>
                    <a:pt x="21247" y="2297"/>
                    <a:pt x="21389" y="2391"/>
                  </a:cubicBezTo>
                  <a:cubicBezTo>
                    <a:pt x="21529" y="2485"/>
                    <a:pt x="21599" y="2684"/>
                    <a:pt x="21599" y="2996"/>
                  </a:cubicBezTo>
                  <a:lnTo>
                    <a:pt x="21599" y="13515"/>
                  </a:lnTo>
                  <a:cubicBezTo>
                    <a:pt x="21599" y="13803"/>
                    <a:pt x="21526" y="14106"/>
                    <a:pt x="21382" y="14420"/>
                  </a:cubicBezTo>
                  <a:cubicBezTo>
                    <a:pt x="21237" y="14737"/>
                    <a:pt x="21056" y="14966"/>
                    <a:pt x="20838" y="15119"/>
                  </a:cubicBezTo>
                  <a:cubicBezTo>
                    <a:pt x="19954" y="15757"/>
                    <a:pt x="19146" y="16165"/>
                    <a:pt x="18412" y="16350"/>
                  </a:cubicBezTo>
                  <a:cubicBezTo>
                    <a:pt x="17678" y="16529"/>
                    <a:pt x="17036" y="16606"/>
                    <a:pt x="16490" y="16567"/>
                  </a:cubicBezTo>
                  <a:cubicBezTo>
                    <a:pt x="15849" y="16526"/>
                    <a:pt x="15281" y="16371"/>
                    <a:pt x="14791" y="16103"/>
                  </a:cubicBezTo>
                  <a:cubicBezTo>
                    <a:pt x="14392" y="15851"/>
                    <a:pt x="14003" y="15607"/>
                    <a:pt x="13623" y="15378"/>
                  </a:cubicBezTo>
                  <a:cubicBezTo>
                    <a:pt x="13244" y="15146"/>
                    <a:pt x="12857" y="14946"/>
                    <a:pt x="12458" y="14773"/>
                  </a:cubicBezTo>
                  <a:cubicBezTo>
                    <a:pt x="12059" y="14599"/>
                    <a:pt x="11640" y="14461"/>
                    <a:pt x="11197" y="14358"/>
                  </a:cubicBezTo>
                  <a:cubicBezTo>
                    <a:pt x="10757" y="14256"/>
                    <a:pt x="10269" y="14203"/>
                    <a:pt x="9738" y="14203"/>
                  </a:cubicBezTo>
                  <a:cubicBezTo>
                    <a:pt x="9310" y="14220"/>
                    <a:pt x="8825" y="14306"/>
                    <a:pt x="8286" y="14455"/>
                  </a:cubicBezTo>
                  <a:cubicBezTo>
                    <a:pt x="7824" y="14588"/>
                    <a:pt x="7266" y="14799"/>
                    <a:pt x="6605" y="15090"/>
                  </a:cubicBezTo>
                  <a:cubicBezTo>
                    <a:pt x="5944" y="15381"/>
                    <a:pt x="5207" y="15792"/>
                    <a:pt x="4394" y="16327"/>
                  </a:cubicBezTo>
                  <a:cubicBezTo>
                    <a:pt x="4169" y="16476"/>
                    <a:pt x="3978" y="16494"/>
                    <a:pt x="3826" y="16382"/>
                  </a:cubicBezTo>
                  <a:cubicBezTo>
                    <a:pt x="3674" y="16268"/>
                    <a:pt x="3598" y="16059"/>
                    <a:pt x="3598" y="15751"/>
                  </a:cubicBezTo>
                  <a:lnTo>
                    <a:pt x="3598" y="5273"/>
                  </a:lnTo>
                  <a:cubicBezTo>
                    <a:pt x="3598" y="4964"/>
                    <a:pt x="3674" y="4653"/>
                    <a:pt x="3826" y="4347"/>
                  </a:cubicBezTo>
                  <a:cubicBezTo>
                    <a:pt x="3978" y="4036"/>
                    <a:pt x="4169" y="3807"/>
                    <a:pt x="4394" y="3654"/>
                  </a:cubicBezTo>
                  <a:cubicBezTo>
                    <a:pt x="5207" y="3143"/>
                    <a:pt x="5941" y="2737"/>
                    <a:pt x="6597" y="2447"/>
                  </a:cubicBezTo>
                  <a:cubicBezTo>
                    <a:pt x="7253" y="2156"/>
                    <a:pt x="7816" y="1944"/>
                    <a:pt x="8286" y="1812"/>
                  </a:cubicBezTo>
                  <a:cubicBezTo>
                    <a:pt x="8832" y="1665"/>
                    <a:pt x="9317" y="1580"/>
                    <a:pt x="9738" y="1559"/>
                  </a:cubicBezTo>
                  <a:cubicBezTo>
                    <a:pt x="10269" y="1559"/>
                    <a:pt x="10757" y="1612"/>
                    <a:pt x="11197" y="1715"/>
                  </a:cubicBezTo>
                  <a:cubicBezTo>
                    <a:pt x="11640" y="1818"/>
                    <a:pt x="12059" y="1956"/>
                    <a:pt x="12458" y="2135"/>
                  </a:cubicBezTo>
                  <a:cubicBezTo>
                    <a:pt x="12857" y="2306"/>
                    <a:pt x="13242" y="2508"/>
                    <a:pt x="13619" y="2737"/>
                  </a:cubicBezTo>
                  <a:cubicBezTo>
                    <a:pt x="13993" y="2967"/>
                    <a:pt x="14385" y="3207"/>
                    <a:pt x="14791" y="3463"/>
                  </a:cubicBezTo>
                  <a:cubicBezTo>
                    <a:pt x="15281" y="3736"/>
                    <a:pt x="15849" y="3889"/>
                    <a:pt x="16490" y="3924"/>
                  </a:cubicBezTo>
                  <a:cubicBezTo>
                    <a:pt x="17036" y="3965"/>
                    <a:pt x="17678" y="3889"/>
                    <a:pt x="18412" y="3707"/>
                  </a:cubicBezTo>
                  <a:cubicBezTo>
                    <a:pt x="19146" y="3522"/>
                    <a:pt x="19957" y="3113"/>
                    <a:pt x="20838" y="2476"/>
                  </a:cubicBezTo>
                </a:path>
              </a:pathLst>
            </a:custGeom>
            <a:solidFill>
              <a:schemeClr val="bg2"/>
            </a:solidFill>
            <a:ln>
              <a:noFill/>
            </a:ln>
            <a:effectLst/>
            <a:extLst/>
          </p:spPr>
          <p:txBody>
            <a:bodyPr lIns="101578" tIns="101578" rIns="101578" bIns="101578" anchor="ctr"/>
            <a:lstStyle/>
            <a:p>
              <a:pPr defTabSz="914195">
                <a:defRPr/>
              </a:pPr>
              <a:endParaRPr lang="es-ES" sz="4000" dirty="0">
                <a:solidFill>
                  <a:srgbClr val="44CEB9"/>
                </a:solidFill>
                <a:effectLst>
                  <a:outerShdw blurRad="38100" dist="38100" dir="2700000" algn="tl">
                    <a:srgbClr val="000000"/>
                  </a:outerShdw>
                </a:effectLst>
                <a:latin typeface="+mj-lt"/>
                <a:cs typeface="Gill Sans" charset="0"/>
                <a:sym typeface="Gill Sans" charset="0"/>
              </a:endParaRPr>
            </a:p>
          </p:txBody>
        </p:sp>
        <p:sp>
          <p:nvSpPr>
            <p:cNvPr id="27" name="AutoShape 115"/>
            <p:cNvSpPr>
              <a:spLocks/>
            </p:cNvSpPr>
            <p:nvPr/>
          </p:nvSpPr>
          <p:spPr bwMode="auto">
            <a:xfrm>
              <a:off x="6390294" y="8755164"/>
              <a:ext cx="690276" cy="75950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357" y="18801"/>
                  </a:moveTo>
                  <a:cubicBezTo>
                    <a:pt x="21518" y="18965"/>
                    <a:pt x="21599" y="19177"/>
                    <a:pt x="21599" y="19436"/>
                  </a:cubicBezTo>
                  <a:cubicBezTo>
                    <a:pt x="21599" y="19580"/>
                    <a:pt x="21518" y="19775"/>
                    <a:pt x="21357" y="20018"/>
                  </a:cubicBezTo>
                  <a:cubicBezTo>
                    <a:pt x="21193" y="20261"/>
                    <a:pt x="20989" y="20504"/>
                    <a:pt x="20746" y="20741"/>
                  </a:cubicBezTo>
                  <a:cubicBezTo>
                    <a:pt x="20503" y="20978"/>
                    <a:pt x="20260" y="21184"/>
                    <a:pt x="20023" y="21348"/>
                  </a:cubicBezTo>
                  <a:cubicBezTo>
                    <a:pt x="19783" y="21518"/>
                    <a:pt x="19593" y="21599"/>
                    <a:pt x="19447" y="21599"/>
                  </a:cubicBezTo>
                  <a:cubicBezTo>
                    <a:pt x="19189" y="21599"/>
                    <a:pt x="18975" y="21515"/>
                    <a:pt x="18811" y="21343"/>
                  </a:cubicBezTo>
                  <a:lnTo>
                    <a:pt x="13957" y="16502"/>
                  </a:lnTo>
                  <a:cubicBezTo>
                    <a:pt x="13217" y="16980"/>
                    <a:pt x="12428" y="17350"/>
                    <a:pt x="11589" y="17604"/>
                  </a:cubicBezTo>
                  <a:cubicBezTo>
                    <a:pt x="10750" y="17864"/>
                    <a:pt x="9891" y="17991"/>
                    <a:pt x="9007" y="17991"/>
                  </a:cubicBezTo>
                  <a:cubicBezTo>
                    <a:pt x="7769" y="17991"/>
                    <a:pt x="6608" y="17759"/>
                    <a:pt x="5517" y="17290"/>
                  </a:cubicBezTo>
                  <a:cubicBezTo>
                    <a:pt x="4427" y="16822"/>
                    <a:pt x="3469" y="16175"/>
                    <a:pt x="2644" y="15353"/>
                  </a:cubicBezTo>
                  <a:cubicBezTo>
                    <a:pt x="1816" y="14534"/>
                    <a:pt x="1172" y="13580"/>
                    <a:pt x="700" y="12487"/>
                  </a:cubicBezTo>
                  <a:cubicBezTo>
                    <a:pt x="231" y="11400"/>
                    <a:pt x="0" y="10236"/>
                    <a:pt x="0" y="8999"/>
                  </a:cubicBezTo>
                  <a:cubicBezTo>
                    <a:pt x="0" y="7768"/>
                    <a:pt x="231" y="6602"/>
                    <a:pt x="700" y="5515"/>
                  </a:cubicBezTo>
                  <a:cubicBezTo>
                    <a:pt x="1169" y="4422"/>
                    <a:pt x="1816" y="3467"/>
                    <a:pt x="2644" y="2645"/>
                  </a:cubicBezTo>
                  <a:cubicBezTo>
                    <a:pt x="3469" y="1827"/>
                    <a:pt x="4424" y="1180"/>
                    <a:pt x="5512" y="708"/>
                  </a:cubicBezTo>
                  <a:cubicBezTo>
                    <a:pt x="6600" y="237"/>
                    <a:pt x="7764" y="0"/>
                    <a:pt x="9007" y="0"/>
                  </a:cubicBezTo>
                  <a:cubicBezTo>
                    <a:pt x="10244" y="0"/>
                    <a:pt x="11403" y="237"/>
                    <a:pt x="12488" y="708"/>
                  </a:cubicBezTo>
                  <a:cubicBezTo>
                    <a:pt x="13573" y="1180"/>
                    <a:pt x="14530" y="1827"/>
                    <a:pt x="15358" y="2645"/>
                  </a:cubicBezTo>
                  <a:cubicBezTo>
                    <a:pt x="16183" y="3467"/>
                    <a:pt x="16830" y="4422"/>
                    <a:pt x="17299" y="5515"/>
                  </a:cubicBezTo>
                  <a:cubicBezTo>
                    <a:pt x="17768" y="6602"/>
                    <a:pt x="18003" y="7768"/>
                    <a:pt x="18003" y="8999"/>
                  </a:cubicBezTo>
                  <a:cubicBezTo>
                    <a:pt x="18003" y="9886"/>
                    <a:pt x="17873" y="10747"/>
                    <a:pt x="17616" y="11589"/>
                  </a:cubicBezTo>
                  <a:cubicBezTo>
                    <a:pt x="17359" y="12433"/>
                    <a:pt x="16991" y="13218"/>
                    <a:pt x="16514" y="13947"/>
                  </a:cubicBezTo>
                  <a:lnTo>
                    <a:pt x="21357" y="18801"/>
                  </a:lnTo>
                  <a:close/>
                  <a:moveTo>
                    <a:pt x="3596" y="8999"/>
                  </a:moveTo>
                  <a:cubicBezTo>
                    <a:pt x="3596" y="9759"/>
                    <a:pt x="3740" y="10465"/>
                    <a:pt x="4028" y="11117"/>
                  </a:cubicBezTo>
                  <a:cubicBezTo>
                    <a:pt x="4317" y="11770"/>
                    <a:pt x="4707" y="12337"/>
                    <a:pt x="5193" y="12820"/>
                  </a:cubicBezTo>
                  <a:cubicBezTo>
                    <a:pt x="5679" y="13300"/>
                    <a:pt x="6252" y="13684"/>
                    <a:pt x="6908" y="13969"/>
                  </a:cubicBezTo>
                  <a:cubicBezTo>
                    <a:pt x="7566" y="14252"/>
                    <a:pt x="8264" y="14393"/>
                    <a:pt x="9004" y="14393"/>
                  </a:cubicBezTo>
                  <a:cubicBezTo>
                    <a:pt x="9744" y="14393"/>
                    <a:pt x="10439" y="14252"/>
                    <a:pt x="11092" y="13969"/>
                  </a:cubicBezTo>
                  <a:cubicBezTo>
                    <a:pt x="11745" y="13684"/>
                    <a:pt x="12318" y="13300"/>
                    <a:pt x="12801" y="12820"/>
                  </a:cubicBezTo>
                  <a:cubicBezTo>
                    <a:pt x="13290" y="12337"/>
                    <a:pt x="13677" y="11770"/>
                    <a:pt x="13965" y="11117"/>
                  </a:cubicBezTo>
                  <a:cubicBezTo>
                    <a:pt x="14254" y="10465"/>
                    <a:pt x="14398" y="9759"/>
                    <a:pt x="14398" y="8999"/>
                  </a:cubicBezTo>
                  <a:cubicBezTo>
                    <a:pt x="14398" y="8259"/>
                    <a:pt x="14254" y="7565"/>
                    <a:pt x="13965" y="6912"/>
                  </a:cubicBezTo>
                  <a:cubicBezTo>
                    <a:pt x="13674" y="6257"/>
                    <a:pt x="13290" y="5684"/>
                    <a:pt x="12801" y="5192"/>
                  </a:cubicBezTo>
                  <a:cubicBezTo>
                    <a:pt x="12315" y="4704"/>
                    <a:pt x="11745" y="4317"/>
                    <a:pt x="11092" y="4032"/>
                  </a:cubicBezTo>
                  <a:cubicBezTo>
                    <a:pt x="10439" y="3749"/>
                    <a:pt x="9741" y="3605"/>
                    <a:pt x="9004" y="3605"/>
                  </a:cubicBezTo>
                  <a:cubicBezTo>
                    <a:pt x="8267" y="3605"/>
                    <a:pt x="7566" y="3749"/>
                    <a:pt x="6908" y="4032"/>
                  </a:cubicBezTo>
                  <a:cubicBezTo>
                    <a:pt x="6252" y="4317"/>
                    <a:pt x="5676" y="4704"/>
                    <a:pt x="5193" y="5192"/>
                  </a:cubicBezTo>
                  <a:cubicBezTo>
                    <a:pt x="4707" y="5684"/>
                    <a:pt x="4317" y="6257"/>
                    <a:pt x="4028" y="6912"/>
                  </a:cubicBezTo>
                  <a:cubicBezTo>
                    <a:pt x="3740" y="7565"/>
                    <a:pt x="3596" y="8256"/>
                    <a:pt x="3596" y="8999"/>
                  </a:cubicBezTo>
                  <a:moveTo>
                    <a:pt x="9007" y="5591"/>
                  </a:moveTo>
                  <a:cubicBezTo>
                    <a:pt x="9185" y="5591"/>
                    <a:pt x="9343" y="5656"/>
                    <a:pt x="9473" y="5785"/>
                  </a:cubicBezTo>
                  <a:cubicBezTo>
                    <a:pt x="9603" y="5918"/>
                    <a:pt x="9668" y="6082"/>
                    <a:pt x="9668" y="6279"/>
                  </a:cubicBezTo>
                  <a:cubicBezTo>
                    <a:pt x="9668" y="6460"/>
                    <a:pt x="9603" y="6616"/>
                    <a:pt x="9473" y="6745"/>
                  </a:cubicBezTo>
                  <a:cubicBezTo>
                    <a:pt x="9343" y="6878"/>
                    <a:pt x="9185" y="6943"/>
                    <a:pt x="9007" y="6943"/>
                  </a:cubicBezTo>
                  <a:cubicBezTo>
                    <a:pt x="8439" y="6943"/>
                    <a:pt x="7953" y="7144"/>
                    <a:pt x="7552" y="7536"/>
                  </a:cubicBezTo>
                  <a:cubicBezTo>
                    <a:pt x="7151" y="7934"/>
                    <a:pt x="6950" y="8423"/>
                    <a:pt x="6950" y="8996"/>
                  </a:cubicBezTo>
                  <a:cubicBezTo>
                    <a:pt x="6950" y="9180"/>
                    <a:pt x="6885" y="9332"/>
                    <a:pt x="6755" y="9465"/>
                  </a:cubicBezTo>
                  <a:cubicBezTo>
                    <a:pt x="6622" y="9595"/>
                    <a:pt x="6467" y="9657"/>
                    <a:pt x="6289" y="9657"/>
                  </a:cubicBezTo>
                  <a:cubicBezTo>
                    <a:pt x="6080" y="9657"/>
                    <a:pt x="5913" y="9595"/>
                    <a:pt x="5786" y="9465"/>
                  </a:cubicBezTo>
                  <a:cubicBezTo>
                    <a:pt x="5659" y="9332"/>
                    <a:pt x="5599" y="9180"/>
                    <a:pt x="5599" y="8996"/>
                  </a:cubicBezTo>
                  <a:cubicBezTo>
                    <a:pt x="5599" y="8539"/>
                    <a:pt x="5684" y="8104"/>
                    <a:pt x="5862" y="7686"/>
                  </a:cubicBezTo>
                  <a:cubicBezTo>
                    <a:pt x="6037" y="7271"/>
                    <a:pt x="6280" y="6907"/>
                    <a:pt x="6597" y="6590"/>
                  </a:cubicBezTo>
                  <a:cubicBezTo>
                    <a:pt x="6905" y="6277"/>
                    <a:pt x="7264" y="6028"/>
                    <a:pt x="7676" y="5856"/>
                  </a:cubicBezTo>
                  <a:cubicBezTo>
                    <a:pt x="8086" y="5681"/>
                    <a:pt x="8529" y="5591"/>
                    <a:pt x="9007" y="5591"/>
                  </a:cubicBezTo>
                </a:path>
              </a:pathLst>
            </a:custGeom>
            <a:solidFill>
              <a:schemeClr val="bg2"/>
            </a:solidFill>
            <a:ln>
              <a:noFill/>
            </a:ln>
            <a:effectLst/>
            <a:extLst/>
          </p:spPr>
          <p:txBody>
            <a:bodyPr lIns="101578" tIns="101578" rIns="101578" bIns="101578" anchor="ctr"/>
            <a:lstStyle/>
            <a:p>
              <a:pPr defTabSz="914195">
                <a:defRPr/>
              </a:pPr>
              <a:endParaRPr lang="es-ES" sz="4000" dirty="0">
                <a:solidFill>
                  <a:srgbClr val="44CEB9"/>
                </a:solidFill>
                <a:effectLst>
                  <a:outerShdw blurRad="38100" dist="38100" dir="2700000" algn="tl">
                    <a:srgbClr val="000000"/>
                  </a:outerShdw>
                </a:effectLst>
                <a:latin typeface="+mj-lt"/>
                <a:cs typeface="Gill Sans" charset="0"/>
                <a:sym typeface="Gill Sans" charset="0"/>
              </a:endParaRPr>
            </a:p>
          </p:txBody>
        </p:sp>
        <p:sp>
          <p:nvSpPr>
            <p:cNvPr id="28" name="AutoShape 66"/>
            <p:cNvSpPr>
              <a:spLocks/>
            </p:cNvSpPr>
            <p:nvPr/>
          </p:nvSpPr>
          <p:spPr bwMode="auto">
            <a:xfrm>
              <a:off x="19642827" y="5298096"/>
              <a:ext cx="588231" cy="588384"/>
            </a:xfrm>
            <a:custGeom>
              <a:avLst/>
              <a:gdLst>
                <a:gd name="T0" fmla="*/ 10799 w 21598"/>
                <a:gd name="T1" fmla="*/ 10800 h 21600"/>
                <a:gd name="T2" fmla="*/ 10799 w 21598"/>
                <a:gd name="T3" fmla="*/ 10800 h 21600"/>
                <a:gd name="T4" fmla="*/ 10799 w 21598"/>
                <a:gd name="T5" fmla="*/ 10800 h 21600"/>
                <a:gd name="T6" fmla="*/ 10799 w 21598"/>
                <a:gd name="T7" fmla="*/ 10800 h 21600"/>
              </a:gdLst>
              <a:ahLst/>
              <a:cxnLst>
                <a:cxn ang="0">
                  <a:pos x="T0" y="T1"/>
                </a:cxn>
                <a:cxn ang="0">
                  <a:pos x="T2" y="T3"/>
                </a:cxn>
                <a:cxn ang="0">
                  <a:pos x="T4" y="T5"/>
                </a:cxn>
                <a:cxn ang="0">
                  <a:pos x="T6" y="T7"/>
                </a:cxn>
              </a:cxnLst>
              <a:rect l="0" t="0" r="r" b="b"/>
              <a:pathLst>
                <a:path w="21598" h="21600">
                  <a:moveTo>
                    <a:pt x="17537" y="12697"/>
                  </a:moveTo>
                  <a:lnTo>
                    <a:pt x="19798" y="9997"/>
                  </a:lnTo>
                  <a:lnTo>
                    <a:pt x="19798" y="17284"/>
                  </a:lnTo>
                  <a:cubicBezTo>
                    <a:pt x="19798" y="17874"/>
                    <a:pt x="19700" y="18429"/>
                    <a:pt x="19505" y="18949"/>
                  </a:cubicBezTo>
                  <a:cubicBezTo>
                    <a:pt x="19309" y="19469"/>
                    <a:pt x="19049" y="19928"/>
                    <a:pt x="18721" y="20321"/>
                  </a:cubicBezTo>
                  <a:cubicBezTo>
                    <a:pt x="18394" y="20715"/>
                    <a:pt x="18014" y="21027"/>
                    <a:pt x="17583" y="21256"/>
                  </a:cubicBezTo>
                  <a:cubicBezTo>
                    <a:pt x="17153" y="21485"/>
                    <a:pt x="16690" y="21599"/>
                    <a:pt x="16188" y="21599"/>
                  </a:cubicBezTo>
                  <a:lnTo>
                    <a:pt x="3595" y="21599"/>
                  </a:lnTo>
                  <a:cubicBezTo>
                    <a:pt x="3103" y="21599"/>
                    <a:pt x="2635" y="21485"/>
                    <a:pt x="2195" y="21256"/>
                  </a:cubicBezTo>
                  <a:cubicBezTo>
                    <a:pt x="1754" y="21027"/>
                    <a:pt x="1372" y="20715"/>
                    <a:pt x="1052" y="20321"/>
                  </a:cubicBezTo>
                  <a:cubicBezTo>
                    <a:pt x="734" y="19928"/>
                    <a:pt x="477" y="19469"/>
                    <a:pt x="286" y="18949"/>
                  </a:cubicBezTo>
                  <a:cubicBezTo>
                    <a:pt x="95" y="18429"/>
                    <a:pt x="0" y="17874"/>
                    <a:pt x="0" y="17284"/>
                  </a:cubicBezTo>
                  <a:lnTo>
                    <a:pt x="0" y="4315"/>
                  </a:lnTo>
                  <a:cubicBezTo>
                    <a:pt x="0" y="3722"/>
                    <a:pt x="95" y="3164"/>
                    <a:pt x="286" y="2632"/>
                  </a:cubicBezTo>
                  <a:cubicBezTo>
                    <a:pt x="477" y="2106"/>
                    <a:pt x="734" y="1645"/>
                    <a:pt x="1052" y="1263"/>
                  </a:cubicBezTo>
                  <a:cubicBezTo>
                    <a:pt x="1372" y="878"/>
                    <a:pt x="1754" y="572"/>
                    <a:pt x="2195" y="343"/>
                  </a:cubicBezTo>
                  <a:cubicBezTo>
                    <a:pt x="2635" y="114"/>
                    <a:pt x="3103" y="0"/>
                    <a:pt x="3595" y="0"/>
                  </a:cubicBezTo>
                  <a:lnTo>
                    <a:pt x="16188" y="0"/>
                  </a:lnTo>
                  <a:cubicBezTo>
                    <a:pt x="16401" y="0"/>
                    <a:pt x="16605" y="26"/>
                    <a:pt x="16798" y="82"/>
                  </a:cubicBezTo>
                  <a:lnTo>
                    <a:pt x="14608" y="2714"/>
                  </a:lnTo>
                  <a:lnTo>
                    <a:pt x="3595" y="2714"/>
                  </a:lnTo>
                  <a:cubicBezTo>
                    <a:pt x="3228" y="2714"/>
                    <a:pt x="2914" y="2867"/>
                    <a:pt x="2652" y="3184"/>
                  </a:cubicBezTo>
                  <a:cubicBezTo>
                    <a:pt x="2391" y="3496"/>
                    <a:pt x="2261" y="3875"/>
                    <a:pt x="2261" y="4315"/>
                  </a:cubicBezTo>
                  <a:lnTo>
                    <a:pt x="2261" y="17284"/>
                  </a:lnTo>
                  <a:cubicBezTo>
                    <a:pt x="2261" y="17724"/>
                    <a:pt x="2391" y="18101"/>
                    <a:pt x="2652" y="18412"/>
                  </a:cubicBezTo>
                  <a:cubicBezTo>
                    <a:pt x="2914" y="18729"/>
                    <a:pt x="3228" y="18888"/>
                    <a:pt x="3595" y="18888"/>
                  </a:cubicBezTo>
                  <a:lnTo>
                    <a:pt x="16188" y="18888"/>
                  </a:lnTo>
                  <a:cubicBezTo>
                    <a:pt x="16556" y="18888"/>
                    <a:pt x="16874" y="18729"/>
                    <a:pt x="17138" y="18412"/>
                  </a:cubicBezTo>
                  <a:cubicBezTo>
                    <a:pt x="17405" y="18101"/>
                    <a:pt x="17537" y="17724"/>
                    <a:pt x="17537" y="17284"/>
                  </a:cubicBezTo>
                  <a:lnTo>
                    <a:pt x="17537" y="12697"/>
                  </a:lnTo>
                  <a:close/>
                  <a:moveTo>
                    <a:pt x="21333" y="2796"/>
                  </a:moveTo>
                  <a:cubicBezTo>
                    <a:pt x="21514" y="3011"/>
                    <a:pt x="21599" y="3272"/>
                    <a:pt x="21597" y="3578"/>
                  </a:cubicBezTo>
                  <a:cubicBezTo>
                    <a:pt x="21592" y="3881"/>
                    <a:pt x="21504" y="4136"/>
                    <a:pt x="21333" y="4342"/>
                  </a:cubicBezTo>
                  <a:lnTo>
                    <a:pt x="13005" y="14346"/>
                  </a:lnTo>
                  <a:lnTo>
                    <a:pt x="11854" y="15721"/>
                  </a:lnTo>
                  <a:cubicBezTo>
                    <a:pt x="11676" y="15938"/>
                    <a:pt x="11458" y="16044"/>
                    <a:pt x="11206" y="16044"/>
                  </a:cubicBezTo>
                  <a:cubicBezTo>
                    <a:pt x="10951" y="16044"/>
                    <a:pt x="10733" y="15938"/>
                    <a:pt x="10555" y="15721"/>
                  </a:cubicBezTo>
                  <a:lnTo>
                    <a:pt x="9383" y="14346"/>
                  </a:lnTo>
                  <a:lnTo>
                    <a:pt x="4779" y="8787"/>
                  </a:lnTo>
                  <a:cubicBezTo>
                    <a:pt x="4600" y="8573"/>
                    <a:pt x="4507" y="8314"/>
                    <a:pt x="4507" y="8006"/>
                  </a:cubicBezTo>
                  <a:cubicBezTo>
                    <a:pt x="4507" y="7703"/>
                    <a:pt x="4600" y="7441"/>
                    <a:pt x="4779" y="7227"/>
                  </a:cubicBezTo>
                  <a:lnTo>
                    <a:pt x="5927" y="5846"/>
                  </a:lnTo>
                  <a:cubicBezTo>
                    <a:pt x="6106" y="5635"/>
                    <a:pt x="6323" y="5526"/>
                    <a:pt x="6578" y="5526"/>
                  </a:cubicBezTo>
                  <a:cubicBezTo>
                    <a:pt x="6830" y="5526"/>
                    <a:pt x="7043" y="5634"/>
                    <a:pt x="7214" y="5846"/>
                  </a:cubicBezTo>
                  <a:lnTo>
                    <a:pt x="11198" y="10632"/>
                  </a:lnTo>
                  <a:lnTo>
                    <a:pt x="18861" y="1404"/>
                  </a:lnTo>
                  <a:cubicBezTo>
                    <a:pt x="19040" y="1186"/>
                    <a:pt x="19262" y="1084"/>
                    <a:pt x="19524" y="1087"/>
                  </a:cubicBezTo>
                  <a:cubicBezTo>
                    <a:pt x="19786" y="1092"/>
                    <a:pt x="20001" y="1198"/>
                    <a:pt x="20173" y="1404"/>
                  </a:cubicBezTo>
                  <a:lnTo>
                    <a:pt x="21333" y="2796"/>
                  </a:lnTo>
                  <a:close/>
                </a:path>
              </a:pathLst>
            </a:custGeom>
            <a:solidFill>
              <a:schemeClr val="bg2"/>
            </a:solidFill>
            <a:ln>
              <a:noFill/>
            </a:ln>
            <a:effectLst/>
            <a:extLst/>
          </p:spPr>
          <p:txBody>
            <a:bodyPr lIns="101578" tIns="101578" rIns="101578" bIns="101578" anchor="ctr"/>
            <a:lstStyle/>
            <a:p>
              <a:pPr defTabSz="914195">
                <a:defRPr/>
              </a:pPr>
              <a:endParaRPr lang="es-ES" sz="4000" dirty="0">
                <a:solidFill>
                  <a:srgbClr val="44CEB9"/>
                </a:solidFill>
                <a:effectLst>
                  <a:outerShdw blurRad="38100" dist="38100" dir="2700000" algn="tl">
                    <a:srgbClr val="000000"/>
                  </a:outerShdw>
                </a:effectLst>
                <a:latin typeface="+mj-lt"/>
                <a:cs typeface="Gill Sans" charset="0"/>
                <a:sym typeface="Gill Sans" charset="0"/>
              </a:endParaRPr>
            </a:p>
          </p:txBody>
        </p:sp>
        <p:grpSp>
          <p:nvGrpSpPr>
            <p:cNvPr id="29" name="Group 28"/>
            <p:cNvGrpSpPr/>
            <p:nvPr>
              <p:custDataLst>
                <p:tags r:id="rId3"/>
              </p:custDataLst>
            </p:nvPr>
          </p:nvGrpSpPr>
          <p:grpSpPr>
            <a:xfrm>
              <a:off x="17065324" y="6713343"/>
              <a:ext cx="536274" cy="786174"/>
              <a:chOff x="1559893" y="2241774"/>
              <a:chExt cx="174947" cy="256404"/>
            </a:xfrm>
            <a:solidFill>
              <a:schemeClr val="bg1"/>
            </a:solidFill>
          </p:grpSpPr>
          <p:sp>
            <p:nvSpPr>
              <p:cNvPr id="30" name="Oval 49"/>
              <p:cNvSpPr>
                <a:spLocks noChangeArrowheads="1"/>
              </p:cNvSpPr>
              <p:nvPr/>
            </p:nvSpPr>
            <p:spPr bwMode="auto">
              <a:xfrm>
                <a:off x="1630705" y="2313975"/>
                <a:ext cx="16662" cy="16662"/>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31" name="Oval 50"/>
              <p:cNvSpPr>
                <a:spLocks noChangeArrowheads="1"/>
              </p:cNvSpPr>
              <p:nvPr/>
            </p:nvSpPr>
            <p:spPr bwMode="auto">
              <a:xfrm>
                <a:off x="1630705" y="2410242"/>
                <a:ext cx="16662" cy="1527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32" name="Oval 51"/>
              <p:cNvSpPr>
                <a:spLocks noChangeArrowheads="1"/>
              </p:cNvSpPr>
              <p:nvPr/>
            </p:nvSpPr>
            <p:spPr bwMode="auto">
              <a:xfrm>
                <a:off x="1583960" y="2362108"/>
                <a:ext cx="15273" cy="1527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33" name="Oval 52"/>
              <p:cNvSpPr>
                <a:spLocks noChangeArrowheads="1"/>
              </p:cNvSpPr>
              <p:nvPr/>
            </p:nvSpPr>
            <p:spPr bwMode="auto">
              <a:xfrm>
                <a:off x="1679301" y="2362108"/>
                <a:ext cx="16199" cy="1527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34" name="Freeform 53"/>
              <p:cNvSpPr>
                <a:spLocks/>
              </p:cNvSpPr>
              <p:nvPr/>
            </p:nvSpPr>
            <p:spPr bwMode="auto">
              <a:xfrm>
                <a:off x="1596919" y="2394969"/>
                <a:ext cx="17587" cy="17587"/>
              </a:xfrm>
              <a:custGeom>
                <a:avLst/>
                <a:gdLst>
                  <a:gd name="T0" fmla="*/ 3 w 16"/>
                  <a:gd name="T1" fmla="*/ 3 h 16"/>
                  <a:gd name="T2" fmla="*/ 3 w 16"/>
                  <a:gd name="T3" fmla="*/ 13 h 16"/>
                  <a:gd name="T4" fmla="*/ 13 w 16"/>
                  <a:gd name="T5" fmla="*/ 13 h 16"/>
                  <a:gd name="T6" fmla="*/ 13 w 16"/>
                  <a:gd name="T7" fmla="*/ 3 h 16"/>
                  <a:gd name="T8" fmla="*/ 3 w 16"/>
                  <a:gd name="T9" fmla="*/ 3 h 16"/>
                </a:gdLst>
                <a:ahLst/>
                <a:cxnLst>
                  <a:cxn ang="0">
                    <a:pos x="T0" y="T1"/>
                  </a:cxn>
                  <a:cxn ang="0">
                    <a:pos x="T2" y="T3"/>
                  </a:cxn>
                  <a:cxn ang="0">
                    <a:pos x="T4" y="T5"/>
                  </a:cxn>
                  <a:cxn ang="0">
                    <a:pos x="T6" y="T7"/>
                  </a:cxn>
                  <a:cxn ang="0">
                    <a:pos x="T8" y="T9"/>
                  </a:cxn>
                </a:cxnLst>
                <a:rect l="0" t="0" r="r" b="b"/>
                <a:pathLst>
                  <a:path w="16" h="16">
                    <a:moveTo>
                      <a:pt x="3" y="3"/>
                    </a:moveTo>
                    <a:cubicBezTo>
                      <a:pt x="0" y="6"/>
                      <a:pt x="0" y="10"/>
                      <a:pt x="3" y="13"/>
                    </a:cubicBezTo>
                    <a:cubicBezTo>
                      <a:pt x="5" y="16"/>
                      <a:pt x="10" y="16"/>
                      <a:pt x="13" y="13"/>
                    </a:cubicBezTo>
                    <a:cubicBezTo>
                      <a:pt x="16" y="10"/>
                      <a:pt x="16" y="6"/>
                      <a:pt x="13" y="3"/>
                    </a:cubicBezTo>
                    <a:cubicBezTo>
                      <a:pt x="10" y="0"/>
                      <a:pt x="5" y="0"/>
                      <a:pt x="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35" name="Freeform 54"/>
              <p:cNvSpPr>
                <a:spLocks/>
              </p:cNvSpPr>
              <p:nvPr/>
            </p:nvSpPr>
            <p:spPr bwMode="auto">
              <a:xfrm>
                <a:off x="1596919" y="2326934"/>
                <a:ext cx="17587" cy="17587"/>
              </a:xfrm>
              <a:custGeom>
                <a:avLst/>
                <a:gdLst>
                  <a:gd name="T0" fmla="*/ 3 w 16"/>
                  <a:gd name="T1" fmla="*/ 3 h 16"/>
                  <a:gd name="T2" fmla="*/ 3 w 16"/>
                  <a:gd name="T3" fmla="*/ 13 h 16"/>
                  <a:gd name="T4" fmla="*/ 13 w 16"/>
                  <a:gd name="T5" fmla="*/ 13 h 16"/>
                  <a:gd name="T6" fmla="*/ 13 w 16"/>
                  <a:gd name="T7" fmla="*/ 3 h 16"/>
                  <a:gd name="T8" fmla="*/ 3 w 16"/>
                  <a:gd name="T9" fmla="*/ 3 h 16"/>
                </a:gdLst>
                <a:ahLst/>
                <a:cxnLst>
                  <a:cxn ang="0">
                    <a:pos x="T0" y="T1"/>
                  </a:cxn>
                  <a:cxn ang="0">
                    <a:pos x="T2" y="T3"/>
                  </a:cxn>
                  <a:cxn ang="0">
                    <a:pos x="T4" y="T5"/>
                  </a:cxn>
                  <a:cxn ang="0">
                    <a:pos x="T6" y="T7"/>
                  </a:cxn>
                  <a:cxn ang="0">
                    <a:pos x="T8" y="T9"/>
                  </a:cxn>
                </a:cxnLst>
                <a:rect l="0" t="0" r="r" b="b"/>
                <a:pathLst>
                  <a:path w="16" h="16">
                    <a:moveTo>
                      <a:pt x="3" y="3"/>
                    </a:moveTo>
                    <a:cubicBezTo>
                      <a:pt x="0" y="6"/>
                      <a:pt x="0" y="10"/>
                      <a:pt x="3" y="13"/>
                    </a:cubicBezTo>
                    <a:cubicBezTo>
                      <a:pt x="5" y="16"/>
                      <a:pt x="10" y="16"/>
                      <a:pt x="13" y="13"/>
                    </a:cubicBezTo>
                    <a:cubicBezTo>
                      <a:pt x="16" y="10"/>
                      <a:pt x="16" y="6"/>
                      <a:pt x="13" y="3"/>
                    </a:cubicBezTo>
                    <a:cubicBezTo>
                      <a:pt x="10" y="0"/>
                      <a:pt x="5" y="0"/>
                      <a:pt x="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36" name="Freeform 55"/>
              <p:cNvSpPr>
                <a:spLocks/>
              </p:cNvSpPr>
              <p:nvPr/>
            </p:nvSpPr>
            <p:spPr bwMode="auto">
              <a:xfrm>
                <a:off x="1664953" y="2394969"/>
                <a:ext cx="17587" cy="17587"/>
              </a:xfrm>
              <a:custGeom>
                <a:avLst/>
                <a:gdLst>
                  <a:gd name="T0" fmla="*/ 3 w 16"/>
                  <a:gd name="T1" fmla="*/ 3 h 16"/>
                  <a:gd name="T2" fmla="*/ 3 w 16"/>
                  <a:gd name="T3" fmla="*/ 13 h 16"/>
                  <a:gd name="T4" fmla="*/ 13 w 16"/>
                  <a:gd name="T5" fmla="*/ 13 h 16"/>
                  <a:gd name="T6" fmla="*/ 13 w 16"/>
                  <a:gd name="T7" fmla="*/ 3 h 16"/>
                  <a:gd name="T8" fmla="*/ 3 w 16"/>
                  <a:gd name="T9" fmla="*/ 3 h 16"/>
                </a:gdLst>
                <a:ahLst/>
                <a:cxnLst>
                  <a:cxn ang="0">
                    <a:pos x="T0" y="T1"/>
                  </a:cxn>
                  <a:cxn ang="0">
                    <a:pos x="T2" y="T3"/>
                  </a:cxn>
                  <a:cxn ang="0">
                    <a:pos x="T4" y="T5"/>
                  </a:cxn>
                  <a:cxn ang="0">
                    <a:pos x="T6" y="T7"/>
                  </a:cxn>
                  <a:cxn ang="0">
                    <a:pos x="T8" y="T9"/>
                  </a:cxn>
                </a:cxnLst>
                <a:rect l="0" t="0" r="r" b="b"/>
                <a:pathLst>
                  <a:path w="16" h="16">
                    <a:moveTo>
                      <a:pt x="3" y="3"/>
                    </a:moveTo>
                    <a:cubicBezTo>
                      <a:pt x="0" y="6"/>
                      <a:pt x="0" y="10"/>
                      <a:pt x="3" y="13"/>
                    </a:cubicBezTo>
                    <a:cubicBezTo>
                      <a:pt x="5" y="16"/>
                      <a:pt x="10" y="16"/>
                      <a:pt x="13" y="13"/>
                    </a:cubicBezTo>
                    <a:cubicBezTo>
                      <a:pt x="16" y="10"/>
                      <a:pt x="16" y="6"/>
                      <a:pt x="13" y="3"/>
                    </a:cubicBezTo>
                    <a:cubicBezTo>
                      <a:pt x="10" y="0"/>
                      <a:pt x="5" y="0"/>
                      <a:pt x="3"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37" name="Freeform 56"/>
              <p:cNvSpPr>
                <a:spLocks noEditPoints="1"/>
              </p:cNvSpPr>
              <p:nvPr/>
            </p:nvSpPr>
            <p:spPr bwMode="auto">
              <a:xfrm>
                <a:off x="1559893" y="2241774"/>
                <a:ext cx="174947" cy="256404"/>
              </a:xfrm>
              <a:custGeom>
                <a:avLst/>
                <a:gdLst>
                  <a:gd name="T0" fmla="*/ 146 w 160"/>
                  <a:gd name="T1" fmla="*/ 103 h 234"/>
                  <a:gd name="T2" fmla="*/ 144 w 160"/>
                  <a:gd name="T3" fmla="*/ 103 h 234"/>
                  <a:gd name="T4" fmla="*/ 128 w 160"/>
                  <a:gd name="T5" fmla="*/ 69 h 234"/>
                  <a:gd name="T6" fmla="*/ 117 w 160"/>
                  <a:gd name="T7" fmla="*/ 12 h 234"/>
                  <a:gd name="T8" fmla="*/ 103 w 160"/>
                  <a:gd name="T9" fmla="*/ 0 h 234"/>
                  <a:gd name="T10" fmla="*/ 44 w 160"/>
                  <a:gd name="T11" fmla="*/ 0 h 234"/>
                  <a:gd name="T12" fmla="*/ 30 w 160"/>
                  <a:gd name="T13" fmla="*/ 12 h 234"/>
                  <a:gd name="T14" fmla="*/ 20 w 160"/>
                  <a:gd name="T15" fmla="*/ 67 h 234"/>
                  <a:gd name="T16" fmla="*/ 0 w 160"/>
                  <a:gd name="T17" fmla="*/ 117 h 234"/>
                  <a:gd name="T18" fmla="*/ 19 w 160"/>
                  <a:gd name="T19" fmla="*/ 166 h 234"/>
                  <a:gd name="T20" fmla="*/ 29 w 160"/>
                  <a:gd name="T21" fmla="*/ 222 h 234"/>
                  <a:gd name="T22" fmla="*/ 44 w 160"/>
                  <a:gd name="T23" fmla="*/ 234 h 234"/>
                  <a:gd name="T24" fmla="*/ 102 w 160"/>
                  <a:gd name="T25" fmla="*/ 234 h 234"/>
                  <a:gd name="T26" fmla="*/ 116 w 160"/>
                  <a:gd name="T27" fmla="*/ 222 h 234"/>
                  <a:gd name="T28" fmla="*/ 127 w 160"/>
                  <a:gd name="T29" fmla="*/ 166 h 234"/>
                  <a:gd name="T30" fmla="*/ 144 w 160"/>
                  <a:gd name="T31" fmla="*/ 131 h 234"/>
                  <a:gd name="T32" fmla="*/ 146 w 160"/>
                  <a:gd name="T33" fmla="*/ 132 h 234"/>
                  <a:gd name="T34" fmla="*/ 160 w 160"/>
                  <a:gd name="T35" fmla="*/ 117 h 234"/>
                  <a:gd name="T36" fmla="*/ 146 w 160"/>
                  <a:gd name="T37" fmla="*/ 103 h 234"/>
                  <a:gd name="T38" fmla="*/ 44 w 160"/>
                  <a:gd name="T39" fmla="*/ 15 h 234"/>
                  <a:gd name="T40" fmla="*/ 103 w 160"/>
                  <a:gd name="T41" fmla="*/ 15 h 234"/>
                  <a:gd name="T42" fmla="*/ 110 w 160"/>
                  <a:gd name="T43" fmla="*/ 54 h 234"/>
                  <a:gd name="T44" fmla="*/ 73 w 160"/>
                  <a:gd name="T45" fmla="*/ 44 h 234"/>
                  <a:gd name="T46" fmla="*/ 37 w 160"/>
                  <a:gd name="T47" fmla="*/ 54 h 234"/>
                  <a:gd name="T48" fmla="*/ 44 w 160"/>
                  <a:gd name="T49" fmla="*/ 15 h 234"/>
                  <a:gd name="T50" fmla="*/ 102 w 160"/>
                  <a:gd name="T51" fmla="*/ 219 h 234"/>
                  <a:gd name="T52" fmla="*/ 44 w 160"/>
                  <a:gd name="T53" fmla="*/ 219 h 234"/>
                  <a:gd name="T54" fmla="*/ 36 w 160"/>
                  <a:gd name="T55" fmla="*/ 180 h 234"/>
                  <a:gd name="T56" fmla="*/ 73 w 160"/>
                  <a:gd name="T57" fmla="*/ 190 h 234"/>
                  <a:gd name="T58" fmla="*/ 109 w 160"/>
                  <a:gd name="T59" fmla="*/ 180 h 234"/>
                  <a:gd name="T60" fmla="*/ 102 w 160"/>
                  <a:gd name="T61" fmla="*/ 219 h 234"/>
                  <a:gd name="T62" fmla="*/ 73 w 160"/>
                  <a:gd name="T63" fmla="*/ 176 h 234"/>
                  <a:gd name="T64" fmla="*/ 14 w 160"/>
                  <a:gd name="T65" fmla="*/ 117 h 234"/>
                  <a:gd name="T66" fmla="*/ 73 w 160"/>
                  <a:gd name="T67" fmla="*/ 59 h 234"/>
                  <a:gd name="T68" fmla="*/ 131 w 160"/>
                  <a:gd name="T69" fmla="*/ 117 h 234"/>
                  <a:gd name="T70" fmla="*/ 73 w 160"/>
                  <a:gd name="T71" fmla="*/ 17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234">
                    <a:moveTo>
                      <a:pt x="146" y="103"/>
                    </a:moveTo>
                    <a:cubicBezTo>
                      <a:pt x="145" y="103"/>
                      <a:pt x="145" y="103"/>
                      <a:pt x="144" y="103"/>
                    </a:cubicBezTo>
                    <a:cubicBezTo>
                      <a:pt x="142" y="90"/>
                      <a:pt x="136" y="79"/>
                      <a:pt x="128" y="69"/>
                    </a:cubicBezTo>
                    <a:cubicBezTo>
                      <a:pt x="117" y="12"/>
                      <a:pt x="117" y="12"/>
                      <a:pt x="117" y="12"/>
                    </a:cubicBezTo>
                    <a:cubicBezTo>
                      <a:pt x="116" y="5"/>
                      <a:pt x="110" y="0"/>
                      <a:pt x="103" y="0"/>
                    </a:cubicBezTo>
                    <a:cubicBezTo>
                      <a:pt x="44" y="0"/>
                      <a:pt x="44" y="0"/>
                      <a:pt x="44" y="0"/>
                    </a:cubicBezTo>
                    <a:cubicBezTo>
                      <a:pt x="37" y="0"/>
                      <a:pt x="31" y="5"/>
                      <a:pt x="30" y="12"/>
                    </a:cubicBezTo>
                    <a:cubicBezTo>
                      <a:pt x="20" y="67"/>
                      <a:pt x="20" y="67"/>
                      <a:pt x="20" y="67"/>
                    </a:cubicBezTo>
                    <a:cubicBezTo>
                      <a:pt x="7" y="80"/>
                      <a:pt x="0" y="98"/>
                      <a:pt x="0" y="117"/>
                    </a:cubicBezTo>
                    <a:cubicBezTo>
                      <a:pt x="0" y="136"/>
                      <a:pt x="7" y="153"/>
                      <a:pt x="19" y="166"/>
                    </a:cubicBezTo>
                    <a:cubicBezTo>
                      <a:pt x="29" y="222"/>
                      <a:pt x="29" y="222"/>
                      <a:pt x="29" y="222"/>
                    </a:cubicBezTo>
                    <a:cubicBezTo>
                      <a:pt x="30" y="229"/>
                      <a:pt x="36" y="234"/>
                      <a:pt x="44" y="234"/>
                    </a:cubicBezTo>
                    <a:cubicBezTo>
                      <a:pt x="102" y="234"/>
                      <a:pt x="102" y="234"/>
                      <a:pt x="102" y="234"/>
                    </a:cubicBezTo>
                    <a:cubicBezTo>
                      <a:pt x="109" y="234"/>
                      <a:pt x="115" y="229"/>
                      <a:pt x="116" y="222"/>
                    </a:cubicBezTo>
                    <a:cubicBezTo>
                      <a:pt x="127" y="166"/>
                      <a:pt x="127" y="166"/>
                      <a:pt x="127" y="166"/>
                    </a:cubicBezTo>
                    <a:cubicBezTo>
                      <a:pt x="135" y="156"/>
                      <a:pt x="142" y="145"/>
                      <a:pt x="144" y="131"/>
                    </a:cubicBezTo>
                    <a:cubicBezTo>
                      <a:pt x="145" y="132"/>
                      <a:pt x="145" y="132"/>
                      <a:pt x="146" y="132"/>
                    </a:cubicBezTo>
                    <a:cubicBezTo>
                      <a:pt x="154" y="132"/>
                      <a:pt x="160" y="125"/>
                      <a:pt x="160" y="117"/>
                    </a:cubicBezTo>
                    <a:cubicBezTo>
                      <a:pt x="160" y="109"/>
                      <a:pt x="154" y="103"/>
                      <a:pt x="146" y="103"/>
                    </a:cubicBezTo>
                    <a:close/>
                    <a:moveTo>
                      <a:pt x="44" y="15"/>
                    </a:moveTo>
                    <a:cubicBezTo>
                      <a:pt x="103" y="15"/>
                      <a:pt x="103" y="15"/>
                      <a:pt x="103" y="15"/>
                    </a:cubicBezTo>
                    <a:cubicBezTo>
                      <a:pt x="110" y="54"/>
                      <a:pt x="110" y="54"/>
                      <a:pt x="110" y="54"/>
                    </a:cubicBezTo>
                    <a:cubicBezTo>
                      <a:pt x="99" y="48"/>
                      <a:pt x="87" y="44"/>
                      <a:pt x="73" y="44"/>
                    </a:cubicBezTo>
                    <a:cubicBezTo>
                      <a:pt x="60" y="44"/>
                      <a:pt x="48" y="48"/>
                      <a:pt x="37" y="54"/>
                    </a:cubicBezTo>
                    <a:lnTo>
                      <a:pt x="44" y="15"/>
                    </a:lnTo>
                    <a:close/>
                    <a:moveTo>
                      <a:pt x="102" y="219"/>
                    </a:moveTo>
                    <a:cubicBezTo>
                      <a:pt x="44" y="219"/>
                      <a:pt x="44" y="219"/>
                      <a:pt x="44" y="219"/>
                    </a:cubicBezTo>
                    <a:cubicBezTo>
                      <a:pt x="36" y="180"/>
                      <a:pt x="36" y="180"/>
                      <a:pt x="36" y="180"/>
                    </a:cubicBezTo>
                    <a:cubicBezTo>
                      <a:pt x="47" y="186"/>
                      <a:pt x="59" y="190"/>
                      <a:pt x="73" y="190"/>
                    </a:cubicBezTo>
                    <a:cubicBezTo>
                      <a:pt x="86" y="190"/>
                      <a:pt x="98" y="186"/>
                      <a:pt x="109" y="180"/>
                    </a:cubicBezTo>
                    <a:lnTo>
                      <a:pt x="102" y="219"/>
                    </a:lnTo>
                    <a:close/>
                    <a:moveTo>
                      <a:pt x="73" y="176"/>
                    </a:moveTo>
                    <a:cubicBezTo>
                      <a:pt x="40" y="176"/>
                      <a:pt x="14" y="149"/>
                      <a:pt x="14" y="117"/>
                    </a:cubicBezTo>
                    <a:cubicBezTo>
                      <a:pt x="14" y="85"/>
                      <a:pt x="40" y="59"/>
                      <a:pt x="73" y="59"/>
                    </a:cubicBezTo>
                    <a:cubicBezTo>
                      <a:pt x="105" y="59"/>
                      <a:pt x="131" y="85"/>
                      <a:pt x="131" y="117"/>
                    </a:cubicBezTo>
                    <a:cubicBezTo>
                      <a:pt x="131" y="149"/>
                      <a:pt x="105" y="176"/>
                      <a:pt x="73" y="17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38" name="Freeform 57"/>
              <p:cNvSpPr>
                <a:spLocks/>
              </p:cNvSpPr>
              <p:nvPr/>
            </p:nvSpPr>
            <p:spPr bwMode="auto">
              <a:xfrm>
                <a:off x="1630705" y="2329248"/>
                <a:ext cx="49522" cy="48134"/>
              </a:xfrm>
              <a:custGeom>
                <a:avLst/>
                <a:gdLst>
                  <a:gd name="T0" fmla="*/ 44 w 45"/>
                  <a:gd name="T1" fmla="*/ 1 h 44"/>
                  <a:gd name="T2" fmla="*/ 40 w 45"/>
                  <a:gd name="T3" fmla="*/ 1 h 44"/>
                  <a:gd name="T4" fmla="*/ 3 w 45"/>
                  <a:gd name="T5" fmla="*/ 32 h 44"/>
                  <a:gd name="T6" fmla="*/ 0 w 45"/>
                  <a:gd name="T7" fmla="*/ 37 h 44"/>
                  <a:gd name="T8" fmla="*/ 3 w 45"/>
                  <a:gd name="T9" fmla="*/ 42 h 44"/>
                  <a:gd name="T10" fmla="*/ 8 w 45"/>
                  <a:gd name="T11" fmla="*/ 44 h 44"/>
                  <a:gd name="T12" fmla="*/ 13 w 45"/>
                  <a:gd name="T13" fmla="*/ 42 h 44"/>
                  <a:gd name="T14" fmla="*/ 26 w 45"/>
                  <a:gd name="T15" fmla="*/ 26 h 44"/>
                  <a:gd name="T16" fmla="*/ 44 w 45"/>
                  <a:gd name="T17" fmla="*/ 4 h 44"/>
                  <a:gd name="T18" fmla="*/ 44 w 45"/>
                  <a:gd name="T19" fmla="*/ 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44">
                    <a:moveTo>
                      <a:pt x="44" y="1"/>
                    </a:moveTo>
                    <a:cubicBezTo>
                      <a:pt x="43" y="0"/>
                      <a:pt x="41" y="0"/>
                      <a:pt x="40" y="1"/>
                    </a:cubicBezTo>
                    <a:cubicBezTo>
                      <a:pt x="3" y="32"/>
                      <a:pt x="3" y="32"/>
                      <a:pt x="3" y="32"/>
                    </a:cubicBezTo>
                    <a:cubicBezTo>
                      <a:pt x="1" y="33"/>
                      <a:pt x="0" y="35"/>
                      <a:pt x="0" y="37"/>
                    </a:cubicBezTo>
                    <a:cubicBezTo>
                      <a:pt x="0" y="39"/>
                      <a:pt x="1" y="41"/>
                      <a:pt x="3" y="42"/>
                    </a:cubicBezTo>
                    <a:cubicBezTo>
                      <a:pt x="4" y="44"/>
                      <a:pt x="6" y="44"/>
                      <a:pt x="8" y="44"/>
                    </a:cubicBezTo>
                    <a:cubicBezTo>
                      <a:pt x="10" y="44"/>
                      <a:pt x="11" y="44"/>
                      <a:pt x="13" y="42"/>
                    </a:cubicBezTo>
                    <a:cubicBezTo>
                      <a:pt x="26" y="26"/>
                      <a:pt x="26" y="26"/>
                      <a:pt x="26" y="26"/>
                    </a:cubicBezTo>
                    <a:cubicBezTo>
                      <a:pt x="44" y="4"/>
                      <a:pt x="44" y="4"/>
                      <a:pt x="44" y="4"/>
                    </a:cubicBezTo>
                    <a:cubicBezTo>
                      <a:pt x="45" y="3"/>
                      <a:pt x="45" y="2"/>
                      <a:pt x="44"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grpSp>
        <p:sp>
          <p:nvSpPr>
            <p:cNvPr id="39" name="Freeform 78"/>
            <p:cNvSpPr>
              <a:spLocks noEditPoints="1"/>
            </p:cNvSpPr>
            <p:nvPr/>
          </p:nvSpPr>
          <p:spPr bwMode="auto">
            <a:xfrm>
              <a:off x="8970194" y="5187547"/>
              <a:ext cx="810087" cy="786174"/>
            </a:xfrm>
            <a:custGeom>
              <a:avLst/>
              <a:gdLst>
                <a:gd name="T0" fmla="*/ 172 w 241"/>
                <a:gd name="T1" fmla="*/ 0 h 234"/>
                <a:gd name="T2" fmla="*/ 102 w 241"/>
                <a:gd name="T3" fmla="*/ 50 h 234"/>
                <a:gd name="T4" fmla="*/ 102 w 241"/>
                <a:gd name="T5" fmla="*/ 50 h 234"/>
                <a:gd name="T6" fmla="*/ 26 w 241"/>
                <a:gd name="T7" fmla="*/ 126 h 234"/>
                <a:gd name="T8" fmla="*/ 2 w 241"/>
                <a:gd name="T9" fmla="*/ 201 h 234"/>
                <a:gd name="T10" fmla="*/ 26 w 241"/>
                <a:gd name="T11" fmla="*/ 234 h 234"/>
                <a:gd name="T12" fmla="*/ 96 w 241"/>
                <a:gd name="T13" fmla="*/ 216 h 234"/>
                <a:gd name="T14" fmla="*/ 220 w 241"/>
                <a:gd name="T15" fmla="*/ 97 h 234"/>
                <a:gd name="T16" fmla="*/ 117 w 241"/>
                <a:gd name="T17" fmla="*/ 174 h 234"/>
                <a:gd name="T18" fmla="*/ 181 w 241"/>
                <a:gd name="T19" fmla="*/ 86 h 234"/>
                <a:gd name="T20" fmla="*/ 174 w 241"/>
                <a:gd name="T21" fmla="*/ 123 h 234"/>
                <a:gd name="T22" fmla="*/ 117 w 241"/>
                <a:gd name="T23" fmla="*/ 180 h 234"/>
                <a:gd name="T24" fmla="*/ 108 w 241"/>
                <a:gd name="T25" fmla="*/ 148 h 234"/>
                <a:gd name="T26" fmla="*/ 84 w 241"/>
                <a:gd name="T27" fmla="*/ 125 h 234"/>
                <a:gd name="T28" fmla="*/ 169 w 241"/>
                <a:gd name="T29" fmla="*/ 66 h 234"/>
                <a:gd name="T30" fmla="*/ 108 w 241"/>
                <a:gd name="T31" fmla="*/ 148 h 234"/>
                <a:gd name="T32" fmla="*/ 56 w 241"/>
                <a:gd name="T33" fmla="*/ 117 h 234"/>
                <a:gd name="T34" fmla="*/ 146 w 241"/>
                <a:gd name="T35" fmla="*/ 53 h 234"/>
                <a:gd name="T36" fmla="*/ 31 w 241"/>
                <a:gd name="T37" fmla="*/ 219 h 234"/>
                <a:gd name="T38" fmla="*/ 15 w 241"/>
                <a:gd name="T39" fmla="*/ 209 h 234"/>
                <a:gd name="T40" fmla="*/ 23 w 241"/>
                <a:gd name="T41" fmla="*/ 177 h 234"/>
                <a:gd name="T42" fmla="*/ 58 w 241"/>
                <a:gd name="T43" fmla="*/ 211 h 234"/>
                <a:gd name="T44" fmla="*/ 65 w 241"/>
                <a:gd name="T45" fmla="*/ 210 h 234"/>
                <a:gd name="T46" fmla="*/ 26 w 241"/>
                <a:gd name="T47" fmla="*/ 169 h 234"/>
                <a:gd name="T48" fmla="*/ 36 w 241"/>
                <a:gd name="T49" fmla="*/ 138 h 234"/>
                <a:gd name="T50" fmla="*/ 95 w 241"/>
                <a:gd name="T51" fmla="*/ 201 h 234"/>
                <a:gd name="T52" fmla="*/ 65 w 241"/>
                <a:gd name="T53" fmla="*/ 210 h 234"/>
                <a:gd name="T54" fmla="*/ 198 w 241"/>
                <a:gd name="T55" fmla="*/ 99 h 234"/>
                <a:gd name="T56" fmla="*/ 179 w 241"/>
                <a:gd name="T57" fmla="*/ 55 h 234"/>
                <a:gd name="T58" fmla="*/ 148 w 241"/>
                <a:gd name="T59" fmla="*/ 24 h 234"/>
                <a:gd name="T60" fmla="*/ 205 w 241"/>
                <a:gd name="T61" fmla="*/ 30 h 234"/>
                <a:gd name="T62" fmla="*/ 210 w 241"/>
                <a:gd name="T63" fmla="*/ 8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34">
                  <a:moveTo>
                    <a:pt x="215" y="19"/>
                  </a:moveTo>
                  <a:cubicBezTo>
                    <a:pt x="203" y="7"/>
                    <a:pt x="187" y="0"/>
                    <a:pt x="172" y="0"/>
                  </a:cubicBezTo>
                  <a:cubicBezTo>
                    <a:pt x="159" y="0"/>
                    <a:pt x="146" y="5"/>
                    <a:pt x="138" y="14"/>
                  </a:cubicBezTo>
                  <a:cubicBezTo>
                    <a:pt x="102" y="50"/>
                    <a:pt x="102" y="50"/>
                    <a:pt x="102" y="50"/>
                  </a:cubicBezTo>
                  <a:cubicBezTo>
                    <a:pt x="102" y="50"/>
                    <a:pt x="102" y="50"/>
                    <a:pt x="102" y="50"/>
                  </a:cubicBezTo>
                  <a:cubicBezTo>
                    <a:pt x="102" y="50"/>
                    <a:pt x="102" y="50"/>
                    <a:pt x="102" y="50"/>
                  </a:cubicBezTo>
                  <a:cubicBezTo>
                    <a:pt x="102" y="50"/>
                    <a:pt x="102" y="50"/>
                    <a:pt x="102" y="50"/>
                  </a:cubicBezTo>
                  <a:cubicBezTo>
                    <a:pt x="26" y="126"/>
                    <a:pt x="26" y="126"/>
                    <a:pt x="26" y="126"/>
                  </a:cubicBezTo>
                  <a:cubicBezTo>
                    <a:pt x="23" y="130"/>
                    <a:pt x="20" y="134"/>
                    <a:pt x="19" y="139"/>
                  </a:cubicBezTo>
                  <a:cubicBezTo>
                    <a:pt x="2" y="201"/>
                    <a:pt x="2" y="201"/>
                    <a:pt x="2" y="201"/>
                  </a:cubicBezTo>
                  <a:cubicBezTo>
                    <a:pt x="2" y="201"/>
                    <a:pt x="0" y="206"/>
                    <a:pt x="0" y="209"/>
                  </a:cubicBezTo>
                  <a:cubicBezTo>
                    <a:pt x="0" y="223"/>
                    <a:pt x="12" y="234"/>
                    <a:pt x="26" y="234"/>
                  </a:cubicBezTo>
                  <a:cubicBezTo>
                    <a:pt x="29" y="234"/>
                    <a:pt x="34" y="233"/>
                    <a:pt x="34" y="233"/>
                  </a:cubicBezTo>
                  <a:cubicBezTo>
                    <a:pt x="96" y="216"/>
                    <a:pt x="96" y="216"/>
                    <a:pt x="96" y="216"/>
                  </a:cubicBezTo>
                  <a:cubicBezTo>
                    <a:pt x="101" y="215"/>
                    <a:pt x="105" y="213"/>
                    <a:pt x="109" y="209"/>
                  </a:cubicBezTo>
                  <a:cubicBezTo>
                    <a:pt x="220" y="97"/>
                    <a:pt x="220" y="97"/>
                    <a:pt x="220" y="97"/>
                  </a:cubicBezTo>
                  <a:cubicBezTo>
                    <a:pt x="241" y="76"/>
                    <a:pt x="238" y="42"/>
                    <a:pt x="215" y="19"/>
                  </a:cubicBezTo>
                  <a:close/>
                  <a:moveTo>
                    <a:pt x="117" y="174"/>
                  </a:moveTo>
                  <a:cubicBezTo>
                    <a:pt x="117" y="168"/>
                    <a:pt x="115" y="161"/>
                    <a:pt x="112" y="155"/>
                  </a:cubicBezTo>
                  <a:cubicBezTo>
                    <a:pt x="181" y="86"/>
                    <a:pt x="181" y="86"/>
                    <a:pt x="181" y="86"/>
                  </a:cubicBezTo>
                  <a:cubicBezTo>
                    <a:pt x="185" y="99"/>
                    <a:pt x="183" y="113"/>
                    <a:pt x="174" y="123"/>
                  </a:cubicBezTo>
                  <a:cubicBezTo>
                    <a:pt x="174" y="123"/>
                    <a:pt x="174" y="123"/>
                    <a:pt x="174" y="123"/>
                  </a:cubicBezTo>
                  <a:cubicBezTo>
                    <a:pt x="174" y="123"/>
                    <a:pt x="174" y="123"/>
                    <a:pt x="174" y="123"/>
                  </a:cubicBezTo>
                  <a:cubicBezTo>
                    <a:pt x="117" y="180"/>
                    <a:pt x="117" y="180"/>
                    <a:pt x="117" y="180"/>
                  </a:cubicBezTo>
                  <a:cubicBezTo>
                    <a:pt x="117" y="178"/>
                    <a:pt x="118" y="176"/>
                    <a:pt x="117" y="174"/>
                  </a:cubicBezTo>
                  <a:close/>
                  <a:moveTo>
                    <a:pt x="108" y="148"/>
                  </a:moveTo>
                  <a:cubicBezTo>
                    <a:pt x="106" y="144"/>
                    <a:pt x="103" y="140"/>
                    <a:pt x="99" y="136"/>
                  </a:cubicBezTo>
                  <a:cubicBezTo>
                    <a:pt x="94" y="131"/>
                    <a:pt x="89" y="128"/>
                    <a:pt x="84" y="125"/>
                  </a:cubicBezTo>
                  <a:cubicBezTo>
                    <a:pt x="154" y="55"/>
                    <a:pt x="154" y="55"/>
                    <a:pt x="154" y="55"/>
                  </a:cubicBezTo>
                  <a:cubicBezTo>
                    <a:pt x="159" y="58"/>
                    <a:pt x="164" y="61"/>
                    <a:pt x="169" y="66"/>
                  </a:cubicBezTo>
                  <a:cubicBezTo>
                    <a:pt x="173" y="70"/>
                    <a:pt x="176" y="74"/>
                    <a:pt x="178" y="79"/>
                  </a:cubicBezTo>
                  <a:lnTo>
                    <a:pt x="108" y="148"/>
                  </a:lnTo>
                  <a:close/>
                  <a:moveTo>
                    <a:pt x="77" y="121"/>
                  </a:moveTo>
                  <a:cubicBezTo>
                    <a:pt x="70" y="119"/>
                    <a:pt x="63" y="117"/>
                    <a:pt x="56" y="117"/>
                  </a:cubicBezTo>
                  <a:cubicBezTo>
                    <a:pt x="112" y="60"/>
                    <a:pt x="112" y="60"/>
                    <a:pt x="112" y="60"/>
                  </a:cubicBezTo>
                  <a:cubicBezTo>
                    <a:pt x="121" y="52"/>
                    <a:pt x="133" y="50"/>
                    <a:pt x="146" y="53"/>
                  </a:cubicBezTo>
                  <a:lnTo>
                    <a:pt x="77" y="121"/>
                  </a:lnTo>
                  <a:close/>
                  <a:moveTo>
                    <a:pt x="31" y="219"/>
                  </a:moveTo>
                  <a:cubicBezTo>
                    <a:pt x="30" y="219"/>
                    <a:pt x="28" y="219"/>
                    <a:pt x="26" y="220"/>
                  </a:cubicBezTo>
                  <a:cubicBezTo>
                    <a:pt x="20" y="219"/>
                    <a:pt x="15" y="215"/>
                    <a:pt x="15" y="209"/>
                  </a:cubicBezTo>
                  <a:cubicBezTo>
                    <a:pt x="15" y="207"/>
                    <a:pt x="16" y="205"/>
                    <a:pt x="16" y="204"/>
                  </a:cubicBezTo>
                  <a:cubicBezTo>
                    <a:pt x="23" y="177"/>
                    <a:pt x="23" y="177"/>
                    <a:pt x="23" y="177"/>
                  </a:cubicBezTo>
                  <a:cubicBezTo>
                    <a:pt x="32" y="176"/>
                    <a:pt x="41" y="180"/>
                    <a:pt x="48" y="187"/>
                  </a:cubicBezTo>
                  <a:cubicBezTo>
                    <a:pt x="55" y="194"/>
                    <a:pt x="58" y="203"/>
                    <a:pt x="58" y="211"/>
                  </a:cubicBezTo>
                  <a:lnTo>
                    <a:pt x="31" y="219"/>
                  </a:lnTo>
                  <a:close/>
                  <a:moveTo>
                    <a:pt x="65" y="210"/>
                  </a:moveTo>
                  <a:cubicBezTo>
                    <a:pt x="65" y="200"/>
                    <a:pt x="61" y="190"/>
                    <a:pt x="53" y="182"/>
                  </a:cubicBezTo>
                  <a:cubicBezTo>
                    <a:pt x="45" y="174"/>
                    <a:pt x="35" y="170"/>
                    <a:pt x="26" y="169"/>
                  </a:cubicBezTo>
                  <a:cubicBezTo>
                    <a:pt x="33" y="143"/>
                    <a:pt x="33" y="143"/>
                    <a:pt x="33" y="143"/>
                  </a:cubicBezTo>
                  <a:cubicBezTo>
                    <a:pt x="33" y="141"/>
                    <a:pt x="34" y="139"/>
                    <a:pt x="36" y="138"/>
                  </a:cubicBezTo>
                  <a:cubicBezTo>
                    <a:pt x="50" y="127"/>
                    <a:pt x="73" y="130"/>
                    <a:pt x="88" y="146"/>
                  </a:cubicBezTo>
                  <a:cubicBezTo>
                    <a:pt x="105" y="163"/>
                    <a:pt x="108" y="187"/>
                    <a:pt x="95" y="201"/>
                  </a:cubicBezTo>
                  <a:cubicBezTo>
                    <a:pt x="94" y="202"/>
                    <a:pt x="93" y="202"/>
                    <a:pt x="92" y="202"/>
                  </a:cubicBezTo>
                  <a:lnTo>
                    <a:pt x="65" y="210"/>
                  </a:lnTo>
                  <a:close/>
                  <a:moveTo>
                    <a:pt x="210" y="86"/>
                  </a:moveTo>
                  <a:cubicBezTo>
                    <a:pt x="198" y="99"/>
                    <a:pt x="198" y="99"/>
                    <a:pt x="198" y="99"/>
                  </a:cubicBezTo>
                  <a:cubicBezTo>
                    <a:pt x="198" y="97"/>
                    <a:pt x="198" y="96"/>
                    <a:pt x="198" y="94"/>
                  </a:cubicBezTo>
                  <a:cubicBezTo>
                    <a:pt x="196" y="80"/>
                    <a:pt x="190" y="66"/>
                    <a:pt x="179" y="55"/>
                  </a:cubicBezTo>
                  <a:cubicBezTo>
                    <a:pt x="167" y="44"/>
                    <a:pt x="151" y="37"/>
                    <a:pt x="136" y="37"/>
                  </a:cubicBezTo>
                  <a:cubicBezTo>
                    <a:pt x="148" y="24"/>
                    <a:pt x="148" y="24"/>
                    <a:pt x="148" y="24"/>
                  </a:cubicBezTo>
                  <a:cubicBezTo>
                    <a:pt x="154" y="18"/>
                    <a:pt x="162" y="15"/>
                    <a:pt x="172" y="15"/>
                  </a:cubicBezTo>
                  <a:cubicBezTo>
                    <a:pt x="183" y="15"/>
                    <a:pt x="196" y="20"/>
                    <a:pt x="205" y="30"/>
                  </a:cubicBezTo>
                  <a:cubicBezTo>
                    <a:pt x="214" y="38"/>
                    <a:pt x="219" y="49"/>
                    <a:pt x="219" y="60"/>
                  </a:cubicBezTo>
                  <a:cubicBezTo>
                    <a:pt x="220" y="70"/>
                    <a:pt x="217" y="80"/>
                    <a:pt x="210" y="86"/>
                  </a:cubicBezTo>
                  <a:close/>
                </a:path>
              </a:pathLst>
            </a:custGeom>
            <a:solidFill>
              <a:schemeClr val="bg1"/>
            </a:solidFill>
            <a:ln>
              <a:noFill/>
            </a:ln>
          </p:spPr>
          <p:txBody>
            <a:bodyPr vert="horz" wrap="square" lIns="182843" tIns="91422" rIns="182843" bIns="91422" numCol="1" anchor="t" anchorCtr="0" compatLnSpc="1">
              <a:prstTxWarp prst="textNoShape">
                <a:avLst/>
              </a:prstTxWarp>
            </a:bodyPr>
            <a:lstStyle/>
            <a:p>
              <a:endParaRPr lang="id-ID" sz="1100">
                <a:latin typeface="+mj-lt"/>
              </a:endParaRPr>
            </a:p>
          </p:txBody>
        </p:sp>
        <p:grpSp>
          <p:nvGrpSpPr>
            <p:cNvPr id="40" name="Group 39"/>
            <p:cNvGrpSpPr/>
            <p:nvPr>
              <p:custDataLst>
                <p:tags r:id="rId4"/>
              </p:custDataLst>
            </p:nvPr>
          </p:nvGrpSpPr>
          <p:grpSpPr>
            <a:xfrm>
              <a:off x="11629560" y="7631285"/>
              <a:ext cx="785969" cy="735086"/>
              <a:chOff x="998489" y="2241774"/>
              <a:chExt cx="256404" cy="239742"/>
            </a:xfrm>
            <a:solidFill>
              <a:schemeClr val="bg1"/>
            </a:solidFill>
          </p:grpSpPr>
          <p:sp>
            <p:nvSpPr>
              <p:cNvPr id="41" name="Freeform 58"/>
              <p:cNvSpPr>
                <a:spLocks noEditPoints="1"/>
              </p:cNvSpPr>
              <p:nvPr/>
            </p:nvSpPr>
            <p:spPr bwMode="auto">
              <a:xfrm>
                <a:off x="998489" y="2241774"/>
                <a:ext cx="256404" cy="239742"/>
              </a:xfrm>
              <a:custGeom>
                <a:avLst/>
                <a:gdLst>
                  <a:gd name="T0" fmla="*/ 230 w 234"/>
                  <a:gd name="T1" fmla="*/ 48 h 219"/>
                  <a:gd name="T2" fmla="*/ 186 w 234"/>
                  <a:gd name="T3" fmla="*/ 5 h 219"/>
                  <a:gd name="T4" fmla="*/ 176 w 234"/>
                  <a:gd name="T5" fmla="*/ 0 h 219"/>
                  <a:gd name="T6" fmla="*/ 22 w 234"/>
                  <a:gd name="T7" fmla="*/ 0 h 219"/>
                  <a:gd name="T8" fmla="*/ 0 w 234"/>
                  <a:gd name="T9" fmla="*/ 22 h 219"/>
                  <a:gd name="T10" fmla="*/ 0 w 234"/>
                  <a:gd name="T11" fmla="*/ 197 h 219"/>
                  <a:gd name="T12" fmla="*/ 22 w 234"/>
                  <a:gd name="T13" fmla="*/ 219 h 219"/>
                  <a:gd name="T14" fmla="*/ 212 w 234"/>
                  <a:gd name="T15" fmla="*/ 219 h 219"/>
                  <a:gd name="T16" fmla="*/ 234 w 234"/>
                  <a:gd name="T17" fmla="*/ 197 h 219"/>
                  <a:gd name="T18" fmla="*/ 234 w 234"/>
                  <a:gd name="T19" fmla="*/ 59 h 219"/>
                  <a:gd name="T20" fmla="*/ 230 w 234"/>
                  <a:gd name="T21" fmla="*/ 48 h 219"/>
                  <a:gd name="T22" fmla="*/ 220 w 234"/>
                  <a:gd name="T23" fmla="*/ 197 h 219"/>
                  <a:gd name="T24" fmla="*/ 212 w 234"/>
                  <a:gd name="T25" fmla="*/ 205 h 219"/>
                  <a:gd name="T26" fmla="*/ 22 w 234"/>
                  <a:gd name="T27" fmla="*/ 205 h 219"/>
                  <a:gd name="T28" fmla="*/ 15 w 234"/>
                  <a:gd name="T29" fmla="*/ 197 h 219"/>
                  <a:gd name="T30" fmla="*/ 15 w 234"/>
                  <a:gd name="T31" fmla="*/ 22 h 219"/>
                  <a:gd name="T32" fmla="*/ 22 w 234"/>
                  <a:gd name="T33" fmla="*/ 15 h 219"/>
                  <a:gd name="T34" fmla="*/ 168 w 234"/>
                  <a:gd name="T35" fmla="*/ 15 h 219"/>
                  <a:gd name="T36" fmla="*/ 168 w 234"/>
                  <a:gd name="T37" fmla="*/ 44 h 219"/>
                  <a:gd name="T38" fmla="*/ 168 w 234"/>
                  <a:gd name="T39" fmla="*/ 44 h 219"/>
                  <a:gd name="T40" fmla="*/ 190 w 234"/>
                  <a:gd name="T41" fmla="*/ 66 h 219"/>
                  <a:gd name="T42" fmla="*/ 198 w 234"/>
                  <a:gd name="T43" fmla="*/ 66 h 219"/>
                  <a:gd name="T44" fmla="*/ 220 w 234"/>
                  <a:gd name="T45" fmla="*/ 66 h 219"/>
                  <a:gd name="T46" fmla="*/ 220 w 234"/>
                  <a:gd name="T47" fmla="*/ 197 h 219"/>
                  <a:gd name="T48" fmla="*/ 198 w 234"/>
                  <a:gd name="T49" fmla="*/ 59 h 219"/>
                  <a:gd name="T50" fmla="*/ 190 w 234"/>
                  <a:gd name="T51" fmla="*/ 59 h 219"/>
                  <a:gd name="T52" fmla="*/ 176 w 234"/>
                  <a:gd name="T53" fmla="*/ 44 h 219"/>
                  <a:gd name="T54" fmla="*/ 176 w 234"/>
                  <a:gd name="T55" fmla="*/ 44 h 219"/>
                  <a:gd name="T56" fmla="*/ 176 w 234"/>
                  <a:gd name="T57" fmla="*/ 15 h 219"/>
                  <a:gd name="T58" fmla="*/ 220 w 234"/>
                  <a:gd name="T59" fmla="*/ 59 h 219"/>
                  <a:gd name="T60" fmla="*/ 198 w 234"/>
                  <a:gd name="T61" fmla="*/ 5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4" h="219">
                    <a:moveTo>
                      <a:pt x="230" y="48"/>
                    </a:moveTo>
                    <a:cubicBezTo>
                      <a:pt x="186" y="5"/>
                      <a:pt x="186" y="5"/>
                      <a:pt x="186" y="5"/>
                    </a:cubicBezTo>
                    <a:cubicBezTo>
                      <a:pt x="183" y="2"/>
                      <a:pt x="180" y="0"/>
                      <a:pt x="176" y="0"/>
                    </a:cubicBezTo>
                    <a:cubicBezTo>
                      <a:pt x="22" y="0"/>
                      <a:pt x="22" y="0"/>
                      <a:pt x="22" y="0"/>
                    </a:cubicBezTo>
                    <a:cubicBezTo>
                      <a:pt x="10" y="0"/>
                      <a:pt x="0" y="10"/>
                      <a:pt x="0" y="22"/>
                    </a:cubicBezTo>
                    <a:cubicBezTo>
                      <a:pt x="0" y="197"/>
                      <a:pt x="0" y="197"/>
                      <a:pt x="0" y="197"/>
                    </a:cubicBezTo>
                    <a:cubicBezTo>
                      <a:pt x="0" y="210"/>
                      <a:pt x="10" y="219"/>
                      <a:pt x="22" y="219"/>
                    </a:cubicBezTo>
                    <a:cubicBezTo>
                      <a:pt x="212" y="219"/>
                      <a:pt x="212" y="219"/>
                      <a:pt x="212" y="219"/>
                    </a:cubicBezTo>
                    <a:cubicBezTo>
                      <a:pt x="224" y="219"/>
                      <a:pt x="234" y="210"/>
                      <a:pt x="234" y="197"/>
                    </a:cubicBezTo>
                    <a:cubicBezTo>
                      <a:pt x="234" y="59"/>
                      <a:pt x="234" y="59"/>
                      <a:pt x="234" y="59"/>
                    </a:cubicBezTo>
                    <a:cubicBezTo>
                      <a:pt x="234" y="55"/>
                      <a:pt x="233" y="51"/>
                      <a:pt x="230" y="48"/>
                    </a:cubicBezTo>
                    <a:close/>
                    <a:moveTo>
                      <a:pt x="220" y="197"/>
                    </a:moveTo>
                    <a:cubicBezTo>
                      <a:pt x="220" y="202"/>
                      <a:pt x="216" y="205"/>
                      <a:pt x="212" y="205"/>
                    </a:cubicBezTo>
                    <a:cubicBezTo>
                      <a:pt x="22" y="205"/>
                      <a:pt x="22" y="205"/>
                      <a:pt x="22" y="205"/>
                    </a:cubicBezTo>
                    <a:cubicBezTo>
                      <a:pt x="18" y="205"/>
                      <a:pt x="15" y="202"/>
                      <a:pt x="15" y="197"/>
                    </a:cubicBezTo>
                    <a:cubicBezTo>
                      <a:pt x="15" y="22"/>
                      <a:pt x="15" y="22"/>
                      <a:pt x="15" y="22"/>
                    </a:cubicBezTo>
                    <a:cubicBezTo>
                      <a:pt x="15" y="18"/>
                      <a:pt x="18" y="15"/>
                      <a:pt x="22" y="15"/>
                    </a:cubicBezTo>
                    <a:cubicBezTo>
                      <a:pt x="168" y="15"/>
                      <a:pt x="168" y="15"/>
                      <a:pt x="168" y="15"/>
                    </a:cubicBezTo>
                    <a:cubicBezTo>
                      <a:pt x="168" y="44"/>
                      <a:pt x="168" y="44"/>
                      <a:pt x="168" y="44"/>
                    </a:cubicBezTo>
                    <a:cubicBezTo>
                      <a:pt x="168" y="44"/>
                      <a:pt x="168" y="44"/>
                      <a:pt x="168" y="44"/>
                    </a:cubicBezTo>
                    <a:cubicBezTo>
                      <a:pt x="168" y="56"/>
                      <a:pt x="178" y="66"/>
                      <a:pt x="190" y="66"/>
                    </a:cubicBezTo>
                    <a:cubicBezTo>
                      <a:pt x="198" y="66"/>
                      <a:pt x="198" y="66"/>
                      <a:pt x="198" y="66"/>
                    </a:cubicBezTo>
                    <a:cubicBezTo>
                      <a:pt x="220" y="66"/>
                      <a:pt x="220" y="66"/>
                      <a:pt x="220" y="66"/>
                    </a:cubicBezTo>
                    <a:lnTo>
                      <a:pt x="220" y="197"/>
                    </a:lnTo>
                    <a:close/>
                    <a:moveTo>
                      <a:pt x="198" y="59"/>
                    </a:moveTo>
                    <a:cubicBezTo>
                      <a:pt x="190" y="59"/>
                      <a:pt x="190" y="59"/>
                      <a:pt x="190" y="59"/>
                    </a:cubicBezTo>
                    <a:cubicBezTo>
                      <a:pt x="182" y="59"/>
                      <a:pt x="176" y="52"/>
                      <a:pt x="176" y="44"/>
                    </a:cubicBezTo>
                    <a:cubicBezTo>
                      <a:pt x="176" y="44"/>
                      <a:pt x="176" y="44"/>
                      <a:pt x="176" y="44"/>
                    </a:cubicBezTo>
                    <a:cubicBezTo>
                      <a:pt x="176" y="15"/>
                      <a:pt x="176" y="15"/>
                      <a:pt x="176" y="15"/>
                    </a:cubicBezTo>
                    <a:cubicBezTo>
                      <a:pt x="220" y="59"/>
                      <a:pt x="220" y="59"/>
                      <a:pt x="220" y="59"/>
                    </a:cubicBezTo>
                    <a:lnTo>
                      <a:pt x="198" y="5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42" name="Freeform 59"/>
              <p:cNvSpPr>
                <a:spLocks/>
              </p:cNvSpPr>
              <p:nvPr/>
            </p:nvSpPr>
            <p:spPr bwMode="auto">
              <a:xfrm>
                <a:off x="1118823" y="2289908"/>
                <a:ext cx="48597" cy="7868"/>
              </a:xfrm>
              <a:custGeom>
                <a:avLst/>
                <a:gdLst>
                  <a:gd name="T0" fmla="*/ 4 w 44"/>
                  <a:gd name="T1" fmla="*/ 7 h 7"/>
                  <a:gd name="T2" fmla="*/ 40 w 44"/>
                  <a:gd name="T3" fmla="*/ 7 h 7"/>
                  <a:gd name="T4" fmla="*/ 44 w 44"/>
                  <a:gd name="T5" fmla="*/ 4 h 7"/>
                  <a:gd name="T6" fmla="*/ 40 w 44"/>
                  <a:gd name="T7" fmla="*/ 0 h 7"/>
                  <a:gd name="T8" fmla="*/ 4 w 44"/>
                  <a:gd name="T9" fmla="*/ 0 h 7"/>
                  <a:gd name="T10" fmla="*/ 0 w 44"/>
                  <a:gd name="T11" fmla="*/ 4 h 7"/>
                  <a:gd name="T12" fmla="*/ 4 w 4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4" h="7">
                    <a:moveTo>
                      <a:pt x="4" y="7"/>
                    </a:moveTo>
                    <a:cubicBezTo>
                      <a:pt x="40" y="7"/>
                      <a:pt x="40" y="7"/>
                      <a:pt x="40" y="7"/>
                    </a:cubicBezTo>
                    <a:cubicBezTo>
                      <a:pt x="42" y="7"/>
                      <a:pt x="44" y="6"/>
                      <a:pt x="44" y="4"/>
                    </a:cubicBezTo>
                    <a:cubicBezTo>
                      <a:pt x="44" y="2"/>
                      <a:pt x="42" y="0"/>
                      <a:pt x="40" y="0"/>
                    </a:cubicBezTo>
                    <a:cubicBezTo>
                      <a:pt x="4" y="0"/>
                      <a:pt x="4" y="0"/>
                      <a:pt x="4" y="0"/>
                    </a:cubicBezTo>
                    <a:cubicBezTo>
                      <a:pt x="2" y="0"/>
                      <a:pt x="0" y="2"/>
                      <a:pt x="0" y="4"/>
                    </a:cubicBezTo>
                    <a:cubicBezTo>
                      <a:pt x="0" y="6"/>
                      <a:pt x="2" y="7"/>
                      <a:pt x="4"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43" name="Freeform 60"/>
              <p:cNvSpPr>
                <a:spLocks/>
              </p:cNvSpPr>
              <p:nvPr/>
            </p:nvSpPr>
            <p:spPr bwMode="auto">
              <a:xfrm>
                <a:off x="1118823" y="2313975"/>
                <a:ext cx="48597" cy="7868"/>
              </a:xfrm>
              <a:custGeom>
                <a:avLst/>
                <a:gdLst>
                  <a:gd name="T0" fmla="*/ 4 w 44"/>
                  <a:gd name="T1" fmla="*/ 7 h 7"/>
                  <a:gd name="T2" fmla="*/ 40 w 44"/>
                  <a:gd name="T3" fmla="*/ 7 h 7"/>
                  <a:gd name="T4" fmla="*/ 44 w 44"/>
                  <a:gd name="T5" fmla="*/ 4 h 7"/>
                  <a:gd name="T6" fmla="*/ 40 w 44"/>
                  <a:gd name="T7" fmla="*/ 0 h 7"/>
                  <a:gd name="T8" fmla="*/ 4 w 44"/>
                  <a:gd name="T9" fmla="*/ 0 h 7"/>
                  <a:gd name="T10" fmla="*/ 0 w 44"/>
                  <a:gd name="T11" fmla="*/ 4 h 7"/>
                  <a:gd name="T12" fmla="*/ 4 w 4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4" h="7">
                    <a:moveTo>
                      <a:pt x="4" y="7"/>
                    </a:moveTo>
                    <a:cubicBezTo>
                      <a:pt x="40" y="7"/>
                      <a:pt x="40" y="7"/>
                      <a:pt x="40" y="7"/>
                    </a:cubicBezTo>
                    <a:cubicBezTo>
                      <a:pt x="42" y="7"/>
                      <a:pt x="44" y="6"/>
                      <a:pt x="44" y="4"/>
                    </a:cubicBezTo>
                    <a:cubicBezTo>
                      <a:pt x="44" y="2"/>
                      <a:pt x="42" y="0"/>
                      <a:pt x="40" y="0"/>
                    </a:cubicBezTo>
                    <a:cubicBezTo>
                      <a:pt x="4" y="0"/>
                      <a:pt x="4" y="0"/>
                      <a:pt x="4" y="0"/>
                    </a:cubicBezTo>
                    <a:cubicBezTo>
                      <a:pt x="2" y="0"/>
                      <a:pt x="0" y="2"/>
                      <a:pt x="0" y="4"/>
                    </a:cubicBezTo>
                    <a:cubicBezTo>
                      <a:pt x="0" y="6"/>
                      <a:pt x="2" y="7"/>
                      <a:pt x="4"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44" name="Freeform 61"/>
              <p:cNvSpPr>
                <a:spLocks/>
              </p:cNvSpPr>
              <p:nvPr/>
            </p:nvSpPr>
            <p:spPr bwMode="auto">
              <a:xfrm>
                <a:off x="1118823" y="2338041"/>
                <a:ext cx="104135" cy="7868"/>
              </a:xfrm>
              <a:custGeom>
                <a:avLst/>
                <a:gdLst>
                  <a:gd name="T0" fmla="*/ 0 w 95"/>
                  <a:gd name="T1" fmla="*/ 4 h 7"/>
                  <a:gd name="T2" fmla="*/ 4 w 95"/>
                  <a:gd name="T3" fmla="*/ 7 h 7"/>
                  <a:gd name="T4" fmla="*/ 91 w 95"/>
                  <a:gd name="T5" fmla="*/ 7 h 7"/>
                  <a:gd name="T6" fmla="*/ 95 w 95"/>
                  <a:gd name="T7" fmla="*/ 4 h 7"/>
                  <a:gd name="T8" fmla="*/ 91 w 95"/>
                  <a:gd name="T9" fmla="*/ 0 h 7"/>
                  <a:gd name="T10" fmla="*/ 4 w 95"/>
                  <a:gd name="T11" fmla="*/ 0 h 7"/>
                  <a:gd name="T12" fmla="*/ 0 w 95"/>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95" h="7">
                    <a:moveTo>
                      <a:pt x="0" y="4"/>
                    </a:moveTo>
                    <a:cubicBezTo>
                      <a:pt x="0" y="6"/>
                      <a:pt x="2" y="7"/>
                      <a:pt x="4" y="7"/>
                    </a:cubicBezTo>
                    <a:cubicBezTo>
                      <a:pt x="91" y="7"/>
                      <a:pt x="91" y="7"/>
                      <a:pt x="91" y="7"/>
                    </a:cubicBezTo>
                    <a:cubicBezTo>
                      <a:pt x="93" y="7"/>
                      <a:pt x="95" y="6"/>
                      <a:pt x="95" y="4"/>
                    </a:cubicBezTo>
                    <a:cubicBezTo>
                      <a:pt x="95" y="2"/>
                      <a:pt x="93" y="0"/>
                      <a:pt x="91" y="0"/>
                    </a:cubicBezTo>
                    <a:cubicBezTo>
                      <a:pt x="4" y="0"/>
                      <a:pt x="4" y="0"/>
                      <a:pt x="4" y="0"/>
                    </a:cubicBezTo>
                    <a:cubicBezTo>
                      <a:pt x="2" y="0"/>
                      <a:pt x="0" y="2"/>
                      <a:pt x="0" y="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45" name="Freeform 62"/>
              <p:cNvSpPr>
                <a:spLocks/>
              </p:cNvSpPr>
              <p:nvPr/>
            </p:nvSpPr>
            <p:spPr bwMode="auto">
              <a:xfrm>
                <a:off x="1031349" y="2386175"/>
                <a:ext cx="191609" cy="7868"/>
              </a:xfrm>
              <a:custGeom>
                <a:avLst/>
                <a:gdLst>
                  <a:gd name="T0" fmla="*/ 171 w 175"/>
                  <a:gd name="T1" fmla="*/ 0 h 7"/>
                  <a:gd name="T2" fmla="*/ 3 w 175"/>
                  <a:gd name="T3" fmla="*/ 0 h 7"/>
                  <a:gd name="T4" fmla="*/ 0 w 175"/>
                  <a:gd name="T5" fmla="*/ 3 h 7"/>
                  <a:gd name="T6" fmla="*/ 3 w 175"/>
                  <a:gd name="T7" fmla="*/ 7 h 7"/>
                  <a:gd name="T8" fmla="*/ 171 w 175"/>
                  <a:gd name="T9" fmla="*/ 7 h 7"/>
                  <a:gd name="T10" fmla="*/ 175 w 175"/>
                  <a:gd name="T11" fmla="*/ 3 h 7"/>
                  <a:gd name="T12" fmla="*/ 171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171" y="0"/>
                    </a:moveTo>
                    <a:cubicBezTo>
                      <a:pt x="3" y="0"/>
                      <a:pt x="3" y="0"/>
                      <a:pt x="3" y="0"/>
                    </a:cubicBezTo>
                    <a:cubicBezTo>
                      <a:pt x="1" y="0"/>
                      <a:pt x="0" y="1"/>
                      <a:pt x="0" y="3"/>
                    </a:cubicBezTo>
                    <a:cubicBezTo>
                      <a:pt x="0" y="5"/>
                      <a:pt x="1" y="7"/>
                      <a:pt x="3" y="7"/>
                    </a:cubicBezTo>
                    <a:cubicBezTo>
                      <a:pt x="171" y="7"/>
                      <a:pt x="171" y="7"/>
                      <a:pt x="171" y="7"/>
                    </a:cubicBezTo>
                    <a:cubicBezTo>
                      <a:pt x="173" y="7"/>
                      <a:pt x="175" y="5"/>
                      <a:pt x="175" y="3"/>
                    </a:cubicBezTo>
                    <a:cubicBezTo>
                      <a:pt x="175" y="1"/>
                      <a:pt x="173" y="0"/>
                      <a:pt x="17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46" name="Freeform 63"/>
              <p:cNvSpPr>
                <a:spLocks/>
              </p:cNvSpPr>
              <p:nvPr/>
            </p:nvSpPr>
            <p:spPr bwMode="auto">
              <a:xfrm>
                <a:off x="1031349" y="2410242"/>
                <a:ext cx="191609" cy="7868"/>
              </a:xfrm>
              <a:custGeom>
                <a:avLst/>
                <a:gdLst>
                  <a:gd name="T0" fmla="*/ 171 w 175"/>
                  <a:gd name="T1" fmla="*/ 0 h 7"/>
                  <a:gd name="T2" fmla="*/ 3 w 175"/>
                  <a:gd name="T3" fmla="*/ 0 h 7"/>
                  <a:gd name="T4" fmla="*/ 0 w 175"/>
                  <a:gd name="T5" fmla="*/ 3 h 7"/>
                  <a:gd name="T6" fmla="*/ 3 w 175"/>
                  <a:gd name="T7" fmla="*/ 7 h 7"/>
                  <a:gd name="T8" fmla="*/ 171 w 175"/>
                  <a:gd name="T9" fmla="*/ 7 h 7"/>
                  <a:gd name="T10" fmla="*/ 175 w 175"/>
                  <a:gd name="T11" fmla="*/ 3 h 7"/>
                  <a:gd name="T12" fmla="*/ 171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171" y="0"/>
                    </a:moveTo>
                    <a:cubicBezTo>
                      <a:pt x="3" y="0"/>
                      <a:pt x="3" y="0"/>
                      <a:pt x="3" y="0"/>
                    </a:cubicBezTo>
                    <a:cubicBezTo>
                      <a:pt x="1" y="0"/>
                      <a:pt x="0" y="1"/>
                      <a:pt x="0" y="3"/>
                    </a:cubicBezTo>
                    <a:cubicBezTo>
                      <a:pt x="0" y="5"/>
                      <a:pt x="1" y="7"/>
                      <a:pt x="3" y="7"/>
                    </a:cubicBezTo>
                    <a:cubicBezTo>
                      <a:pt x="171" y="7"/>
                      <a:pt x="171" y="7"/>
                      <a:pt x="171" y="7"/>
                    </a:cubicBezTo>
                    <a:cubicBezTo>
                      <a:pt x="173" y="7"/>
                      <a:pt x="175" y="5"/>
                      <a:pt x="175" y="3"/>
                    </a:cubicBezTo>
                    <a:cubicBezTo>
                      <a:pt x="175" y="1"/>
                      <a:pt x="173" y="0"/>
                      <a:pt x="17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47" name="Freeform 64"/>
              <p:cNvSpPr>
                <a:spLocks/>
              </p:cNvSpPr>
              <p:nvPr/>
            </p:nvSpPr>
            <p:spPr bwMode="auto">
              <a:xfrm>
                <a:off x="1031349" y="2434308"/>
                <a:ext cx="191609" cy="7868"/>
              </a:xfrm>
              <a:custGeom>
                <a:avLst/>
                <a:gdLst>
                  <a:gd name="T0" fmla="*/ 171 w 175"/>
                  <a:gd name="T1" fmla="*/ 0 h 7"/>
                  <a:gd name="T2" fmla="*/ 3 w 175"/>
                  <a:gd name="T3" fmla="*/ 0 h 7"/>
                  <a:gd name="T4" fmla="*/ 0 w 175"/>
                  <a:gd name="T5" fmla="*/ 3 h 7"/>
                  <a:gd name="T6" fmla="*/ 3 w 175"/>
                  <a:gd name="T7" fmla="*/ 7 h 7"/>
                  <a:gd name="T8" fmla="*/ 171 w 175"/>
                  <a:gd name="T9" fmla="*/ 7 h 7"/>
                  <a:gd name="T10" fmla="*/ 175 w 175"/>
                  <a:gd name="T11" fmla="*/ 3 h 7"/>
                  <a:gd name="T12" fmla="*/ 171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171" y="0"/>
                    </a:moveTo>
                    <a:cubicBezTo>
                      <a:pt x="3" y="0"/>
                      <a:pt x="3" y="0"/>
                      <a:pt x="3" y="0"/>
                    </a:cubicBezTo>
                    <a:cubicBezTo>
                      <a:pt x="1" y="0"/>
                      <a:pt x="0" y="1"/>
                      <a:pt x="0" y="3"/>
                    </a:cubicBezTo>
                    <a:cubicBezTo>
                      <a:pt x="0" y="5"/>
                      <a:pt x="1" y="7"/>
                      <a:pt x="3" y="7"/>
                    </a:cubicBezTo>
                    <a:cubicBezTo>
                      <a:pt x="171" y="7"/>
                      <a:pt x="171" y="7"/>
                      <a:pt x="171" y="7"/>
                    </a:cubicBezTo>
                    <a:cubicBezTo>
                      <a:pt x="173" y="7"/>
                      <a:pt x="175" y="5"/>
                      <a:pt x="175" y="3"/>
                    </a:cubicBezTo>
                    <a:cubicBezTo>
                      <a:pt x="175" y="1"/>
                      <a:pt x="173" y="0"/>
                      <a:pt x="17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48" name="Freeform 65"/>
              <p:cNvSpPr>
                <a:spLocks/>
              </p:cNvSpPr>
              <p:nvPr/>
            </p:nvSpPr>
            <p:spPr bwMode="auto">
              <a:xfrm>
                <a:off x="1031349" y="2362108"/>
                <a:ext cx="191609" cy="7868"/>
              </a:xfrm>
              <a:custGeom>
                <a:avLst/>
                <a:gdLst>
                  <a:gd name="T0" fmla="*/ 171 w 175"/>
                  <a:gd name="T1" fmla="*/ 0 h 7"/>
                  <a:gd name="T2" fmla="*/ 3 w 175"/>
                  <a:gd name="T3" fmla="*/ 0 h 7"/>
                  <a:gd name="T4" fmla="*/ 0 w 175"/>
                  <a:gd name="T5" fmla="*/ 3 h 7"/>
                  <a:gd name="T6" fmla="*/ 3 w 175"/>
                  <a:gd name="T7" fmla="*/ 7 h 7"/>
                  <a:gd name="T8" fmla="*/ 171 w 175"/>
                  <a:gd name="T9" fmla="*/ 7 h 7"/>
                  <a:gd name="T10" fmla="*/ 175 w 175"/>
                  <a:gd name="T11" fmla="*/ 3 h 7"/>
                  <a:gd name="T12" fmla="*/ 171 w 17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75" h="7">
                    <a:moveTo>
                      <a:pt x="171" y="0"/>
                    </a:moveTo>
                    <a:cubicBezTo>
                      <a:pt x="3" y="0"/>
                      <a:pt x="3" y="0"/>
                      <a:pt x="3" y="0"/>
                    </a:cubicBezTo>
                    <a:cubicBezTo>
                      <a:pt x="1" y="0"/>
                      <a:pt x="0" y="1"/>
                      <a:pt x="0" y="3"/>
                    </a:cubicBezTo>
                    <a:cubicBezTo>
                      <a:pt x="0" y="6"/>
                      <a:pt x="1" y="7"/>
                      <a:pt x="3" y="7"/>
                    </a:cubicBezTo>
                    <a:cubicBezTo>
                      <a:pt x="171" y="7"/>
                      <a:pt x="171" y="7"/>
                      <a:pt x="171" y="7"/>
                    </a:cubicBezTo>
                    <a:cubicBezTo>
                      <a:pt x="173" y="7"/>
                      <a:pt x="175" y="6"/>
                      <a:pt x="175" y="3"/>
                    </a:cubicBezTo>
                    <a:cubicBezTo>
                      <a:pt x="175" y="1"/>
                      <a:pt x="173" y="0"/>
                      <a:pt x="17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sp>
            <p:nvSpPr>
              <p:cNvPr id="49" name="Freeform 66"/>
              <p:cNvSpPr>
                <a:spLocks noEditPoints="1"/>
              </p:cNvSpPr>
              <p:nvPr/>
            </p:nvSpPr>
            <p:spPr bwMode="auto">
              <a:xfrm>
                <a:off x="1031349" y="2282040"/>
                <a:ext cx="71275" cy="63870"/>
              </a:xfrm>
              <a:custGeom>
                <a:avLst/>
                <a:gdLst>
                  <a:gd name="T0" fmla="*/ 7 w 65"/>
                  <a:gd name="T1" fmla="*/ 58 h 58"/>
                  <a:gd name="T2" fmla="*/ 58 w 65"/>
                  <a:gd name="T3" fmla="*/ 58 h 58"/>
                  <a:gd name="T4" fmla="*/ 65 w 65"/>
                  <a:gd name="T5" fmla="*/ 51 h 58"/>
                  <a:gd name="T6" fmla="*/ 65 w 65"/>
                  <a:gd name="T7" fmla="*/ 7 h 58"/>
                  <a:gd name="T8" fmla="*/ 58 w 65"/>
                  <a:gd name="T9" fmla="*/ 0 h 58"/>
                  <a:gd name="T10" fmla="*/ 7 w 65"/>
                  <a:gd name="T11" fmla="*/ 0 h 58"/>
                  <a:gd name="T12" fmla="*/ 0 w 65"/>
                  <a:gd name="T13" fmla="*/ 7 h 58"/>
                  <a:gd name="T14" fmla="*/ 0 w 65"/>
                  <a:gd name="T15" fmla="*/ 51 h 58"/>
                  <a:gd name="T16" fmla="*/ 7 w 65"/>
                  <a:gd name="T17" fmla="*/ 58 h 58"/>
                  <a:gd name="T18" fmla="*/ 14 w 65"/>
                  <a:gd name="T19" fmla="*/ 14 h 58"/>
                  <a:gd name="T20" fmla="*/ 51 w 65"/>
                  <a:gd name="T21" fmla="*/ 14 h 58"/>
                  <a:gd name="T22" fmla="*/ 51 w 65"/>
                  <a:gd name="T23" fmla="*/ 44 h 58"/>
                  <a:gd name="T24" fmla="*/ 14 w 65"/>
                  <a:gd name="T25" fmla="*/ 44 h 58"/>
                  <a:gd name="T26" fmla="*/ 14 w 65"/>
                  <a:gd name="T27" fmla="*/ 1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58">
                    <a:moveTo>
                      <a:pt x="7" y="58"/>
                    </a:moveTo>
                    <a:cubicBezTo>
                      <a:pt x="58" y="58"/>
                      <a:pt x="58" y="58"/>
                      <a:pt x="58" y="58"/>
                    </a:cubicBezTo>
                    <a:cubicBezTo>
                      <a:pt x="62" y="58"/>
                      <a:pt x="65" y="55"/>
                      <a:pt x="65" y="51"/>
                    </a:cubicBezTo>
                    <a:cubicBezTo>
                      <a:pt x="65" y="7"/>
                      <a:pt x="65" y="7"/>
                      <a:pt x="65" y="7"/>
                    </a:cubicBezTo>
                    <a:cubicBezTo>
                      <a:pt x="65" y="3"/>
                      <a:pt x="62" y="0"/>
                      <a:pt x="58" y="0"/>
                    </a:cubicBezTo>
                    <a:cubicBezTo>
                      <a:pt x="7" y="0"/>
                      <a:pt x="7" y="0"/>
                      <a:pt x="7" y="0"/>
                    </a:cubicBezTo>
                    <a:cubicBezTo>
                      <a:pt x="3" y="0"/>
                      <a:pt x="0" y="3"/>
                      <a:pt x="0" y="7"/>
                    </a:cubicBezTo>
                    <a:cubicBezTo>
                      <a:pt x="0" y="51"/>
                      <a:pt x="0" y="51"/>
                      <a:pt x="0" y="51"/>
                    </a:cubicBezTo>
                    <a:cubicBezTo>
                      <a:pt x="0" y="55"/>
                      <a:pt x="3" y="58"/>
                      <a:pt x="7" y="58"/>
                    </a:cubicBezTo>
                    <a:close/>
                    <a:moveTo>
                      <a:pt x="14" y="14"/>
                    </a:moveTo>
                    <a:cubicBezTo>
                      <a:pt x="51" y="14"/>
                      <a:pt x="51" y="14"/>
                      <a:pt x="51" y="14"/>
                    </a:cubicBezTo>
                    <a:cubicBezTo>
                      <a:pt x="51" y="44"/>
                      <a:pt x="51" y="44"/>
                      <a:pt x="51" y="44"/>
                    </a:cubicBezTo>
                    <a:cubicBezTo>
                      <a:pt x="14" y="44"/>
                      <a:pt x="14" y="44"/>
                      <a:pt x="14" y="44"/>
                    </a:cubicBezTo>
                    <a:lnTo>
                      <a:pt x="14" y="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100">
                  <a:latin typeface="+mj-lt"/>
                </a:endParaRPr>
              </a:p>
            </p:txBody>
          </p:sp>
        </p:grpSp>
      </p:grpSp>
      <p:sp>
        <p:nvSpPr>
          <p:cNvPr id="51"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50_84</a:t>
            </a:r>
            <a:endParaRPr lang="en-US" sz="100" dirty="0" err="1" smtClean="0">
              <a:solidFill>
                <a:srgbClr val="FFFFFF"/>
              </a:solidFill>
            </a:endParaRPr>
          </a:p>
        </p:txBody>
      </p:sp>
    </p:spTree>
    <p:extLst>
      <p:ext uri="{BB962C8B-B14F-4D97-AF65-F5344CB8AC3E}">
        <p14:creationId xmlns:p14="http://schemas.microsoft.com/office/powerpoint/2010/main" val="401206544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WOT</a:t>
            </a:r>
            <a:endParaRPr lang="en-US" dirty="0"/>
          </a:p>
        </p:txBody>
      </p:sp>
      <p:grpSp>
        <p:nvGrpSpPr>
          <p:cNvPr id="64" name="Group 63"/>
          <p:cNvGrpSpPr/>
          <p:nvPr>
            <p:custDataLst>
              <p:tags r:id="rId1"/>
            </p:custDataLst>
          </p:nvPr>
        </p:nvGrpSpPr>
        <p:grpSpPr>
          <a:xfrm>
            <a:off x="4355707" y="1861146"/>
            <a:ext cx="3939159" cy="3937210"/>
            <a:chOff x="8129760" y="3243003"/>
            <a:chExt cx="8129176" cy="8125153"/>
          </a:xfrm>
        </p:grpSpPr>
        <p:grpSp>
          <p:nvGrpSpPr>
            <p:cNvPr id="32" name="Group 31"/>
            <p:cNvGrpSpPr/>
            <p:nvPr>
              <p:custDataLst>
                <p:tags r:id="rId6"/>
              </p:custDataLst>
            </p:nvPr>
          </p:nvGrpSpPr>
          <p:grpSpPr>
            <a:xfrm>
              <a:off x="8640982" y="3243003"/>
              <a:ext cx="3678179" cy="4701838"/>
              <a:chOff x="8596422" y="3243003"/>
              <a:chExt cx="3678179" cy="4701838"/>
            </a:xfrm>
          </p:grpSpPr>
          <p:sp>
            <p:nvSpPr>
              <p:cNvPr id="33" name="Freeform 5"/>
              <p:cNvSpPr>
                <a:spLocks/>
              </p:cNvSpPr>
              <p:nvPr/>
            </p:nvSpPr>
            <p:spPr bwMode="auto">
              <a:xfrm rot="18900000">
                <a:off x="8596422" y="3243003"/>
                <a:ext cx="3678179" cy="4701838"/>
              </a:xfrm>
              <a:custGeom>
                <a:avLst/>
                <a:gdLst>
                  <a:gd name="T0" fmla="*/ 174 w 348"/>
                  <a:gd name="T1" fmla="*/ 0 h 444"/>
                  <a:gd name="T2" fmla="*/ 59 w 348"/>
                  <a:gd name="T3" fmla="*/ 115 h 444"/>
                  <a:gd name="T4" fmla="*/ 59 w 348"/>
                  <a:gd name="T5" fmla="*/ 328 h 444"/>
                  <a:gd name="T6" fmla="*/ 174 w 348"/>
                  <a:gd name="T7" fmla="*/ 444 h 444"/>
                  <a:gd name="T8" fmla="*/ 290 w 348"/>
                  <a:gd name="T9" fmla="*/ 328 h 444"/>
                  <a:gd name="T10" fmla="*/ 290 w 348"/>
                  <a:gd name="T11" fmla="*/ 115 h 444"/>
                  <a:gd name="T12" fmla="*/ 174 w 348"/>
                  <a:gd name="T13" fmla="*/ 0 h 444"/>
                </a:gdLst>
                <a:ahLst/>
                <a:cxnLst>
                  <a:cxn ang="0">
                    <a:pos x="T0" y="T1"/>
                  </a:cxn>
                  <a:cxn ang="0">
                    <a:pos x="T2" y="T3"/>
                  </a:cxn>
                  <a:cxn ang="0">
                    <a:pos x="T4" y="T5"/>
                  </a:cxn>
                  <a:cxn ang="0">
                    <a:pos x="T6" y="T7"/>
                  </a:cxn>
                  <a:cxn ang="0">
                    <a:pos x="T8" y="T9"/>
                  </a:cxn>
                  <a:cxn ang="0">
                    <a:pos x="T10" y="T11"/>
                  </a:cxn>
                  <a:cxn ang="0">
                    <a:pos x="T12" y="T13"/>
                  </a:cxn>
                </a:cxnLst>
                <a:rect l="0" t="0" r="r" b="b"/>
                <a:pathLst>
                  <a:path w="348" h="444">
                    <a:moveTo>
                      <a:pt x="174" y="0"/>
                    </a:moveTo>
                    <a:cubicBezTo>
                      <a:pt x="59" y="115"/>
                      <a:pt x="59" y="115"/>
                      <a:pt x="59" y="115"/>
                    </a:cubicBezTo>
                    <a:cubicBezTo>
                      <a:pt x="0" y="174"/>
                      <a:pt x="0" y="270"/>
                      <a:pt x="59" y="328"/>
                    </a:cubicBezTo>
                    <a:cubicBezTo>
                      <a:pt x="174" y="444"/>
                      <a:pt x="174" y="444"/>
                      <a:pt x="174" y="444"/>
                    </a:cubicBezTo>
                    <a:cubicBezTo>
                      <a:pt x="290" y="328"/>
                      <a:pt x="290" y="328"/>
                      <a:pt x="290" y="328"/>
                    </a:cubicBezTo>
                    <a:cubicBezTo>
                      <a:pt x="348" y="270"/>
                      <a:pt x="348" y="174"/>
                      <a:pt x="290" y="115"/>
                    </a:cubicBezTo>
                    <a:cubicBezTo>
                      <a:pt x="174" y="0"/>
                      <a:pt x="174" y="0"/>
                      <a:pt x="174" y="0"/>
                    </a:cubicBezTo>
                  </a:path>
                </a:pathLst>
              </a:custGeom>
              <a:solidFill>
                <a:schemeClr val="accent1"/>
              </a:solidFill>
              <a:ln>
                <a:noFill/>
              </a:ln>
            </p:spPr>
            <p:txBody>
              <a:bodyPr vert="horz" wrap="square" lIns="219419" tIns="109710" rIns="219419" bIns="109710" numCol="1" anchor="t" anchorCtr="0" compatLnSpc="1">
                <a:prstTxWarp prst="textNoShape">
                  <a:avLst/>
                </a:prstTxWarp>
              </a:bodyPr>
              <a:lstStyle/>
              <a:p>
                <a:endParaRPr lang="bg-BG" sz="1050"/>
              </a:p>
            </p:txBody>
          </p:sp>
          <p:sp>
            <p:nvSpPr>
              <p:cNvPr id="34" name="TextBox 33"/>
              <p:cNvSpPr txBox="1"/>
              <p:nvPr/>
            </p:nvSpPr>
            <p:spPr>
              <a:xfrm>
                <a:off x="8953103" y="3981104"/>
                <a:ext cx="2858554" cy="3051049"/>
              </a:xfrm>
              <a:prstGeom prst="rect">
                <a:avLst/>
              </a:prstGeom>
              <a:noFill/>
            </p:spPr>
            <p:txBody>
              <a:bodyPr wrap="square" lIns="182843" tIns="91422" rIns="182843" bIns="91422" rtlCol="0">
                <a:spAutoFit/>
              </a:bodyPr>
              <a:lstStyle/>
              <a:p>
                <a:pPr algn="ctr"/>
                <a:r>
                  <a:rPr lang="id-ID" sz="8800" b="1" dirty="0" smtClean="0">
                    <a:solidFill>
                      <a:schemeClr val="bg2"/>
                    </a:solidFill>
                    <a:latin typeface="Lato Regular"/>
                    <a:cs typeface="Lato Regular"/>
                  </a:rPr>
                  <a:t>S</a:t>
                </a:r>
                <a:endParaRPr lang="id-ID" sz="8800" b="1" dirty="0">
                  <a:solidFill>
                    <a:schemeClr val="bg2"/>
                  </a:solidFill>
                  <a:latin typeface="Lato Regular"/>
                  <a:cs typeface="Lato Regular"/>
                </a:endParaRPr>
              </a:p>
            </p:txBody>
          </p:sp>
        </p:grpSp>
        <p:grpSp>
          <p:nvGrpSpPr>
            <p:cNvPr id="35" name="Group 34"/>
            <p:cNvGrpSpPr/>
            <p:nvPr>
              <p:custDataLst>
                <p:tags r:id="rId7"/>
              </p:custDataLst>
            </p:nvPr>
          </p:nvGrpSpPr>
          <p:grpSpPr>
            <a:xfrm>
              <a:off x="11558323" y="3754352"/>
              <a:ext cx="4700613" cy="3679138"/>
              <a:chOff x="11513763" y="3754352"/>
              <a:chExt cx="4700613" cy="3679138"/>
            </a:xfrm>
            <a:solidFill>
              <a:srgbClr val="0070C0"/>
            </a:solidFill>
          </p:grpSpPr>
          <p:sp>
            <p:nvSpPr>
              <p:cNvPr id="36" name="Freeform 5"/>
              <p:cNvSpPr>
                <a:spLocks/>
              </p:cNvSpPr>
              <p:nvPr/>
            </p:nvSpPr>
            <p:spPr bwMode="auto">
              <a:xfrm rot="2700000">
                <a:off x="12024501" y="3243614"/>
                <a:ext cx="3679138" cy="4700613"/>
              </a:xfrm>
              <a:custGeom>
                <a:avLst/>
                <a:gdLst>
                  <a:gd name="T0" fmla="*/ 174 w 348"/>
                  <a:gd name="T1" fmla="*/ 0 h 444"/>
                  <a:gd name="T2" fmla="*/ 59 w 348"/>
                  <a:gd name="T3" fmla="*/ 115 h 444"/>
                  <a:gd name="T4" fmla="*/ 59 w 348"/>
                  <a:gd name="T5" fmla="*/ 328 h 444"/>
                  <a:gd name="T6" fmla="*/ 174 w 348"/>
                  <a:gd name="T7" fmla="*/ 444 h 444"/>
                  <a:gd name="T8" fmla="*/ 290 w 348"/>
                  <a:gd name="T9" fmla="*/ 328 h 444"/>
                  <a:gd name="T10" fmla="*/ 290 w 348"/>
                  <a:gd name="T11" fmla="*/ 115 h 444"/>
                  <a:gd name="T12" fmla="*/ 174 w 348"/>
                  <a:gd name="T13" fmla="*/ 0 h 444"/>
                </a:gdLst>
                <a:ahLst/>
                <a:cxnLst>
                  <a:cxn ang="0">
                    <a:pos x="T0" y="T1"/>
                  </a:cxn>
                  <a:cxn ang="0">
                    <a:pos x="T2" y="T3"/>
                  </a:cxn>
                  <a:cxn ang="0">
                    <a:pos x="T4" y="T5"/>
                  </a:cxn>
                  <a:cxn ang="0">
                    <a:pos x="T6" y="T7"/>
                  </a:cxn>
                  <a:cxn ang="0">
                    <a:pos x="T8" y="T9"/>
                  </a:cxn>
                  <a:cxn ang="0">
                    <a:pos x="T10" y="T11"/>
                  </a:cxn>
                  <a:cxn ang="0">
                    <a:pos x="T12" y="T13"/>
                  </a:cxn>
                </a:cxnLst>
                <a:rect l="0" t="0" r="r" b="b"/>
                <a:pathLst>
                  <a:path w="348" h="444">
                    <a:moveTo>
                      <a:pt x="174" y="0"/>
                    </a:moveTo>
                    <a:cubicBezTo>
                      <a:pt x="59" y="115"/>
                      <a:pt x="59" y="115"/>
                      <a:pt x="59" y="115"/>
                    </a:cubicBezTo>
                    <a:cubicBezTo>
                      <a:pt x="0" y="174"/>
                      <a:pt x="0" y="270"/>
                      <a:pt x="59" y="328"/>
                    </a:cubicBezTo>
                    <a:cubicBezTo>
                      <a:pt x="174" y="444"/>
                      <a:pt x="174" y="444"/>
                      <a:pt x="174" y="444"/>
                    </a:cubicBezTo>
                    <a:cubicBezTo>
                      <a:pt x="290" y="328"/>
                      <a:pt x="290" y="328"/>
                      <a:pt x="290" y="328"/>
                    </a:cubicBezTo>
                    <a:cubicBezTo>
                      <a:pt x="348" y="270"/>
                      <a:pt x="348" y="174"/>
                      <a:pt x="290" y="115"/>
                    </a:cubicBezTo>
                    <a:cubicBezTo>
                      <a:pt x="174" y="0"/>
                      <a:pt x="174" y="0"/>
                      <a:pt x="174" y="0"/>
                    </a:cubicBezTo>
                  </a:path>
                </a:pathLst>
              </a:custGeom>
              <a:grpFill/>
              <a:ln>
                <a:noFill/>
              </a:ln>
            </p:spPr>
            <p:txBody>
              <a:bodyPr vert="horz" wrap="square" lIns="219419" tIns="109710" rIns="219419" bIns="109710" numCol="1" anchor="t" anchorCtr="0" compatLnSpc="1">
                <a:prstTxWarp prst="textNoShape">
                  <a:avLst/>
                </a:prstTxWarp>
              </a:bodyPr>
              <a:lstStyle/>
              <a:p>
                <a:endParaRPr lang="bg-BG" sz="1050"/>
              </a:p>
            </p:txBody>
          </p:sp>
          <p:sp>
            <p:nvSpPr>
              <p:cNvPr id="37" name="TextBox 36"/>
              <p:cNvSpPr txBox="1"/>
              <p:nvPr/>
            </p:nvSpPr>
            <p:spPr>
              <a:xfrm>
                <a:off x="12459131" y="3981102"/>
                <a:ext cx="2858553" cy="3051049"/>
              </a:xfrm>
              <a:prstGeom prst="rect">
                <a:avLst/>
              </a:prstGeom>
              <a:noFill/>
            </p:spPr>
            <p:txBody>
              <a:bodyPr wrap="square" lIns="182843" tIns="91422" rIns="182843" bIns="91422" rtlCol="0">
                <a:spAutoFit/>
              </a:bodyPr>
              <a:lstStyle/>
              <a:p>
                <a:pPr algn="ctr"/>
                <a:r>
                  <a:rPr lang="id-ID" sz="8800" b="1" dirty="0" smtClean="0">
                    <a:solidFill>
                      <a:schemeClr val="bg2"/>
                    </a:solidFill>
                    <a:latin typeface="Lato Regular"/>
                    <a:cs typeface="Lato Regular"/>
                  </a:rPr>
                  <a:t>W</a:t>
                </a:r>
                <a:endParaRPr lang="id-ID" sz="8800" b="1" dirty="0">
                  <a:solidFill>
                    <a:schemeClr val="bg2"/>
                  </a:solidFill>
                  <a:latin typeface="Lato Regular"/>
                  <a:cs typeface="Lato Regular"/>
                </a:endParaRPr>
              </a:p>
            </p:txBody>
          </p:sp>
        </p:grpSp>
        <p:grpSp>
          <p:nvGrpSpPr>
            <p:cNvPr id="38" name="Group 37"/>
            <p:cNvGrpSpPr/>
            <p:nvPr>
              <p:custDataLst>
                <p:tags r:id="rId8"/>
              </p:custDataLst>
            </p:nvPr>
          </p:nvGrpSpPr>
          <p:grpSpPr>
            <a:xfrm>
              <a:off x="8129760" y="7177666"/>
              <a:ext cx="4700613" cy="3679138"/>
              <a:chOff x="8085200" y="7177666"/>
              <a:chExt cx="4700613" cy="3679138"/>
            </a:xfrm>
          </p:grpSpPr>
          <p:sp>
            <p:nvSpPr>
              <p:cNvPr id="39" name="Freeform 5"/>
              <p:cNvSpPr>
                <a:spLocks/>
              </p:cNvSpPr>
              <p:nvPr/>
            </p:nvSpPr>
            <p:spPr bwMode="auto">
              <a:xfrm rot="2700000" flipH="1">
                <a:off x="8595938" y="6666928"/>
                <a:ext cx="3679138" cy="4700613"/>
              </a:xfrm>
              <a:custGeom>
                <a:avLst/>
                <a:gdLst>
                  <a:gd name="T0" fmla="*/ 174 w 348"/>
                  <a:gd name="T1" fmla="*/ 0 h 444"/>
                  <a:gd name="T2" fmla="*/ 59 w 348"/>
                  <a:gd name="T3" fmla="*/ 115 h 444"/>
                  <a:gd name="T4" fmla="*/ 59 w 348"/>
                  <a:gd name="T5" fmla="*/ 328 h 444"/>
                  <a:gd name="T6" fmla="*/ 174 w 348"/>
                  <a:gd name="T7" fmla="*/ 444 h 444"/>
                  <a:gd name="T8" fmla="*/ 290 w 348"/>
                  <a:gd name="T9" fmla="*/ 328 h 444"/>
                  <a:gd name="T10" fmla="*/ 290 w 348"/>
                  <a:gd name="T11" fmla="*/ 115 h 444"/>
                  <a:gd name="T12" fmla="*/ 174 w 348"/>
                  <a:gd name="T13" fmla="*/ 0 h 444"/>
                </a:gdLst>
                <a:ahLst/>
                <a:cxnLst>
                  <a:cxn ang="0">
                    <a:pos x="T0" y="T1"/>
                  </a:cxn>
                  <a:cxn ang="0">
                    <a:pos x="T2" y="T3"/>
                  </a:cxn>
                  <a:cxn ang="0">
                    <a:pos x="T4" y="T5"/>
                  </a:cxn>
                  <a:cxn ang="0">
                    <a:pos x="T6" y="T7"/>
                  </a:cxn>
                  <a:cxn ang="0">
                    <a:pos x="T8" y="T9"/>
                  </a:cxn>
                  <a:cxn ang="0">
                    <a:pos x="T10" y="T11"/>
                  </a:cxn>
                  <a:cxn ang="0">
                    <a:pos x="T12" y="T13"/>
                  </a:cxn>
                </a:cxnLst>
                <a:rect l="0" t="0" r="r" b="b"/>
                <a:pathLst>
                  <a:path w="348" h="444">
                    <a:moveTo>
                      <a:pt x="174" y="0"/>
                    </a:moveTo>
                    <a:cubicBezTo>
                      <a:pt x="59" y="115"/>
                      <a:pt x="59" y="115"/>
                      <a:pt x="59" y="115"/>
                    </a:cubicBezTo>
                    <a:cubicBezTo>
                      <a:pt x="0" y="174"/>
                      <a:pt x="0" y="270"/>
                      <a:pt x="59" y="328"/>
                    </a:cubicBezTo>
                    <a:cubicBezTo>
                      <a:pt x="174" y="444"/>
                      <a:pt x="174" y="444"/>
                      <a:pt x="174" y="444"/>
                    </a:cubicBezTo>
                    <a:cubicBezTo>
                      <a:pt x="290" y="328"/>
                      <a:pt x="290" y="328"/>
                      <a:pt x="290" y="328"/>
                    </a:cubicBezTo>
                    <a:cubicBezTo>
                      <a:pt x="348" y="270"/>
                      <a:pt x="348" y="174"/>
                      <a:pt x="290" y="115"/>
                    </a:cubicBezTo>
                    <a:cubicBezTo>
                      <a:pt x="174" y="0"/>
                      <a:pt x="174" y="0"/>
                      <a:pt x="174" y="0"/>
                    </a:cubicBezTo>
                  </a:path>
                </a:pathLst>
              </a:custGeom>
              <a:solidFill>
                <a:schemeClr val="accent3"/>
              </a:solidFill>
              <a:ln>
                <a:noFill/>
              </a:ln>
            </p:spPr>
            <p:txBody>
              <a:bodyPr vert="horz" wrap="square" lIns="219419" tIns="109710" rIns="219419" bIns="109710" numCol="1" anchor="t" anchorCtr="0" compatLnSpc="1">
                <a:prstTxWarp prst="textNoShape">
                  <a:avLst/>
                </a:prstTxWarp>
              </a:bodyPr>
              <a:lstStyle/>
              <a:p>
                <a:endParaRPr lang="bg-BG" sz="1050"/>
              </a:p>
            </p:txBody>
          </p:sp>
          <p:sp>
            <p:nvSpPr>
              <p:cNvPr id="40" name="TextBox 39"/>
              <p:cNvSpPr txBox="1"/>
              <p:nvPr/>
            </p:nvSpPr>
            <p:spPr>
              <a:xfrm>
                <a:off x="8975384" y="7389911"/>
                <a:ext cx="2858553" cy="3051049"/>
              </a:xfrm>
              <a:prstGeom prst="rect">
                <a:avLst/>
              </a:prstGeom>
              <a:noFill/>
            </p:spPr>
            <p:txBody>
              <a:bodyPr wrap="square" lIns="182843" tIns="91422" rIns="182843" bIns="91422" rtlCol="0">
                <a:spAutoFit/>
              </a:bodyPr>
              <a:lstStyle/>
              <a:p>
                <a:pPr algn="ctr"/>
                <a:r>
                  <a:rPr lang="id-ID" sz="8800" b="1" dirty="0">
                    <a:solidFill>
                      <a:schemeClr val="bg2"/>
                    </a:solidFill>
                    <a:latin typeface="Lato Regular"/>
                    <a:cs typeface="Lato Regular"/>
                  </a:rPr>
                  <a:t>O</a:t>
                </a:r>
              </a:p>
            </p:txBody>
          </p:sp>
        </p:grpSp>
        <p:grpSp>
          <p:nvGrpSpPr>
            <p:cNvPr id="41" name="Group 40"/>
            <p:cNvGrpSpPr/>
            <p:nvPr>
              <p:custDataLst>
                <p:tags r:id="rId9"/>
              </p:custDataLst>
            </p:nvPr>
          </p:nvGrpSpPr>
          <p:grpSpPr>
            <a:xfrm>
              <a:off x="12069538" y="6666318"/>
              <a:ext cx="3678179" cy="4701838"/>
              <a:chOff x="12024978" y="6666318"/>
              <a:chExt cx="3678179" cy="4701838"/>
            </a:xfrm>
          </p:grpSpPr>
          <p:sp>
            <p:nvSpPr>
              <p:cNvPr id="42" name="Freeform 5"/>
              <p:cNvSpPr>
                <a:spLocks/>
              </p:cNvSpPr>
              <p:nvPr/>
            </p:nvSpPr>
            <p:spPr bwMode="auto">
              <a:xfrm rot="18900000" flipH="1">
                <a:off x="12024978" y="6666318"/>
                <a:ext cx="3678179" cy="4701838"/>
              </a:xfrm>
              <a:custGeom>
                <a:avLst/>
                <a:gdLst>
                  <a:gd name="T0" fmla="*/ 174 w 348"/>
                  <a:gd name="T1" fmla="*/ 0 h 444"/>
                  <a:gd name="T2" fmla="*/ 59 w 348"/>
                  <a:gd name="T3" fmla="*/ 115 h 444"/>
                  <a:gd name="T4" fmla="*/ 59 w 348"/>
                  <a:gd name="T5" fmla="*/ 328 h 444"/>
                  <a:gd name="T6" fmla="*/ 174 w 348"/>
                  <a:gd name="T7" fmla="*/ 444 h 444"/>
                  <a:gd name="T8" fmla="*/ 290 w 348"/>
                  <a:gd name="T9" fmla="*/ 328 h 444"/>
                  <a:gd name="T10" fmla="*/ 290 w 348"/>
                  <a:gd name="T11" fmla="*/ 115 h 444"/>
                  <a:gd name="T12" fmla="*/ 174 w 348"/>
                  <a:gd name="T13" fmla="*/ 0 h 444"/>
                </a:gdLst>
                <a:ahLst/>
                <a:cxnLst>
                  <a:cxn ang="0">
                    <a:pos x="T0" y="T1"/>
                  </a:cxn>
                  <a:cxn ang="0">
                    <a:pos x="T2" y="T3"/>
                  </a:cxn>
                  <a:cxn ang="0">
                    <a:pos x="T4" y="T5"/>
                  </a:cxn>
                  <a:cxn ang="0">
                    <a:pos x="T6" y="T7"/>
                  </a:cxn>
                  <a:cxn ang="0">
                    <a:pos x="T8" y="T9"/>
                  </a:cxn>
                  <a:cxn ang="0">
                    <a:pos x="T10" y="T11"/>
                  </a:cxn>
                  <a:cxn ang="0">
                    <a:pos x="T12" y="T13"/>
                  </a:cxn>
                </a:cxnLst>
                <a:rect l="0" t="0" r="r" b="b"/>
                <a:pathLst>
                  <a:path w="348" h="444">
                    <a:moveTo>
                      <a:pt x="174" y="0"/>
                    </a:moveTo>
                    <a:cubicBezTo>
                      <a:pt x="59" y="115"/>
                      <a:pt x="59" y="115"/>
                      <a:pt x="59" y="115"/>
                    </a:cubicBezTo>
                    <a:cubicBezTo>
                      <a:pt x="0" y="174"/>
                      <a:pt x="0" y="270"/>
                      <a:pt x="59" y="328"/>
                    </a:cubicBezTo>
                    <a:cubicBezTo>
                      <a:pt x="174" y="444"/>
                      <a:pt x="174" y="444"/>
                      <a:pt x="174" y="444"/>
                    </a:cubicBezTo>
                    <a:cubicBezTo>
                      <a:pt x="290" y="328"/>
                      <a:pt x="290" y="328"/>
                      <a:pt x="290" y="328"/>
                    </a:cubicBezTo>
                    <a:cubicBezTo>
                      <a:pt x="348" y="270"/>
                      <a:pt x="348" y="174"/>
                      <a:pt x="290" y="115"/>
                    </a:cubicBezTo>
                    <a:cubicBezTo>
                      <a:pt x="174" y="0"/>
                      <a:pt x="174" y="0"/>
                      <a:pt x="174" y="0"/>
                    </a:cubicBezTo>
                  </a:path>
                </a:pathLst>
              </a:custGeom>
              <a:solidFill>
                <a:schemeClr val="accent4"/>
              </a:solidFill>
              <a:ln>
                <a:noFill/>
              </a:ln>
            </p:spPr>
            <p:txBody>
              <a:bodyPr vert="horz" wrap="square" lIns="219419" tIns="109710" rIns="219419" bIns="109710" numCol="1" anchor="t" anchorCtr="0" compatLnSpc="1">
                <a:prstTxWarp prst="textNoShape">
                  <a:avLst/>
                </a:prstTxWarp>
              </a:bodyPr>
              <a:lstStyle/>
              <a:p>
                <a:endParaRPr lang="bg-BG" sz="1050"/>
              </a:p>
            </p:txBody>
          </p:sp>
          <p:sp>
            <p:nvSpPr>
              <p:cNvPr id="43" name="TextBox 42"/>
              <p:cNvSpPr txBox="1"/>
              <p:nvPr/>
            </p:nvSpPr>
            <p:spPr>
              <a:xfrm>
                <a:off x="12347732" y="7389911"/>
                <a:ext cx="2858554" cy="3051049"/>
              </a:xfrm>
              <a:prstGeom prst="rect">
                <a:avLst/>
              </a:prstGeom>
              <a:noFill/>
            </p:spPr>
            <p:txBody>
              <a:bodyPr wrap="square" lIns="182843" tIns="91422" rIns="182843" bIns="91422" rtlCol="0">
                <a:spAutoFit/>
              </a:bodyPr>
              <a:lstStyle/>
              <a:p>
                <a:pPr algn="ctr"/>
                <a:r>
                  <a:rPr lang="id-ID" sz="8800" b="1" dirty="0">
                    <a:solidFill>
                      <a:schemeClr val="bg2"/>
                    </a:solidFill>
                    <a:latin typeface="Lato Regular"/>
                    <a:cs typeface="Lato Regular"/>
                  </a:rPr>
                  <a:t>T</a:t>
                </a:r>
              </a:p>
            </p:txBody>
          </p:sp>
        </p:grpSp>
      </p:grpSp>
      <p:sp>
        <p:nvSpPr>
          <p:cNvPr id="45" name="TextBox 44"/>
          <p:cNvSpPr txBox="1"/>
          <p:nvPr/>
        </p:nvSpPr>
        <p:spPr>
          <a:xfrm>
            <a:off x="1870071" y="1848573"/>
            <a:ext cx="2550294" cy="1046412"/>
          </a:xfrm>
          <a:prstGeom prst="rect">
            <a:avLst/>
          </a:prstGeom>
          <a:noFill/>
        </p:spPr>
        <p:txBody>
          <a:bodyPr wrap="square" lIns="0" tIns="121892" rIns="0" bIns="0" rtlCol="0">
            <a:spAutoFit/>
          </a:bodyPr>
          <a:lstStyle/>
          <a:p>
            <a:r>
              <a:rPr lang="en-US" b="1" dirty="0" smtClean="0">
                <a:solidFill>
                  <a:srgbClr val="58595B"/>
                </a:solidFill>
                <a:latin typeface="Roboto Regular" pitchFamily="2" charset="0"/>
                <a:ea typeface="Roboto Regular" pitchFamily="2" charset="0"/>
                <a:cs typeface="Lato Regular"/>
              </a:rPr>
              <a:t>Strengths</a:t>
            </a:r>
            <a:endParaRPr lang="en-US" b="1" dirty="0">
              <a:solidFill>
                <a:srgbClr val="58595B"/>
              </a:solidFill>
              <a:latin typeface="Roboto Regular" pitchFamily="2" charset="0"/>
              <a:ea typeface="Roboto Regular" pitchFamily="2" charset="0"/>
              <a:cs typeface="Lato Regular"/>
            </a:endParaRPr>
          </a:p>
          <a:p>
            <a:r>
              <a:rPr lang="en-US" sz="1400" dirty="0">
                <a:solidFill>
                  <a:srgbClr val="58595B"/>
                </a:solidFill>
                <a:latin typeface="Roboto Regular" pitchFamily="2" charset="0"/>
                <a:ea typeface="Roboto Regular" pitchFamily="2" charset="0"/>
                <a:cs typeface="Lato Light"/>
              </a:rPr>
              <a:t>Lorem ipsum dolor </a:t>
            </a:r>
            <a:r>
              <a:rPr lang="en-US" sz="1400" dirty="0" err="1" smtClean="0">
                <a:solidFill>
                  <a:srgbClr val="58595B"/>
                </a:solidFill>
                <a:latin typeface="Roboto Regular" pitchFamily="2" charset="0"/>
                <a:ea typeface="Roboto Regular" pitchFamily="2" charset="0"/>
                <a:cs typeface="Lato Light"/>
              </a:rPr>
              <a:t>sitadown</a:t>
            </a:r>
            <a:r>
              <a:rPr lang="en-US" sz="1400" dirty="0" smtClean="0">
                <a:solidFill>
                  <a:srgbClr val="58595B"/>
                </a:solidFill>
                <a:latin typeface="Roboto Regular" pitchFamily="2" charset="0"/>
                <a:ea typeface="Roboto Regular" pitchFamily="2" charset="0"/>
                <a:cs typeface="Lato Light"/>
              </a:rPr>
              <a:t> </a:t>
            </a:r>
            <a:r>
              <a:rPr lang="en-US" sz="1400" dirty="0">
                <a:solidFill>
                  <a:srgbClr val="58595B"/>
                </a:solidFill>
                <a:latin typeface="Roboto Regular" pitchFamily="2" charset="0"/>
                <a:ea typeface="Roboto Regular" pitchFamily="2" charset="0"/>
                <a:cs typeface="Lato Light"/>
              </a:rPr>
              <a:t>amet,consectetur adipisicing elit, sed do eiusmod tempor</a:t>
            </a:r>
          </a:p>
        </p:txBody>
      </p:sp>
      <p:grpSp>
        <p:nvGrpSpPr>
          <p:cNvPr id="46" name="Group 45"/>
          <p:cNvGrpSpPr/>
          <p:nvPr>
            <p:custDataLst>
              <p:tags r:id="rId2"/>
            </p:custDataLst>
          </p:nvPr>
        </p:nvGrpSpPr>
        <p:grpSpPr>
          <a:xfrm>
            <a:off x="450251" y="2025404"/>
            <a:ext cx="1200337" cy="1175130"/>
            <a:chOff x="2163222" y="4675182"/>
            <a:chExt cx="1312452" cy="1312794"/>
          </a:xfrm>
        </p:grpSpPr>
        <p:sp>
          <p:nvSpPr>
            <p:cNvPr id="47" name="Oval 46"/>
            <p:cNvSpPr/>
            <p:nvPr/>
          </p:nvSpPr>
          <p:spPr>
            <a:xfrm>
              <a:off x="2163222" y="4675182"/>
              <a:ext cx="1312452" cy="131279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sz="1100" dirty="0">
                <a:solidFill>
                  <a:srgbClr val="58595B"/>
                </a:solidFill>
                <a:latin typeface="+mj-lt"/>
              </a:endParaRPr>
            </a:p>
          </p:txBody>
        </p:sp>
        <p:sp>
          <p:nvSpPr>
            <p:cNvPr id="48" name="Freeform 2"/>
            <p:cNvSpPr>
              <a:spLocks noChangeArrowheads="1"/>
            </p:cNvSpPr>
            <p:nvPr/>
          </p:nvSpPr>
          <p:spPr bwMode="auto">
            <a:xfrm>
              <a:off x="2492792" y="4959721"/>
              <a:ext cx="693093" cy="693273"/>
            </a:xfrm>
            <a:custGeom>
              <a:avLst/>
              <a:gdLst>
                <a:gd name="T0" fmla="*/ 3437 w 6844"/>
                <a:gd name="T1" fmla="*/ 1719 h 6844"/>
                <a:gd name="T2" fmla="*/ 3437 w 6844"/>
                <a:gd name="T3" fmla="*/ 2875 h 6844"/>
                <a:gd name="T4" fmla="*/ 3437 w 6844"/>
                <a:gd name="T5" fmla="*/ 1719 h 6844"/>
                <a:gd name="T6" fmla="*/ 6843 w 6844"/>
                <a:gd name="T7" fmla="*/ 188 h 6844"/>
                <a:gd name="T8" fmla="*/ 5437 w 6844"/>
                <a:gd name="T9" fmla="*/ 2375 h 6844"/>
                <a:gd name="T10" fmla="*/ 5124 w 6844"/>
                <a:gd name="T11" fmla="*/ 1250 h 6844"/>
                <a:gd name="T12" fmla="*/ 5093 w 6844"/>
                <a:gd name="T13" fmla="*/ 2719 h 6844"/>
                <a:gd name="T14" fmla="*/ 4437 w 6844"/>
                <a:gd name="T15" fmla="*/ 3749 h 6844"/>
                <a:gd name="T16" fmla="*/ 5218 w 6844"/>
                <a:gd name="T17" fmla="*/ 4562 h 6844"/>
                <a:gd name="T18" fmla="*/ 5218 w 6844"/>
                <a:gd name="T19" fmla="*/ 4593 h 6844"/>
                <a:gd name="T20" fmla="*/ 5124 w 6844"/>
                <a:gd name="T21" fmla="*/ 6624 h 6844"/>
                <a:gd name="T22" fmla="*/ 4812 w 6844"/>
                <a:gd name="T23" fmla="*/ 6843 h 6844"/>
                <a:gd name="T24" fmla="*/ 4812 w 6844"/>
                <a:gd name="T25" fmla="*/ 5093 h 6844"/>
                <a:gd name="T26" fmla="*/ 2594 w 6844"/>
                <a:gd name="T27" fmla="*/ 5812 h 6844"/>
                <a:gd name="T28" fmla="*/ 2438 w 6844"/>
                <a:gd name="T29" fmla="*/ 5968 h 6844"/>
                <a:gd name="T30" fmla="*/ 875 w 6844"/>
                <a:gd name="T31" fmla="*/ 6843 h 6844"/>
                <a:gd name="T32" fmla="*/ 719 w 6844"/>
                <a:gd name="T33" fmla="*/ 6312 h 6844"/>
                <a:gd name="T34" fmla="*/ 2844 w 6844"/>
                <a:gd name="T35" fmla="*/ 4562 h 6844"/>
                <a:gd name="T36" fmla="*/ 1782 w 6844"/>
                <a:gd name="T37" fmla="*/ 2750 h 6844"/>
                <a:gd name="T38" fmla="*/ 1719 w 6844"/>
                <a:gd name="T39" fmla="*/ 2594 h 6844"/>
                <a:gd name="T40" fmla="*/ 1250 w 6844"/>
                <a:gd name="T41" fmla="*/ 1313 h 6844"/>
                <a:gd name="T42" fmla="*/ 407 w 6844"/>
                <a:gd name="T43" fmla="*/ 2563 h 6844"/>
                <a:gd name="T44" fmla="*/ 1032 w 6844"/>
                <a:gd name="T45" fmla="*/ 32 h 6844"/>
                <a:gd name="T46" fmla="*/ 1813 w 6844"/>
                <a:gd name="T47" fmla="*/ 938 h 6844"/>
                <a:gd name="T48" fmla="*/ 2157 w 6844"/>
                <a:gd name="T49" fmla="*/ 907 h 6844"/>
                <a:gd name="T50" fmla="*/ 4718 w 6844"/>
                <a:gd name="T51" fmla="*/ 907 h 6844"/>
                <a:gd name="T52" fmla="*/ 5031 w 6844"/>
                <a:gd name="T53" fmla="*/ 938 h 6844"/>
                <a:gd name="T54" fmla="*/ 5812 w 6844"/>
                <a:gd name="T55" fmla="*/ 0 h 6844"/>
                <a:gd name="T56" fmla="*/ 4562 w 6844"/>
                <a:gd name="T57" fmla="*/ 1188 h 6844"/>
                <a:gd name="T58" fmla="*/ 3437 w 6844"/>
                <a:gd name="T59" fmla="*/ 1157 h 6844"/>
                <a:gd name="T60" fmla="*/ 2282 w 6844"/>
                <a:gd name="T61" fmla="*/ 2469 h 6844"/>
                <a:gd name="T62" fmla="*/ 3718 w 6844"/>
                <a:gd name="T63" fmla="*/ 3157 h 6844"/>
                <a:gd name="T64" fmla="*/ 4562 w 6844"/>
                <a:gd name="T65" fmla="*/ 1188 h 6844"/>
                <a:gd name="T66" fmla="*/ 4562 w 6844"/>
                <a:gd name="T67" fmla="*/ 1188 h 6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44" h="6844">
                  <a:moveTo>
                    <a:pt x="3437" y="1719"/>
                  </a:moveTo>
                  <a:lnTo>
                    <a:pt x="3437" y="1719"/>
                  </a:lnTo>
                  <a:cubicBezTo>
                    <a:pt x="3749" y="1719"/>
                    <a:pt x="3999" y="2000"/>
                    <a:pt x="3999" y="2313"/>
                  </a:cubicBezTo>
                  <a:cubicBezTo>
                    <a:pt x="3999" y="2625"/>
                    <a:pt x="3749" y="2875"/>
                    <a:pt x="3437" y="2875"/>
                  </a:cubicBezTo>
                  <a:cubicBezTo>
                    <a:pt x="3125" y="2875"/>
                    <a:pt x="2844" y="2625"/>
                    <a:pt x="2844" y="2313"/>
                  </a:cubicBezTo>
                  <a:cubicBezTo>
                    <a:pt x="2844" y="2000"/>
                    <a:pt x="3125" y="1719"/>
                    <a:pt x="3437" y="1719"/>
                  </a:cubicBezTo>
                  <a:close/>
                  <a:moveTo>
                    <a:pt x="6843" y="188"/>
                  </a:moveTo>
                  <a:lnTo>
                    <a:pt x="6843" y="188"/>
                  </a:lnTo>
                  <a:cubicBezTo>
                    <a:pt x="6437" y="2532"/>
                    <a:pt x="6437" y="2532"/>
                    <a:pt x="6437" y="2532"/>
                  </a:cubicBezTo>
                  <a:cubicBezTo>
                    <a:pt x="5437" y="2375"/>
                    <a:pt x="5437" y="2375"/>
                    <a:pt x="5437" y="2375"/>
                  </a:cubicBezTo>
                  <a:cubicBezTo>
                    <a:pt x="5593" y="1282"/>
                    <a:pt x="5593" y="1282"/>
                    <a:pt x="5593" y="1282"/>
                  </a:cubicBezTo>
                  <a:cubicBezTo>
                    <a:pt x="5468" y="1282"/>
                    <a:pt x="5312" y="1250"/>
                    <a:pt x="5124" y="1250"/>
                  </a:cubicBezTo>
                  <a:cubicBezTo>
                    <a:pt x="5124" y="2594"/>
                    <a:pt x="5124" y="2594"/>
                    <a:pt x="5124" y="2594"/>
                  </a:cubicBezTo>
                  <a:cubicBezTo>
                    <a:pt x="5124" y="2625"/>
                    <a:pt x="5124" y="2688"/>
                    <a:pt x="5093" y="2719"/>
                  </a:cubicBezTo>
                  <a:lnTo>
                    <a:pt x="5093" y="2750"/>
                  </a:lnTo>
                  <a:cubicBezTo>
                    <a:pt x="4437" y="3749"/>
                    <a:pt x="4437" y="3749"/>
                    <a:pt x="4437" y="3749"/>
                  </a:cubicBezTo>
                  <a:cubicBezTo>
                    <a:pt x="4249" y="4281"/>
                    <a:pt x="4249" y="4281"/>
                    <a:pt x="4249" y="4281"/>
                  </a:cubicBezTo>
                  <a:cubicBezTo>
                    <a:pt x="5218" y="4562"/>
                    <a:pt x="5218" y="4562"/>
                    <a:pt x="5218" y="4562"/>
                  </a:cubicBezTo>
                  <a:cubicBezTo>
                    <a:pt x="5218" y="4562"/>
                    <a:pt x="5218" y="4562"/>
                    <a:pt x="5187" y="4593"/>
                  </a:cubicBezTo>
                  <a:cubicBezTo>
                    <a:pt x="5218" y="4593"/>
                    <a:pt x="5218" y="4593"/>
                    <a:pt x="5218" y="4593"/>
                  </a:cubicBezTo>
                  <a:cubicBezTo>
                    <a:pt x="5343" y="4624"/>
                    <a:pt x="5437" y="4749"/>
                    <a:pt x="5406" y="4906"/>
                  </a:cubicBezTo>
                  <a:cubicBezTo>
                    <a:pt x="5124" y="6624"/>
                    <a:pt x="5124" y="6624"/>
                    <a:pt x="5124" y="6624"/>
                  </a:cubicBezTo>
                  <a:cubicBezTo>
                    <a:pt x="5093" y="6749"/>
                    <a:pt x="4999" y="6843"/>
                    <a:pt x="4843" y="6843"/>
                  </a:cubicBezTo>
                  <a:lnTo>
                    <a:pt x="4812" y="6843"/>
                  </a:lnTo>
                  <a:cubicBezTo>
                    <a:pt x="4656" y="6812"/>
                    <a:pt x="4531" y="6687"/>
                    <a:pt x="4562" y="6531"/>
                  </a:cubicBezTo>
                  <a:cubicBezTo>
                    <a:pt x="4812" y="5093"/>
                    <a:pt x="4812" y="5093"/>
                    <a:pt x="4812" y="5093"/>
                  </a:cubicBezTo>
                  <a:cubicBezTo>
                    <a:pt x="3531" y="5124"/>
                    <a:pt x="3531" y="5124"/>
                    <a:pt x="3531" y="5124"/>
                  </a:cubicBezTo>
                  <a:cubicBezTo>
                    <a:pt x="2594" y="5812"/>
                    <a:pt x="2594" y="5812"/>
                    <a:pt x="2594" y="5812"/>
                  </a:cubicBezTo>
                  <a:cubicBezTo>
                    <a:pt x="2500" y="5906"/>
                    <a:pt x="2500" y="5906"/>
                    <a:pt x="2500" y="5906"/>
                  </a:cubicBezTo>
                  <a:cubicBezTo>
                    <a:pt x="2469" y="5937"/>
                    <a:pt x="2469" y="5937"/>
                    <a:pt x="2438" y="5968"/>
                  </a:cubicBezTo>
                  <a:cubicBezTo>
                    <a:pt x="1000" y="6812"/>
                    <a:pt x="1000" y="6812"/>
                    <a:pt x="1000" y="6812"/>
                  </a:cubicBezTo>
                  <a:cubicBezTo>
                    <a:pt x="969" y="6843"/>
                    <a:pt x="907" y="6843"/>
                    <a:pt x="875" y="6843"/>
                  </a:cubicBezTo>
                  <a:cubicBezTo>
                    <a:pt x="782" y="6843"/>
                    <a:pt x="688" y="6812"/>
                    <a:pt x="625" y="6718"/>
                  </a:cubicBezTo>
                  <a:cubicBezTo>
                    <a:pt x="532" y="6562"/>
                    <a:pt x="594" y="6406"/>
                    <a:pt x="719" y="6312"/>
                  </a:cubicBezTo>
                  <a:cubicBezTo>
                    <a:pt x="1969" y="5562"/>
                    <a:pt x="1969" y="5562"/>
                    <a:pt x="1969" y="5562"/>
                  </a:cubicBezTo>
                  <a:cubicBezTo>
                    <a:pt x="2844" y="4562"/>
                    <a:pt x="2844" y="4562"/>
                    <a:pt x="2844" y="4562"/>
                  </a:cubicBezTo>
                  <a:cubicBezTo>
                    <a:pt x="2563" y="3718"/>
                    <a:pt x="2563" y="3718"/>
                    <a:pt x="2563" y="3718"/>
                  </a:cubicBezTo>
                  <a:cubicBezTo>
                    <a:pt x="1782" y="2750"/>
                    <a:pt x="1782" y="2750"/>
                    <a:pt x="1782" y="2750"/>
                  </a:cubicBezTo>
                  <a:lnTo>
                    <a:pt x="1782" y="2750"/>
                  </a:lnTo>
                  <a:cubicBezTo>
                    <a:pt x="1750" y="2688"/>
                    <a:pt x="1719" y="2657"/>
                    <a:pt x="1719" y="2594"/>
                  </a:cubicBezTo>
                  <a:cubicBezTo>
                    <a:pt x="1719" y="1250"/>
                    <a:pt x="1719" y="1250"/>
                    <a:pt x="1719" y="1250"/>
                  </a:cubicBezTo>
                  <a:cubicBezTo>
                    <a:pt x="1532" y="1250"/>
                    <a:pt x="1375" y="1282"/>
                    <a:pt x="1250" y="1313"/>
                  </a:cubicBezTo>
                  <a:cubicBezTo>
                    <a:pt x="1407" y="2375"/>
                    <a:pt x="1407" y="2375"/>
                    <a:pt x="1407" y="2375"/>
                  </a:cubicBezTo>
                  <a:cubicBezTo>
                    <a:pt x="407" y="2563"/>
                    <a:pt x="407" y="2563"/>
                    <a:pt x="407" y="2563"/>
                  </a:cubicBezTo>
                  <a:cubicBezTo>
                    <a:pt x="0" y="188"/>
                    <a:pt x="0" y="188"/>
                    <a:pt x="0" y="188"/>
                  </a:cubicBezTo>
                  <a:cubicBezTo>
                    <a:pt x="1032" y="32"/>
                    <a:pt x="1032" y="32"/>
                    <a:pt x="1032" y="32"/>
                  </a:cubicBezTo>
                  <a:cubicBezTo>
                    <a:pt x="1188" y="1032"/>
                    <a:pt x="1188" y="1032"/>
                    <a:pt x="1188" y="1032"/>
                  </a:cubicBezTo>
                  <a:cubicBezTo>
                    <a:pt x="1375" y="1000"/>
                    <a:pt x="1594" y="969"/>
                    <a:pt x="1813" y="938"/>
                  </a:cubicBezTo>
                  <a:cubicBezTo>
                    <a:pt x="1875" y="907"/>
                    <a:pt x="1938" y="875"/>
                    <a:pt x="2000" y="875"/>
                  </a:cubicBezTo>
                  <a:cubicBezTo>
                    <a:pt x="2063" y="875"/>
                    <a:pt x="2094" y="907"/>
                    <a:pt x="2157" y="907"/>
                  </a:cubicBezTo>
                  <a:cubicBezTo>
                    <a:pt x="2532" y="907"/>
                    <a:pt x="2938" y="875"/>
                    <a:pt x="3437" y="875"/>
                  </a:cubicBezTo>
                  <a:cubicBezTo>
                    <a:pt x="3906" y="875"/>
                    <a:pt x="4343" y="907"/>
                    <a:pt x="4718" y="907"/>
                  </a:cubicBezTo>
                  <a:cubicBezTo>
                    <a:pt x="4749" y="907"/>
                    <a:pt x="4781" y="875"/>
                    <a:pt x="4843" y="875"/>
                  </a:cubicBezTo>
                  <a:cubicBezTo>
                    <a:pt x="4906" y="875"/>
                    <a:pt x="4968" y="907"/>
                    <a:pt x="5031" y="938"/>
                  </a:cubicBezTo>
                  <a:cubicBezTo>
                    <a:pt x="5281" y="969"/>
                    <a:pt x="5468" y="1000"/>
                    <a:pt x="5656" y="1000"/>
                  </a:cubicBezTo>
                  <a:cubicBezTo>
                    <a:pt x="5812" y="0"/>
                    <a:pt x="5812" y="0"/>
                    <a:pt x="5812" y="0"/>
                  </a:cubicBezTo>
                  <a:lnTo>
                    <a:pt x="6843" y="188"/>
                  </a:lnTo>
                  <a:close/>
                  <a:moveTo>
                    <a:pt x="4562" y="1188"/>
                  </a:moveTo>
                  <a:lnTo>
                    <a:pt x="4562" y="1188"/>
                  </a:lnTo>
                  <a:cubicBezTo>
                    <a:pt x="4218" y="1188"/>
                    <a:pt x="3843" y="1157"/>
                    <a:pt x="3437" y="1157"/>
                  </a:cubicBezTo>
                  <a:cubicBezTo>
                    <a:pt x="3000" y="1157"/>
                    <a:pt x="2625" y="1188"/>
                    <a:pt x="2282" y="1188"/>
                  </a:cubicBezTo>
                  <a:cubicBezTo>
                    <a:pt x="2282" y="2469"/>
                    <a:pt x="2282" y="2469"/>
                    <a:pt x="2282" y="2469"/>
                  </a:cubicBezTo>
                  <a:cubicBezTo>
                    <a:pt x="3157" y="3157"/>
                    <a:pt x="3157" y="3157"/>
                    <a:pt x="3157" y="3157"/>
                  </a:cubicBezTo>
                  <a:cubicBezTo>
                    <a:pt x="3718" y="3157"/>
                    <a:pt x="3718" y="3157"/>
                    <a:pt x="3718" y="3157"/>
                  </a:cubicBezTo>
                  <a:cubicBezTo>
                    <a:pt x="4562" y="2469"/>
                    <a:pt x="4562" y="2469"/>
                    <a:pt x="4562" y="2469"/>
                  </a:cubicBezTo>
                  <a:lnTo>
                    <a:pt x="4562" y="1188"/>
                  </a:lnTo>
                  <a:close/>
                  <a:moveTo>
                    <a:pt x="4562" y="1188"/>
                  </a:moveTo>
                  <a:lnTo>
                    <a:pt x="4562" y="1188"/>
                  </a:lnTo>
                  <a:close/>
                </a:path>
              </a:pathLst>
            </a:custGeom>
            <a:solidFill>
              <a:schemeClr val="bg2"/>
            </a:solidFill>
            <a:ln>
              <a:noFill/>
            </a:ln>
            <a:effectLst/>
          </p:spPr>
          <p:txBody>
            <a:bodyPr wrap="none" lIns="243797" tIns="121899" rIns="243797" bIns="121899" anchor="ctr"/>
            <a:lstStyle/>
            <a:p>
              <a:endParaRPr lang="en-US" sz="1100">
                <a:solidFill>
                  <a:srgbClr val="58595B"/>
                </a:solidFill>
                <a:latin typeface="+mj-lt"/>
              </a:endParaRPr>
            </a:p>
          </p:txBody>
        </p:sp>
      </p:grpSp>
      <p:sp>
        <p:nvSpPr>
          <p:cNvPr id="50" name="TextBox 49"/>
          <p:cNvSpPr txBox="1"/>
          <p:nvPr/>
        </p:nvSpPr>
        <p:spPr>
          <a:xfrm>
            <a:off x="10063080" y="1848572"/>
            <a:ext cx="2327957" cy="1046412"/>
          </a:xfrm>
          <a:prstGeom prst="rect">
            <a:avLst/>
          </a:prstGeom>
          <a:noFill/>
        </p:spPr>
        <p:txBody>
          <a:bodyPr wrap="square" lIns="0" tIns="121892" rIns="0" bIns="0" rtlCol="0">
            <a:spAutoFit/>
          </a:bodyPr>
          <a:lstStyle/>
          <a:p>
            <a:r>
              <a:rPr lang="en-US" b="1" dirty="0" smtClean="0">
                <a:solidFill>
                  <a:srgbClr val="58595B"/>
                </a:solidFill>
                <a:latin typeface="Roboto Regular" pitchFamily="2" charset="0"/>
                <a:ea typeface="Roboto Regular" pitchFamily="2" charset="0"/>
                <a:cs typeface="Lato Regular"/>
              </a:rPr>
              <a:t>Weaknesses</a:t>
            </a:r>
            <a:endParaRPr lang="en-US" b="1" dirty="0">
              <a:solidFill>
                <a:srgbClr val="58595B"/>
              </a:solidFill>
              <a:latin typeface="Roboto Regular" pitchFamily="2" charset="0"/>
              <a:ea typeface="Roboto Regular" pitchFamily="2" charset="0"/>
              <a:cs typeface="Lato Regular"/>
            </a:endParaRPr>
          </a:p>
          <a:p>
            <a:r>
              <a:rPr lang="en-US" sz="1400" dirty="0">
                <a:solidFill>
                  <a:srgbClr val="58595B"/>
                </a:solidFill>
                <a:latin typeface="Roboto Regular" pitchFamily="2" charset="0"/>
                <a:ea typeface="Roboto Regular" pitchFamily="2" charset="0"/>
                <a:cs typeface="Lato Light"/>
              </a:rPr>
              <a:t>Lorem ipsum dolor </a:t>
            </a:r>
            <a:r>
              <a:rPr lang="en-US" sz="1400" dirty="0" err="1">
                <a:solidFill>
                  <a:srgbClr val="58595B"/>
                </a:solidFill>
                <a:latin typeface="Roboto Regular" pitchFamily="2" charset="0"/>
                <a:ea typeface="Roboto Regular" pitchFamily="2" charset="0"/>
                <a:cs typeface="Lato Light"/>
              </a:rPr>
              <a:t>sitadown</a:t>
            </a:r>
            <a:r>
              <a:rPr lang="en-US" sz="1400" dirty="0">
                <a:solidFill>
                  <a:srgbClr val="58595B"/>
                </a:solidFill>
                <a:latin typeface="Roboto Regular" pitchFamily="2" charset="0"/>
                <a:ea typeface="Roboto Regular" pitchFamily="2" charset="0"/>
                <a:cs typeface="Lato Light"/>
              </a:rPr>
              <a:t> </a:t>
            </a:r>
            <a:r>
              <a:rPr lang="en-US" sz="1400" dirty="0" err="1">
                <a:solidFill>
                  <a:srgbClr val="58595B"/>
                </a:solidFill>
                <a:latin typeface="Roboto Regular" pitchFamily="2" charset="0"/>
                <a:ea typeface="Roboto Regular" pitchFamily="2" charset="0"/>
                <a:cs typeface="Lato Light"/>
              </a:rPr>
              <a:t>amet,consectetur</a:t>
            </a:r>
            <a:r>
              <a:rPr lang="en-US" sz="1400" dirty="0">
                <a:solidFill>
                  <a:srgbClr val="58595B"/>
                </a:solidFill>
                <a:latin typeface="Roboto Regular" pitchFamily="2" charset="0"/>
                <a:ea typeface="Roboto Regular" pitchFamily="2" charset="0"/>
                <a:cs typeface="Lato Light"/>
              </a:rPr>
              <a:t> adipisicing elit, sed do eiusmod tempor</a:t>
            </a:r>
          </a:p>
        </p:txBody>
      </p:sp>
      <p:grpSp>
        <p:nvGrpSpPr>
          <p:cNvPr id="51" name="Group 50"/>
          <p:cNvGrpSpPr/>
          <p:nvPr>
            <p:custDataLst>
              <p:tags r:id="rId3"/>
            </p:custDataLst>
          </p:nvPr>
        </p:nvGrpSpPr>
        <p:grpSpPr>
          <a:xfrm>
            <a:off x="8643260" y="2025404"/>
            <a:ext cx="1200339" cy="1175130"/>
            <a:chOff x="16961077" y="4664338"/>
            <a:chExt cx="1312454" cy="1312794"/>
          </a:xfrm>
        </p:grpSpPr>
        <p:sp>
          <p:nvSpPr>
            <p:cNvPr id="52" name="Oval 51"/>
            <p:cNvSpPr/>
            <p:nvPr/>
          </p:nvSpPr>
          <p:spPr>
            <a:xfrm>
              <a:off x="16961077" y="4664338"/>
              <a:ext cx="1312454" cy="131279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182843" tIns="91422" rIns="182843" bIns="91422" rtlCol="0" anchor="ctr"/>
            <a:lstStyle/>
            <a:p>
              <a:pPr algn="ctr"/>
              <a:r>
                <a:rPr lang="en-US" sz="1100" dirty="0" smtClean="0">
                  <a:solidFill>
                    <a:srgbClr val="58595B"/>
                  </a:solidFill>
                  <a:latin typeface="+mj-lt"/>
                </a:rPr>
                <a:t> </a:t>
              </a:r>
              <a:endParaRPr lang="en-US" sz="1100" dirty="0">
                <a:solidFill>
                  <a:srgbClr val="58595B"/>
                </a:solidFill>
                <a:latin typeface="+mj-lt"/>
              </a:endParaRPr>
            </a:p>
          </p:txBody>
        </p:sp>
        <p:sp>
          <p:nvSpPr>
            <p:cNvPr id="53" name="Freeform 3"/>
            <p:cNvSpPr>
              <a:spLocks noChangeArrowheads="1"/>
            </p:cNvSpPr>
            <p:nvPr/>
          </p:nvSpPr>
          <p:spPr bwMode="auto">
            <a:xfrm>
              <a:off x="17321877" y="5035861"/>
              <a:ext cx="670572" cy="514855"/>
            </a:xfrm>
            <a:custGeom>
              <a:avLst/>
              <a:gdLst>
                <a:gd name="T0" fmla="*/ 3034 w 6392"/>
                <a:gd name="T1" fmla="*/ 2260 h 4907"/>
                <a:gd name="T2" fmla="*/ 2582 w 6392"/>
                <a:gd name="T3" fmla="*/ 1937 h 4907"/>
                <a:gd name="T4" fmla="*/ 1421 w 6392"/>
                <a:gd name="T5" fmla="*/ 2196 h 4907"/>
                <a:gd name="T6" fmla="*/ 388 w 6392"/>
                <a:gd name="T7" fmla="*/ 4583 h 4907"/>
                <a:gd name="T8" fmla="*/ 2712 w 6392"/>
                <a:gd name="T9" fmla="*/ 3551 h 4907"/>
                <a:gd name="T10" fmla="*/ 3034 w 6392"/>
                <a:gd name="T11" fmla="*/ 2260 h 4907"/>
                <a:gd name="T12" fmla="*/ 2454 w 6392"/>
                <a:gd name="T13" fmla="*/ 3228 h 4907"/>
                <a:gd name="T14" fmla="*/ 711 w 6392"/>
                <a:gd name="T15" fmla="*/ 4261 h 4907"/>
                <a:gd name="T16" fmla="*/ 1679 w 6392"/>
                <a:gd name="T17" fmla="*/ 2518 h 4907"/>
                <a:gd name="T18" fmla="*/ 1874 w 6392"/>
                <a:gd name="T19" fmla="*/ 2648 h 4907"/>
                <a:gd name="T20" fmla="*/ 2260 w 6392"/>
                <a:gd name="T21" fmla="*/ 3034 h 4907"/>
                <a:gd name="T22" fmla="*/ 2454 w 6392"/>
                <a:gd name="T23" fmla="*/ 3228 h 4907"/>
                <a:gd name="T24" fmla="*/ 6197 w 6392"/>
                <a:gd name="T25" fmla="*/ 710 h 4907"/>
                <a:gd name="T26" fmla="*/ 3615 w 6392"/>
                <a:gd name="T27" fmla="*/ 646 h 4907"/>
                <a:gd name="T28" fmla="*/ 2776 w 6392"/>
                <a:gd name="T29" fmla="*/ 1679 h 4907"/>
                <a:gd name="T30" fmla="*/ 3034 w 6392"/>
                <a:gd name="T31" fmla="*/ 2196 h 4907"/>
                <a:gd name="T32" fmla="*/ 4326 w 6392"/>
                <a:gd name="T33" fmla="*/ 2454 h 4907"/>
                <a:gd name="T34" fmla="*/ 6197 w 6392"/>
                <a:gd name="T35" fmla="*/ 710 h 4907"/>
                <a:gd name="T36" fmla="*/ 5489 w 6392"/>
                <a:gd name="T37" fmla="*/ 1549 h 4907"/>
                <a:gd name="T38" fmla="*/ 3681 w 6392"/>
                <a:gd name="T39" fmla="*/ 1937 h 4907"/>
                <a:gd name="T40" fmla="*/ 4067 w 6392"/>
                <a:gd name="T41" fmla="*/ 1485 h 4907"/>
                <a:gd name="T42" fmla="*/ 3487 w 6392"/>
                <a:gd name="T43" fmla="*/ 1421 h 4907"/>
                <a:gd name="T44" fmla="*/ 5164 w 6392"/>
                <a:gd name="T45" fmla="*/ 582 h 4907"/>
                <a:gd name="T46" fmla="*/ 5489 w 6392"/>
                <a:gd name="T47" fmla="*/ 1549 h 4907"/>
                <a:gd name="T48" fmla="*/ 3165 w 6392"/>
                <a:gd name="T49" fmla="*/ 2260 h 4907"/>
                <a:gd name="T50" fmla="*/ 3423 w 6392"/>
                <a:gd name="T51" fmla="*/ 3098 h 4907"/>
                <a:gd name="T52" fmla="*/ 3423 w 6392"/>
                <a:gd name="T53" fmla="*/ 2582 h 4907"/>
                <a:gd name="T54" fmla="*/ 3165 w 6392"/>
                <a:gd name="T55" fmla="*/ 2260 h 4907"/>
                <a:gd name="T56" fmla="*/ 2196 w 6392"/>
                <a:gd name="T57" fmla="*/ 1615 h 4907"/>
                <a:gd name="T58" fmla="*/ 2066 w 6392"/>
                <a:gd name="T59" fmla="*/ 1163 h 4907"/>
                <a:gd name="T60" fmla="*/ 2518 w 6392"/>
                <a:gd name="T61" fmla="*/ 1549 h 4907"/>
                <a:gd name="T62" fmla="*/ 2582 w 6392"/>
                <a:gd name="T63" fmla="*/ 1873 h 4907"/>
                <a:gd name="T64" fmla="*/ 2196 w 6392"/>
                <a:gd name="T65" fmla="*/ 1615 h 4907"/>
                <a:gd name="T66" fmla="*/ 2196 w 6392"/>
                <a:gd name="T67" fmla="*/ 1615 h 4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92" h="4907">
                  <a:moveTo>
                    <a:pt x="3034" y="2260"/>
                  </a:moveTo>
                  <a:lnTo>
                    <a:pt x="3034" y="2260"/>
                  </a:lnTo>
                  <a:cubicBezTo>
                    <a:pt x="2776" y="2196"/>
                    <a:pt x="2776" y="2196"/>
                    <a:pt x="2776" y="2196"/>
                  </a:cubicBezTo>
                  <a:cubicBezTo>
                    <a:pt x="2582" y="1937"/>
                    <a:pt x="2582" y="1937"/>
                    <a:pt x="2582" y="1937"/>
                  </a:cubicBezTo>
                  <a:cubicBezTo>
                    <a:pt x="2454" y="2001"/>
                    <a:pt x="2454" y="2001"/>
                    <a:pt x="2454" y="2001"/>
                  </a:cubicBezTo>
                  <a:cubicBezTo>
                    <a:pt x="2132" y="1873"/>
                    <a:pt x="1679" y="1937"/>
                    <a:pt x="1421" y="2196"/>
                  </a:cubicBezTo>
                  <a:cubicBezTo>
                    <a:pt x="388" y="3228"/>
                    <a:pt x="388" y="3228"/>
                    <a:pt x="388" y="3228"/>
                  </a:cubicBezTo>
                  <a:cubicBezTo>
                    <a:pt x="0" y="3615"/>
                    <a:pt x="0" y="4197"/>
                    <a:pt x="388" y="4583"/>
                  </a:cubicBezTo>
                  <a:cubicBezTo>
                    <a:pt x="775" y="4906"/>
                    <a:pt x="1357" y="4906"/>
                    <a:pt x="1743" y="4583"/>
                  </a:cubicBezTo>
                  <a:cubicBezTo>
                    <a:pt x="2712" y="3551"/>
                    <a:pt x="2712" y="3551"/>
                    <a:pt x="2712" y="3551"/>
                  </a:cubicBezTo>
                  <a:cubicBezTo>
                    <a:pt x="3034" y="3228"/>
                    <a:pt x="3099" y="2776"/>
                    <a:pt x="2906" y="2454"/>
                  </a:cubicBezTo>
                  <a:lnTo>
                    <a:pt x="3034" y="2260"/>
                  </a:lnTo>
                  <a:close/>
                  <a:moveTo>
                    <a:pt x="2454" y="3228"/>
                  </a:moveTo>
                  <a:lnTo>
                    <a:pt x="2454" y="3228"/>
                  </a:lnTo>
                  <a:cubicBezTo>
                    <a:pt x="1421" y="4261"/>
                    <a:pt x="1421" y="4261"/>
                    <a:pt x="1421" y="4261"/>
                  </a:cubicBezTo>
                  <a:cubicBezTo>
                    <a:pt x="1227" y="4455"/>
                    <a:pt x="905" y="4455"/>
                    <a:pt x="711" y="4261"/>
                  </a:cubicBezTo>
                  <a:cubicBezTo>
                    <a:pt x="516" y="4067"/>
                    <a:pt x="516" y="3745"/>
                    <a:pt x="711" y="3551"/>
                  </a:cubicBezTo>
                  <a:cubicBezTo>
                    <a:pt x="1679" y="2518"/>
                    <a:pt x="1679" y="2518"/>
                    <a:pt x="1679" y="2518"/>
                  </a:cubicBezTo>
                  <a:cubicBezTo>
                    <a:pt x="1807" y="2390"/>
                    <a:pt x="2002" y="2324"/>
                    <a:pt x="2132" y="2390"/>
                  </a:cubicBezTo>
                  <a:cubicBezTo>
                    <a:pt x="1874" y="2648"/>
                    <a:pt x="1874" y="2648"/>
                    <a:pt x="1874" y="2648"/>
                  </a:cubicBezTo>
                  <a:cubicBezTo>
                    <a:pt x="1743" y="2776"/>
                    <a:pt x="1743" y="2970"/>
                    <a:pt x="1874" y="3034"/>
                  </a:cubicBezTo>
                  <a:cubicBezTo>
                    <a:pt x="1938" y="3164"/>
                    <a:pt x="2132" y="3164"/>
                    <a:pt x="2260" y="3034"/>
                  </a:cubicBezTo>
                  <a:cubicBezTo>
                    <a:pt x="2582" y="2776"/>
                    <a:pt x="2582" y="2776"/>
                    <a:pt x="2582" y="2776"/>
                  </a:cubicBezTo>
                  <a:cubicBezTo>
                    <a:pt x="2582" y="2906"/>
                    <a:pt x="2582" y="3098"/>
                    <a:pt x="2454" y="3228"/>
                  </a:cubicBezTo>
                  <a:close/>
                  <a:moveTo>
                    <a:pt x="6197" y="710"/>
                  </a:moveTo>
                  <a:lnTo>
                    <a:pt x="6197" y="710"/>
                  </a:lnTo>
                  <a:cubicBezTo>
                    <a:pt x="6005" y="258"/>
                    <a:pt x="5489" y="0"/>
                    <a:pt x="4972" y="194"/>
                  </a:cubicBezTo>
                  <a:cubicBezTo>
                    <a:pt x="3615" y="646"/>
                    <a:pt x="3615" y="646"/>
                    <a:pt x="3615" y="646"/>
                  </a:cubicBezTo>
                  <a:cubicBezTo>
                    <a:pt x="3229" y="841"/>
                    <a:pt x="3034" y="1163"/>
                    <a:pt x="3034" y="1549"/>
                  </a:cubicBezTo>
                  <a:cubicBezTo>
                    <a:pt x="2776" y="1679"/>
                    <a:pt x="2776" y="1679"/>
                    <a:pt x="2776" y="1679"/>
                  </a:cubicBezTo>
                  <a:cubicBezTo>
                    <a:pt x="2840" y="2001"/>
                    <a:pt x="2840" y="2001"/>
                    <a:pt x="2840" y="2001"/>
                  </a:cubicBezTo>
                  <a:cubicBezTo>
                    <a:pt x="3034" y="2196"/>
                    <a:pt x="3034" y="2196"/>
                    <a:pt x="3034" y="2196"/>
                  </a:cubicBezTo>
                  <a:cubicBezTo>
                    <a:pt x="3229" y="2132"/>
                    <a:pt x="3229" y="2132"/>
                    <a:pt x="3229" y="2132"/>
                  </a:cubicBezTo>
                  <a:cubicBezTo>
                    <a:pt x="3487" y="2454"/>
                    <a:pt x="3939" y="2582"/>
                    <a:pt x="4326" y="2454"/>
                  </a:cubicBezTo>
                  <a:cubicBezTo>
                    <a:pt x="5681" y="1937"/>
                    <a:pt x="5681" y="1937"/>
                    <a:pt x="5681" y="1937"/>
                  </a:cubicBezTo>
                  <a:cubicBezTo>
                    <a:pt x="6133" y="1743"/>
                    <a:pt x="6391" y="1227"/>
                    <a:pt x="6197" y="710"/>
                  </a:cubicBezTo>
                  <a:close/>
                  <a:moveTo>
                    <a:pt x="5489" y="1549"/>
                  </a:moveTo>
                  <a:lnTo>
                    <a:pt x="5489" y="1549"/>
                  </a:lnTo>
                  <a:cubicBezTo>
                    <a:pt x="4131" y="2065"/>
                    <a:pt x="4131" y="2065"/>
                    <a:pt x="4131" y="2065"/>
                  </a:cubicBezTo>
                  <a:cubicBezTo>
                    <a:pt x="4003" y="2132"/>
                    <a:pt x="3809" y="2065"/>
                    <a:pt x="3681" y="1937"/>
                  </a:cubicBezTo>
                  <a:cubicBezTo>
                    <a:pt x="3939" y="1873"/>
                    <a:pt x="3939" y="1873"/>
                    <a:pt x="3939" y="1873"/>
                  </a:cubicBezTo>
                  <a:cubicBezTo>
                    <a:pt x="4067" y="1807"/>
                    <a:pt x="4131" y="1679"/>
                    <a:pt x="4067" y="1485"/>
                  </a:cubicBezTo>
                  <a:cubicBezTo>
                    <a:pt x="4003" y="1357"/>
                    <a:pt x="3873" y="1291"/>
                    <a:pt x="3681" y="1291"/>
                  </a:cubicBezTo>
                  <a:cubicBezTo>
                    <a:pt x="3487" y="1421"/>
                    <a:pt x="3487" y="1421"/>
                    <a:pt x="3487" y="1421"/>
                  </a:cubicBezTo>
                  <a:cubicBezTo>
                    <a:pt x="3551" y="1227"/>
                    <a:pt x="3615" y="1163"/>
                    <a:pt x="3809" y="1099"/>
                  </a:cubicBezTo>
                  <a:cubicBezTo>
                    <a:pt x="5164" y="582"/>
                    <a:pt x="5164" y="582"/>
                    <a:pt x="5164" y="582"/>
                  </a:cubicBezTo>
                  <a:cubicBezTo>
                    <a:pt x="5422" y="452"/>
                    <a:pt x="5681" y="646"/>
                    <a:pt x="5811" y="905"/>
                  </a:cubicBezTo>
                  <a:cubicBezTo>
                    <a:pt x="5875" y="1163"/>
                    <a:pt x="5747" y="1421"/>
                    <a:pt x="5489" y="1549"/>
                  </a:cubicBezTo>
                  <a:close/>
                  <a:moveTo>
                    <a:pt x="3165" y="2260"/>
                  </a:moveTo>
                  <a:lnTo>
                    <a:pt x="3165" y="2260"/>
                  </a:lnTo>
                  <a:cubicBezTo>
                    <a:pt x="3551" y="2518"/>
                    <a:pt x="3551" y="2518"/>
                    <a:pt x="3551" y="2518"/>
                  </a:cubicBezTo>
                  <a:cubicBezTo>
                    <a:pt x="3423" y="3098"/>
                    <a:pt x="3423" y="3098"/>
                    <a:pt x="3423" y="3098"/>
                  </a:cubicBezTo>
                  <a:cubicBezTo>
                    <a:pt x="3293" y="3098"/>
                    <a:pt x="3293" y="3098"/>
                    <a:pt x="3293" y="3098"/>
                  </a:cubicBezTo>
                  <a:cubicBezTo>
                    <a:pt x="3423" y="2582"/>
                    <a:pt x="3423" y="2582"/>
                    <a:pt x="3423" y="2582"/>
                  </a:cubicBezTo>
                  <a:cubicBezTo>
                    <a:pt x="3034" y="2324"/>
                    <a:pt x="3034" y="2324"/>
                    <a:pt x="3034" y="2324"/>
                  </a:cubicBezTo>
                  <a:lnTo>
                    <a:pt x="3165" y="2260"/>
                  </a:lnTo>
                  <a:close/>
                  <a:moveTo>
                    <a:pt x="2196" y="1615"/>
                  </a:moveTo>
                  <a:lnTo>
                    <a:pt x="2196" y="1615"/>
                  </a:lnTo>
                  <a:cubicBezTo>
                    <a:pt x="1938" y="1163"/>
                    <a:pt x="1938" y="1163"/>
                    <a:pt x="1938" y="1163"/>
                  </a:cubicBezTo>
                  <a:cubicBezTo>
                    <a:pt x="2066" y="1163"/>
                    <a:pt x="2066" y="1163"/>
                    <a:pt x="2066" y="1163"/>
                  </a:cubicBezTo>
                  <a:cubicBezTo>
                    <a:pt x="2260" y="1549"/>
                    <a:pt x="2260" y="1549"/>
                    <a:pt x="2260" y="1549"/>
                  </a:cubicBezTo>
                  <a:cubicBezTo>
                    <a:pt x="2518" y="1549"/>
                    <a:pt x="2518" y="1549"/>
                    <a:pt x="2518" y="1549"/>
                  </a:cubicBezTo>
                  <a:cubicBezTo>
                    <a:pt x="2648" y="1807"/>
                    <a:pt x="2648" y="1807"/>
                    <a:pt x="2648" y="1807"/>
                  </a:cubicBezTo>
                  <a:cubicBezTo>
                    <a:pt x="2582" y="1873"/>
                    <a:pt x="2582" y="1873"/>
                    <a:pt x="2582" y="1873"/>
                  </a:cubicBezTo>
                  <a:cubicBezTo>
                    <a:pt x="2454" y="1679"/>
                    <a:pt x="2454" y="1679"/>
                    <a:pt x="2454" y="1679"/>
                  </a:cubicBezTo>
                  <a:lnTo>
                    <a:pt x="2196" y="1615"/>
                  </a:lnTo>
                  <a:close/>
                  <a:moveTo>
                    <a:pt x="2196" y="1615"/>
                  </a:moveTo>
                  <a:lnTo>
                    <a:pt x="2196" y="1615"/>
                  </a:lnTo>
                  <a:close/>
                </a:path>
              </a:pathLst>
            </a:custGeom>
            <a:solidFill>
              <a:schemeClr val="bg2"/>
            </a:solidFill>
            <a:ln>
              <a:noFill/>
            </a:ln>
            <a:effectLst/>
          </p:spPr>
          <p:txBody>
            <a:bodyPr wrap="none" lIns="243797" tIns="121899" rIns="243797" bIns="121899" anchor="ctr"/>
            <a:lstStyle/>
            <a:p>
              <a:endParaRPr lang="en-US" sz="1100">
                <a:solidFill>
                  <a:srgbClr val="58595B"/>
                </a:solidFill>
                <a:latin typeface="+mj-lt"/>
              </a:endParaRPr>
            </a:p>
          </p:txBody>
        </p:sp>
      </p:grpSp>
      <p:sp>
        <p:nvSpPr>
          <p:cNvPr id="55" name="TextBox 54"/>
          <p:cNvSpPr txBox="1"/>
          <p:nvPr/>
        </p:nvSpPr>
        <p:spPr>
          <a:xfrm>
            <a:off x="1870071" y="4186857"/>
            <a:ext cx="2356051" cy="1046412"/>
          </a:xfrm>
          <a:prstGeom prst="rect">
            <a:avLst/>
          </a:prstGeom>
          <a:noFill/>
        </p:spPr>
        <p:txBody>
          <a:bodyPr wrap="square" lIns="0" tIns="121892" rIns="0" bIns="0" rtlCol="0">
            <a:spAutoFit/>
          </a:bodyPr>
          <a:lstStyle/>
          <a:p>
            <a:r>
              <a:rPr lang="en-US" b="1" dirty="0" smtClean="0">
                <a:solidFill>
                  <a:srgbClr val="58595B"/>
                </a:solidFill>
                <a:latin typeface="Roboto Regular" pitchFamily="2" charset="0"/>
                <a:ea typeface="Roboto Regular" pitchFamily="2" charset="0"/>
                <a:cs typeface="Lato Regular"/>
              </a:rPr>
              <a:t>Opportunities</a:t>
            </a:r>
            <a:endParaRPr lang="en-US" b="1" dirty="0">
              <a:solidFill>
                <a:srgbClr val="58595B"/>
              </a:solidFill>
              <a:latin typeface="Roboto Regular" pitchFamily="2" charset="0"/>
              <a:ea typeface="Roboto Regular" pitchFamily="2" charset="0"/>
              <a:cs typeface="Lato Regular"/>
            </a:endParaRPr>
          </a:p>
          <a:p>
            <a:r>
              <a:rPr lang="en-US" sz="1400" dirty="0">
                <a:solidFill>
                  <a:srgbClr val="58595B"/>
                </a:solidFill>
                <a:latin typeface="Roboto Regular" pitchFamily="2" charset="0"/>
                <a:ea typeface="Roboto Regular" pitchFamily="2" charset="0"/>
                <a:cs typeface="Lato Light"/>
              </a:rPr>
              <a:t>Lorem ipsum dolor </a:t>
            </a:r>
            <a:r>
              <a:rPr lang="en-US" sz="1400" dirty="0" err="1">
                <a:solidFill>
                  <a:srgbClr val="58595B"/>
                </a:solidFill>
                <a:latin typeface="Roboto Regular" pitchFamily="2" charset="0"/>
                <a:ea typeface="Roboto Regular" pitchFamily="2" charset="0"/>
                <a:cs typeface="Lato Light"/>
              </a:rPr>
              <a:t>sitadown</a:t>
            </a:r>
            <a:r>
              <a:rPr lang="en-US" sz="1400" dirty="0">
                <a:solidFill>
                  <a:srgbClr val="58595B"/>
                </a:solidFill>
                <a:latin typeface="Roboto Regular" pitchFamily="2" charset="0"/>
                <a:ea typeface="Roboto Regular" pitchFamily="2" charset="0"/>
                <a:cs typeface="Lato Light"/>
              </a:rPr>
              <a:t> </a:t>
            </a:r>
            <a:r>
              <a:rPr lang="en-US" sz="1400" dirty="0" err="1">
                <a:solidFill>
                  <a:srgbClr val="58595B"/>
                </a:solidFill>
                <a:latin typeface="Roboto Regular" pitchFamily="2" charset="0"/>
                <a:ea typeface="Roboto Regular" pitchFamily="2" charset="0"/>
                <a:cs typeface="Lato Light"/>
              </a:rPr>
              <a:t>amet,consectetur</a:t>
            </a:r>
            <a:r>
              <a:rPr lang="en-US" sz="1400" dirty="0">
                <a:solidFill>
                  <a:srgbClr val="58595B"/>
                </a:solidFill>
                <a:latin typeface="Roboto Regular" pitchFamily="2" charset="0"/>
                <a:ea typeface="Roboto Regular" pitchFamily="2" charset="0"/>
                <a:cs typeface="Lato Light"/>
              </a:rPr>
              <a:t> adipisicing elit, sed do eiusmod tempor</a:t>
            </a:r>
          </a:p>
        </p:txBody>
      </p:sp>
      <p:grpSp>
        <p:nvGrpSpPr>
          <p:cNvPr id="56" name="Group 55"/>
          <p:cNvGrpSpPr/>
          <p:nvPr>
            <p:custDataLst>
              <p:tags r:id="rId4"/>
            </p:custDataLst>
          </p:nvPr>
        </p:nvGrpSpPr>
        <p:grpSpPr>
          <a:xfrm>
            <a:off x="450251" y="4363689"/>
            <a:ext cx="1200337" cy="1175130"/>
            <a:chOff x="2185502" y="8262221"/>
            <a:chExt cx="1312452" cy="1312794"/>
          </a:xfrm>
        </p:grpSpPr>
        <p:sp>
          <p:nvSpPr>
            <p:cNvPr id="57" name="Oval 56"/>
            <p:cNvSpPr/>
            <p:nvPr/>
          </p:nvSpPr>
          <p:spPr>
            <a:xfrm>
              <a:off x="2185502" y="8262221"/>
              <a:ext cx="1312452" cy="131279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sz="1100" dirty="0">
                <a:solidFill>
                  <a:srgbClr val="58595B"/>
                </a:solidFill>
                <a:latin typeface="+mj-lt"/>
              </a:endParaRPr>
            </a:p>
          </p:txBody>
        </p:sp>
        <p:sp>
          <p:nvSpPr>
            <p:cNvPr id="58" name="Freeform 1"/>
            <p:cNvSpPr>
              <a:spLocks noChangeArrowheads="1"/>
            </p:cNvSpPr>
            <p:nvPr/>
          </p:nvSpPr>
          <p:spPr bwMode="auto">
            <a:xfrm>
              <a:off x="2601873" y="8668010"/>
              <a:ext cx="478384" cy="478508"/>
            </a:xfrm>
            <a:custGeom>
              <a:avLst/>
              <a:gdLst>
                <a:gd name="T0" fmla="*/ 4905 w 5031"/>
                <a:gd name="T1" fmla="*/ 0 h 5031"/>
                <a:gd name="T2" fmla="*/ 4905 w 5031"/>
                <a:gd name="T3" fmla="*/ 0 h 5031"/>
                <a:gd name="T4" fmla="*/ 125 w 5031"/>
                <a:gd name="T5" fmla="*/ 0 h 5031"/>
                <a:gd name="T6" fmla="*/ 0 w 5031"/>
                <a:gd name="T7" fmla="*/ 125 h 5031"/>
                <a:gd name="T8" fmla="*/ 0 w 5031"/>
                <a:gd name="T9" fmla="*/ 4905 h 5031"/>
                <a:gd name="T10" fmla="*/ 125 w 5031"/>
                <a:gd name="T11" fmla="*/ 5030 h 5031"/>
                <a:gd name="T12" fmla="*/ 4905 w 5031"/>
                <a:gd name="T13" fmla="*/ 5030 h 5031"/>
                <a:gd name="T14" fmla="*/ 5030 w 5031"/>
                <a:gd name="T15" fmla="*/ 4905 h 5031"/>
                <a:gd name="T16" fmla="*/ 5030 w 5031"/>
                <a:gd name="T17" fmla="*/ 125 h 5031"/>
                <a:gd name="T18" fmla="*/ 4905 w 5031"/>
                <a:gd name="T19" fmla="*/ 0 h 5031"/>
                <a:gd name="T20" fmla="*/ 3687 w 5031"/>
                <a:gd name="T21" fmla="*/ 2624 h 5031"/>
                <a:gd name="T22" fmla="*/ 3687 w 5031"/>
                <a:gd name="T23" fmla="*/ 2624 h 5031"/>
                <a:gd name="T24" fmla="*/ 3624 w 5031"/>
                <a:gd name="T25" fmla="*/ 2687 h 5031"/>
                <a:gd name="T26" fmla="*/ 3562 w 5031"/>
                <a:gd name="T27" fmla="*/ 2687 h 5031"/>
                <a:gd name="T28" fmla="*/ 3187 w 5031"/>
                <a:gd name="T29" fmla="*/ 2313 h 5031"/>
                <a:gd name="T30" fmla="*/ 1688 w 5031"/>
                <a:gd name="T31" fmla="*/ 3812 h 5031"/>
                <a:gd name="T32" fmla="*/ 1625 w 5031"/>
                <a:gd name="T33" fmla="*/ 3843 h 5031"/>
                <a:gd name="T34" fmla="*/ 1563 w 5031"/>
                <a:gd name="T35" fmla="*/ 3812 h 5031"/>
                <a:gd name="T36" fmla="*/ 1219 w 5031"/>
                <a:gd name="T37" fmla="*/ 3468 h 5031"/>
                <a:gd name="T38" fmla="*/ 1188 w 5031"/>
                <a:gd name="T39" fmla="*/ 3405 h 5031"/>
                <a:gd name="T40" fmla="*/ 1219 w 5031"/>
                <a:gd name="T41" fmla="*/ 3343 h 5031"/>
                <a:gd name="T42" fmla="*/ 2718 w 5031"/>
                <a:gd name="T43" fmla="*/ 1844 h 5031"/>
                <a:gd name="T44" fmla="*/ 2344 w 5031"/>
                <a:gd name="T45" fmla="*/ 1469 h 5031"/>
                <a:gd name="T46" fmla="*/ 2344 w 5031"/>
                <a:gd name="T47" fmla="*/ 1406 h 5031"/>
                <a:gd name="T48" fmla="*/ 2406 w 5031"/>
                <a:gd name="T49" fmla="*/ 1344 h 5031"/>
                <a:gd name="T50" fmla="*/ 3749 w 5031"/>
                <a:gd name="T51" fmla="*/ 1188 h 5031"/>
                <a:gd name="T52" fmla="*/ 3812 w 5031"/>
                <a:gd name="T53" fmla="*/ 1219 h 5031"/>
                <a:gd name="T54" fmla="*/ 3843 w 5031"/>
                <a:gd name="T55" fmla="*/ 1281 h 5031"/>
                <a:gd name="T56" fmla="*/ 3687 w 5031"/>
                <a:gd name="T57" fmla="*/ 2624 h 5031"/>
                <a:gd name="T58" fmla="*/ 3687 w 5031"/>
                <a:gd name="T59" fmla="*/ 2624 h 5031"/>
                <a:gd name="T60" fmla="*/ 3687 w 5031"/>
                <a:gd name="T61" fmla="*/ 2624 h 5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031" h="5031">
                  <a:moveTo>
                    <a:pt x="4905" y="0"/>
                  </a:moveTo>
                  <a:lnTo>
                    <a:pt x="4905" y="0"/>
                  </a:lnTo>
                  <a:cubicBezTo>
                    <a:pt x="125" y="0"/>
                    <a:pt x="125" y="0"/>
                    <a:pt x="125" y="0"/>
                  </a:cubicBezTo>
                  <a:cubicBezTo>
                    <a:pt x="62" y="0"/>
                    <a:pt x="0" y="62"/>
                    <a:pt x="0" y="125"/>
                  </a:cubicBezTo>
                  <a:cubicBezTo>
                    <a:pt x="0" y="4905"/>
                    <a:pt x="0" y="4905"/>
                    <a:pt x="0" y="4905"/>
                  </a:cubicBezTo>
                  <a:cubicBezTo>
                    <a:pt x="0" y="4968"/>
                    <a:pt x="62" y="5030"/>
                    <a:pt x="125" y="5030"/>
                  </a:cubicBezTo>
                  <a:cubicBezTo>
                    <a:pt x="4905" y="5030"/>
                    <a:pt x="4905" y="5030"/>
                    <a:pt x="4905" y="5030"/>
                  </a:cubicBezTo>
                  <a:cubicBezTo>
                    <a:pt x="4968" y="5030"/>
                    <a:pt x="5030" y="4968"/>
                    <a:pt x="5030" y="4905"/>
                  </a:cubicBezTo>
                  <a:cubicBezTo>
                    <a:pt x="5030" y="125"/>
                    <a:pt x="5030" y="125"/>
                    <a:pt x="5030" y="125"/>
                  </a:cubicBezTo>
                  <a:cubicBezTo>
                    <a:pt x="5030" y="62"/>
                    <a:pt x="4968" y="0"/>
                    <a:pt x="4905" y="0"/>
                  </a:cubicBezTo>
                  <a:close/>
                  <a:moveTo>
                    <a:pt x="3687" y="2624"/>
                  </a:moveTo>
                  <a:lnTo>
                    <a:pt x="3687" y="2624"/>
                  </a:lnTo>
                  <a:cubicBezTo>
                    <a:pt x="3687" y="2655"/>
                    <a:pt x="3655" y="2687"/>
                    <a:pt x="3624" y="2687"/>
                  </a:cubicBezTo>
                  <a:cubicBezTo>
                    <a:pt x="3593" y="2687"/>
                    <a:pt x="3562" y="2687"/>
                    <a:pt x="3562" y="2687"/>
                  </a:cubicBezTo>
                  <a:cubicBezTo>
                    <a:pt x="3187" y="2313"/>
                    <a:pt x="3187" y="2313"/>
                    <a:pt x="3187" y="2313"/>
                  </a:cubicBezTo>
                  <a:cubicBezTo>
                    <a:pt x="1688" y="3812"/>
                    <a:pt x="1688" y="3812"/>
                    <a:pt x="1688" y="3812"/>
                  </a:cubicBezTo>
                  <a:cubicBezTo>
                    <a:pt x="1656" y="3812"/>
                    <a:pt x="1625" y="3843"/>
                    <a:pt x="1625" y="3843"/>
                  </a:cubicBezTo>
                  <a:cubicBezTo>
                    <a:pt x="1594" y="3843"/>
                    <a:pt x="1594" y="3812"/>
                    <a:pt x="1563" y="3812"/>
                  </a:cubicBezTo>
                  <a:cubicBezTo>
                    <a:pt x="1219" y="3468"/>
                    <a:pt x="1219" y="3468"/>
                    <a:pt x="1219" y="3468"/>
                  </a:cubicBezTo>
                  <a:cubicBezTo>
                    <a:pt x="1219" y="3437"/>
                    <a:pt x="1188" y="3437"/>
                    <a:pt x="1188" y="3405"/>
                  </a:cubicBezTo>
                  <a:cubicBezTo>
                    <a:pt x="1188" y="3374"/>
                    <a:pt x="1219" y="3374"/>
                    <a:pt x="1219" y="3343"/>
                  </a:cubicBezTo>
                  <a:cubicBezTo>
                    <a:pt x="2718" y="1844"/>
                    <a:pt x="2718" y="1844"/>
                    <a:pt x="2718" y="1844"/>
                  </a:cubicBezTo>
                  <a:cubicBezTo>
                    <a:pt x="2344" y="1469"/>
                    <a:pt x="2344" y="1469"/>
                    <a:pt x="2344" y="1469"/>
                  </a:cubicBezTo>
                  <a:cubicBezTo>
                    <a:pt x="2344" y="1469"/>
                    <a:pt x="2313" y="1438"/>
                    <a:pt x="2344" y="1406"/>
                  </a:cubicBezTo>
                  <a:cubicBezTo>
                    <a:pt x="2344" y="1375"/>
                    <a:pt x="2375" y="1344"/>
                    <a:pt x="2406" y="1344"/>
                  </a:cubicBezTo>
                  <a:cubicBezTo>
                    <a:pt x="3749" y="1188"/>
                    <a:pt x="3749" y="1188"/>
                    <a:pt x="3749" y="1188"/>
                  </a:cubicBezTo>
                  <a:cubicBezTo>
                    <a:pt x="3780" y="1188"/>
                    <a:pt x="3780" y="1188"/>
                    <a:pt x="3812" y="1219"/>
                  </a:cubicBezTo>
                  <a:cubicBezTo>
                    <a:pt x="3812" y="1250"/>
                    <a:pt x="3843" y="1250"/>
                    <a:pt x="3843" y="1281"/>
                  </a:cubicBezTo>
                  <a:lnTo>
                    <a:pt x="3687" y="2624"/>
                  </a:lnTo>
                  <a:close/>
                  <a:moveTo>
                    <a:pt x="3687" y="2624"/>
                  </a:moveTo>
                  <a:lnTo>
                    <a:pt x="3687" y="2624"/>
                  </a:lnTo>
                  <a:close/>
                </a:path>
              </a:pathLst>
            </a:custGeom>
            <a:solidFill>
              <a:schemeClr val="bg2"/>
            </a:solidFill>
            <a:ln>
              <a:noFill/>
            </a:ln>
            <a:effectLst/>
          </p:spPr>
          <p:txBody>
            <a:bodyPr wrap="none" lIns="243797" tIns="121899" rIns="243797" bIns="121899" anchor="ctr"/>
            <a:lstStyle/>
            <a:p>
              <a:endParaRPr lang="en-US" sz="1100">
                <a:solidFill>
                  <a:srgbClr val="58595B"/>
                </a:solidFill>
                <a:latin typeface="+mj-lt"/>
              </a:endParaRPr>
            </a:p>
          </p:txBody>
        </p:sp>
      </p:grpSp>
      <p:sp>
        <p:nvSpPr>
          <p:cNvPr id="60" name="TextBox 59"/>
          <p:cNvSpPr txBox="1"/>
          <p:nvPr/>
        </p:nvSpPr>
        <p:spPr>
          <a:xfrm>
            <a:off x="10063076" y="4186857"/>
            <a:ext cx="2327958" cy="1046412"/>
          </a:xfrm>
          <a:prstGeom prst="rect">
            <a:avLst/>
          </a:prstGeom>
          <a:noFill/>
        </p:spPr>
        <p:txBody>
          <a:bodyPr wrap="square" lIns="0" tIns="121892" rIns="0" bIns="0" rtlCol="0">
            <a:spAutoFit/>
          </a:bodyPr>
          <a:lstStyle/>
          <a:p>
            <a:r>
              <a:rPr lang="en-US" b="1" dirty="0" smtClean="0">
                <a:solidFill>
                  <a:srgbClr val="58595B"/>
                </a:solidFill>
                <a:latin typeface="Roboto Regular" pitchFamily="2" charset="0"/>
                <a:ea typeface="Roboto Regular" pitchFamily="2" charset="0"/>
                <a:cs typeface="Lato Regular"/>
              </a:rPr>
              <a:t>Threats</a:t>
            </a:r>
            <a:endParaRPr lang="en-US" b="1" dirty="0">
              <a:solidFill>
                <a:srgbClr val="58595B"/>
              </a:solidFill>
              <a:latin typeface="Roboto Regular" pitchFamily="2" charset="0"/>
              <a:ea typeface="Roboto Regular" pitchFamily="2" charset="0"/>
              <a:cs typeface="Lato Regular"/>
            </a:endParaRPr>
          </a:p>
          <a:p>
            <a:r>
              <a:rPr lang="en-US" sz="1400" dirty="0">
                <a:solidFill>
                  <a:srgbClr val="58595B"/>
                </a:solidFill>
                <a:latin typeface="Roboto Regular" pitchFamily="2" charset="0"/>
                <a:ea typeface="Roboto Regular" pitchFamily="2" charset="0"/>
                <a:cs typeface="Lato Light"/>
              </a:rPr>
              <a:t>Lorem ipsum dolor </a:t>
            </a:r>
            <a:r>
              <a:rPr lang="en-US" sz="1400" dirty="0" err="1">
                <a:solidFill>
                  <a:srgbClr val="58595B"/>
                </a:solidFill>
                <a:latin typeface="Roboto Regular" pitchFamily="2" charset="0"/>
                <a:ea typeface="Roboto Regular" pitchFamily="2" charset="0"/>
                <a:cs typeface="Lato Light"/>
              </a:rPr>
              <a:t>sitadown</a:t>
            </a:r>
            <a:r>
              <a:rPr lang="en-US" sz="1400" dirty="0">
                <a:solidFill>
                  <a:srgbClr val="58595B"/>
                </a:solidFill>
                <a:latin typeface="Roboto Regular" pitchFamily="2" charset="0"/>
                <a:ea typeface="Roboto Regular" pitchFamily="2" charset="0"/>
                <a:cs typeface="Lato Light"/>
              </a:rPr>
              <a:t> </a:t>
            </a:r>
            <a:r>
              <a:rPr lang="en-US" sz="1400" dirty="0" err="1">
                <a:solidFill>
                  <a:srgbClr val="58595B"/>
                </a:solidFill>
                <a:latin typeface="Roboto Regular" pitchFamily="2" charset="0"/>
                <a:ea typeface="Roboto Regular" pitchFamily="2" charset="0"/>
                <a:cs typeface="Lato Light"/>
              </a:rPr>
              <a:t>amet,consectetur</a:t>
            </a:r>
            <a:r>
              <a:rPr lang="en-US" sz="1400" dirty="0">
                <a:solidFill>
                  <a:srgbClr val="58595B"/>
                </a:solidFill>
                <a:latin typeface="Roboto Regular" pitchFamily="2" charset="0"/>
                <a:ea typeface="Roboto Regular" pitchFamily="2" charset="0"/>
                <a:cs typeface="Lato Light"/>
              </a:rPr>
              <a:t> adipisicing elit, sed do eiusmod tempor</a:t>
            </a:r>
          </a:p>
        </p:txBody>
      </p:sp>
      <p:grpSp>
        <p:nvGrpSpPr>
          <p:cNvPr id="61" name="Group 60"/>
          <p:cNvGrpSpPr/>
          <p:nvPr>
            <p:custDataLst>
              <p:tags r:id="rId5"/>
            </p:custDataLst>
          </p:nvPr>
        </p:nvGrpSpPr>
        <p:grpSpPr>
          <a:xfrm>
            <a:off x="8643256" y="4363689"/>
            <a:ext cx="1200337" cy="1175130"/>
            <a:chOff x="16961077" y="8228214"/>
            <a:chExt cx="1312452" cy="1312794"/>
          </a:xfrm>
        </p:grpSpPr>
        <p:sp>
          <p:nvSpPr>
            <p:cNvPr id="62" name="Oval 61"/>
            <p:cNvSpPr/>
            <p:nvPr/>
          </p:nvSpPr>
          <p:spPr>
            <a:xfrm>
              <a:off x="16961077" y="8228214"/>
              <a:ext cx="1312452" cy="131279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sz="1100" dirty="0">
                <a:solidFill>
                  <a:srgbClr val="58595B"/>
                </a:solidFill>
                <a:latin typeface="+mj-lt"/>
              </a:endParaRPr>
            </a:p>
          </p:txBody>
        </p:sp>
        <p:sp>
          <p:nvSpPr>
            <p:cNvPr id="63" name="Freeform 4"/>
            <p:cNvSpPr>
              <a:spLocks noChangeArrowheads="1"/>
            </p:cNvSpPr>
            <p:nvPr/>
          </p:nvSpPr>
          <p:spPr bwMode="auto">
            <a:xfrm>
              <a:off x="17344156" y="8604489"/>
              <a:ext cx="586436" cy="586589"/>
            </a:xfrm>
            <a:custGeom>
              <a:avLst/>
              <a:gdLst>
                <a:gd name="T0" fmla="*/ 2374 w 2594"/>
                <a:gd name="T1" fmla="*/ 0 h 2594"/>
                <a:gd name="T2" fmla="*/ 2374 w 2594"/>
                <a:gd name="T3" fmla="*/ 0 h 2594"/>
                <a:gd name="T4" fmla="*/ 219 w 2594"/>
                <a:gd name="T5" fmla="*/ 0 h 2594"/>
                <a:gd name="T6" fmla="*/ 0 w 2594"/>
                <a:gd name="T7" fmla="*/ 219 h 2594"/>
                <a:gd name="T8" fmla="*/ 0 w 2594"/>
                <a:gd name="T9" fmla="*/ 2374 h 2594"/>
                <a:gd name="T10" fmla="*/ 219 w 2594"/>
                <a:gd name="T11" fmla="*/ 2593 h 2594"/>
                <a:gd name="T12" fmla="*/ 2374 w 2594"/>
                <a:gd name="T13" fmla="*/ 2593 h 2594"/>
                <a:gd name="T14" fmla="*/ 2593 w 2594"/>
                <a:gd name="T15" fmla="*/ 2374 h 2594"/>
                <a:gd name="T16" fmla="*/ 2593 w 2594"/>
                <a:gd name="T17" fmla="*/ 219 h 2594"/>
                <a:gd name="T18" fmla="*/ 2374 w 2594"/>
                <a:gd name="T19" fmla="*/ 0 h 2594"/>
                <a:gd name="T20" fmla="*/ 2249 w 2594"/>
                <a:gd name="T21" fmla="*/ 250 h 2594"/>
                <a:gd name="T22" fmla="*/ 2249 w 2594"/>
                <a:gd name="T23" fmla="*/ 250 h 2594"/>
                <a:gd name="T24" fmla="*/ 2343 w 2594"/>
                <a:gd name="T25" fmla="*/ 313 h 2594"/>
                <a:gd name="T26" fmla="*/ 2249 w 2594"/>
                <a:gd name="T27" fmla="*/ 407 h 2594"/>
                <a:gd name="T28" fmla="*/ 2156 w 2594"/>
                <a:gd name="T29" fmla="*/ 313 h 2594"/>
                <a:gd name="T30" fmla="*/ 2249 w 2594"/>
                <a:gd name="T31" fmla="*/ 250 h 2594"/>
                <a:gd name="T32" fmla="*/ 1937 w 2594"/>
                <a:gd name="T33" fmla="*/ 250 h 2594"/>
                <a:gd name="T34" fmla="*/ 1937 w 2594"/>
                <a:gd name="T35" fmla="*/ 250 h 2594"/>
                <a:gd name="T36" fmla="*/ 2031 w 2594"/>
                <a:gd name="T37" fmla="*/ 313 h 2594"/>
                <a:gd name="T38" fmla="*/ 1937 w 2594"/>
                <a:gd name="T39" fmla="*/ 407 h 2594"/>
                <a:gd name="T40" fmla="*/ 1843 w 2594"/>
                <a:gd name="T41" fmla="*/ 313 h 2594"/>
                <a:gd name="T42" fmla="*/ 1937 w 2594"/>
                <a:gd name="T43" fmla="*/ 250 h 2594"/>
                <a:gd name="T44" fmla="*/ 2343 w 2594"/>
                <a:gd name="T45" fmla="*/ 2343 h 2594"/>
                <a:gd name="T46" fmla="*/ 2343 w 2594"/>
                <a:gd name="T47" fmla="*/ 2343 h 2594"/>
                <a:gd name="T48" fmla="*/ 250 w 2594"/>
                <a:gd name="T49" fmla="*/ 2343 h 2594"/>
                <a:gd name="T50" fmla="*/ 250 w 2594"/>
                <a:gd name="T51" fmla="*/ 625 h 2594"/>
                <a:gd name="T52" fmla="*/ 2343 w 2594"/>
                <a:gd name="T53" fmla="*/ 625 h 2594"/>
                <a:gd name="T54" fmla="*/ 2343 w 2594"/>
                <a:gd name="T55" fmla="*/ 2343 h 2594"/>
                <a:gd name="T56" fmla="*/ 594 w 2594"/>
                <a:gd name="T57" fmla="*/ 2093 h 2594"/>
                <a:gd name="T58" fmla="*/ 594 w 2594"/>
                <a:gd name="T59" fmla="*/ 2093 h 2594"/>
                <a:gd name="T60" fmla="*/ 1999 w 2594"/>
                <a:gd name="T61" fmla="*/ 2093 h 2594"/>
                <a:gd name="T62" fmla="*/ 2031 w 2594"/>
                <a:gd name="T63" fmla="*/ 2062 h 2594"/>
                <a:gd name="T64" fmla="*/ 2031 w 2594"/>
                <a:gd name="T65" fmla="*/ 2031 h 2594"/>
                <a:gd name="T66" fmla="*/ 1343 w 2594"/>
                <a:gd name="T67" fmla="*/ 844 h 2594"/>
                <a:gd name="T68" fmla="*/ 1312 w 2594"/>
                <a:gd name="T69" fmla="*/ 813 h 2594"/>
                <a:gd name="T70" fmla="*/ 1250 w 2594"/>
                <a:gd name="T71" fmla="*/ 844 h 2594"/>
                <a:gd name="T72" fmla="*/ 563 w 2594"/>
                <a:gd name="T73" fmla="*/ 2031 h 2594"/>
                <a:gd name="T74" fmla="*/ 563 w 2594"/>
                <a:gd name="T75" fmla="*/ 2093 h 2594"/>
                <a:gd name="T76" fmla="*/ 594 w 2594"/>
                <a:gd name="T77" fmla="*/ 2093 h 2594"/>
                <a:gd name="T78" fmla="*/ 1374 w 2594"/>
                <a:gd name="T79" fmla="*/ 1937 h 2594"/>
                <a:gd name="T80" fmla="*/ 1374 w 2594"/>
                <a:gd name="T81" fmla="*/ 1937 h 2594"/>
                <a:gd name="T82" fmla="*/ 1343 w 2594"/>
                <a:gd name="T83" fmla="*/ 1968 h 2594"/>
                <a:gd name="T84" fmla="*/ 1250 w 2594"/>
                <a:gd name="T85" fmla="*/ 1968 h 2594"/>
                <a:gd name="T86" fmla="*/ 1219 w 2594"/>
                <a:gd name="T87" fmla="*/ 1937 h 2594"/>
                <a:gd name="T88" fmla="*/ 1219 w 2594"/>
                <a:gd name="T89" fmla="*/ 1843 h 2594"/>
                <a:gd name="T90" fmla="*/ 1250 w 2594"/>
                <a:gd name="T91" fmla="*/ 1812 h 2594"/>
                <a:gd name="T92" fmla="*/ 1343 w 2594"/>
                <a:gd name="T93" fmla="*/ 1812 h 2594"/>
                <a:gd name="T94" fmla="*/ 1374 w 2594"/>
                <a:gd name="T95" fmla="*/ 1843 h 2594"/>
                <a:gd name="T96" fmla="*/ 1374 w 2594"/>
                <a:gd name="T97" fmla="*/ 1937 h 2594"/>
                <a:gd name="T98" fmla="*/ 1219 w 2594"/>
                <a:gd name="T99" fmla="*/ 1125 h 2594"/>
                <a:gd name="T100" fmla="*/ 1219 w 2594"/>
                <a:gd name="T101" fmla="*/ 1125 h 2594"/>
                <a:gd name="T102" fmla="*/ 1374 w 2594"/>
                <a:gd name="T103" fmla="*/ 1125 h 2594"/>
                <a:gd name="T104" fmla="*/ 1406 w 2594"/>
                <a:gd name="T105" fmla="*/ 1157 h 2594"/>
                <a:gd name="T106" fmla="*/ 1374 w 2594"/>
                <a:gd name="T107" fmla="*/ 1718 h 2594"/>
                <a:gd name="T108" fmla="*/ 1343 w 2594"/>
                <a:gd name="T109" fmla="*/ 1749 h 2594"/>
                <a:gd name="T110" fmla="*/ 1250 w 2594"/>
                <a:gd name="T111" fmla="*/ 1749 h 2594"/>
                <a:gd name="T112" fmla="*/ 1219 w 2594"/>
                <a:gd name="T113" fmla="*/ 1718 h 2594"/>
                <a:gd name="T114" fmla="*/ 1219 w 2594"/>
                <a:gd name="T115" fmla="*/ 1157 h 2594"/>
                <a:gd name="T116" fmla="*/ 1219 w 2594"/>
                <a:gd name="T117" fmla="*/ 1125 h 2594"/>
                <a:gd name="T118" fmla="*/ 1219 w 2594"/>
                <a:gd name="T119" fmla="*/ 1125 h 2594"/>
                <a:gd name="T120" fmla="*/ 1219 w 2594"/>
                <a:gd name="T121" fmla="*/ 1125 h 2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4" h="2594">
                  <a:moveTo>
                    <a:pt x="2374" y="0"/>
                  </a:moveTo>
                  <a:lnTo>
                    <a:pt x="2374" y="0"/>
                  </a:lnTo>
                  <a:cubicBezTo>
                    <a:pt x="219" y="0"/>
                    <a:pt x="219" y="0"/>
                    <a:pt x="219" y="0"/>
                  </a:cubicBezTo>
                  <a:cubicBezTo>
                    <a:pt x="94" y="0"/>
                    <a:pt x="0" y="94"/>
                    <a:pt x="0" y="219"/>
                  </a:cubicBezTo>
                  <a:cubicBezTo>
                    <a:pt x="0" y="2374"/>
                    <a:pt x="0" y="2374"/>
                    <a:pt x="0" y="2374"/>
                  </a:cubicBezTo>
                  <a:cubicBezTo>
                    <a:pt x="0" y="2499"/>
                    <a:pt x="94" y="2593"/>
                    <a:pt x="219" y="2593"/>
                  </a:cubicBezTo>
                  <a:cubicBezTo>
                    <a:pt x="2374" y="2593"/>
                    <a:pt x="2374" y="2593"/>
                    <a:pt x="2374" y="2593"/>
                  </a:cubicBezTo>
                  <a:cubicBezTo>
                    <a:pt x="2499" y="2593"/>
                    <a:pt x="2593" y="2499"/>
                    <a:pt x="2593" y="2374"/>
                  </a:cubicBezTo>
                  <a:cubicBezTo>
                    <a:pt x="2593" y="219"/>
                    <a:pt x="2593" y="219"/>
                    <a:pt x="2593" y="219"/>
                  </a:cubicBezTo>
                  <a:cubicBezTo>
                    <a:pt x="2593" y="94"/>
                    <a:pt x="2499" y="0"/>
                    <a:pt x="2374" y="0"/>
                  </a:cubicBezTo>
                  <a:close/>
                  <a:moveTo>
                    <a:pt x="2249" y="250"/>
                  </a:moveTo>
                  <a:lnTo>
                    <a:pt x="2249" y="250"/>
                  </a:lnTo>
                  <a:cubicBezTo>
                    <a:pt x="2312" y="250"/>
                    <a:pt x="2343" y="282"/>
                    <a:pt x="2343" y="313"/>
                  </a:cubicBezTo>
                  <a:cubicBezTo>
                    <a:pt x="2343" y="375"/>
                    <a:pt x="2312" y="407"/>
                    <a:pt x="2249" y="407"/>
                  </a:cubicBezTo>
                  <a:cubicBezTo>
                    <a:pt x="2187" y="407"/>
                    <a:pt x="2156" y="375"/>
                    <a:pt x="2156" y="313"/>
                  </a:cubicBezTo>
                  <a:cubicBezTo>
                    <a:pt x="2156" y="282"/>
                    <a:pt x="2187" y="250"/>
                    <a:pt x="2249" y="250"/>
                  </a:cubicBezTo>
                  <a:close/>
                  <a:moveTo>
                    <a:pt x="1937" y="250"/>
                  </a:moveTo>
                  <a:lnTo>
                    <a:pt x="1937" y="250"/>
                  </a:lnTo>
                  <a:cubicBezTo>
                    <a:pt x="1999" y="250"/>
                    <a:pt x="2031" y="282"/>
                    <a:pt x="2031" y="313"/>
                  </a:cubicBezTo>
                  <a:cubicBezTo>
                    <a:pt x="2031" y="375"/>
                    <a:pt x="1999" y="407"/>
                    <a:pt x="1937" y="407"/>
                  </a:cubicBezTo>
                  <a:cubicBezTo>
                    <a:pt x="1906" y="407"/>
                    <a:pt x="1843" y="375"/>
                    <a:pt x="1843" y="313"/>
                  </a:cubicBezTo>
                  <a:cubicBezTo>
                    <a:pt x="1843" y="282"/>
                    <a:pt x="1906" y="250"/>
                    <a:pt x="1937" y="250"/>
                  </a:cubicBezTo>
                  <a:close/>
                  <a:moveTo>
                    <a:pt x="2343" y="2343"/>
                  </a:moveTo>
                  <a:lnTo>
                    <a:pt x="2343" y="2343"/>
                  </a:lnTo>
                  <a:cubicBezTo>
                    <a:pt x="250" y="2343"/>
                    <a:pt x="250" y="2343"/>
                    <a:pt x="250" y="2343"/>
                  </a:cubicBezTo>
                  <a:cubicBezTo>
                    <a:pt x="250" y="625"/>
                    <a:pt x="250" y="625"/>
                    <a:pt x="250" y="625"/>
                  </a:cubicBezTo>
                  <a:cubicBezTo>
                    <a:pt x="2343" y="625"/>
                    <a:pt x="2343" y="625"/>
                    <a:pt x="2343" y="625"/>
                  </a:cubicBezTo>
                  <a:lnTo>
                    <a:pt x="2343" y="2343"/>
                  </a:lnTo>
                  <a:close/>
                  <a:moveTo>
                    <a:pt x="594" y="2093"/>
                  </a:moveTo>
                  <a:lnTo>
                    <a:pt x="594" y="2093"/>
                  </a:lnTo>
                  <a:cubicBezTo>
                    <a:pt x="1999" y="2093"/>
                    <a:pt x="1999" y="2093"/>
                    <a:pt x="1999" y="2093"/>
                  </a:cubicBezTo>
                  <a:cubicBezTo>
                    <a:pt x="2031" y="2093"/>
                    <a:pt x="2031" y="2093"/>
                    <a:pt x="2031" y="2062"/>
                  </a:cubicBezTo>
                  <a:lnTo>
                    <a:pt x="2031" y="2031"/>
                  </a:lnTo>
                  <a:cubicBezTo>
                    <a:pt x="1343" y="844"/>
                    <a:pt x="1343" y="844"/>
                    <a:pt x="1343" y="844"/>
                  </a:cubicBezTo>
                  <a:cubicBezTo>
                    <a:pt x="1343" y="813"/>
                    <a:pt x="1312" y="813"/>
                    <a:pt x="1312" y="813"/>
                  </a:cubicBezTo>
                  <a:cubicBezTo>
                    <a:pt x="1281" y="813"/>
                    <a:pt x="1281" y="813"/>
                    <a:pt x="1250" y="844"/>
                  </a:cubicBezTo>
                  <a:cubicBezTo>
                    <a:pt x="563" y="2031"/>
                    <a:pt x="563" y="2031"/>
                    <a:pt x="563" y="2031"/>
                  </a:cubicBezTo>
                  <a:cubicBezTo>
                    <a:pt x="563" y="2062"/>
                    <a:pt x="563" y="2062"/>
                    <a:pt x="563" y="2093"/>
                  </a:cubicBezTo>
                  <a:lnTo>
                    <a:pt x="594" y="2093"/>
                  </a:lnTo>
                  <a:close/>
                  <a:moveTo>
                    <a:pt x="1374" y="1937"/>
                  </a:moveTo>
                  <a:lnTo>
                    <a:pt x="1374" y="1937"/>
                  </a:lnTo>
                  <a:cubicBezTo>
                    <a:pt x="1374" y="1968"/>
                    <a:pt x="1374" y="1968"/>
                    <a:pt x="1343" y="1968"/>
                  </a:cubicBezTo>
                  <a:cubicBezTo>
                    <a:pt x="1250" y="1968"/>
                    <a:pt x="1250" y="1968"/>
                    <a:pt x="1250" y="1968"/>
                  </a:cubicBezTo>
                  <a:cubicBezTo>
                    <a:pt x="1219" y="1968"/>
                    <a:pt x="1219" y="1968"/>
                    <a:pt x="1219" y="1937"/>
                  </a:cubicBezTo>
                  <a:cubicBezTo>
                    <a:pt x="1219" y="1843"/>
                    <a:pt x="1219" y="1843"/>
                    <a:pt x="1219" y="1843"/>
                  </a:cubicBezTo>
                  <a:cubicBezTo>
                    <a:pt x="1219" y="1812"/>
                    <a:pt x="1219" y="1812"/>
                    <a:pt x="1250" y="1812"/>
                  </a:cubicBezTo>
                  <a:cubicBezTo>
                    <a:pt x="1343" y="1812"/>
                    <a:pt x="1343" y="1812"/>
                    <a:pt x="1343" y="1812"/>
                  </a:cubicBezTo>
                  <a:cubicBezTo>
                    <a:pt x="1374" y="1812"/>
                    <a:pt x="1374" y="1812"/>
                    <a:pt x="1374" y="1843"/>
                  </a:cubicBezTo>
                  <a:lnTo>
                    <a:pt x="1374" y="1937"/>
                  </a:lnTo>
                  <a:close/>
                  <a:moveTo>
                    <a:pt x="1219" y="1125"/>
                  </a:moveTo>
                  <a:lnTo>
                    <a:pt x="1219" y="1125"/>
                  </a:lnTo>
                  <a:cubicBezTo>
                    <a:pt x="1374" y="1125"/>
                    <a:pt x="1374" y="1125"/>
                    <a:pt x="1374" y="1125"/>
                  </a:cubicBezTo>
                  <a:lnTo>
                    <a:pt x="1406" y="1157"/>
                  </a:lnTo>
                  <a:cubicBezTo>
                    <a:pt x="1374" y="1718"/>
                    <a:pt x="1374" y="1718"/>
                    <a:pt x="1374" y="1718"/>
                  </a:cubicBezTo>
                  <a:cubicBezTo>
                    <a:pt x="1374" y="1749"/>
                    <a:pt x="1374" y="1749"/>
                    <a:pt x="1343" y="1749"/>
                  </a:cubicBezTo>
                  <a:cubicBezTo>
                    <a:pt x="1250" y="1749"/>
                    <a:pt x="1250" y="1749"/>
                    <a:pt x="1250" y="1749"/>
                  </a:cubicBezTo>
                  <a:cubicBezTo>
                    <a:pt x="1219" y="1749"/>
                    <a:pt x="1219" y="1749"/>
                    <a:pt x="1219" y="1718"/>
                  </a:cubicBezTo>
                  <a:cubicBezTo>
                    <a:pt x="1219" y="1157"/>
                    <a:pt x="1219" y="1157"/>
                    <a:pt x="1219" y="1157"/>
                  </a:cubicBezTo>
                  <a:lnTo>
                    <a:pt x="1219" y="1125"/>
                  </a:lnTo>
                  <a:close/>
                  <a:moveTo>
                    <a:pt x="1219" y="1125"/>
                  </a:moveTo>
                  <a:lnTo>
                    <a:pt x="1219" y="1125"/>
                  </a:lnTo>
                  <a:close/>
                </a:path>
              </a:pathLst>
            </a:custGeom>
            <a:solidFill>
              <a:schemeClr val="bg2"/>
            </a:solidFill>
            <a:ln>
              <a:noFill/>
            </a:ln>
            <a:effectLst/>
          </p:spPr>
          <p:txBody>
            <a:bodyPr wrap="none" lIns="243797" tIns="121899" rIns="243797" bIns="121899" anchor="ctr"/>
            <a:lstStyle/>
            <a:p>
              <a:endParaRPr lang="en-US" sz="1100">
                <a:solidFill>
                  <a:srgbClr val="58595B"/>
                </a:solidFill>
                <a:latin typeface="+mj-lt"/>
              </a:endParaRPr>
            </a:p>
          </p:txBody>
        </p:sp>
      </p:grpSp>
      <p:sp>
        <p:nvSpPr>
          <p:cNvPr id="66"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64_84 46_84 51_84 56_84 61_84</a:t>
            </a:r>
            <a:endParaRPr lang="en-US" sz="100" dirty="0" err="1" smtClean="0">
              <a:solidFill>
                <a:srgbClr val="FFFFFF"/>
              </a:solidFill>
            </a:endParaRPr>
          </a:p>
        </p:txBody>
      </p:sp>
    </p:spTree>
    <p:extLst>
      <p:ext uri="{BB962C8B-B14F-4D97-AF65-F5344CB8AC3E}">
        <p14:creationId xmlns:p14="http://schemas.microsoft.com/office/powerpoint/2010/main" val="229545565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alysis</a:t>
            </a:r>
            <a:endParaRPr lang="en-US" dirty="0"/>
          </a:p>
        </p:txBody>
      </p:sp>
      <p:grpSp>
        <p:nvGrpSpPr>
          <p:cNvPr id="47" name="Group 46"/>
          <p:cNvGrpSpPr/>
          <p:nvPr>
            <p:custDataLst>
              <p:tags r:id="rId1"/>
            </p:custDataLst>
          </p:nvPr>
        </p:nvGrpSpPr>
        <p:grpSpPr>
          <a:xfrm>
            <a:off x="293692" y="1695589"/>
            <a:ext cx="12457101" cy="3615186"/>
            <a:chOff x="377142" y="1458527"/>
            <a:chExt cx="12457101" cy="3615186"/>
          </a:xfrm>
        </p:grpSpPr>
        <p:grpSp>
          <p:nvGrpSpPr>
            <p:cNvPr id="42" name="Group 41"/>
            <p:cNvGrpSpPr/>
            <p:nvPr>
              <p:custDataLst>
                <p:tags r:id="rId2"/>
              </p:custDataLst>
            </p:nvPr>
          </p:nvGrpSpPr>
          <p:grpSpPr>
            <a:xfrm>
              <a:off x="672371" y="1458527"/>
              <a:ext cx="1982657" cy="1962827"/>
              <a:chOff x="2576328" y="3569621"/>
              <a:chExt cx="2271084" cy="2248370"/>
            </a:xfrm>
          </p:grpSpPr>
          <p:grpSp>
            <p:nvGrpSpPr>
              <p:cNvPr id="3" name="Group 2"/>
              <p:cNvGrpSpPr/>
              <p:nvPr>
                <p:custDataLst>
                  <p:tags r:id="rId16"/>
                </p:custDataLst>
              </p:nvPr>
            </p:nvGrpSpPr>
            <p:grpSpPr>
              <a:xfrm>
                <a:off x="2576328" y="3569621"/>
                <a:ext cx="2271084" cy="2248370"/>
                <a:chOff x="1021066" y="1539127"/>
                <a:chExt cx="1343698" cy="1329913"/>
              </a:xfrm>
            </p:grpSpPr>
            <p:sp>
              <p:nvSpPr>
                <p:cNvPr id="4" name="Freeform 1"/>
                <p:cNvSpPr>
                  <a:spLocks noChangeArrowheads="1"/>
                </p:cNvSpPr>
                <p:nvPr/>
              </p:nvSpPr>
              <p:spPr bwMode="auto">
                <a:xfrm>
                  <a:off x="1021066" y="1539127"/>
                  <a:ext cx="1343698" cy="1329913"/>
                </a:xfrm>
                <a:custGeom>
                  <a:avLst/>
                  <a:gdLst>
                    <a:gd name="T0" fmla="*/ 5469 w 6447"/>
                    <a:gd name="T1" fmla="*/ 5469 h 6381"/>
                    <a:gd name="T2" fmla="*/ 5469 w 6447"/>
                    <a:gd name="T3" fmla="*/ 5469 h 6381"/>
                    <a:gd name="T4" fmla="*/ 6446 w 6447"/>
                    <a:gd name="T5" fmla="*/ 3190 h 6381"/>
                    <a:gd name="T6" fmla="*/ 3256 w 6447"/>
                    <a:gd name="T7" fmla="*/ 0 h 6381"/>
                    <a:gd name="T8" fmla="*/ 0 w 6447"/>
                    <a:gd name="T9" fmla="*/ 3190 h 6381"/>
                    <a:gd name="T10" fmla="*/ 3256 w 6447"/>
                    <a:gd name="T11" fmla="*/ 6380 h 6381"/>
                    <a:gd name="T12" fmla="*/ 6446 w 6447"/>
                    <a:gd name="T13" fmla="*/ 6380 h 6381"/>
                    <a:gd name="T14" fmla="*/ 6446 w 6447"/>
                    <a:gd name="T15" fmla="*/ 5469 h 6381"/>
                    <a:gd name="T16" fmla="*/ 5469 w 6447"/>
                    <a:gd name="T17" fmla="*/ 5469 h 6381"/>
                    <a:gd name="T18" fmla="*/ 5729 w 6447"/>
                    <a:gd name="T19" fmla="*/ 5469 h 6381"/>
                    <a:gd name="T20" fmla="*/ 5729 w 6447"/>
                    <a:gd name="T21" fmla="*/ 5469 h 6381"/>
                    <a:gd name="T22" fmla="*/ 5729 w 6447"/>
                    <a:gd name="T23" fmla="*/ 5469 h 6381"/>
                    <a:gd name="T24" fmla="*/ 5600 w 6447"/>
                    <a:gd name="T25" fmla="*/ 5469 h 6381"/>
                    <a:gd name="T26" fmla="*/ 5600 w 6447"/>
                    <a:gd name="T27" fmla="*/ 5469 h 6381"/>
                    <a:gd name="T28" fmla="*/ 5600 w 6447"/>
                    <a:gd name="T29" fmla="*/ 5469 h 6381"/>
                    <a:gd name="T30" fmla="*/ 5600 w 6447"/>
                    <a:gd name="T31" fmla="*/ 5469 h 6381"/>
                    <a:gd name="T32" fmla="*/ 5600 w 6447"/>
                    <a:gd name="T33" fmla="*/ 5469 h 6381"/>
                    <a:gd name="T34" fmla="*/ 5600 w 6447"/>
                    <a:gd name="T35" fmla="*/ 5469 h 6381"/>
                    <a:gd name="T36" fmla="*/ 5600 w 6447"/>
                    <a:gd name="T37" fmla="*/ 5469 h 6381"/>
                    <a:gd name="T38" fmla="*/ 5600 w 6447"/>
                    <a:gd name="T39" fmla="*/ 5469 h 6381"/>
                    <a:gd name="T40" fmla="*/ 5600 w 6447"/>
                    <a:gd name="T41" fmla="*/ 5469 h 6381"/>
                    <a:gd name="T42" fmla="*/ 5600 w 6447"/>
                    <a:gd name="T43" fmla="*/ 5469 h 6381"/>
                    <a:gd name="T44" fmla="*/ 5600 w 6447"/>
                    <a:gd name="T45" fmla="*/ 5469 h 6381"/>
                    <a:gd name="T46" fmla="*/ 5600 w 6447"/>
                    <a:gd name="T47" fmla="*/ 5469 h 6381"/>
                    <a:gd name="T48" fmla="*/ 5600 w 6447"/>
                    <a:gd name="T49" fmla="*/ 5469 h 6381"/>
                    <a:gd name="T50" fmla="*/ 5600 w 6447"/>
                    <a:gd name="T51" fmla="*/ 5469 h 6381"/>
                    <a:gd name="T52" fmla="*/ 5600 w 6447"/>
                    <a:gd name="T53" fmla="*/ 5469 h 6381"/>
                    <a:gd name="T54" fmla="*/ 5600 w 6447"/>
                    <a:gd name="T55" fmla="*/ 5469 h 6381"/>
                    <a:gd name="T56" fmla="*/ 5600 w 6447"/>
                    <a:gd name="T57" fmla="*/ 5469 h 6381"/>
                    <a:gd name="T58" fmla="*/ 5600 w 6447"/>
                    <a:gd name="T59" fmla="*/ 5469 h 6381"/>
                    <a:gd name="T60" fmla="*/ 5729 w 6447"/>
                    <a:gd name="T61" fmla="*/ 5469 h 6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47" h="6381">
                      <a:moveTo>
                        <a:pt x="5469" y="5469"/>
                      </a:moveTo>
                      <a:lnTo>
                        <a:pt x="5469" y="5469"/>
                      </a:lnTo>
                      <a:cubicBezTo>
                        <a:pt x="6121" y="4882"/>
                        <a:pt x="6446" y="4036"/>
                        <a:pt x="6446" y="3190"/>
                      </a:cubicBezTo>
                      <a:cubicBezTo>
                        <a:pt x="6446" y="1431"/>
                        <a:pt x="5013" y="0"/>
                        <a:pt x="3256" y="0"/>
                      </a:cubicBezTo>
                      <a:cubicBezTo>
                        <a:pt x="1433" y="0"/>
                        <a:pt x="0" y="1431"/>
                        <a:pt x="0" y="3190"/>
                      </a:cubicBezTo>
                      <a:cubicBezTo>
                        <a:pt x="0" y="5013"/>
                        <a:pt x="1433" y="6380"/>
                        <a:pt x="3256" y="6380"/>
                      </a:cubicBezTo>
                      <a:cubicBezTo>
                        <a:pt x="4298" y="6380"/>
                        <a:pt x="5340" y="6380"/>
                        <a:pt x="6446" y="6380"/>
                      </a:cubicBezTo>
                      <a:cubicBezTo>
                        <a:pt x="6446" y="6119"/>
                        <a:pt x="6446" y="5794"/>
                        <a:pt x="6446" y="5469"/>
                      </a:cubicBezTo>
                      <a:cubicBezTo>
                        <a:pt x="6121" y="5469"/>
                        <a:pt x="5794" y="5469"/>
                        <a:pt x="5469" y="5469"/>
                      </a:cubicBezTo>
                      <a:close/>
                      <a:moveTo>
                        <a:pt x="5729" y="5469"/>
                      </a:moveTo>
                      <a:lnTo>
                        <a:pt x="5729" y="5469"/>
                      </a:lnTo>
                      <a:lnTo>
                        <a:pt x="5729"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729" y="5469"/>
                      </a:lnTo>
                      <a:close/>
                    </a:path>
                  </a:pathLst>
                </a:custGeom>
                <a:solidFill>
                  <a:schemeClr val="tx2">
                    <a:lumMod val="75000"/>
                  </a:schemeClr>
                </a:solidFill>
                <a:ln>
                  <a:noFill/>
                </a:ln>
                <a:effectLst/>
              </p:spPr>
              <p:txBody>
                <a:bodyPr wrap="none" anchor="ctr"/>
                <a:lstStyle/>
                <a:p>
                  <a:endParaRPr lang="en-US" sz="900" dirty="0"/>
                </a:p>
              </p:txBody>
            </p:sp>
            <p:sp>
              <p:nvSpPr>
                <p:cNvPr id="5" name="Freeform 2"/>
                <p:cNvSpPr>
                  <a:spLocks noChangeArrowheads="1"/>
                </p:cNvSpPr>
                <p:nvPr/>
              </p:nvSpPr>
              <p:spPr bwMode="auto">
                <a:xfrm>
                  <a:off x="1021066" y="1539127"/>
                  <a:ext cx="1343698" cy="1329913"/>
                </a:xfrm>
                <a:custGeom>
                  <a:avLst/>
                  <a:gdLst>
                    <a:gd name="T0" fmla="*/ 977 w 6447"/>
                    <a:gd name="T1" fmla="*/ 3190 h 6381"/>
                    <a:gd name="T2" fmla="*/ 977 w 6447"/>
                    <a:gd name="T3" fmla="*/ 3190 h 6381"/>
                    <a:gd name="T4" fmla="*/ 3256 w 6447"/>
                    <a:gd name="T5" fmla="*/ 975 h 6381"/>
                    <a:gd name="T6" fmla="*/ 5469 w 6447"/>
                    <a:gd name="T7" fmla="*/ 3190 h 6381"/>
                    <a:gd name="T8" fmla="*/ 4819 w 6447"/>
                    <a:gd name="T9" fmla="*/ 4817 h 6381"/>
                    <a:gd name="T10" fmla="*/ 5469 w 6447"/>
                    <a:gd name="T11" fmla="*/ 4817 h 6381"/>
                    <a:gd name="T12" fmla="*/ 5469 w 6447"/>
                    <a:gd name="T13" fmla="*/ 5469 h 6381"/>
                    <a:gd name="T14" fmla="*/ 3256 w 6447"/>
                    <a:gd name="T15" fmla="*/ 5469 h 6381"/>
                    <a:gd name="T16" fmla="*/ 977 w 6447"/>
                    <a:gd name="T17" fmla="*/ 3190 h 6381"/>
                    <a:gd name="T18" fmla="*/ 5469 w 6447"/>
                    <a:gd name="T19" fmla="*/ 5469 h 6381"/>
                    <a:gd name="T20" fmla="*/ 5469 w 6447"/>
                    <a:gd name="T21" fmla="*/ 5469 h 6381"/>
                    <a:gd name="T22" fmla="*/ 6446 w 6447"/>
                    <a:gd name="T23" fmla="*/ 3190 h 6381"/>
                    <a:gd name="T24" fmla="*/ 3256 w 6447"/>
                    <a:gd name="T25" fmla="*/ 0 h 6381"/>
                    <a:gd name="T26" fmla="*/ 0 w 6447"/>
                    <a:gd name="T27" fmla="*/ 3190 h 6381"/>
                    <a:gd name="T28" fmla="*/ 3256 w 6447"/>
                    <a:gd name="T29" fmla="*/ 6380 h 6381"/>
                    <a:gd name="T30" fmla="*/ 6446 w 6447"/>
                    <a:gd name="T31" fmla="*/ 6380 h 6381"/>
                    <a:gd name="T32" fmla="*/ 6446 w 6447"/>
                    <a:gd name="T33" fmla="*/ 5469 h 6381"/>
                    <a:gd name="T34" fmla="*/ 5469 w 6447"/>
                    <a:gd name="T35" fmla="*/ 5469 h 6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47" h="6381">
                      <a:moveTo>
                        <a:pt x="977" y="3190"/>
                      </a:moveTo>
                      <a:lnTo>
                        <a:pt x="977" y="3190"/>
                      </a:lnTo>
                      <a:cubicBezTo>
                        <a:pt x="977" y="1952"/>
                        <a:pt x="1954" y="975"/>
                        <a:pt x="3256" y="975"/>
                      </a:cubicBezTo>
                      <a:cubicBezTo>
                        <a:pt x="4492" y="975"/>
                        <a:pt x="5469" y="1952"/>
                        <a:pt x="5469" y="3190"/>
                      </a:cubicBezTo>
                      <a:cubicBezTo>
                        <a:pt x="5469" y="3775"/>
                        <a:pt x="5273" y="4361"/>
                        <a:pt x="4819" y="4817"/>
                      </a:cubicBezTo>
                      <a:cubicBezTo>
                        <a:pt x="5469" y="4817"/>
                        <a:pt x="5469" y="4817"/>
                        <a:pt x="5469" y="4817"/>
                      </a:cubicBezTo>
                      <a:cubicBezTo>
                        <a:pt x="5469" y="5469"/>
                        <a:pt x="5469" y="5469"/>
                        <a:pt x="5469" y="5469"/>
                      </a:cubicBezTo>
                      <a:cubicBezTo>
                        <a:pt x="3256" y="5469"/>
                        <a:pt x="3256" y="5469"/>
                        <a:pt x="3256" y="5469"/>
                      </a:cubicBezTo>
                      <a:cubicBezTo>
                        <a:pt x="1954" y="5469"/>
                        <a:pt x="977" y="4492"/>
                        <a:pt x="977" y="3190"/>
                      </a:cubicBezTo>
                      <a:close/>
                      <a:moveTo>
                        <a:pt x="5469" y="5469"/>
                      </a:moveTo>
                      <a:lnTo>
                        <a:pt x="5469" y="5469"/>
                      </a:lnTo>
                      <a:cubicBezTo>
                        <a:pt x="6121" y="4882"/>
                        <a:pt x="6446" y="4036"/>
                        <a:pt x="6446" y="3190"/>
                      </a:cubicBezTo>
                      <a:cubicBezTo>
                        <a:pt x="6446" y="1431"/>
                        <a:pt x="5013" y="0"/>
                        <a:pt x="3256" y="0"/>
                      </a:cubicBezTo>
                      <a:cubicBezTo>
                        <a:pt x="1433" y="0"/>
                        <a:pt x="0" y="1431"/>
                        <a:pt x="0" y="3190"/>
                      </a:cubicBezTo>
                      <a:cubicBezTo>
                        <a:pt x="0" y="5013"/>
                        <a:pt x="1433" y="6380"/>
                        <a:pt x="3256" y="6380"/>
                      </a:cubicBezTo>
                      <a:cubicBezTo>
                        <a:pt x="6446" y="6380"/>
                        <a:pt x="6446" y="6380"/>
                        <a:pt x="6446" y="6380"/>
                      </a:cubicBezTo>
                      <a:cubicBezTo>
                        <a:pt x="6446" y="5469"/>
                        <a:pt x="6446" y="5469"/>
                        <a:pt x="6446" y="5469"/>
                      </a:cubicBezTo>
                      <a:lnTo>
                        <a:pt x="5469" y="5469"/>
                      </a:lnTo>
                      <a:close/>
                    </a:path>
                  </a:pathLst>
                </a:custGeom>
                <a:solidFill>
                  <a:srgbClr val="0070C0"/>
                </a:solidFill>
                <a:ln>
                  <a:noFill/>
                </a:ln>
                <a:effectLst/>
              </p:spPr>
              <p:txBody>
                <a:bodyPr wrap="none" anchor="ctr"/>
                <a:lstStyle/>
                <a:p>
                  <a:endParaRPr lang="en-US" sz="900" dirty="0"/>
                </a:p>
              </p:txBody>
            </p:sp>
          </p:grpSp>
          <p:sp>
            <p:nvSpPr>
              <p:cNvPr id="15" name="TextBox 14"/>
              <p:cNvSpPr txBox="1"/>
              <p:nvPr/>
            </p:nvSpPr>
            <p:spPr>
              <a:xfrm>
                <a:off x="2586163" y="4240816"/>
                <a:ext cx="2251414" cy="805111"/>
              </a:xfrm>
              <a:prstGeom prst="rect">
                <a:avLst/>
              </a:prstGeom>
              <a:noFill/>
            </p:spPr>
            <p:txBody>
              <a:bodyPr wrap="square" lIns="243785" tIns="121892" rIns="243785" bIns="121892" rtlCol="0">
                <a:spAutoFit/>
              </a:bodyPr>
              <a:lstStyle/>
              <a:p>
                <a:pPr algn="ctr"/>
                <a:r>
                  <a:rPr lang="en-US" sz="3200" b="1" dirty="0">
                    <a:solidFill>
                      <a:schemeClr val="bg2"/>
                    </a:solidFill>
                    <a:latin typeface="Helvetica Neue"/>
                    <a:cs typeface="Helvetica Neue"/>
                  </a:rPr>
                  <a:t>50%</a:t>
                </a:r>
              </a:p>
            </p:txBody>
          </p:sp>
        </p:grpSp>
        <p:grpSp>
          <p:nvGrpSpPr>
            <p:cNvPr id="41" name="Group 40"/>
            <p:cNvGrpSpPr/>
            <p:nvPr>
              <p:custDataLst>
                <p:tags r:id="rId3"/>
              </p:custDataLst>
            </p:nvPr>
          </p:nvGrpSpPr>
          <p:grpSpPr>
            <a:xfrm>
              <a:off x="3791152" y="1458527"/>
              <a:ext cx="1982657" cy="1962827"/>
              <a:chOff x="7681888" y="3569621"/>
              <a:chExt cx="2271084" cy="2248370"/>
            </a:xfrm>
          </p:grpSpPr>
          <p:grpSp>
            <p:nvGrpSpPr>
              <p:cNvPr id="6" name="Group 5"/>
              <p:cNvGrpSpPr/>
              <p:nvPr>
                <p:custDataLst>
                  <p:tags r:id="rId15"/>
                </p:custDataLst>
              </p:nvPr>
            </p:nvGrpSpPr>
            <p:grpSpPr>
              <a:xfrm>
                <a:off x="7681888" y="3569621"/>
                <a:ext cx="2271084" cy="2248370"/>
                <a:chOff x="2951469" y="1539127"/>
                <a:chExt cx="1343698" cy="1329913"/>
              </a:xfrm>
            </p:grpSpPr>
            <p:sp>
              <p:nvSpPr>
                <p:cNvPr id="7" name="Freeform 1"/>
                <p:cNvSpPr>
                  <a:spLocks noChangeArrowheads="1"/>
                </p:cNvSpPr>
                <p:nvPr/>
              </p:nvSpPr>
              <p:spPr bwMode="auto">
                <a:xfrm>
                  <a:off x="2951469" y="1539127"/>
                  <a:ext cx="1343698" cy="1329913"/>
                </a:xfrm>
                <a:custGeom>
                  <a:avLst/>
                  <a:gdLst>
                    <a:gd name="T0" fmla="*/ 5469 w 6447"/>
                    <a:gd name="T1" fmla="*/ 5469 h 6381"/>
                    <a:gd name="T2" fmla="*/ 5469 w 6447"/>
                    <a:gd name="T3" fmla="*/ 5469 h 6381"/>
                    <a:gd name="T4" fmla="*/ 6446 w 6447"/>
                    <a:gd name="T5" fmla="*/ 3190 h 6381"/>
                    <a:gd name="T6" fmla="*/ 3256 w 6447"/>
                    <a:gd name="T7" fmla="*/ 0 h 6381"/>
                    <a:gd name="T8" fmla="*/ 0 w 6447"/>
                    <a:gd name="T9" fmla="*/ 3190 h 6381"/>
                    <a:gd name="T10" fmla="*/ 3256 w 6447"/>
                    <a:gd name="T11" fmla="*/ 6380 h 6381"/>
                    <a:gd name="T12" fmla="*/ 6446 w 6447"/>
                    <a:gd name="T13" fmla="*/ 6380 h 6381"/>
                    <a:gd name="T14" fmla="*/ 6446 w 6447"/>
                    <a:gd name="T15" fmla="*/ 5469 h 6381"/>
                    <a:gd name="T16" fmla="*/ 5469 w 6447"/>
                    <a:gd name="T17" fmla="*/ 5469 h 6381"/>
                    <a:gd name="T18" fmla="*/ 5729 w 6447"/>
                    <a:gd name="T19" fmla="*/ 5469 h 6381"/>
                    <a:gd name="T20" fmla="*/ 5729 w 6447"/>
                    <a:gd name="T21" fmla="*/ 5469 h 6381"/>
                    <a:gd name="T22" fmla="*/ 5729 w 6447"/>
                    <a:gd name="T23" fmla="*/ 5469 h 6381"/>
                    <a:gd name="T24" fmla="*/ 5600 w 6447"/>
                    <a:gd name="T25" fmla="*/ 5469 h 6381"/>
                    <a:gd name="T26" fmla="*/ 5600 w 6447"/>
                    <a:gd name="T27" fmla="*/ 5469 h 6381"/>
                    <a:gd name="T28" fmla="*/ 5600 w 6447"/>
                    <a:gd name="T29" fmla="*/ 5469 h 6381"/>
                    <a:gd name="T30" fmla="*/ 5600 w 6447"/>
                    <a:gd name="T31" fmla="*/ 5469 h 6381"/>
                    <a:gd name="T32" fmla="*/ 5600 w 6447"/>
                    <a:gd name="T33" fmla="*/ 5469 h 6381"/>
                    <a:gd name="T34" fmla="*/ 5600 w 6447"/>
                    <a:gd name="T35" fmla="*/ 5469 h 6381"/>
                    <a:gd name="T36" fmla="*/ 5600 w 6447"/>
                    <a:gd name="T37" fmla="*/ 5469 h 6381"/>
                    <a:gd name="T38" fmla="*/ 5600 w 6447"/>
                    <a:gd name="T39" fmla="*/ 5469 h 6381"/>
                    <a:gd name="T40" fmla="*/ 5600 w 6447"/>
                    <a:gd name="T41" fmla="*/ 5469 h 6381"/>
                    <a:gd name="T42" fmla="*/ 5600 w 6447"/>
                    <a:gd name="T43" fmla="*/ 5469 h 6381"/>
                    <a:gd name="T44" fmla="*/ 5600 w 6447"/>
                    <a:gd name="T45" fmla="*/ 5469 h 6381"/>
                    <a:gd name="T46" fmla="*/ 5600 w 6447"/>
                    <a:gd name="T47" fmla="*/ 5469 h 6381"/>
                    <a:gd name="T48" fmla="*/ 5600 w 6447"/>
                    <a:gd name="T49" fmla="*/ 5469 h 6381"/>
                    <a:gd name="T50" fmla="*/ 5600 w 6447"/>
                    <a:gd name="T51" fmla="*/ 5469 h 6381"/>
                    <a:gd name="T52" fmla="*/ 5600 w 6447"/>
                    <a:gd name="T53" fmla="*/ 5469 h 6381"/>
                    <a:gd name="T54" fmla="*/ 5600 w 6447"/>
                    <a:gd name="T55" fmla="*/ 5469 h 6381"/>
                    <a:gd name="T56" fmla="*/ 5600 w 6447"/>
                    <a:gd name="T57" fmla="*/ 5469 h 6381"/>
                    <a:gd name="T58" fmla="*/ 5600 w 6447"/>
                    <a:gd name="T59" fmla="*/ 5469 h 6381"/>
                    <a:gd name="T60" fmla="*/ 5729 w 6447"/>
                    <a:gd name="T61" fmla="*/ 5469 h 6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47" h="6381">
                      <a:moveTo>
                        <a:pt x="5469" y="5469"/>
                      </a:moveTo>
                      <a:lnTo>
                        <a:pt x="5469" y="5469"/>
                      </a:lnTo>
                      <a:cubicBezTo>
                        <a:pt x="6121" y="4882"/>
                        <a:pt x="6446" y="4036"/>
                        <a:pt x="6446" y="3190"/>
                      </a:cubicBezTo>
                      <a:cubicBezTo>
                        <a:pt x="6446" y="1431"/>
                        <a:pt x="5013" y="0"/>
                        <a:pt x="3256" y="0"/>
                      </a:cubicBezTo>
                      <a:cubicBezTo>
                        <a:pt x="1433" y="0"/>
                        <a:pt x="0" y="1431"/>
                        <a:pt x="0" y="3190"/>
                      </a:cubicBezTo>
                      <a:cubicBezTo>
                        <a:pt x="0" y="5013"/>
                        <a:pt x="1433" y="6380"/>
                        <a:pt x="3256" y="6380"/>
                      </a:cubicBezTo>
                      <a:cubicBezTo>
                        <a:pt x="4298" y="6380"/>
                        <a:pt x="5340" y="6380"/>
                        <a:pt x="6446" y="6380"/>
                      </a:cubicBezTo>
                      <a:cubicBezTo>
                        <a:pt x="6446" y="6119"/>
                        <a:pt x="6446" y="5794"/>
                        <a:pt x="6446" y="5469"/>
                      </a:cubicBezTo>
                      <a:cubicBezTo>
                        <a:pt x="6121" y="5469"/>
                        <a:pt x="5794" y="5469"/>
                        <a:pt x="5469" y="5469"/>
                      </a:cubicBezTo>
                      <a:close/>
                      <a:moveTo>
                        <a:pt x="5729" y="5469"/>
                      </a:moveTo>
                      <a:lnTo>
                        <a:pt x="5729" y="5469"/>
                      </a:lnTo>
                      <a:lnTo>
                        <a:pt x="5729"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729" y="5469"/>
                      </a:lnTo>
                      <a:close/>
                    </a:path>
                  </a:pathLst>
                </a:custGeom>
                <a:solidFill>
                  <a:schemeClr val="accent3">
                    <a:lumMod val="60000"/>
                    <a:lumOff val="40000"/>
                  </a:schemeClr>
                </a:solidFill>
                <a:ln>
                  <a:noFill/>
                </a:ln>
                <a:effectLst/>
              </p:spPr>
              <p:txBody>
                <a:bodyPr wrap="none" anchor="ctr"/>
                <a:lstStyle/>
                <a:p>
                  <a:endParaRPr lang="en-US" sz="900" dirty="0"/>
                </a:p>
              </p:txBody>
            </p:sp>
            <p:sp>
              <p:nvSpPr>
                <p:cNvPr id="8" name="Freeform 2"/>
                <p:cNvSpPr>
                  <a:spLocks noChangeArrowheads="1"/>
                </p:cNvSpPr>
                <p:nvPr/>
              </p:nvSpPr>
              <p:spPr bwMode="auto">
                <a:xfrm>
                  <a:off x="2951469" y="1539127"/>
                  <a:ext cx="1343698" cy="1329913"/>
                </a:xfrm>
                <a:custGeom>
                  <a:avLst/>
                  <a:gdLst>
                    <a:gd name="T0" fmla="*/ 977 w 6447"/>
                    <a:gd name="T1" fmla="*/ 3190 h 6381"/>
                    <a:gd name="T2" fmla="*/ 977 w 6447"/>
                    <a:gd name="T3" fmla="*/ 3190 h 6381"/>
                    <a:gd name="T4" fmla="*/ 3256 w 6447"/>
                    <a:gd name="T5" fmla="*/ 975 h 6381"/>
                    <a:gd name="T6" fmla="*/ 5469 w 6447"/>
                    <a:gd name="T7" fmla="*/ 3190 h 6381"/>
                    <a:gd name="T8" fmla="*/ 4819 w 6447"/>
                    <a:gd name="T9" fmla="*/ 4817 h 6381"/>
                    <a:gd name="T10" fmla="*/ 5469 w 6447"/>
                    <a:gd name="T11" fmla="*/ 4817 h 6381"/>
                    <a:gd name="T12" fmla="*/ 5469 w 6447"/>
                    <a:gd name="T13" fmla="*/ 5469 h 6381"/>
                    <a:gd name="T14" fmla="*/ 3256 w 6447"/>
                    <a:gd name="T15" fmla="*/ 5469 h 6381"/>
                    <a:gd name="T16" fmla="*/ 977 w 6447"/>
                    <a:gd name="T17" fmla="*/ 3190 h 6381"/>
                    <a:gd name="T18" fmla="*/ 5469 w 6447"/>
                    <a:gd name="T19" fmla="*/ 5469 h 6381"/>
                    <a:gd name="T20" fmla="*/ 5469 w 6447"/>
                    <a:gd name="T21" fmla="*/ 5469 h 6381"/>
                    <a:gd name="T22" fmla="*/ 6446 w 6447"/>
                    <a:gd name="T23" fmla="*/ 3190 h 6381"/>
                    <a:gd name="T24" fmla="*/ 3256 w 6447"/>
                    <a:gd name="T25" fmla="*/ 0 h 6381"/>
                    <a:gd name="T26" fmla="*/ 0 w 6447"/>
                    <a:gd name="T27" fmla="*/ 3190 h 6381"/>
                    <a:gd name="T28" fmla="*/ 3256 w 6447"/>
                    <a:gd name="T29" fmla="*/ 6380 h 6381"/>
                    <a:gd name="T30" fmla="*/ 6446 w 6447"/>
                    <a:gd name="T31" fmla="*/ 6380 h 6381"/>
                    <a:gd name="T32" fmla="*/ 6446 w 6447"/>
                    <a:gd name="T33" fmla="*/ 5469 h 6381"/>
                    <a:gd name="T34" fmla="*/ 5469 w 6447"/>
                    <a:gd name="T35" fmla="*/ 5469 h 6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47" h="6381">
                      <a:moveTo>
                        <a:pt x="977" y="3190"/>
                      </a:moveTo>
                      <a:lnTo>
                        <a:pt x="977" y="3190"/>
                      </a:lnTo>
                      <a:cubicBezTo>
                        <a:pt x="977" y="1952"/>
                        <a:pt x="1954" y="975"/>
                        <a:pt x="3256" y="975"/>
                      </a:cubicBezTo>
                      <a:cubicBezTo>
                        <a:pt x="4492" y="975"/>
                        <a:pt x="5469" y="1952"/>
                        <a:pt x="5469" y="3190"/>
                      </a:cubicBezTo>
                      <a:cubicBezTo>
                        <a:pt x="5469" y="3775"/>
                        <a:pt x="5273" y="4361"/>
                        <a:pt x="4819" y="4817"/>
                      </a:cubicBezTo>
                      <a:cubicBezTo>
                        <a:pt x="5469" y="4817"/>
                        <a:pt x="5469" y="4817"/>
                        <a:pt x="5469" y="4817"/>
                      </a:cubicBezTo>
                      <a:cubicBezTo>
                        <a:pt x="5469" y="5469"/>
                        <a:pt x="5469" y="5469"/>
                        <a:pt x="5469" y="5469"/>
                      </a:cubicBezTo>
                      <a:cubicBezTo>
                        <a:pt x="3256" y="5469"/>
                        <a:pt x="3256" y="5469"/>
                        <a:pt x="3256" y="5469"/>
                      </a:cubicBezTo>
                      <a:cubicBezTo>
                        <a:pt x="1954" y="5469"/>
                        <a:pt x="977" y="4492"/>
                        <a:pt x="977" y="3190"/>
                      </a:cubicBezTo>
                      <a:close/>
                      <a:moveTo>
                        <a:pt x="5469" y="5469"/>
                      </a:moveTo>
                      <a:lnTo>
                        <a:pt x="5469" y="5469"/>
                      </a:lnTo>
                      <a:cubicBezTo>
                        <a:pt x="6121" y="4882"/>
                        <a:pt x="6446" y="4036"/>
                        <a:pt x="6446" y="3190"/>
                      </a:cubicBezTo>
                      <a:cubicBezTo>
                        <a:pt x="6446" y="1431"/>
                        <a:pt x="5013" y="0"/>
                        <a:pt x="3256" y="0"/>
                      </a:cubicBezTo>
                      <a:cubicBezTo>
                        <a:pt x="1433" y="0"/>
                        <a:pt x="0" y="1431"/>
                        <a:pt x="0" y="3190"/>
                      </a:cubicBezTo>
                      <a:cubicBezTo>
                        <a:pt x="0" y="5013"/>
                        <a:pt x="1433" y="6380"/>
                        <a:pt x="3256" y="6380"/>
                      </a:cubicBezTo>
                      <a:cubicBezTo>
                        <a:pt x="6446" y="6380"/>
                        <a:pt x="6446" y="6380"/>
                        <a:pt x="6446" y="6380"/>
                      </a:cubicBezTo>
                      <a:cubicBezTo>
                        <a:pt x="6446" y="5469"/>
                        <a:pt x="6446" y="5469"/>
                        <a:pt x="6446" y="5469"/>
                      </a:cubicBezTo>
                      <a:lnTo>
                        <a:pt x="5469" y="5469"/>
                      </a:lnTo>
                      <a:close/>
                    </a:path>
                  </a:pathLst>
                </a:custGeom>
                <a:solidFill>
                  <a:schemeClr val="accent3"/>
                </a:solidFill>
                <a:ln>
                  <a:noFill/>
                </a:ln>
                <a:effectLst/>
              </p:spPr>
              <p:txBody>
                <a:bodyPr wrap="none" anchor="ctr"/>
                <a:lstStyle/>
                <a:p>
                  <a:endParaRPr lang="en-US" sz="900" dirty="0"/>
                </a:p>
              </p:txBody>
            </p:sp>
          </p:grpSp>
          <p:sp>
            <p:nvSpPr>
              <p:cNvPr id="16" name="TextBox 15"/>
              <p:cNvSpPr txBox="1"/>
              <p:nvPr/>
            </p:nvSpPr>
            <p:spPr>
              <a:xfrm>
                <a:off x="7691723" y="4240816"/>
                <a:ext cx="2251414" cy="805111"/>
              </a:xfrm>
              <a:prstGeom prst="rect">
                <a:avLst/>
              </a:prstGeom>
              <a:noFill/>
            </p:spPr>
            <p:txBody>
              <a:bodyPr wrap="square" lIns="243785" tIns="121892" rIns="243785" bIns="121892" rtlCol="0">
                <a:spAutoFit/>
              </a:bodyPr>
              <a:lstStyle/>
              <a:p>
                <a:pPr algn="ctr"/>
                <a:r>
                  <a:rPr lang="en-US" sz="3200" b="1" dirty="0">
                    <a:solidFill>
                      <a:schemeClr val="bg2"/>
                    </a:solidFill>
                    <a:latin typeface="Helvetica Neue"/>
                    <a:cs typeface="Helvetica Neue"/>
                  </a:rPr>
                  <a:t>50%</a:t>
                </a:r>
              </a:p>
            </p:txBody>
          </p:sp>
        </p:grpSp>
        <p:grpSp>
          <p:nvGrpSpPr>
            <p:cNvPr id="40" name="Group 39"/>
            <p:cNvGrpSpPr/>
            <p:nvPr>
              <p:custDataLst>
                <p:tags r:id="rId4"/>
              </p:custDataLst>
            </p:nvPr>
          </p:nvGrpSpPr>
          <p:grpSpPr>
            <a:xfrm>
              <a:off x="6909933" y="1458527"/>
              <a:ext cx="1982657" cy="1962827"/>
              <a:chOff x="12838503" y="3569621"/>
              <a:chExt cx="2271084" cy="2248370"/>
            </a:xfrm>
          </p:grpSpPr>
          <p:grpSp>
            <p:nvGrpSpPr>
              <p:cNvPr id="9" name="Group 8"/>
              <p:cNvGrpSpPr/>
              <p:nvPr>
                <p:custDataLst>
                  <p:tags r:id="rId14"/>
                </p:custDataLst>
              </p:nvPr>
            </p:nvGrpSpPr>
            <p:grpSpPr>
              <a:xfrm>
                <a:off x="12838503" y="3569621"/>
                <a:ext cx="2271084" cy="2248370"/>
                <a:chOff x="4881873" y="1539127"/>
                <a:chExt cx="1343698" cy="1329913"/>
              </a:xfrm>
            </p:grpSpPr>
            <p:sp>
              <p:nvSpPr>
                <p:cNvPr id="10" name="Freeform 1"/>
                <p:cNvSpPr>
                  <a:spLocks noChangeArrowheads="1"/>
                </p:cNvSpPr>
                <p:nvPr/>
              </p:nvSpPr>
              <p:spPr bwMode="auto">
                <a:xfrm>
                  <a:off x="4881873" y="1539127"/>
                  <a:ext cx="1343698" cy="1329913"/>
                </a:xfrm>
                <a:custGeom>
                  <a:avLst/>
                  <a:gdLst>
                    <a:gd name="T0" fmla="*/ 5469 w 6447"/>
                    <a:gd name="T1" fmla="*/ 5469 h 6381"/>
                    <a:gd name="T2" fmla="*/ 5469 w 6447"/>
                    <a:gd name="T3" fmla="*/ 5469 h 6381"/>
                    <a:gd name="T4" fmla="*/ 6446 w 6447"/>
                    <a:gd name="T5" fmla="*/ 3190 h 6381"/>
                    <a:gd name="T6" fmla="*/ 3256 w 6447"/>
                    <a:gd name="T7" fmla="*/ 0 h 6381"/>
                    <a:gd name="T8" fmla="*/ 0 w 6447"/>
                    <a:gd name="T9" fmla="*/ 3190 h 6381"/>
                    <a:gd name="T10" fmla="*/ 3256 w 6447"/>
                    <a:gd name="T11" fmla="*/ 6380 h 6381"/>
                    <a:gd name="T12" fmla="*/ 6446 w 6447"/>
                    <a:gd name="T13" fmla="*/ 6380 h 6381"/>
                    <a:gd name="T14" fmla="*/ 6446 w 6447"/>
                    <a:gd name="T15" fmla="*/ 5469 h 6381"/>
                    <a:gd name="T16" fmla="*/ 5469 w 6447"/>
                    <a:gd name="T17" fmla="*/ 5469 h 6381"/>
                    <a:gd name="T18" fmla="*/ 5729 w 6447"/>
                    <a:gd name="T19" fmla="*/ 5469 h 6381"/>
                    <a:gd name="T20" fmla="*/ 5729 w 6447"/>
                    <a:gd name="T21" fmla="*/ 5469 h 6381"/>
                    <a:gd name="T22" fmla="*/ 5729 w 6447"/>
                    <a:gd name="T23" fmla="*/ 5469 h 6381"/>
                    <a:gd name="T24" fmla="*/ 5600 w 6447"/>
                    <a:gd name="T25" fmla="*/ 5469 h 6381"/>
                    <a:gd name="T26" fmla="*/ 5600 w 6447"/>
                    <a:gd name="T27" fmla="*/ 5469 h 6381"/>
                    <a:gd name="T28" fmla="*/ 5600 w 6447"/>
                    <a:gd name="T29" fmla="*/ 5469 h 6381"/>
                    <a:gd name="T30" fmla="*/ 5600 w 6447"/>
                    <a:gd name="T31" fmla="*/ 5469 h 6381"/>
                    <a:gd name="T32" fmla="*/ 5600 w 6447"/>
                    <a:gd name="T33" fmla="*/ 5469 h 6381"/>
                    <a:gd name="T34" fmla="*/ 5600 w 6447"/>
                    <a:gd name="T35" fmla="*/ 5469 h 6381"/>
                    <a:gd name="T36" fmla="*/ 5600 w 6447"/>
                    <a:gd name="T37" fmla="*/ 5469 h 6381"/>
                    <a:gd name="T38" fmla="*/ 5600 w 6447"/>
                    <a:gd name="T39" fmla="*/ 5469 h 6381"/>
                    <a:gd name="T40" fmla="*/ 5600 w 6447"/>
                    <a:gd name="T41" fmla="*/ 5469 h 6381"/>
                    <a:gd name="T42" fmla="*/ 5600 w 6447"/>
                    <a:gd name="T43" fmla="*/ 5469 h 6381"/>
                    <a:gd name="T44" fmla="*/ 5600 w 6447"/>
                    <a:gd name="T45" fmla="*/ 5469 h 6381"/>
                    <a:gd name="T46" fmla="*/ 5600 w 6447"/>
                    <a:gd name="T47" fmla="*/ 5469 h 6381"/>
                    <a:gd name="T48" fmla="*/ 5600 w 6447"/>
                    <a:gd name="T49" fmla="*/ 5469 h 6381"/>
                    <a:gd name="T50" fmla="*/ 5600 w 6447"/>
                    <a:gd name="T51" fmla="*/ 5469 h 6381"/>
                    <a:gd name="T52" fmla="*/ 5600 w 6447"/>
                    <a:gd name="T53" fmla="*/ 5469 h 6381"/>
                    <a:gd name="T54" fmla="*/ 5600 w 6447"/>
                    <a:gd name="T55" fmla="*/ 5469 h 6381"/>
                    <a:gd name="T56" fmla="*/ 5600 w 6447"/>
                    <a:gd name="T57" fmla="*/ 5469 h 6381"/>
                    <a:gd name="T58" fmla="*/ 5600 w 6447"/>
                    <a:gd name="T59" fmla="*/ 5469 h 6381"/>
                    <a:gd name="T60" fmla="*/ 5729 w 6447"/>
                    <a:gd name="T61" fmla="*/ 5469 h 6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47" h="6381">
                      <a:moveTo>
                        <a:pt x="5469" y="5469"/>
                      </a:moveTo>
                      <a:lnTo>
                        <a:pt x="5469" y="5469"/>
                      </a:lnTo>
                      <a:cubicBezTo>
                        <a:pt x="6121" y="4882"/>
                        <a:pt x="6446" y="4036"/>
                        <a:pt x="6446" y="3190"/>
                      </a:cubicBezTo>
                      <a:cubicBezTo>
                        <a:pt x="6446" y="1431"/>
                        <a:pt x="5013" y="0"/>
                        <a:pt x="3256" y="0"/>
                      </a:cubicBezTo>
                      <a:cubicBezTo>
                        <a:pt x="1433" y="0"/>
                        <a:pt x="0" y="1431"/>
                        <a:pt x="0" y="3190"/>
                      </a:cubicBezTo>
                      <a:cubicBezTo>
                        <a:pt x="0" y="5013"/>
                        <a:pt x="1433" y="6380"/>
                        <a:pt x="3256" y="6380"/>
                      </a:cubicBezTo>
                      <a:cubicBezTo>
                        <a:pt x="4298" y="6380"/>
                        <a:pt x="5340" y="6380"/>
                        <a:pt x="6446" y="6380"/>
                      </a:cubicBezTo>
                      <a:cubicBezTo>
                        <a:pt x="6446" y="6119"/>
                        <a:pt x="6446" y="5794"/>
                        <a:pt x="6446" y="5469"/>
                      </a:cubicBezTo>
                      <a:cubicBezTo>
                        <a:pt x="6121" y="5469"/>
                        <a:pt x="5794" y="5469"/>
                        <a:pt x="5469" y="5469"/>
                      </a:cubicBezTo>
                      <a:close/>
                      <a:moveTo>
                        <a:pt x="5729" y="5469"/>
                      </a:moveTo>
                      <a:lnTo>
                        <a:pt x="5729" y="5469"/>
                      </a:lnTo>
                      <a:lnTo>
                        <a:pt x="5729"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729" y="5469"/>
                      </a:lnTo>
                      <a:close/>
                    </a:path>
                  </a:pathLst>
                </a:custGeom>
                <a:solidFill>
                  <a:schemeClr val="accent4">
                    <a:lumMod val="60000"/>
                    <a:lumOff val="40000"/>
                  </a:schemeClr>
                </a:solidFill>
                <a:ln>
                  <a:noFill/>
                </a:ln>
                <a:effectLst/>
              </p:spPr>
              <p:txBody>
                <a:bodyPr wrap="none" anchor="ctr"/>
                <a:lstStyle/>
                <a:p>
                  <a:endParaRPr lang="en-US" sz="900" dirty="0"/>
                </a:p>
              </p:txBody>
            </p:sp>
            <p:sp>
              <p:nvSpPr>
                <p:cNvPr id="11" name="Freeform 2"/>
                <p:cNvSpPr>
                  <a:spLocks noChangeArrowheads="1"/>
                </p:cNvSpPr>
                <p:nvPr/>
              </p:nvSpPr>
              <p:spPr bwMode="auto">
                <a:xfrm>
                  <a:off x="4881873" y="1539127"/>
                  <a:ext cx="1343698" cy="1329913"/>
                </a:xfrm>
                <a:custGeom>
                  <a:avLst/>
                  <a:gdLst>
                    <a:gd name="T0" fmla="*/ 977 w 6447"/>
                    <a:gd name="T1" fmla="*/ 3190 h 6381"/>
                    <a:gd name="T2" fmla="*/ 977 w 6447"/>
                    <a:gd name="T3" fmla="*/ 3190 h 6381"/>
                    <a:gd name="T4" fmla="*/ 3256 w 6447"/>
                    <a:gd name="T5" fmla="*/ 975 h 6381"/>
                    <a:gd name="T6" fmla="*/ 5469 w 6447"/>
                    <a:gd name="T7" fmla="*/ 3190 h 6381"/>
                    <a:gd name="T8" fmla="*/ 4819 w 6447"/>
                    <a:gd name="T9" fmla="*/ 4817 h 6381"/>
                    <a:gd name="T10" fmla="*/ 5469 w 6447"/>
                    <a:gd name="T11" fmla="*/ 4817 h 6381"/>
                    <a:gd name="T12" fmla="*/ 5469 w 6447"/>
                    <a:gd name="T13" fmla="*/ 5469 h 6381"/>
                    <a:gd name="T14" fmla="*/ 3256 w 6447"/>
                    <a:gd name="T15" fmla="*/ 5469 h 6381"/>
                    <a:gd name="T16" fmla="*/ 977 w 6447"/>
                    <a:gd name="T17" fmla="*/ 3190 h 6381"/>
                    <a:gd name="T18" fmla="*/ 5469 w 6447"/>
                    <a:gd name="T19" fmla="*/ 5469 h 6381"/>
                    <a:gd name="T20" fmla="*/ 5469 w 6447"/>
                    <a:gd name="T21" fmla="*/ 5469 h 6381"/>
                    <a:gd name="T22" fmla="*/ 6446 w 6447"/>
                    <a:gd name="T23" fmla="*/ 3190 h 6381"/>
                    <a:gd name="T24" fmla="*/ 3256 w 6447"/>
                    <a:gd name="T25" fmla="*/ 0 h 6381"/>
                    <a:gd name="T26" fmla="*/ 0 w 6447"/>
                    <a:gd name="T27" fmla="*/ 3190 h 6381"/>
                    <a:gd name="T28" fmla="*/ 3256 w 6447"/>
                    <a:gd name="T29" fmla="*/ 6380 h 6381"/>
                    <a:gd name="T30" fmla="*/ 6446 w 6447"/>
                    <a:gd name="T31" fmla="*/ 6380 h 6381"/>
                    <a:gd name="T32" fmla="*/ 6446 w 6447"/>
                    <a:gd name="T33" fmla="*/ 5469 h 6381"/>
                    <a:gd name="T34" fmla="*/ 5469 w 6447"/>
                    <a:gd name="T35" fmla="*/ 5469 h 6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47" h="6381">
                      <a:moveTo>
                        <a:pt x="977" y="3190"/>
                      </a:moveTo>
                      <a:lnTo>
                        <a:pt x="977" y="3190"/>
                      </a:lnTo>
                      <a:cubicBezTo>
                        <a:pt x="977" y="1952"/>
                        <a:pt x="1954" y="975"/>
                        <a:pt x="3256" y="975"/>
                      </a:cubicBezTo>
                      <a:cubicBezTo>
                        <a:pt x="4492" y="975"/>
                        <a:pt x="5469" y="1952"/>
                        <a:pt x="5469" y="3190"/>
                      </a:cubicBezTo>
                      <a:cubicBezTo>
                        <a:pt x="5469" y="3775"/>
                        <a:pt x="5273" y="4361"/>
                        <a:pt x="4819" y="4817"/>
                      </a:cubicBezTo>
                      <a:cubicBezTo>
                        <a:pt x="5469" y="4817"/>
                        <a:pt x="5469" y="4817"/>
                        <a:pt x="5469" y="4817"/>
                      </a:cubicBezTo>
                      <a:cubicBezTo>
                        <a:pt x="5469" y="5469"/>
                        <a:pt x="5469" y="5469"/>
                        <a:pt x="5469" y="5469"/>
                      </a:cubicBezTo>
                      <a:cubicBezTo>
                        <a:pt x="3256" y="5469"/>
                        <a:pt x="3256" y="5469"/>
                        <a:pt x="3256" y="5469"/>
                      </a:cubicBezTo>
                      <a:cubicBezTo>
                        <a:pt x="1954" y="5469"/>
                        <a:pt x="977" y="4492"/>
                        <a:pt x="977" y="3190"/>
                      </a:cubicBezTo>
                      <a:close/>
                      <a:moveTo>
                        <a:pt x="5469" y="5469"/>
                      </a:moveTo>
                      <a:lnTo>
                        <a:pt x="5469" y="5469"/>
                      </a:lnTo>
                      <a:cubicBezTo>
                        <a:pt x="6121" y="4882"/>
                        <a:pt x="6446" y="4036"/>
                        <a:pt x="6446" y="3190"/>
                      </a:cubicBezTo>
                      <a:cubicBezTo>
                        <a:pt x="6446" y="1431"/>
                        <a:pt x="5013" y="0"/>
                        <a:pt x="3256" y="0"/>
                      </a:cubicBezTo>
                      <a:cubicBezTo>
                        <a:pt x="1433" y="0"/>
                        <a:pt x="0" y="1431"/>
                        <a:pt x="0" y="3190"/>
                      </a:cubicBezTo>
                      <a:cubicBezTo>
                        <a:pt x="0" y="5013"/>
                        <a:pt x="1433" y="6380"/>
                        <a:pt x="3256" y="6380"/>
                      </a:cubicBezTo>
                      <a:cubicBezTo>
                        <a:pt x="6446" y="6380"/>
                        <a:pt x="6446" y="6380"/>
                        <a:pt x="6446" y="6380"/>
                      </a:cubicBezTo>
                      <a:cubicBezTo>
                        <a:pt x="6446" y="5469"/>
                        <a:pt x="6446" y="5469"/>
                        <a:pt x="6446" y="5469"/>
                      </a:cubicBezTo>
                      <a:lnTo>
                        <a:pt x="5469" y="5469"/>
                      </a:lnTo>
                      <a:close/>
                    </a:path>
                  </a:pathLst>
                </a:custGeom>
                <a:solidFill>
                  <a:schemeClr val="accent4"/>
                </a:solidFill>
                <a:ln>
                  <a:noFill/>
                </a:ln>
                <a:effectLst/>
              </p:spPr>
              <p:txBody>
                <a:bodyPr wrap="none" anchor="ctr"/>
                <a:lstStyle/>
                <a:p>
                  <a:endParaRPr lang="en-US" sz="900" dirty="0"/>
                </a:p>
              </p:txBody>
            </p:sp>
          </p:grpSp>
          <p:sp>
            <p:nvSpPr>
              <p:cNvPr id="17" name="TextBox 16"/>
              <p:cNvSpPr txBox="1"/>
              <p:nvPr/>
            </p:nvSpPr>
            <p:spPr>
              <a:xfrm>
                <a:off x="12848338" y="4240816"/>
                <a:ext cx="2251414" cy="805111"/>
              </a:xfrm>
              <a:prstGeom prst="rect">
                <a:avLst/>
              </a:prstGeom>
              <a:noFill/>
            </p:spPr>
            <p:txBody>
              <a:bodyPr wrap="square" lIns="243785" tIns="121892" rIns="243785" bIns="121892" rtlCol="0">
                <a:spAutoFit/>
              </a:bodyPr>
              <a:lstStyle/>
              <a:p>
                <a:pPr algn="ctr"/>
                <a:r>
                  <a:rPr lang="en-US" sz="3200" b="1" dirty="0">
                    <a:solidFill>
                      <a:schemeClr val="bg2"/>
                    </a:solidFill>
                    <a:latin typeface="Helvetica Neue"/>
                    <a:cs typeface="Helvetica Neue"/>
                  </a:rPr>
                  <a:t>50%</a:t>
                </a:r>
              </a:p>
            </p:txBody>
          </p:sp>
        </p:grpSp>
        <p:grpSp>
          <p:nvGrpSpPr>
            <p:cNvPr id="39" name="Group 38"/>
            <p:cNvGrpSpPr/>
            <p:nvPr>
              <p:custDataLst>
                <p:tags r:id="rId5"/>
              </p:custDataLst>
            </p:nvPr>
          </p:nvGrpSpPr>
          <p:grpSpPr>
            <a:xfrm>
              <a:off x="10028715" y="1458527"/>
              <a:ext cx="1982657" cy="1962827"/>
              <a:chOff x="18035288" y="3569621"/>
              <a:chExt cx="2271084" cy="2248370"/>
            </a:xfrm>
          </p:grpSpPr>
          <p:grpSp>
            <p:nvGrpSpPr>
              <p:cNvPr id="12" name="Group 11"/>
              <p:cNvGrpSpPr/>
              <p:nvPr>
                <p:custDataLst>
                  <p:tags r:id="rId13"/>
                </p:custDataLst>
              </p:nvPr>
            </p:nvGrpSpPr>
            <p:grpSpPr>
              <a:xfrm>
                <a:off x="18035288" y="3569621"/>
                <a:ext cx="2271084" cy="2248370"/>
                <a:chOff x="6812276" y="1539127"/>
                <a:chExt cx="1343698" cy="1329913"/>
              </a:xfrm>
            </p:grpSpPr>
            <p:sp>
              <p:nvSpPr>
                <p:cNvPr id="13" name="Freeform 1"/>
                <p:cNvSpPr>
                  <a:spLocks noChangeArrowheads="1"/>
                </p:cNvSpPr>
                <p:nvPr/>
              </p:nvSpPr>
              <p:spPr bwMode="auto">
                <a:xfrm>
                  <a:off x="6812276" y="1539127"/>
                  <a:ext cx="1343698" cy="1329913"/>
                </a:xfrm>
                <a:custGeom>
                  <a:avLst/>
                  <a:gdLst>
                    <a:gd name="T0" fmla="*/ 5469 w 6447"/>
                    <a:gd name="T1" fmla="*/ 5469 h 6381"/>
                    <a:gd name="T2" fmla="*/ 5469 w 6447"/>
                    <a:gd name="T3" fmla="*/ 5469 h 6381"/>
                    <a:gd name="T4" fmla="*/ 6446 w 6447"/>
                    <a:gd name="T5" fmla="*/ 3190 h 6381"/>
                    <a:gd name="T6" fmla="*/ 3256 w 6447"/>
                    <a:gd name="T7" fmla="*/ 0 h 6381"/>
                    <a:gd name="T8" fmla="*/ 0 w 6447"/>
                    <a:gd name="T9" fmla="*/ 3190 h 6381"/>
                    <a:gd name="T10" fmla="*/ 3256 w 6447"/>
                    <a:gd name="T11" fmla="*/ 6380 h 6381"/>
                    <a:gd name="T12" fmla="*/ 6446 w 6447"/>
                    <a:gd name="T13" fmla="*/ 6380 h 6381"/>
                    <a:gd name="T14" fmla="*/ 6446 w 6447"/>
                    <a:gd name="T15" fmla="*/ 5469 h 6381"/>
                    <a:gd name="T16" fmla="*/ 5469 w 6447"/>
                    <a:gd name="T17" fmla="*/ 5469 h 6381"/>
                    <a:gd name="T18" fmla="*/ 5729 w 6447"/>
                    <a:gd name="T19" fmla="*/ 5469 h 6381"/>
                    <a:gd name="T20" fmla="*/ 5729 w 6447"/>
                    <a:gd name="T21" fmla="*/ 5469 h 6381"/>
                    <a:gd name="T22" fmla="*/ 5729 w 6447"/>
                    <a:gd name="T23" fmla="*/ 5469 h 6381"/>
                    <a:gd name="T24" fmla="*/ 5600 w 6447"/>
                    <a:gd name="T25" fmla="*/ 5469 h 6381"/>
                    <a:gd name="T26" fmla="*/ 5600 w 6447"/>
                    <a:gd name="T27" fmla="*/ 5469 h 6381"/>
                    <a:gd name="T28" fmla="*/ 5600 w 6447"/>
                    <a:gd name="T29" fmla="*/ 5469 h 6381"/>
                    <a:gd name="T30" fmla="*/ 5600 w 6447"/>
                    <a:gd name="T31" fmla="*/ 5469 h 6381"/>
                    <a:gd name="T32" fmla="*/ 5600 w 6447"/>
                    <a:gd name="T33" fmla="*/ 5469 h 6381"/>
                    <a:gd name="T34" fmla="*/ 5600 w 6447"/>
                    <a:gd name="T35" fmla="*/ 5469 h 6381"/>
                    <a:gd name="T36" fmla="*/ 5600 w 6447"/>
                    <a:gd name="T37" fmla="*/ 5469 h 6381"/>
                    <a:gd name="T38" fmla="*/ 5600 w 6447"/>
                    <a:gd name="T39" fmla="*/ 5469 h 6381"/>
                    <a:gd name="T40" fmla="*/ 5600 w 6447"/>
                    <a:gd name="T41" fmla="*/ 5469 h 6381"/>
                    <a:gd name="T42" fmla="*/ 5600 w 6447"/>
                    <a:gd name="T43" fmla="*/ 5469 h 6381"/>
                    <a:gd name="T44" fmla="*/ 5600 w 6447"/>
                    <a:gd name="T45" fmla="*/ 5469 h 6381"/>
                    <a:gd name="T46" fmla="*/ 5600 w 6447"/>
                    <a:gd name="T47" fmla="*/ 5469 h 6381"/>
                    <a:gd name="T48" fmla="*/ 5600 w 6447"/>
                    <a:gd name="T49" fmla="*/ 5469 h 6381"/>
                    <a:gd name="T50" fmla="*/ 5600 w 6447"/>
                    <a:gd name="T51" fmla="*/ 5469 h 6381"/>
                    <a:gd name="T52" fmla="*/ 5600 w 6447"/>
                    <a:gd name="T53" fmla="*/ 5469 h 6381"/>
                    <a:gd name="T54" fmla="*/ 5600 w 6447"/>
                    <a:gd name="T55" fmla="*/ 5469 h 6381"/>
                    <a:gd name="T56" fmla="*/ 5600 w 6447"/>
                    <a:gd name="T57" fmla="*/ 5469 h 6381"/>
                    <a:gd name="T58" fmla="*/ 5600 w 6447"/>
                    <a:gd name="T59" fmla="*/ 5469 h 6381"/>
                    <a:gd name="T60" fmla="*/ 5729 w 6447"/>
                    <a:gd name="T61" fmla="*/ 5469 h 6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47" h="6381">
                      <a:moveTo>
                        <a:pt x="5469" y="5469"/>
                      </a:moveTo>
                      <a:lnTo>
                        <a:pt x="5469" y="5469"/>
                      </a:lnTo>
                      <a:cubicBezTo>
                        <a:pt x="6121" y="4882"/>
                        <a:pt x="6446" y="4036"/>
                        <a:pt x="6446" y="3190"/>
                      </a:cubicBezTo>
                      <a:cubicBezTo>
                        <a:pt x="6446" y="1431"/>
                        <a:pt x="5013" y="0"/>
                        <a:pt x="3256" y="0"/>
                      </a:cubicBezTo>
                      <a:cubicBezTo>
                        <a:pt x="1433" y="0"/>
                        <a:pt x="0" y="1431"/>
                        <a:pt x="0" y="3190"/>
                      </a:cubicBezTo>
                      <a:cubicBezTo>
                        <a:pt x="0" y="5013"/>
                        <a:pt x="1433" y="6380"/>
                        <a:pt x="3256" y="6380"/>
                      </a:cubicBezTo>
                      <a:cubicBezTo>
                        <a:pt x="4298" y="6380"/>
                        <a:pt x="5340" y="6380"/>
                        <a:pt x="6446" y="6380"/>
                      </a:cubicBezTo>
                      <a:cubicBezTo>
                        <a:pt x="6446" y="6119"/>
                        <a:pt x="6446" y="5794"/>
                        <a:pt x="6446" y="5469"/>
                      </a:cubicBezTo>
                      <a:cubicBezTo>
                        <a:pt x="6121" y="5469"/>
                        <a:pt x="5794" y="5469"/>
                        <a:pt x="5469" y="5469"/>
                      </a:cubicBezTo>
                      <a:close/>
                      <a:moveTo>
                        <a:pt x="5729" y="5469"/>
                      </a:moveTo>
                      <a:lnTo>
                        <a:pt x="5729" y="5469"/>
                      </a:lnTo>
                      <a:lnTo>
                        <a:pt x="5729"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600" y="5469"/>
                      </a:lnTo>
                      <a:lnTo>
                        <a:pt x="5729" y="5469"/>
                      </a:lnTo>
                      <a:close/>
                    </a:path>
                  </a:pathLst>
                </a:custGeom>
                <a:solidFill>
                  <a:schemeClr val="accent5">
                    <a:lumMod val="40000"/>
                    <a:lumOff val="60000"/>
                  </a:schemeClr>
                </a:solidFill>
                <a:ln>
                  <a:noFill/>
                </a:ln>
                <a:effectLst/>
              </p:spPr>
              <p:txBody>
                <a:bodyPr wrap="none" anchor="ctr"/>
                <a:lstStyle/>
                <a:p>
                  <a:endParaRPr lang="en-US" sz="900" dirty="0"/>
                </a:p>
              </p:txBody>
            </p:sp>
            <p:sp>
              <p:nvSpPr>
                <p:cNvPr id="14" name="Freeform 2"/>
                <p:cNvSpPr>
                  <a:spLocks noChangeArrowheads="1"/>
                </p:cNvSpPr>
                <p:nvPr/>
              </p:nvSpPr>
              <p:spPr bwMode="auto">
                <a:xfrm>
                  <a:off x="6812276" y="1539127"/>
                  <a:ext cx="1343698" cy="1329913"/>
                </a:xfrm>
                <a:custGeom>
                  <a:avLst/>
                  <a:gdLst>
                    <a:gd name="T0" fmla="*/ 977 w 6447"/>
                    <a:gd name="T1" fmla="*/ 3190 h 6381"/>
                    <a:gd name="T2" fmla="*/ 977 w 6447"/>
                    <a:gd name="T3" fmla="*/ 3190 h 6381"/>
                    <a:gd name="T4" fmla="*/ 3256 w 6447"/>
                    <a:gd name="T5" fmla="*/ 975 h 6381"/>
                    <a:gd name="T6" fmla="*/ 5469 w 6447"/>
                    <a:gd name="T7" fmla="*/ 3190 h 6381"/>
                    <a:gd name="T8" fmla="*/ 4819 w 6447"/>
                    <a:gd name="T9" fmla="*/ 4817 h 6381"/>
                    <a:gd name="T10" fmla="*/ 5469 w 6447"/>
                    <a:gd name="T11" fmla="*/ 4817 h 6381"/>
                    <a:gd name="T12" fmla="*/ 5469 w 6447"/>
                    <a:gd name="T13" fmla="*/ 5469 h 6381"/>
                    <a:gd name="T14" fmla="*/ 3256 w 6447"/>
                    <a:gd name="T15" fmla="*/ 5469 h 6381"/>
                    <a:gd name="T16" fmla="*/ 977 w 6447"/>
                    <a:gd name="T17" fmla="*/ 3190 h 6381"/>
                    <a:gd name="T18" fmla="*/ 5469 w 6447"/>
                    <a:gd name="T19" fmla="*/ 5469 h 6381"/>
                    <a:gd name="T20" fmla="*/ 5469 w 6447"/>
                    <a:gd name="T21" fmla="*/ 5469 h 6381"/>
                    <a:gd name="T22" fmla="*/ 6446 w 6447"/>
                    <a:gd name="T23" fmla="*/ 3190 h 6381"/>
                    <a:gd name="T24" fmla="*/ 3256 w 6447"/>
                    <a:gd name="T25" fmla="*/ 0 h 6381"/>
                    <a:gd name="T26" fmla="*/ 0 w 6447"/>
                    <a:gd name="T27" fmla="*/ 3190 h 6381"/>
                    <a:gd name="T28" fmla="*/ 3256 w 6447"/>
                    <a:gd name="T29" fmla="*/ 6380 h 6381"/>
                    <a:gd name="T30" fmla="*/ 6446 w 6447"/>
                    <a:gd name="T31" fmla="*/ 6380 h 6381"/>
                    <a:gd name="T32" fmla="*/ 6446 w 6447"/>
                    <a:gd name="T33" fmla="*/ 5469 h 6381"/>
                    <a:gd name="T34" fmla="*/ 5469 w 6447"/>
                    <a:gd name="T35" fmla="*/ 5469 h 6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47" h="6381">
                      <a:moveTo>
                        <a:pt x="977" y="3190"/>
                      </a:moveTo>
                      <a:lnTo>
                        <a:pt x="977" y="3190"/>
                      </a:lnTo>
                      <a:cubicBezTo>
                        <a:pt x="977" y="1952"/>
                        <a:pt x="1954" y="975"/>
                        <a:pt x="3256" y="975"/>
                      </a:cubicBezTo>
                      <a:cubicBezTo>
                        <a:pt x="4492" y="975"/>
                        <a:pt x="5469" y="1952"/>
                        <a:pt x="5469" y="3190"/>
                      </a:cubicBezTo>
                      <a:cubicBezTo>
                        <a:pt x="5469" y="3775"/>
                        <a:pt x="5273" y="4361"/>
                        <a:pt x="4819" y="4817"/>
                      </a:cubicBezTo>
                      <a:cubicBezTo>
                        <a:pt x="5469" y="4817"/>
                        <a:pt x="5469" y="4817"/>
                        <a:pt x="5469" y="4817"/>
                      </a:cubicBezTo>
                      <a:cubicBezTo>
                        <a:pt x="5469" y="5469"/>
                        <a:pt x="5469" y="5469"/>
                        <a:pt x="5469" y="5469"/>
                      </a:cubicBezTo>
                      <a:cubicBezTo>
                        <a:pt x="3256" y="5469"/>
                        <a:pt x="3256" y="5469"/>
                        <a:pt x="3256" y="5469"/>
                      </a:cubicBezTo>
                      <a:cubicBezTo>
                        <a:pt x="1954" y="5469"/>
                        <a:pt x="977" y="4492"/>
                        <a:pt x="977" y="3190"/>
                      </a:cubicBezTo>
                      <a:close/>
                      <a:moveTo>
                        <a:pt x="5469" y="5469"/>
                      </a:moveTo>
                      <a:lnTo>
                        <a:pt x="5469" y="5469"/>
                      </a:lnTo>
                      <a:cubicBezTo>
                        <a:pt x="6121" y="4882"/>
                        <a:pt x="6446" y="4036"/>
                        <a:pt x="6446" y="3190"/>
                      </a:cubicBezTo>
                      <a:cubicBezTo>
                        <a:pt x="6446" y="1431"/>
                        <a:pt x="5013" y="0"/>
                        <a:pt x="3256" y="0"/>
                      </a:cubicBezTo>
                      <a:cubicBezTo>
                        <a:pt x="1433" y="0"/>
                        <a:pt x="0" y="1431"/>
                        <a:pt x="0" y="3190"/>
                      </a:cubicBezTo>
                      <a:cubicBezTo>
                        <a:pt x="0" y="5013"/>
                        <a:pt x="1433" y="6380"/>
                        <a:pt x="3256" y="6380"/>
                      </a:cubicBezTo>
                      <a:cubicBezTo>
                        <a:pt x="6446" y="6380"/>
                        <a:pt x="6446" y="6380"/>
                        <a:pt x="6446" y="6380"/>
                      </a:cubicBezTo>
                      <a:cubicBezTo>
                        <a:pt x="6446" y="5469"/>
                        <a:pt x="6446" y="5469"/>
                        <a:pt x="6446" y="5469"/>
                      </a:cubicBezTo>
                      <a:lnTo>
                        <a:pt x="5469" y="5469"/>
                      </a:lnTo>
                      <a:close/>
                    </a:path>
                  </a:pathLst>
                </a:custGeom>
                <a:solidFill>
                  <a:schemeClr val="accent5"/>
                </a:solidFill>
                <a:ln>
                  <a:noFill/>
                </a:ln>
                <a:effectLst/>
              </p:spPr>
              <p:txBody>
                <a:bodyPr wrap="none" anchor="ctr"/>
                <a:lstStyle/>
                <a:p>
                  <a:endParaRPr lang="en-US" sz="900" dirty="0"/>
                </a:p>
              </p:txBody>
            </p:sp>
          </p:grpSp>
          <p:sp>
            <p:nvSpPr>
              <p:cNvPr id="18" name="TextBox 17"/>
              <p:cNvSpPr txBox="1"/>
              <p:nvPr/>
            </p:nvSpPr>
            <p:spPr>
              <a:xfrm>
                <a:off x="18045123" y="4240816"/>
                <a:ext cx="2251414" cy="805111"/>
              </a:xfrm>
              <a:prstGeom prst="rect">
                <a:avLst/>
              </a:prstGeom>
              <a:noFill/>
            </p:spPr>
            <p:txBody>
              <a:bodyPr wrap="square" lIns="243785" tIns="121892" rIns="243785" bIns="121892" rtlCol="0">
                <a:spAutoFit/>
              </a:bodyPr>
              <a:lstStyle/>
              <a:p>
                <a:pPr algn="ctr"/>
                <a:r>
                  <a:rPr lang="en-US" sz="3200" b="1" dirty="0">
                    <a:solidFill>
                      <a:schemeClr val="bg2"/>
                    </a:solidFill>
                    <a:latin typeface="Helvetica Neue"/>
                    <a:cs typeface="Helvetica Neue"/>
                  </a:rPr>
                  <a:t>50%</a:t>
                </a:r>
              </a:p>
            </p:txBody>
          </p:sp>
        </p:grpSp>
        <p:sp>
          <p:nvSpPr>
            <p:cNvPr id="20" name="TextBox 19"/>
            <p:cNvSpPr txBox="1"/>
            <p:nvPr/>
          </p:nvSpPr>
          <p:spPr>
            <a:xfrm>
              <a:off x="1416191" y="4058079"/>
              <a:ext cx="1741851" cy="1015634"/>
            </a:xfrm>
            <a:prstGeom prst="rect">
              <a:avLst/>
            </a:prstGeom>
            <a:noFill/>
          </p:spPr>
          <p:txBody>
            <a:bodyPr wrap="square" lIns="0" tIns="121892" rIns="0" bIns="0" rtlCol="0">
              <a:spAutoFit/>
            </a:bodyPr>
            <a:lstStyle/>
            <a:p>
              <a:r>
                <a:rPr lang="en-US" sz="1400" dirty="0">
                  <a:solidFill>
                    <a:srgbClr val="58595B"/>
                  </a:solidFill>
                  <a:latin typeface="+mj-lt"/>
                  <a:cs typeface="Lato Regular"/>
                </a:rPr>
                <a:t>Communication</a:t>
              </a:r>
            </a:p>
            <a:p>
              <a:r>
                <a:rPr lang="en-US" sz="1100" dirty="0">
                  <a:solidFill>
                    <a:srgbClr val="58595B"/>
                  </a:solidFill>
                  <a:latin typeface="+mj-lt"/>
                  <a:cs typeface="Lato Light"/>
                </a:rPr>
                <a:t>Lorem ipsum dolor sit amet,consectetur adipisicing elit, sed do eiusmod tempor</a:t>
              </a:r>
            </a:p>
          </p:txBody>
        </p:sp>
        <p:sp>
          <p:nvSpPr>
            <p:cNvPr id="22" name="TextBox 21"/>
            <p:cNvSpPr txBox="1"/>
            <p:nvPr/>
          </p:nvSpPr>
          <p:spPr>
            <a:xfrm>
              <a:off x="4641591" y="4058079"/>
              <a:ext cx="1741851" cy="1015634"/>
            </a:xfrm>
            <a:prstGeom prst="rect">
              <a:avLst/>
            </a:prstGeom>
            <a:noFill/>
          </p:spPr>
          <p:txBody>
            <a:bodyPr wrap="square" lIns="0" tIns="121892" rIns="0" bIns="0" rtlCol="0">
              <a:spAutoFit/>
            </a:bodyPr>
            <a:lstStyle/>
            <a:p>
              <a:r>
                <a:rPr lang="en-US" sz="1400" dirty="0">
                  <a:solidFill>
                    <a:srgbClr val="58595B"/>
                  </a:solidFill>
                  <a:latin typeface="+mj-lt"/>
                  <a:cs typeface="Lato Regular"/>
                </a:rPr>
                <a:t>Research</a:t>
              </a:r>
            </a:p>
            <a:p>
              <a:r>
                <a:rPr lang="en-US" sz="1100" dirty="0">
                  <a:solidFill>
                    <a:srgbClr val="58595B"/>
                  </a:solidFill>
                  <a:latin typeface="+mj-lt"/>
                  <a:cs typeface="Lato Light"/>
                </a:rPr>
                <a:t>Lorem ipsum dolor sit amet,consectetur adipisicing elit, sed do eiusmod tempor</a:t>
              </a:r>
            </a:p>
          </p:txBody>
        </p:sp>
        <p:sp>
          <p:nvSpPr>
            <p:cNvPr id="23" name="TextBox 22"/>
            <p:cNvSpPr txBox="1"/>
            <p:nvPr/>
          </p:nvSpPr>
          <p:spPr>
            <a:xfrm>
              <a:off x="7866991" y="4058079"/>
              <a:ext cx="1741851" cy="1015634"/>
            </a:xfrm>
            <a:prstGeom prst="rect">
              <a:avLst/>
            </a:prstGeom>
            <a:noFill/>
          </p:spPr>
          <p:txBody>
            <a:bodyPr wrap="square" lIns="0" tIns="121892" rIns="0" bIns="0" rtlCol="0">
              <a:spAutoFit/>
            </a:bodyPr>
            <a:lstStyle/>
            <a:p>
              <a:r>
                <a:rPr lang="en-US" sz="1400" dirty="0">
                  <a:solidFill>
                    <a:srgbClr val="58595B"/>
                  </a:solidFill>
                  <a:latin typeface="+mj-lt"/>
                  <a:cs typeface="Lato Regular"/>
                </a:rPr>
                <a:t>Picture</a:t>
              </a:r>
            </a:p>
            <a:p>
              <a:r>
                <a:rPr lang="en-US" sz="1100" dirty="0">
                  <a:solidFill>
                    <a:srgbClr val="58595B"/>
                  </a:solidFill>
                  <a:latin typeface="+mj-lt"/>
                  <a:cs typeface="Lato Light"/>
                </a:rPr>
                <a:t>Lorem ipsum dolor sit amet,consectetur adipisicing elit, sed do eiusmod tempor</a:t>
              </a:r>
            </a:p>
          </p:txBody>
        </p:sp>
        <p:sp>
          <p:nvSpPr>
            <p:cNvPr id="25" name="TextBox 24"/>
            <p:cNvSpPr txBox="1"/>
            <p:nvPr/>
          </p:nvSpPr>
          <p:spPr>
            <a:xfrm>
              <a:off x="11092392" y="4058079"/>
              <a:ext cx="1741851" cy="1015634"/>
            </a:xfrm>
            <a:prstGeom prst="rect">
              <a:avLst/>
            </a:prstGeom>
            <a:noFill/>
          </p:spPr>
          <p:txBody>
            <a:bodyPr wrap="square" lIns="0" tIns="121892" rIns="0" bIns="0" rtlCol="0">
              <a:spAutoFit/>
            </a:bodyPr>
            <a:lstStyle/>
            <a:p>
              <a:r>
                <a:rPr lang="en-US" sz="1400" dirty="0">
                  <a:solidFill>
                    <a:srgbClr val="58595B"/>
                  </a:solidFill>
                  <a:latin typeface="+mj-lt"/>
                  <a:cs typeface="Lato Regular"/>
                </a:rPr>
                <a:t>Quality</a:t>
              </a:r>
            </a:p>
            <a:p>
              <a:r>
                <a:rPr lang="en-US" sz="1100" dirty="0">
                  <a:solidFill>
                    <a:srgbClr val="58595B"/>
                  </a:solidFill>
                  <a:latin typeface="+mj-lt"/>
                  <a:cs typeface="Lato Light"/>
                </a:rPr>
                <a:t>Lorem ipsum dolor sit amet,consectetur adipisicing elit, sed do eiusmod tempor</a:t>
              </a:r>
            </a:p>
          </p:txBody>
        </p:sp>
        <p:grpSp>
          <p:nvGrpSpPr>
            <p:cNvPr id="45" name="Group 44"/>
            <p:cNvGrpSpPr/>
            <p:nvPr>
              <p:custDataLst>
                <p:tags r:id="rId6"/>
              </p:custDataLst>
            </p:nvPr>
          </p:nvGrpSpPr>
          <p:grpSpPr>
            <a:xfrm>
              <a:off x="6733806" y="4052493"/>
              <a:ext cx="902936" cy="903170"/>
              <a:chOff x="8924415" y="4456290"/>
              <a:chExt cx="1312454" cy="1312794"/>
            </a:xfrm>
          </p:grpSpPr>
          <p:sp>
            <p:nvSpPr>
              <p:cNvPr id="26" name="Oval 25"/>
              <p:cNvSpPr/>
              <p:nvPr/>
            </p:nvSpPr>
            <p:spPr>
              <a:xfrm>
                <a:off x="8924415" y="4456290"/>
                <a:ext cx="1312454" cy="131279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82843" tIns="91422" rIns="182843" bIns="91422" rtlCol="0" anchor="ctr"/>
              <a:lstStyle/>
              <a:p>
                <a:pPr algn="ctr"/>
                <a:r>
                  <a:rPr lang="en-US" sz="1000" dirty="0" smtClean="0">
                    <a:solidFill>
                      <a:srgbClr val="58595B"/>
                    </a:solidFill>
                    <a:latin typeface="+mj-lt"/>
                  </a:rPr>
                  <a:t> </a:t>
                </a:r>
                <a:endParaRPr lang="en-US" sz="1000" dirty="0">
                  <a:solidFill>
                    <a:srgbClr val="58595B"/>
                  </a:solidFill>
                  <a:latin typeface="+mj-lt"/>
                </a:endParaRPr>
              </a:p>
            </p:txBody>
          </p:sp>
          <p:grpSp>
            <p:nvGrpSpPr>
              <p:cNvPr id="27" name="Group 26"/>
              <p:cNvGrpSpPr/>
              <p:nvPr>
                <p:custDataLst>
                  <p:tags r:id="rId12"/>
                </p:custDataLst>
              </p:nvPr>
            </p:nvGrpSpPr>
            <p:grpSpPr>
              <a:xfrm>
                <a:off x="9244008" y="4726284"/>
                <a:ext cx="699824" cy="748658"/>
                <a:chOff x="494476" y="2241785"/>
                <a:chExt cx="239742" cy="256405"/>
              </a:xfrm>
              <a:solidFill>
                <a:schemeClr val="bg1"/>
              </a:solidFill>
            </p:grpSpPr>
            <p:sp>
              <p:nvSpPr>
                <p:cNvPr id="28" name="Freeform 67"/>
                <p:cNvSpPr>
                  <a:spLocks noEditPoints="1"/>
                </p:cNvSpPr>
                <p:nvPr/>
              </p:nvSpPr>
              <p:spPr bwMode="auto">
                <a:xfrm>
                  <a:off x="494476" y="2241785"/>
                  <a:ext cx="239742" cy="256405"/>
                </a:xfrm>
                <a:custGeom>
                  <a:avLst/>
                  <a:gdLst>
                    <a:gd name="T0" fmla="*/ 190 w 219"/>
                    <a:gd name="T1" fmla="*/ 0 h 234"/>
                    <a:gd name="T2" fmla="*/ 30 w 219"/>
                    <a:gd name="T3" fmla="*/ 0 h 234"/>
                    <a:gd name="T4" fmla="*/ 0 w 219"/>
                    <a:gd name="T5" fmla="*/ 29 h 234"/>
                    <a:gd name="T6" fmla="*/ 0 w 219"/>
                    <a:gd name="T7" fmla="*/ 205 h 234"/>
                    <a:gd name="T8" fmla="*/ 30 w 219"/>
                    <a:gd name="T9" fmla="*/ 234 h 234"/>
                    <a:gd name="T10" fmla="*/ 190 w 219"/>
                    <a:gd name="T11" fmla="*/ 234 h 234"/>
                    <a:gd name="T12" fmla="*/ 219 w 219"/>
                    <a:gd name="T13" fmla="*/ 205 h 234"/>
                    <a:gd name="T14" fmla="*/ 219 w 219"/>
                    <a:gd name="T15" fmla="*/ 29 h 234"/>
                    <a:gd name="T16" fmla="*/ 190 w 219"/>
                    <a:gd name="T17" fmla="*/ 0 h 234"/>
                    <a:gd name="T18" fmla="*/ 205 w 219"/>
                    <a:gd name="T19" fmla="*/ 205 h 234"/>
                    <a:gd name="T20" fmla="*/ 190 w 219"/>
                    <a:gd name="T21" fmla="*/ 219 h 234"/>
                    <a:gd name="T22" fmla="*/ 30 w 219"/>
                    <a:gd name="T23" fmla="*/ 219 h 234"/>
                    <a:gd name="T24" fmla="*/ 15 w 219"/>
                    <a:gd name="T25" fmla="*/ 205 h 234"/>
                    <a:gd name="T26" fmla="*/ 15 w 219"/>
                    <a:gd name="T27" fmla="*/ 29 h 234"/>
                    <a:gd name="T28" fmla="*/ 30 w 219"/>
                    <a:gd name="T29" fmla="*/ 15 h 234"/>
                    <a:gd name="T30" fmla="*/ 190 w 219"/>
                    <a:gd name="T31" fmla="*/ 15 h 234"/>
                    <a:gd name="T32" fmla="*/ 205 w 219"/>
                    <a:gd name="T33" fmla="*/ 29 h 234"/>
                    <a:gd name="T34" fmla="*/ 205 w 219"/>
                    <a:gd name="T35" fmla="*/ 20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9" h="234">
                      <a:moveTo>
                        <a:pt x="190" y="0"/>
                      </a:moveTo>
                      <a:cubicBezTo>
                        <a:pt x="30" y="0"/>
                        <a:pt x="30" y="0"/>
                        <a:pt x="30" y="0"/>
                      </a:cubicBezTo>
                      <a:cubicBezTo>
                        <a:pt x="13" y="0"/>
                        <a:pt x="0" y="13"/>
                        <a:pt x="0" y="29"/>
                      </a:cubicBezTo>
                      <a:cubicBezTo>
                        <a:pt x="0" y="205"/>
                        <a:pt x="0" y="205"/>
                        <a:pt x="0" y="205"/>
                      </a:cubicBezTo>
                      <a:cubicBezTo>
                        <a:pt x="0" y="221"/>
                        <a:pt x="13" y="234"/>
                        <a:pt x="30" y="234"/>
                      </a:cubicBezTo>
                      <a:cubicBezTo>
                        <a:pt x="190" y="234"/>
                        <a:pt x="190" y="234"/>
                        <a:pt x="190" y="234"/>
                      </a:cubicBezTo>
                      <a:cubicBezTo>
                        <a:pt x="206" y="234"/>
                        <a:pt x="219" y="221"/>
                        <a:pt x="219" y="205"/>
                      </a:cubicBezTo>
                      <a:cubicBezTo>
                        <a:pt x="219" y="29"/>
                        <a:pt x="219" y="29"/>
                        <a:pt x="219" y="29"/>
                      </a:cubicBezTo>
                      <a:cubicBezTo>
                        <a:pt x="219" y="13"/>
                        <a:pt x="206" y="0"/>
                        <a:pt x="190" y="0"/>
                      </a:cubicBezTo>
                      <a:close/>
                      <a:moveTo>
                        <a:pt x="205" y="205"/>
                      </a:moveTo>
                      <a:cubicBezTo>
                        <a:pt x="205" y="213"/>
                        <a:pt x="198" y="219"/>
                        <a:pt x="190" y="219"/>
                      </a:cubicBezTo>
                      <a:cubicBezTo>
                        <a:pt x="30" y="219"/>
                        <a:pt x="30" y="219"/>
                        <a:pt x="30" y="219"/>
                      </a:cubicBezTo>
                      <a:cubicBezTo>
                        <a:pt x="21" y="219"/>
                        <a:pt x="15" y="213"/>
                        <a:pt x="15" y="205"/>
                      </a:cubicBezTo>
                      <a:cubicBezTo>
                        <a:pt x="15" y="29"/>
                        <a:pt x="15" y="29"/>
                        <a:pt x="15" y="29"/>
                      </a:cubicBezTo>
                      <a:cubicBezTo>
                        <a:pt x="15" y="21"/>
                        <a:pt x="21" y="15"/>
                        <a:pt x="30" y="15"/>
                      </a:cubicBezTo>
                      <a:cubicBezTo>
                        <a:pt x="190" y="15"/>
                        <a:pt x="190" y="15"/>
                        <a:pt x="190" y="15"/>
                      </a:cubicBezTo>
                      <a:cubicBezTo>
                        <a:pt x="198" y="15"/>
                        <a:pt x="205" y="21"/>
                        <a:pt x="205" y="29"/>
                      </a:cubicBezTo>
                      <a:lnTo>
                        <a:pt x="205" y="2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00">
                    <a:solidFill>
                      <a:srgbClr val="58595B"/>
                    </a:solidFill>
                    <a:latin typeface="+mj-lt"/>
                  </a:endParaRPr>
                </a:p>
              </p:txBody>
            </p:sp>
            <p:sp>
              <p:nvSpPr>
                <p:cNvPr id="29" name="Freeform 68"/>
                <p:cNvSpPr>
                  <a:spLocks noEditPoints="1"/>
                </p:cNvSpPr>
                <p:nvPr/>
              </p:nvSpPr>
              <p:spPr bwMode="auto">
                <a:xfrm>
                  <a:off x="527337" y="2273716"/>
                  <a:ext cx="175411" cy="160601"/>
                </a:xfrm>
                <a:custGeom>
                  <a:avLst/>
                  <a:gdLst>
                    <a:gd name="T0" fmla="*/ 153 w 160"/>
                    <a:gd name="T1" fmla="*/ 0 h 147"/>
                    <a:gd name="T2" fmla="*/ 7 w 160"/>
                    <a:gd name="T3" fmla="*/ 0 h 147"/>
                    <a:gd name="T4" fmla="*/ 0 w 160"/>
                    <a:gd name="T5" fmla="*/ 8 h 147"/>
                    <a:gd name="T6" fmla="*/ 0 w 160"/>
                    <a:gd name="T7" fmla="*/ 139 h 147"/>
                    <a:gd name="T8" fmla="*/ 7 w 160"/>
                    <a:gd name="T9" fmla="*/ 147 h 147"/>
                    <a:gd name="T10" fmla="*/ 153 w 160"/>
                    <a:gd name="T11" fmla="*/ 147 h 147"/>
                    <a:gd name="T12" fmla="*/ 160 w 160"/>
                    <a:gd name="T13" fmla="*/ 139 h 147"/>
                    <a:gd name="T14" fmla="*/ 160 w 160"/>
                    <a:gd name="T15" fmla="*/ 8 h 147"/>
                    <a:gd name="T16" fmla="*/ 153 w 160"/>
                    <a:gd name="T17" fmla="*/ 0 h 147"/>
                    <a:gd name="T18" fmla="*/ 153 w 160"/>
                    <a:gd name="T19" fmla="*/ 8 h 147"/>
                    <a:gd name="T20" fmla="*/ 153 w 160"/>
                    <a:gd name="T21" fmla="*/ 109 h 147"/>
                    <a:gd name="T22" fmla="*/ 129 w 160"/>
                    <a:gd name="T23" fmla="*/ 83 h 147"/>
                    <a:gd name="T24" fmla="*/ 124 w 160"/>
                    <a:gd name="T25" fmla="*/ 81 h 147"/>
                    <a:gd name="T26" fmla="*/ 118 w 160"/>
                    <a:gd name="T27" fmla="*/ 83 h 147"/>
                    <a:gd name="T28" fmla="*/ 99 w 160"/>
                    <a:gd name="T29" fmla="*/ 105 h 147"/>
                    <a:gd name="T30" fmla="*/ 42 w 160"/>
                    <a:gd name="T31" fmla="*/ 39 h 147"/>
                    <a:gd name="T32" fmla="*/ 36 w 160"/>
                    <a:gd name="T33" fmla="*/ 37 h 147"/>
                    <a:gd name="T34" fmla="*/ 31 w 160"/>
                    <a:gd name="T35" fmla="*/ 39 h 147"/>
                    <a:gd name="T36" fmla="*/ 7 w 160"/>
                    <a:gd name="T37" fmla="*/ 67 h 147"/>
                    <a:gd name="T38" fmla="*/ 7 w 160"/>
                    <a:gd name="T39" fmla="*/ 8 h 147"/>
                    <a:gd name="T40" fmla="*/ 153 w 160"/>
                    <a:gd name="T41" fmla="*/ 8 h 147"/>
                    <a:gd name="T42" fmla="*/ 7 w 160"/>
                    <a:gd name="T43" fmla="*/ 78 h 147"/>
                    <a:gd name="T44" fmla="*/ 36 w 160"/>
                    <a:gd name="T45" fmla="*/ 44 h 147"/>
                    <a:gd name="T46" fmla="*/ 95 w 160"/>
                    <a:gd name="T47" fmla="*/ 111 h 147"/>
                    <a:gd name="T48" fmla="*/ 99 w 160"/>
                    <a:gd name="T49" fmla="*/ 116 h 147"/>
                    <a:gd name="T50" fmla="*/ 119 w 160"/>
                    <a:gd name="T51" fmla="*/ 139 h 147"/>
                    <a:gd name="T52" fmla="*/ 7 w 160"/>
                    <a:gd name="T53" fmla="*/ 139 h 147"/>
                    <a:gd name="T54" fmla="*/ 7 w 160"/>
                    <a:gd name="T55" fmla="*/ 78 h 147"/>
                    <a:gd name="T56" fmla="*/ 129 w 160"/>
                    <a:gd name="T57" fmla="*/ 139 h 147"/>
                    <a:gd name="T58" fmla="*/ 104 w 160"/>
                    <a:gd name="T59" fmla="*/ 110 h 147"/>
                    <a:gd name="T60" fmla="*/ 124 w 160"/>
                    <a:gd name="T61" fmla="*/ 88 h 147"/>
                    <a:gd name="T62" fmla="*/ 153 w 160"/>
                    <a:gd name="T63" fmla="*/ 120 h 147"/>
                    <a:gd name="T64" fmla="*/ 153 w 160"/>
                    <a:gd name="T65" fmla="*/ 139 h 147"/>
                    <a:gd name="T66" fmla="*/ 129 w 160"/>
                    <a:gd name="T67" fmla="*/ 13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 h="147">
                      <a:moveTo>
                        <a:pt x="153" y="0"/>
                      </a:moveTo>
                      <a:cubicBezTo>
                        <a:pt x="7" y="0"/>
                        <a:pt x="7" y="0"/>
                        <a:pt x="7" y="0"/>
                      </a:cubicBezTo>
                      <a:cubicBezTo>
                        <a:pt x="3" y="0"/>
                        <a:pt x="0" y="4"/>
                        <a:pt x="0" y="8"/>
                      </a:cubicBezTo>
                      <a:cubicBezTo>
                        <a:pt x="0" y="139"/>
                        <a:pt x="0" y="139"/>
                        <a:pt x="0" y="139"/>
                      </a:cubicBezTo>
                      <a:cubicBezTo>
                        <a:pt x="0" y="143"/>
                        <a:pt x="3" y="147"/>
                        <a:pt x="7" y="147"/>
                      </a:cubicBezTo>
                      <a:cubicBezTo>
                        <a:pt x="153" y="147"/>
                        <a:pt x="153" y="147"/>
                        <a:pt x="153" y="147"/>
                      </a:cubicBezTo>
                      <a:cubicBezTo>
                        <a:pt x="157" y="147"/>
                        <a:pt x="160" y="143"/>
                        <a:pt x="160" y="139"/>
                      </a:cubicBezTo>
                      <a:cubicBezTo>
                        <a:pt x="160" y="8"/>
                        <a:pt x="160" y="8"/>
                        <a:pt x="160" y="8"/>
                      </a:cubicBezTo>
                      <a:cubicBezTo>
                        <a:pt x="160" y="4"/>
                        <a:pt x="157" y="0"/>
                        <a:pt x="153" y="0"/>
                      </a:cubicBezTo>
                      <a:close/>
                      <a:moveTo>
                        <a:pt x="153" y="8"/>
                      </a:moveTo>
                      <a:cubicBezTo>
                        <a:pt x="153" y="109"/>
                        <a:pt x="153" y="109"/>
                        <a:pt x="153" y="109"/>
                      </a:cubicBezTo>
                      <a:cubicBezTo>
                        <a:pt x="129" y="83"/>
                        <a:pt x="129" y="83"/>
                        <a:pt x="129" y="83"/>
                      </a:cubicBezTo>
                      <a:cubicBezTo>
                        <a:pt x="128" y="82"/>
                        <a:pt x="126" y="81"/>
                        <a:pt x="124" y="81"/>
                      </a:cubicBezTo>
                      <a:cubicBezTo>
                        <a:pt x="122" y="81"/>
                        <a:pt x="120" y="82"/>
                        <a:pt x="118" y="83"/>
                      </a:cubicBezTo>
                      <a:cubicBezTo>
                        <a:pt x="99" y="105"/>
                        <a:pt x="99" y="105"/>
                        <a:pt x="99" y="105"/>
                      </a:cubicBezTo>
                      <a:cubicBezTo>
                        <a:pt x="42" y="39"/>
                        <a:pt x="42" y="39"/>
                        <a:pt x="42" y="39"/>
                      </a:cubicBezTo>
                      <a:cubicBezTo>
                        <a:pt x="40" y="38"/>
                        <a:pt x="38" y="37"/>
                        <a:pt x="36" y="37"/>
                      </a:cubicBezTo>
                      <a:cubicBezTo>
                        <a:pt x="34" y="37"/>
                        <a:pt x="32" y="38"/>
                        <a:pt x="31" y="39"/>
                      </a:cubicBezTo>
                      <a:cubicBezTo>
                        <a:pt x="7" y="67"/>
                        <a:pt x="7" y="67"/>
                        <a:pt x="7" y="67"/>
                      </a:cubicBezTo>
                      <a:cubicBezTo>
                        <a:pt x="7" y="8"/>
                        <a:pt x="7" y="8"/>
                        <a:pt x="7" y="8"/>
                      </a:cubicBezTo>
                      <a:lnTo>
                        <a:pt x="153" y="8"/>
                      </a:lnTo>
                      <a:close/>
                      <a:moveTo>
                        <a:pt x="7" y="78"/>
                      </a:moveTo>
                      <a:cubicBezTo>
                        <a:pt x="36" y="44"/>
                        <a:pt x="36" y="44"/>
                        <a:pt x="36" y="44"/>
                      </a:cubicBezTo>
                      <a:cubicBezTo>
                        <a:pt x="95" y="111"/>
                        <a:pt x="95" y="111"/>
                        <a:pt x="95" y="111"/>
                      </a:cubicBezTo>
                      <a:cubicBezTo>
                        <a:pt x="99" y="116"/>
                        <a:pt x="99" y="116"/>
                        <a:pt x="99" y="116"/>
                      </a:cubicBezTo>
                      <a:cubicBezTo>
                        <a:pt x="119" y="139"/>
                        <a:pt x="119" y="139"/>
                        <a:pt x="119" y="139"/>
                      </a:cubicBezTo>
                      <a:cubicBezTo>
                        <a:pt x="7" y="139"/>
                        <a:pt x="7" y="139"/>
                        <a:pt x="7" y="139"/>
                      </a:cubicBezTo>
                      <a:lnTo>
                        <a:pt x="7" y="78"/>
                      </a:lnTo>
                      <a:close/>
                      <a:moveTo>
                        <a:pt x="129" y="139"/>
                      </a:moveTo>
                      <a:cubicBezTo>
                        <a:pt x="104" y="110"/>
                        <a:pt x="104" y="110"/>
                        <a:pt x="104" y="110"/>
                      </a:cubicBezTo>
                      <a:cubicBezTo>
                        <a:pt x="124" y="88"/>
                        <a:pt x="124" y="88"/>
                        <a:pt x="124" y="88"/>
                      </a:cubicBezTo>
                      <a:cubicBezTo>
                        <a:pt x="153" y="120"/>
                        <a:pt x="153" y="120"/>
                        <a:pt x="153" y="120"/>
                      </a:cubicBezTo>
                      <a:cubicBezTo>
                        <a:pt x="153" y="139"/>
                        <a:pt x="153" y="139"/>
                        <a:pt x="153" y="139"/>
                      </a:cubicBezTo>
                      <a:lnTo>
                        <a:pt x="129" y="13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00">
                    <a:solidFill>
                      <a:srgbClr val="58595B"/>
                    </a:solidFill>
                    <a:latin typeface="+mj-lt"/>
                  </a:endParaRPr>
                </a:p>
              </p:txBody>
            </p:sp>
            <p:sp>
              <p:nvSpPr>
                <p:cNvPr id="30" name="Freeform 69"/>
                <p:cNvSpPr>
                  <a:spLocks noEditPoints="1"/>
                </p:cNvSpPr>
                <p:nvPr/>
              </p:nvSpPr>
              <p:spPr bwMode="auto">
                <a:xfrm>
                  <a:off x="622677" y="2297776"/>
                  <a:ext cx="48134" cy="48134"/>
                </a:xfrm>
                <a:custGeom>
                  <a:avLst/>
                  <a:gdLst>
                    <a:gd name="T0" fmla="*/ 22 w 44"/>
                    <a:gd name="T1" fmla="*/ 44 h 44"/>
                    <a:gd name="T2" fmla="*/ 44 w 44"/>
                    <a:gd name="T3" fmla="*/ 22 h 44"/>
                    <a:gd name="T4" fmla="*/ 22 w 44"/>
                    <a:gd name="T5" fmla="*/ 0 h 44"/>
                    <a:gd name="T6" fmla="*/ 0 w 44"/>
                    <a:gd name="T7" fmla="*/ 22 h 44"/>
                    <a:gd name="T8" fmla="*/ 22 w 44"/>
                    <a:gd name="T9" fmla="*/ 44 h 44"/>
                    <a:gd name="T10" fmla="*/ 22 w 44"/>
                    <a:gd name="T11" fmla="*/ 8 h 44"/>
                    <a:gd name="T12" fmla="*/ 37 w 44"/>
                    <a:gd name="T13" fmla="*/ 22 h 44"/>
                    <a:gd name="T14" fmla="*/ 22 w 44"/>
                    <a:gd name="T15" fmla="*/ 37 h 44"/>
                    <a:gd name="T16" fmla="*/ 7 w 44"/>
                    <a:gd name="T17" fmla="*/ 22 h 44"/>
                    <a:gd name="T18" fmla="*/ 22 w 44"/>
                    <a:gd name="T19"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44"/>
                      </a:moveTo>
                      <a:cubicBezTo>
                        <a:pt x="34" y="44"/>
                        <a:pt x="44" y="34"/>
                        <a:pt x="44" y="22"/>
                      </a:cubicBezTo>
                      <a:cubicBezTo>
                        <a:pt x="44" y="10"/>
                        <a:pt x="34" y="0"/>
                        <a:pt x="22" y="0"/>
                      </a:cubicBezTo>
                      <a:cubicBezTo>
                        <a:pt x="10" y="0"/>
                        <a:pt x="0" y="10"/>
                        <a:pt x="0" y="22"/>
                      </a:cubicBezTo>
                      <a:cubicBezTo>
                        <a:pt x="0" y="34"/>
                        <a:pt x="10" y="44"/>
                        <a:pt x="22" y="44"/>
                      </a:cubicBezTo>
                      <a:close/>
                      <a:moveTo>
                        <a:pt x="22" y="8"/>
                      </a:moveTo>
                      <a:cubicBezTo>
                        <a:pt x="30" y="8"/>
                        <a:pt x="37" y="14"/>
                        <a:pt x="37" y="22"/>
                      </a:cubicBezTo>
                      <a:cubicBezTo>
                        <a:pt x="37" y="30"/>
                        <a:pt x="30" y="37"/>
                        <a:pt x="22" y="37"/>
                      </a:cubicBezTo>
                      <a:cubicBezTo>
                        <a:pt x="14" y="37"/>
                        <a:pt x="7" y="30"/>
                        <a:pt x="7" y="22"/>
                      </a:cubicBezTo>
                      <a:cubicBezTo>
                        <a:pt x="7" y="14"/>
                        <a:pt x="14" y="8"/>
                        <a:pt x="22"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00">
                    <a:solidFill>
                      <a:srgbClr val="58595B"/>
                    </a:solidFill>
                    <a:latin typeface="+mj-lt"/>
                  </a:endParaRPr>
                </a:p>
              </p:txBody>
            </p:sp>
          </p:grpSp>
        </p:grpSp>
        <p:grpSp>
          <p:nvGrpSpPr>
            <p:cNvPr id="46" name="Group 45"/>
            <p:cNvGrpSpPr/>
            <p:nvPr>
              <p:custDataLst>
                <p:tags r:id="rId7"/>
              </p:custDataLst>
            </p:nvPr>
          </p:nvGrpSpPr>
          <p:grpSpPr>
            <a:xfrm>
              <a:off x="9912138" y="4052493"/>
              <a:ext cx="902935" cy="903170"/>
              <a:chOff x="14031309" y="4456290"/>
              <a:chExt cx="1312452" cy="1312794"/>
            </a:xfrm>
          </p:grpSpPr>
          <p:sp>
            <p:nvSpPr>
              <p:cNvPr id="24" name="Oval 23"/>
              <p:cNvSpPr/>
              <p:nvPr/>
            </p:nvSpPr>
            <p:spPr>
              <a:xfrm>
                <a:off x="14031309" y="4456290"/>
                <a:ext cx="1312452" cy="131279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sz="1000" dirty="0">
                  <a:solidFill>
                    <a:srgbClr val="58595B"/>
                  </a:solidFill>
                  <a:latin typeface="+mj-lt"/>
                </a:endParaRPr>
              </a:p>
            </p:txBody>
          </p:sp>
          <p:sp>
            <p:nvSpPr>
              <p:cNvPr id="31" name="Freeform 73"/>
              <p:cNvSpPr>
                <a:spLocks noEditPoints="1"/>
              </p:cNvSpPr>
              <p:nvPr/>
            </p:nvSpPr>
            <p:spPr bwMode="auto">
              <a:xfrm>
                <a:off x="14358330" y="4726284"/>
                <a:ext cx="656595" cy="748658"/>
              </a:xfrm>
              <a:custGeom>
                <a:avLst/>
                <a:gdLst>
                  <a:gd name="T0" fmla="*/ 191 w 205"/>
                  <a:gd name="T1" fmla="*/ 37 h 234"/>
                  <a:gd name="T2" fmla="*/ 182 w 205"/>
                  <a:gd name="T3" fmla="*/ 10 h 234"/>
                  <a:gd name="T4" fmla="*/ 168 w 205"/>
                  <a:gd name="T5" fmla="*/ 0 h 234"/>
                  <a:gd name="T6" fmla="*/ 37 w 205"/>
                  <a:gd name="T7" fmla="*/ 0 h 234"/>
                  <a:gd name="T8" fmla="*/ 23 w 205"/>
                  <a:gd name="T9" fmla="*/ 10 h 234"/>
                  <a:gd name="T10" fmla="*/ 14 w 205"/>
                  <a:gd name="T11" fmla="*/ 37 h 234"/>
                  <a:gd name="T12" fmla="*/ 0 w 205"/>
                  <a:gd name="T13" fmla="*/ 51 h 234"/>
                  <a:gd name="T14" fmla="*/ 0 w 205"/>
                  <a:gd name="T15" fmla="*/ 73 h 234"/>
                  <a:gd name="T16" fmla="*/ 15 w 205"/>
                  <a:gd name="T17" fmla="*/ 88 h 234"/>
                  <a:gd name="T18" fmla="*/ 22 w 205"/>
                  <a:gd name="T19" fmla="*/ 88 h 234"/>
                  <a:gd name="T20" fmla="*/ 22 w 205"/>
                  <a:gd name="T21" fmla="*/ 89 h 234"/>
                  <a:gd name="T22" fmla="*/ 37 w 205"/>
                  <a:gd name="T23" fmla="*/ 221 h 234"/>
                  <a:gd name="T24" fmla="*/ 51 w 205"/>
                  <a:gd name="T25" fmla="*/ 234 h 234"/>
                  <a:gd name="T26" fmla="*/ 153 w 205"/>
                  <a:gd name="T27" fmla="*/ 234 h 234"/>
                  <a:gd name="T28" fmla="*/ 168 w 205"/>
                  <a:gd name="T29" fmla="*/ 221 h 234"/>
                  <a:gd name="T30" fmla="*/ 183 w 205"/>
                  <a:gd name="T31" fmla="*/ 89 h 234"/>
                  <a:gd name="T32" fmla="*/ 182 w 205"/>
                  <a:gd name="T33" fmla="*/ 88 h 234"/>
                  <a:gd name="T34" fmla="*/ 190 w 205"/>
                  <a:gd name="T35" fmla="*/ 88 h 234"/>
                  <a:gd name="T36" fmla="*/ 205 w 205"/>
                  <a:gd name="T37" fmla="*/ 73 h 234"/>
                  <a:gd name="T38" fmla="*/ 205 w 205"/>
                  <a:gd name="T39" fmla="*/ 51 h 234"/>
                  <a:gd name="T40" fmla="*/ 191 w 205"/>
                  <a:gd name="T41" fmla="*/ 37 h 234"/>
                  <a:gd name="T42" fmla="*/ 37 w 205"/>
                  <a:gd name="T43" fmla="*/ 14 h 234"/>
                  <a:gd name="T44" fmla="*/ 168 w 205"/>
                  <a:gd name="T45" fmla="*/ 14 h 234"/>
                  <a:gd name="T46" fmla="*/ 175 w 205"/>
                  <a:gd name="T47" fmla="*/ 36 h 234"/>
                  <a:gd name="T48" fmla="*/ 29 w 205"/>
                  <a:gd name="T49" fmla="*/ 36 h 234"/>
                  <a:gd name="T50" fmla="*/ 37 w 205"/>
                  <a:gd name="T51" fmla="*/ 14 h 234"/>
                  <a:gd name="T52" fmla="*/ 51 w 205"/>
                  <a:gd name="T53" fmla="*/ 219 h 234"/>
                  <a:gd name="T54" fmla="*/ 49 w 205"/>
                  <a:gd name="T55" fmla="*/ 197 h 234"/>
                  <a:gd name="T56" fmla="*/ 156 w 205"/>
                  <a:gd name="T57" fmla="*/ 197 h 234"/>
                  <a:gd name="T58" fmla="*/ 153 w 205"/>
                  <a:gd name="T59" fmla="*/ 219 h 234"/>
                  <a:gd name="T60" fmla="*/ 51 w 205"/>
                  <a:gd name="T61" fmla="*/ 219 h 234"/>
                  <a:gd name="T62" fmla="*/ 157 w 205"/>
                  <a:gd name="T63" fmla="*/ 190 h 234"/>
                  <a:gd name="T64" fmla="*/ 48 w 205"/>
                  <a:gd name="T65" fmla="*/ 190 h 234"/>
                  <a:gd name="T66" fmla="*/ 40 w 205"/>
                  <a:gd name="T67" fmla="*/ 117 h 234"/>
                  <a:gd name="T68" fmla="*/ 165 w 205"/>
                  <a:gd name="T69" fmla="*/ 117 h 234"/>
                  <a:gd name="T70" fmla="*/ 157 w 205"/>
                  <a:gd name="T71" fmla="*/ 190 h 234"/>
                  <a:gd name="T72" fmla="*/ 166 w 205"/>
                  <a:gd name="T73" fmla="*/ 109 h 234"/>
                  <a:gd name="T74" fmla="*/ 39 w 205"/>
                  <a:gd name="T75" fmla="*/ 109 h 234"/>
                  <a:gd name="T76" fmla="*/ 37 w 205"/>
                  <a:gd name="T77" fmla="*/ 88 h 234"/>
                  <a:gd name="T78" fmla="*/ 168 w 205"/>
                  <a:gd name="T79" fmla="*/ 88 h 234"/>
                  <a:gd name="T80" fmla="*/ 166 w 205"/>
                  <a:gd name="T81" fmla="*/ 109 h 234"/>
                  <a:gd name="T82" fmla="*/ 190 w 205"/>
                  <a:gd name="T83" fmla="*/ 73 h 234"/>
                  <a:gd name="T84" fmla="*/ 15 w 205"/>
                  <a:gd name="T85" fmla="*/ 73 h 234"/>
                  <a:gd name="T86" fmla="*/ 15 w 205"/>
                  <a:gd name="T87" fmla="*/ 51 h 234"/>
                  <a:gd name="T88" fmla="*/ 190 w 205"/>
                  <a:gd name="T89" fmla="*/ 51 h 234"/>
                  <a:gd name="T90" fmla="*/ 190 w 205"/>
                  <a:gd name="T91" fmla="*/ 7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34">
                    <a:moveTo>
                      <a:pt x="191" y="37"/>
                    </a:moveTo>
                    <a:cubicBezTo>
                      <a:pt x="182" y="10"/>
                      <a:pt x="182" y="10"/>
                      <a:pt x="182" y="10"/>
                    </a:cubicBezTo>
                    <a:cubicBezTo>
                      <a:pt x="180" y="4"/>
                      <a:pt x="174" y="0"/>
                      <a:pt x="168" y="0"/>
                    </a:cubicBezTo>
                    <a:cubicBezTo>
                      <a:pt x="37" y="0"/>
                      <a:pt x="37" y="0"/>
                      <a:pt x="37" y="0"/>
                    </a:cubicBezTo>
                    <a:cubicBezTo>
                      <a:pt x="30" y="0"/>
                      <a:pt x="25" y="4"/>
                      <a:pt x="23" y="10"/>
                    </a:cubicBezTo>
                    <a:cubicBezTo>
                      <a:pt x="14" y="37"/>
                      <a:pt x="14" y="37"/>
                      <a:pt x="14" y="37"/>
                    </a:cubicBezTo>
                    <a:cubicBezTo>
                      <a:pt x="6" y="37"/>
                      <a:pt x="0" y="43"/>
                      <a:pt x="0" y="51"/>
                    </a:cubicBezTo>
                    <a:cubicBezTo>
                      <a:pt x="0" y="73"/>
                      <a:pt x="0" y="73"/>
                      <a:pt x="0" y="73"/>
                    </a:cubicBezTo>
                    <a:cubicBezTo>
                      <a:pt x="0" y="81"/>
                      <a:pt x="7" y="88"/>
                      <a:pt x="15" y="88"/>
                    </a:cubicBezTo>
                    <a:cubicBezTo>
                      <a:pt x="22" y="88"/>
                      <a:pt x="22" y="88"/>
                      <a:pt x="22" y="88"/>
                    </a:cubicBezTo>
                    <a:cubicBezTo>
                      <a:pt x="22" y="88"/>
                      <a:pt x="22" y="89"/>
                      <a:pt x="22" y="89"/>
                    </a:cubicBezTo>
                    <a:cubicBezTo>
                      <a:pt x="37" y="221"/>
                      <a:pt x="37" y="221"/>
                      <a:pt x="37" y="221"/>
                    </a:cubicBezTo>
                    <a:cubicBezTo>
                      <a:pt x="37" y="228"/>
                      <a:pt x="44" y="234"/>
                      <a:pt x="51" y="234"/>
                    </a:cubicBezTo>
                    <a:cubicBezTo>
                      <a:pt x="153" y="234"/>
                      <a:pt x="153" y="234"/>
                      <a:pt x="153" y="234"/>
                    </a:cubicBezTo>
                    <a:cubicBezTo>
                      <a:pt x="161" y="234"/>
                      <a:pt x="167" y="228"/>
                      <a:pt x="168" y="221"/>
                    </a:cubicBezTo>
                    <a:cubicBezTo>
                      <a:pt x="183" y="89"/>
                      <a:pt x="183" y="89"/>
                      <a:pt x="183" y="89"/>
                    </a:cubicBezTo>
                    <a:cubicBezTo>
                      <a:pt x="183" y="89"/>
                      <a:pt x="182" y="88"/>
                      <a:pt x="182" y="88"/>
                    </a:cubicBezTo>
                    <a:cubicBezTo>
                      <a:pt x="190" y="88"/>
                      <a:pt x="190" y="88"/>
                      <a:pt x="190" y="88"/>
                    </a:cubicBezTo>
                    <a:cubicBezTo>
                      <a:pt x="198" y="88"/>
                      <a:pt x="205" y="81"/>
                      <a:pt x="205" y="73"/>
                    </a:cubicBezTo>
                    <a:cubicBezTo>
                      <a:pt x="205" y="51"/>
                      <a:pt x="205" y="51"/>
                      <a:pt x="205" y="51"/>
                    </a:cubicBezTo>
                    <a:cubicBezTo>
                      <a:pt x="205" y="43"/>
                      <a:pt x="198" y="37"/>
                      <a:pt x="191" y="37"/>
                    </a:cubicBezTo>
                    <a:close/>
                    <a:moveTo>
                      <a:pt x="37" y="14"/>
                    </a:moveTo>
                    <a:cubicBezTo>
                      <a:pt x="168" y="14"/>
                      <a:pt x="168" y="14"/>
                      <a:pt x="168" y="14"/>
                    </a:cubicBezTo>
                    <a:cubicBezTo>
                      <a:pt x="175" y="36"/>
                      <a:pt x="175" y="36"/>
                      <a:pt x="175" y="36"/>
                    </a:cubicBezTo>
                    <a:cubicBezTo>
                      <a:pt x="29" y="36"/>
                      <a:pt x="29" y="36"/>
                      <a:pt x="29" y="36"/>
                    </a:cubicBezTo>
                    <a:lnTo>
                      <a:pt x="37" y="14"/>
                    </a:lnTo>
                    <a:close/>
                    <a:moveTo>
                      <a:pt x="51" y="219"/>
                    </a:moveTo>
                    <a:cubicBezTo>
                      <a:pt x="49" y="197"/>
                      <a:pt x="49" y="197"/>
                      <a:pt x="49" y="197"/>
                    </a:cubicBezTo>
                    <a:cubicBezTo>
                      <a:pt x="156" y="197"/>
                      <a:pt x="156" y="197"/>
                      <a:pt x="156" y="197"/>
                    </a:cubicBezTo>
                    <a:cubicBezTo>
                      <a:pt x="153" y="219"/>
                      <a:pt x="153" y="219"/>
                      <a:pt x="153" y="219"/>
                    </a:cubicBezTo>
                    <a:lnTo>
                      <a:pt x="51" y="219"/>
                    </a:lnTo>
                    <a:close/>
                    <a:moveTo>
                      <a:pt x="157" y="190"/>
                    </a:moveTo>
                    <a:cubicBezTo>
                      <a:pt x="48" y="190"/>
                      <a:pt x="48" y="190"/>
                      <a:pt x="48" y="190"/>
                    </a:cubicBezTo>
                    <a:cubicBezTo>
                      <a:pt x="40" y="117"/>
                      <a:pt x="40" y="117"/>
                      <a:pt x="40" y="117"/>
                    </a:cubicBezTo>
                    <a:cubicBezTo>
                      <a:pt x="165" y="117"/>
                      <a:pt x="165" y="117"/>
                      <a:pt x="165" y="117"/>
                    </a:cubicBezTo>
                    <a:lnTo>
                      <a:pt x="157" y="190"/>
                    </a:lnTo>
                    <a:close/>
                    <a:moveTo>
                      <a:pt x="166" y="109"/>
                    </a:moveTo>
                    <a:cubicBezTo>
                      <a:pt x="39" y="109"/>
                      <a:pt x="39" y="109"/>
                      <a:pt x="39" y="109"/>
                    </a:cubicBezTo>
                    <a:cubicBezTo>
                      <a:pt x="37" y="88"/>
                      <a:pt x="37" y="88"/>
                      <a:pt x="37" y="88"/>
                    </a:cubicBezTo>
                    <a:cubicBezTo>
                      <a:pt x="168" y="88"/>
                      <a:pt x="168" y="88"/>
                      <a:pt x="168" y="88"/>
                    </a:cubicBezTo>
                    <a:lnTo>
                      <a:pt x="166" y="109"/>
                    </a:lnTo>
                    <a:close/>
                    <a:moveTo>
                      <a:pt x="190" y="73"/>
                    </a:moveTo>
                    <a:cubicBezTo>
                      <a:pt x="15" y="73"/>
                      <a:pt x="15" y="73"/>
                      <a:pt x="15" y="73"/>
                    </a:cubicBezTo>
                    <a:cubicBezTo>
                      <a:pt x="15" y="51"/>
                      <a:pt x="15" y="51"/>
                      <a:pt x="15" y="51"/>
                    </a:cubicBezTo>
                    <a:cubicBezTo>
                      <a:pt x="190" y="51"/>
                      <a:pt x="190" y="51"/>
                      <a:pt x="190" y="51"/>
                    </a:cubicBezTo>
                    <a:lnTo>
                      <a:pt x="190" y="73"/>
                    </a:lnTo>
                    <a:close/>
                  </a:path>
                </a:pathLst>
              </a:custGeom>
              <a:solidFill>
                <a:schemeClr val="bg1"/>
              </a:solidFill>
              <a:ln>
                <a:noFill/>
              </a:ln>
            </p:spPr>
            <p:txBody>
              <a:bodyPr vert="horz" wrap="square" lIns="182843" tIns="91422" rIns="182843" bIns="91422" numCol="1" anchor="t" anchorCtr="0" compatLnSpc="1">
                <a:prstTxWarp prst="textNoShape">
                  <a:avLst/>
                </a:prstTxWarp>
              </a:bodyPr>
              <a:lstStyle/>
              <a:p>
                <a:endParaRPr lang="id-ID" sz="1000">
                  <a:solidFill>
                    <a:srgbClr val="58595B"/>
                  </a:solidFill>
                  <a:latin typeface="+mj-lt"/>
                </a:endParaRPr>
              </a:p>
            </p:txBody>
          </p:sp>
        </p:grpSp>
        <p:grpSp>
          <p:nvGrpSpPr>
            <p:cNvPr id="44" name="Group 43"/>
            <p:cNvGrpSpPr/>
            <p:nvPr>
              <p:custDataLst>
                <p:tags r:id="rId8"/>
              </p:custDataLst>
            </p:nvPr>
          </p:nvGrpSpPr>
          <p:grpSpPr>
            <a:xfrm>
              <a:off x="3555474" y="4052493"/>
              <a:ext cx="902935" cy="903170"/>
              <a:chOff x="3693666" y="4456290"/>
              <a:chExt cx="1312452" cy="1312794"/>
            </a:xfrm>
          </p:grpSpPr>
          <p:sp>
            <p:nvSpPr>
              <p:cNvPr id="21" name="Oval 20"/>
              <p:cNvSpPr/>
              <p:nvPr/>
            </p:nvSpPr>
            <p:spPr>
              <a:xfrm>
                <a:off x="3693666" y="4456290"/>
                <a:ext cx="1312452" cy="131279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sz="1000" dirty="0">
                  <a:solidFill>
                    <a:srgbClr val="58595B"/>
                  </a:solidFill>
                  <a:latin typeface="+mj-lt"/>
                </a:endParaRPr>
              </a:p>
            </p:txBody>
          </p:sp>
          <p:grpSp>
            <p:nvGrpSpPr>
              <p:cNvPr id="32" name="Group 31"/>
              <p:cNvGrpSpPr/>
              <p:nvPr>
                <p:custDataLst>
                  <p:tags r:id="rId11"/>
                </p:custDataLst>
              </p:nvPr>
            </p:nvGrpSpPr>
            <p:grpSpPr>
              <a:xfrm>
                <a:off x="4112103" y="4750474"/>
                <a:ext cx="512033" cy="748658"/>
                <a:chOff x="527333" y="1217552"/>
                <a:chExt cx="175409" cy="256405"/>
              </a:xfrm>
              <a:solidFill>
                <a:schemeClr val="bg1"/>
              </a:solidFill>
            </p:grpSpPr>
            <p:sp>
              <p:nvSpPr>
                <p:cNvPr id="33" name="Freeform 79"/>
                <p:cNvSpPr>
                  <a:spLocks noEditPoints="1"/>
                </p:cNvSpPr>
                <p:nvPr/>
              </p:nvSpPr>
              <p:spPr bwMode="auto">
                <a:xfrm>
                  <a:off x="527333" y="1217552"/>
                  <a:ext cx="175409" cy="256405"/>
                </a:xfrm>
                <a:custGeom>
                  <a:avLst/>
                  <a:gdLst>
                    <a:gd name="T0" fmla="*/ 80 w 160"/>
                    <a:gd name="T1" fmla="*/ 0 h 234"/>
                    <a:gd name="T2" fmla="*/ 0 w 160"/>
                    <a:gd name="T3" fmla="*/ 81 h 234"/>
                    <a:gd name="T4" fmla="*/ 36 w 160"/>
                    <a:gd name="T5" fmla="*/ 169 h 234"/>
                    <a:gd name="T6" fmla="*/ 80 w 160"/>
                    <a:gd name="T7" fmla="*/ 234 h 234"/>
                    <a:gd name="T8" fmla="*/ 123 w 160"/>
                    <a:gd name="T9" fmla="*/ 169 h 234"/>
                    <a:gd name="T10" fmla="*/ 160 w 160"/>
                    <a:gd name="T11" fmla="*/ 81 h 234"/>
                    <a:gd name="T12" fmla="*/ 80 w 160"/>
                    <a:gd name="T13" fmla="*/ 0 h 234"/>
                    <a:gd name="T14" fmla="*/ 99 w 160"/>
                    <a:gd name="T15" fmla="*/ 199 h 234"/>
                    <a:gd name="T16" fmla="*/ 63 w 160"/>
                    <a:gd name="T17" fmla="*/ 203 h 234"/>
                    <a:gd name="T18" fmla="*/ 58 w 160"/>
                    <a:gd name="T19" fmla="*/ 190 h 234"/>
                    <a:gd name="T20" fmla="*/ 58 w 160"/>
                    <a:gd name="T21" fmla="*/ 189 h 234"/>
                    <a:gd name="T22" fmla="*/ 103 w 160"/>
                    <a:gd name="T23" fmla="*/ 184 h 234"/>
                    <a:gd name="T24" fmla="*/ 101 w 160"/>
                    <a:gd name="T25" fmla="*/ 190 h 234"/>
                    <a:gd name="T26" fmla="*/ 99 w 160"/>
                    <a:gd name="T27" fmla="*/ 199 h 234"/>
                    <a:gd name="T28" fmla="*/ 56 w 160"/>
                    <a:gd name="T29" fmla="*/ 182 h 234"/>
                    <a:gd name="T30" fmla="*/ 52 w 160"/>
                    <a:gd name="T31" fmla="*/ 168 h 234"/>
                    <a:gd name="T32" fmla="*/ 108 w 160"/>
                    <a:gd name="T33" fmla="*/ 168 h 234"/>
                    <a:gd name="T34" fmla="*/ 106 w 160"/>
                    <a:gd name="T35" fmla="*/ 176 h 234"/>
                    <a:gd name="T36" fmla="*/ 56 w 160"/>
                    <a:gd name="T37" fmla="*/ 182 h 234"/>
                    <a:gd name="T38" fmla="*/ 80 w 160"/>
                    <a:gd name="T39" fmla="*/ 220 h 234"/>
                    <a:gd name="T40" fmla="*/ 65 w 160"/>
                    <a:gd name="T41" fmla="*/ 210 h 234"/>
                    <a:gd name="T42" fmla="*/ 96 w 160"/>
                    <a:gd name="T43" fmla="*/ 207 h 234"/>
                    <a:gd name="T44" fmla="*/ 80 w 160"/>
                    <a:gd name="T45" fmla="*/ 220 h 234"/>
                    <a:gd name="T46" fmla="*/ 114 w 160"/>
                    <a:gd name="T47" fmla="*/ 154 h 234"/>
                    <a:gd name="T48" fmla="*/ 46 w 160"/>
                    <a:gd name="T49" fmla="*/ 154 h 234"/>
                    <a:gd name="T50" fmla="*/ 34 w 160"/>
                    <a:gd name="T51" fmla="*/ 130 h 234"/>
                    <a:gd name="T52" fmla="*/ 14 w 160"/>
                    <a:gd name="T53" fmla="*/ 81 h 234"/>
                    <a:gd name="T54" fmla="*/ 80 w 160"/>
                    <a:gd name="T55" fmla="*/ 15 h 234"/>
                    <a:gd name="T56" fmla="*/ 146 w 160"/>
                    <a:gd name="T57" fmla="*/ 81 h 234"/>
                    <a:gd name="T58" fmla="*/ 126 w 160"/>
                    <a:gd name="T59" fmla="*/ 130 h 234"/>
                    <a:gd name="T60" fmla="*/ 114 w 160"/>
                    <a:gd name="T61" fmla="*/ 15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0" h="234">
                      <a:moveTo>
                        <a:pt x="80" y="0"/>
                      </a:moveTo>
                      <a:cubicBezTo>
                        <a:pt x="35" y="0"/>
                        <a:pt x="0" y="36"/>
                        <a:pt x="0" y="81"/>
                      </a:cubicBezTo>
                      <a:cubicBezTo>
                        <a:pt x="0" y="110"/>
                        <a:pt x="26" y="141"/>
                        <a:pt x="36" y="169"/>
                      </a:cubicBezTo>
                      <a:cubicBezTo>
                        <a:pt x="51" y="210"/>
                        <a:pt x="49" y="234"/>
                        <a:pt x="80" y="234"/>
                      </a:cubicBezTo>
                      <a:cubicBezTo>
                        <a:pt x="111" y="234"/>
                        <a:pt x="109" y="210"/>
                        <a:pt x="123" y="169"/>
                      </a:cubicBezTo>
                      <a:cubicBezTo>
                        <a:pt x="133" y="142"/>
                        <a:pt x="160" y="110"/>
                        <a:pt x="160" y="81"/>
                      </a:cubicBezTo>
                      <a:cubicBezTo>
                        <a:pt x="160" y="36"/>
                        <a:pt x="124" y="0"/>
                        <a:pt x="80" y="0"/>
                      </a:cubicBezTo>
                      <a:close/>
                      <a:moveTo>
                        <a:pt x="99" y="199"/>
                      </a:moveTo>
                      <a:cubicBezTo>
                        <a:pt x="63" y="203"/>
                        <a:pt x="63" y="203"/>
                        <a:pt x="63" y="203"/>
                      </a:cubicBezTo>
                      <a:cubicBezTo>
                        <a:pt x="61" y="200"/>
                        <a:pt x="60" y="195"/>
                        <a:pt x="58" y="190"/>
                      </a:cubicBezTo>
                      <a:cubicBezTo>
                        <a:pt x="58" y="190"/>
                        <a:pt x="58" y="189"/>
                        <a:pt x="58" y="189"/>
                      </a:cubicBezTo>
                      <a:cubicBezTo>
                        <a:pt x="103" y="184"/>
                        <a:pt x="103" y="184"/>
                        <a:pt x="103" y="184"/>
                      </a:cubicBezTo>
                      <a:cubicBezTo>
                        <a:pt x="103" y="186"/>
                        <a:pt x="102" y="188"/>
                        <a:pt x="101" y="190"/>
                      </a:cubicBezTo>
                      <a:cubicBezTo>
                        <a:pt x="100" y="193"/>
                        <a:pt x="100" y="196"/>
                        <a:pt x="99" y="199"/>
                      </a:cubicBezTo>
                      <a:close/>
                      <a:moveTo>
                        <a:pt x="56" y="182"/>
                      </a:moveTo>
                      <a:cubicBezTo>
                        <a:pt x="55" y="178"/>
                        <a:pt x="53" y="173"/>
                        <a:pt x="52" y="168"/>
                      </a:cubicBezTo>
                      <a:cubicBezTo>
                        <a:pt x="108" y="168"/>
                        <a:pt x="108" y="168"/>
                        <a:pt x="108" y="168"/>
                      </a:cubicBezTo>
                      <a:cubicBezTo>
                        <a:pt x="107" y="171"/>
                        <a:pt x="106" y="174"/>
                        <a:pt x="106" y="176"/>
                      </a:cubicBezTo>
                      <a:lnTo>
                        <a:pt x="56" y="182"/>
                      </a:lnTo>
                      <a:close/>
                      <a:moveTo>
                        <a:pt x="80" y="220"/>
                      </a:moveTo>
                      <a:cubicBezTo>
                        <a:pt x="72" y="220"/>
                        <a:pt x="69" y="219"/>
                        <a:pt x="65" y="210"/>
                      </a:cubicBezTo>
                      <a:cubicBezTo>
                        <a:pt x="96" y="207"/>
                        <a:pt x="96" y="207"/>
                        <a:pt x="96" y="207"/>
                      </a:cubicBezTo>
                      <a:cubicBezTo>
                        <a:pt x="92" y="219"/>
                        <a:pt x="88" y="220"/>
                        <a:pt x="80" y="220"/>
                      </a:cubicBezTo>
                      <a:close/>
                      <a:moveTo>
                        <a:pt x="114" y="154"/>
                      </a:moveTo>
                      <a:cubicBezTo>
                        <a:pt x="46" y="154"/>
                        <a:pt x="46" y="154"/>
                        <a:pt x="46" y="154"/>
                      </a:cubicBezTo>
                      <a:cubicBezTo>
                        <a:pt x="42" y="146"/>
                        <a:pt x="38" y="138"/>
                        <a:pt x="34" y="130"/>
                      </a:cubicBezTo>
                      <a:cubicBezTo>
                        <a:pt x="24" y="113"/>
                        <a:pt x="14" y="96"/>
                        <a:pt x="14" y="81"/>
                      </a:cubicBezTo>
                      <a:cubicBezTo>
                        <a:pt x="14" y="45"/>
                        <a:pt x="44" y="15"/>
                        <a:pt x="80" y="15"/>
                      </a:cubicBezTo>
                      <a:cubicBezTo>
                        <a:pt x="116" y="15"/>
                        <a:pt x="146" y="45"/>
                        <a:pt x="146" y="81"/>
                      </a:cubicBezTo>
                      <a:cubicBezTo>
                        <a:pt x="146" y="96"/>
                        <a:pt x="136" y="113"/>
                        <a:pt x="126" y="130"/>
                      </a:cubicBezTo>
                      <a:cubicBezTo>
                        <a:pt x="122" y="138"/>
                        <a:pt x="118" y="146"/>
                        <a:pt x="114"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00">
                    <a:solidFill>
                      <a:srgbClr val="58595B"/>
                    </a:solidFill>
                    <a:latin typeface="+mj-lt"/>
                  </a:endParaRPr>
                </a:p>
              </p:txBody>
            </p:sp>
            <p:sp>
              <p:nvSpPr>
                <p:cNvPr id="34" name="Freeform 80"/>
                <p:cNvSpPr>
                  <a:spLocks/>
                </p:cNvSpPr>
                <p:nvPr/>
              </p:nvSpPr>
              <p:spPr bwMode="auto">
                <a:xfrm>
                  <a:off x="566675" y="1258276"/>
                  <a:ext cx="52762" cy="51373"/>
                </a:xfrm>
                <a:custGeom>
                  <a:avLst/>
                  <a:gdLst>
                    <a:gd name="T0" fmla="*/ 44 w 48"/>
                    <a:gd name="T1" fmla="*/ 0 h 47"/>
                    <a:gd name="T2" fmla="*/ 0 w 48"/>
                    <a:gd name="T3" fmla="*/ 44 h 47"/>
                    <a:gd name="T4" fmla="*/ 4 w 48"/>
                    <a:gd name="T5" fmla="*/ 47 h 47"/>
                    <a:gd name="T6" fmla="*/ 7 w 48"/>
                    <a:gd name="T7" fmla="*/ 44 h 47"/>
                    <a:gd name="T8" fmla="*/ 44 w 48"/>
                    <a:gd name="T9" fmla="*/ 7 h 47"/>
                    <a:gd name="T10" fmla="*/ 48 w 48"/>
                    <a:gd name="T11" fmla="*/ 4 h 47"/>
                    <a:gd name="T12" fmla="*/ 44 w 48"/>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48" h="47">
                      <a:moveTo>
                        <a:pt x="44" y="0"/>
                      </a:moveTo>
                      <a:cubicBezTo>
                        <a:pt x="20" y="0"/>
                        <a:pt x="0" y="20"/>
                        <a:pt x="0" y="44"/>
                      </a:cubicBezTo>
                      <a:cubicBezTo>
                        <a:pt x="0" y="46"/>
                        <a:pt x="2" y="47"/>
                        <a:pt x="4" y="47"/>
                      </a:cubicBezTo>
                      <a:cubicBezTo>
                        <a:pt x="6" y="47"/>
                        <a:pt x="7" y="46"/>
                        <a:pt x="7" y="44"/>
                      </a:cubicBezTo>
                      <a:cubicBezTo>
                        <a:pt x="7" y="24"/>
                        <a:pt x="24" y="7"/>
                        <a:pt x="44" y="7"/>
                      </a:cubicBezTo>
                      <a:cubicBezTo>
                        <a:pt x="46" y="7"/>
                        <a:pt x="48" y="6"/>
                        <a:pt x="48" y="4"/>
                      </a:cubicBezTo>
                      <a:cubicBezTo>
                        <a:pt x="48" y="2"/>
                        <a:pt x="46" y="0"/>
                        <a:pt x="4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00">
                    <a:solidFill>
                      <a:srgbClr val="58595B"/>
                    </a:solidFill>
                    <a:latin typeface="+mj-lt"/>
                  </a:endParaRPr>
                </a:p>
              </p:txBody>
            </p:sp>
          </p:grpSp>
        </p:grpSp>
        <p:grpSp>
          <p:nvGrpSpPr>
            <p:cNvPr id="43" name="Group 42"/>
            <p:cNvGrpSpPr/>
            <p:nvPr>
              <p:custDataLst>
                <p:tags r:id="rId9"/>
              </p:custDataLst>
            </p:nvPr>
          </p:nvGrpSpPr>
          <p:grpSpPr>
            <a:xfrm>
              <a:off x="377142" y="4052493"/>
              <a:ext cx="902935" cy="903170"/>
              <a:chOff x="-1385023" y="4456290"/>
              <a:chExt cx="1312452" cy="1312794"/>
            </a:xfrm>
          </p:grpSpPr>
          <p:sp>
            <p:nvSpPr>
              <p:cNvPr id="19" name="Oval 18"/>
              <p:cNvSpPr/>
              <p:nvPr/>
            </p:nvSpPr>
            <p:spPr>
              <a:xfrm>
                <a:off x="-1385023" y="4456290"/>
                <a:ext cx="1312452" cy="131279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sz="1000" dirty="0">
                  <a:solidFill>
                    <a:srgbClr val="58595B"/>
                  </a:solidFill>
                  <a:latin typeface="+mj-lt"/>
                </a:endParaRPr>
              </a:p>
            </p:txBody>
          </p:sp>
          <p:grpSp>
            <p:nvGrpSpPr>
              <p:cNvPr id="35" name="Group 34"/>
              <p:cNvGrpSpPr/>
              <p:nvPr>
                <p:custDataLst>
                  <p:tags r:id="rId10"/>
                </p:custDataLst>
              </p:nvPr>
            </p:nvGrpSpPr>
            <p:grpSpPr>
              <a:xfrm>
                <a:off x="-1100100" y="4771283"/>
                <a:ext cx="749817" cy="631088"/>
                <a:chOff x="1511296" y="730196"/>
                <a:chExt cx="256867" cy="216138"/>
              </a:xfrm>
              <a:solidFill>
                <a:schemeClr val="bg1"/>
              </a:solidFill>
            </p:grpSpPr>
            <p:sp>
              <p:nvSpPr>
                <p:cNvPr id="36" name="Freeform 81"/>
                <p:cNvSpPr>
                  <a:spLocks noEditPoints="1"/>
                </p:cNvSpPr>
                <p:nvPr/>
              </p:nvSpPr>
              <p:spPr bwMode="auto">
                <a:xfrm>
                  <a:off x="1575166" y="786197"/>
                  <a:ext cx="128202" cy="128202"/>
                </a:xfrm>
                <a:custGeom>
                  <a:avLst/>
                  <a:gdLst>
                    <a:gd name="T0" fmla="*/ 59 w 117"/>
                    <a:gd name="T1" fmla="*/ 0 h 117"/>
                    <a:gd name="T2" fmla="*/ 0 w 117"/>
                    <a:gd name="T3" fmla="*/ 58 h 117"/>
                    <a:gd name="T4" fmla="*/ 59 w 117"/>
                    <a:gd name="T5" fmla="*/ 117 h 117"/>
                    <a:gd name="T6" fmla="*/ 117 w 117"/>
                    <a:gd name="T7" fmla="*/ 58 h 117"/>
                    <a:gd name="T8" fmla="*/ 59 w 117"/>
                    <a:gd name="T9" fmla="*/ 0 h 117"/>
                    <a:gd name="T10" fmla="*/ 92 w 117"/>
                    <a:gd name="T11" fmla="*/ 87 h 117"/>
                    <a:gd name="T12" fmla="*/ 30 w 117"/>
                    <a:gd name="T13" fmla="*/ 92 h 117"/>
                    <a:gd name="T14" fmla="*/ 25 w 117"/>
                    <a:gd name="T15" fmla="*/ 30 h 117"/>
                    <a:gd name="T16" fmla="*/ 87 w 117"/>
                    <a:gd name="T17" fmla="*/ 25 h 117"/>
                    <a:gd name="T18" fmla="*/ 92 w 117"/>
                    <a:gd name="T19" fmla="*/ 8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117">
                      <a:moveTo>
                        <a:pt x="59" y="0"/>
                      </a:moveTo>
                      <a:cubicBezTo>
                        <a:pt x="26" y="0"/>
                        <a:pt x="0" y="26"/>
                        <a:pt x="0" y="58"/>
                      </a:cubicBezTo>
                      <a:cubicBezTo>
                        <a:pt x="0" y="91"/>
                        <a:pt x="26" y="117"/>
                        <a:pt x="59" y="117"/>
                      </a:cubicBezTo>
                      <a:cubicBezTo>
                        <a:pt x="91" y="117"/>
                        <a:pt x="117" y="91"/>
                        <a:pt x="117" y="58"/>
                      </a:cubicBezTo>
                      <a:cubicBezTo>
                        <a:pt x="117" y="26"/>
                        <a:pt x="91" y="0"/>
                        <a:pt x="59" y="0"/>
                      </a:cubicBezTo>
                      <a:close/>
                      <a:moveTo>
                        <a:pt x="92" y="87"/>
                      </a:moveTo>
                      <a:cubicBezTo>
                        <a:pt x="76" y="105"/>
                        <a:pt x="49" y="107"/>
                        <a:pt x="30" y="92"/>
                      </a:cubicBezTo>
                      <a:cubicBezTo>
                        <a:pt x="12" y="76"/>
                        <a:pt x="10" y="48"/>
                        <a:pt x="25" y="30"/>
                      </a:cubicBezTo>
                      <a:cubicBezTo>
                        <a:pt x="41" y="12"/>
                        <a:pt x="69" y="9"/>
                        <a:pt x="87" y="25"/>
                      </a:cubicBezTo>
                      <a:cubicBezTo>
                        <a:pt x="106" y="41"/>
                        <a:pt x="108" y="69"/>
                        <a:pt x="92" y="87"/>
                      </a:cubicBez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00">
                    <a:solidFill>
                      <a:srgbClr val="58595B"/>
                    </a:solidFill>
                    <a:latin typeface="+mj-lt"/>
                  </a:endParaRPr>
                </a:p>
              </p:txBody>
            </p:sp>
            <p:sp>
              <p:nvSpPr>
                <p:cNvPr id="37" name="Freeform 82"/>
                <p:cNvSpPr>
                  <a:spLocks/>
                </p:cNvSpPr>
                <p:nvPr/>
              </p:nvSpPr>
              <p:spPr bwMode="auto">
                <a:xfrm>
                  <a:off x="1608026" y="818132"/>
                  <a:ext cx="35175" cy="36100"/>
                </a:xfrm>
                <a:custGeom>
                  <a:avLst/>
                  <a:gdLst>
                    <a:gd name="T0" fmla="*/ 29 w 32"/>
                    <a:gd name="T1" fmla="*/ 0 h 33"/>
                    <a:gd name="T2" fmla="*/ 0 w 32"/>
                    <a:gd name="T3" fmla="*/ 29 h 33"/>
                    <a:gd name="T4" fmla="*/ 0 w 32"/>
                    <a:gd name="T5" fmla="*/ 29 h 33"/>
                    <a:gd name="T6" fmla="*/ 3 w 32"/>
                    <a:gd name="T7" fmla="*/ 33 h 33"/>
                    <a:gd name="T8" fmla="*/ 7 w 32"/>
                    <a:gd name="T9" fmla="*/ 29 h 33"/>
                    <a:gd name="T10" fmla="*/ 7 w 32"/>
                    <a:gd name="T11" fmla="*/ 29 h 33"/>
                    <a:gd name="T12" fmla="*/ 29 w 32"/>
                    <a:gd name="T13" fmla="*/ 8 h 33"/>
                    <a:gd name="T14" fmla="*/ 32 w 32"/>
                    <a:gd name="T15" fmla="*/ 4 h 33"/>
                    <a:gd name="T16" fmla="*/ 29 w 32"/>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3">
                      <a:moveTo>
                        <a:pt x="29" y="0"/>
                      </a:moveTo>
                      <a:cubicBezTo>
                        <a:pt x="13" y="0"/>
                        <a:pt x="0" y="13"/>
                        <a:pt x="0" y="29"/>
                      </a:cubicBezTo>
                      <a:cubicBezTo>
                        <a:pt x="0" y="29"/>
                        <a:pt x="0" y="29"/>
                        <a:pt x="0" y="29"/>
                      </a:cubicBezTo>
                      <a:cubicBezTo>
                        <a:pt x="0" y="31"/>
                        <a:pt x="1" y="33"/>
                        <a:pt x="3" y="33"/>
                      </a:cubicBezTo>
                      <a:cubicBezTo>
                        <a:pt x="5" y="33"/>
                        <a:pt x="7" y="31"/>
                        <a:pt x="7" y="29"/>
                      </a:cubicBezTo>
                      <a:cubicBezTo>
                        <a:pt x="7" y="29"/>
                        <a:pt x="7" y="29"/>
                        <a:pt x="7" y="29"/>
                      </a:cubicBezTo>
                      <a:cubicBezTo>
                        <a:pt x="7" y="17"/>
                        <a:pt x="17" y="8"/>
                        <a:pt x="29" y="8"/>
                      </a:cubicBezTo>
                      <a:cubicBezTo>
                        <a:pt x="31" y="8"/>
                        <a:pt x="32" y="6"/>
                        <a:pt x="32" y="4"/>
                      </a:cubicBezTo>
                      <a:cubicBezTo>
                        <a:pt x="32" y="2"/>
                        <a:pt x="31" y="0"/>
                        <a:pt x="2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00">
                    <a:solidFill>
                      <a:srgbClr val="58595B"/>
                    </a:solidFill>
                    <a:latin typeface="+mj-lt"/>
                  </a:endParaRPr>
                </a:p>
              </p:txBody>
            </p:sp>
            <p:sp>
              <p:nvSpPr>
                <p:cNvPr id="38" name="Freeform 83"/>
                <p:cNvSpPr>
                  <a:spLocks noEditPoints="1"/>
                </p:cNvSpPr>
                <p:nvPr/>
              </p:nvSpPr>
              <p:spPr bwMode="auto">
                <a:xfrm>
                  <a:off x="1511296" y="730196"/>
                  <a:ext cx="256867" cy="216138"/>
                </a:xfrm>
                <a:custGeom>
                  <a:avLst/>
                  <a:gdLst>
                    <a:gd name="T0" fmla="*/ 215 w 234"/>
                    <a:gd name="T1" fmla="*/ 44 h 197"/>
                    <a:gd name="T2" fmla="*/ 184 w 234"/>
                    <a:gd name="T3" fmla="*/ 39 h 197"/>
                    <a:gd name="T4" fmla="*/ 174 w 234"/>
                    <a:gd name="T5" fmla="*/ 14 h 197"/>
                    <a:gd name="T6" fmla="*/ 153 w 234"/>
                    <a:gd name="T7" fmla="*/ 0 h 197"/>
                    <a:gd name="T8" fmla="*/ 80 w 234"/>
                    <a:gd name="T9" fmla="*/ 0 h 197"/>
                    <a:gd name="T10" fmla="*/ 60 w 234"/>
                    <a:gd name="T11" fmla="*/ 14 h 197"/>
                    <a:gd name="T12" fmla="*/ 50 w 234"/>
                    <a:gd name="T13" fmla="*/ 39 h 197"/>
                    <a:gd name="T14" fmla="*/ 18 w 234"/>
                    <a:gd name="T15" fmla="*/ 44 h 197"/>
                    <a:gd name="T16" fmla="*/ 0 w 234"/>
                    <a:gd name="T17" fmla="*/ 66 h 197"/>
                    <a:gd name="T18" fmla="*/ 0 w 234"/>
                    <a:gd name="T19" fmla="*/ 175 h 197"/>
                    <a:gd name="T20" fmla="*/ 22 w 234"/>
                    <a:gd name="T21" fmla="*/ 197 h 197"/>
                    <a:gd name="T22" fmla="*/ 212 w 234"/>
                    <a:gd name="T23" fmla="*/ 197 h 197"/>
                    <a:gd name="T24" fmla="*/ 234 w 234"/>
                    <a:gd name="T25" fmla="*/ 175 h 197"/>
                    <a:gd name="T26" fmla="*/ 234 w 234"/>
                    <a:gd name="T27" fmla="*/ 66 h 197"/>
                    <a:gd name="T28" fmla="*/ 215 w 234"/>
                    <a:gd name="T29" fmla="*/ 44 h 197"/>
                    <a:gd name="T30" fmla="*/ 219 w 234"/>
                    <a:gd name="T31" fmla="*/ 175 h 197"/>
                    <a:gd name="T32" fmla="*/ 212 w 234"/>
                    <a:gd name="T33" fmla="*/ 182 h 197"/>
                    <a:gd name="T34" fmla="*/ 22 w 234"/>
                    <a:gd name="T35" fmla="*/ 182 h 197"/>
                    <a:gd name="T36" fmla="*/ 14 w 234"/>
                    <a:gd name="T37" fmla="*/ 175 h 197"/>
                    <a:gd name="T38" fmla="*/ 14 w 234"/>
                    <a:gd name="T39" fmla="*/ 66 h 197"/>
                    <a:gd name="T40" fmla="*/ 21 w 234"/>
                    <a:gd name="T41" fmla="*/ 58 h 197"/>
                    <a:gd name="T42" fmla="*/ 60 w 234"/>
                    <a:gd name="T43" fmla="*/ 52 h 197"/>
                    <a:gd name="T44" fmla="*/ 73 w 234"/>
                    <a:gd name="T45" fmla="*/ 19 h 197"/>
                    <a:gd name="T46" fmla="*/ 80 w 234"/>
                    <a:gd name="T47" fmla="*/ 15 h 197"/>
                    <a:gd name="T48" fmla="*/ 153 w 234"/>
                    <a:gd name="T49" fmla="*/ 15 h 197"/>
                    <a:gd name="T50" fmla="*/ 160 w 234"/>
                    <a:gd name="T51" fmla="*/ 19 h 197"/>
                    <a:gd name="T52" fmla="*/ 173 w 234"/>
                    <a:gd name="T53" fmla="*/ 52 h 197"/>
                    <a:gd name="T54" fmla="*/ 213 w 234"/>
                    <a:gd name="T55" fmla="*/ 58 h 197"/>
                    <a:gd name="T56" fmla="*/ 219 w 234"/>
                    <a:gd name="T57" fmla="*/ 66 h 197"/>
                    <a:gd name="T58" fmla="*/ 219 w 234"/>
                    <a:gd name="T59" fmla="*/ 17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4" h="197">
                      <a:moveTo>
                        <a:pt x="215" y="44"/>
                      </a:moveTo>
                      <a:cubicBezTo>
                        <a:pt x="184" y="39"/>
                        <a:pt x="184" y="39"/>
                        <a:pt x="184" y="39"/>
                      </a:cubicBezTo>
                      <a:cubicBezTo>
                        <a:pt x="174" y="14"/>
                        <a:pt x="174" y="14"/>
                        <a:pt x="174" y="14"/>
                      </a:cubicBezTo>
                      <a:cubicBezTo>
                        <a:pt x="170" y="5"/>
                        <a:pt x="162" y="0"/>
                        <a:pt x="153" y="0"/>
                      </a:cubicBezTo>
                      <a:cubicBezTo>
                        <a:pt x="80" y="0"/>
                        <a:pt x="80" y="0"/>
                        <a:pt x="80" y="0"/>
                      </a:cubicBezTo>
                      <a:cubicBezTo>
                        <a:pt x="71" y="0"/>
                        <a:pt x="63" y="5"/>
                        <a:pt x="60" y="14"/>
                      </a:cubicBezTo>
                      <a:cubicBezTo>
                        <a:pt x="50" y="39"/>
                        <a:pt x="50" y="39"/>
                        <a:pt x="50" y="39"/>
                      </a:cubicBezTo>
                      <a:cubicBezTo>
                        <a:pt x="18" y="44"/>
                        <a:pt x="18" y="44"/>
                        <a:pt x="18" y="44"/>
                      </a:cubicBezTo>
                      <a:cubicBezTo>
                        <a:pt x="8" y="46"/>
                        <a:pt x="0" y="55"/>
                        <a:pt x="0" y="66"/>
                      </a:cubicBezTo>
                      <a:cubicBezTo>
                        <a:pt x="0" y="175"/>
                        <a:pt x="0" y="175"/>
                        <a:pt x="0" y="175"/>
                      </a:cubicBezTo>
                      <a:cubicBezTo>
                        <a:pt x="0" y="187"/>
                        <a:pt x="10" y="197"/>
                        <a:pt x="22" y="197"/>
                      </a:cubicBezTo>
                      <a:cubicBezTo>
                        <a:pt x="212" y="197"/>
                        <a:pt x="212" y="197"/>
                        <a:pt x="212" y="197"/>
                      </a:cubicBezTo>
                      <a:cubicBezTo>
                        <a:pt x="224" y="197"/>
                        <a:pt x="234" y="187"/>
                        <a:pt x="234" y="175"/>
                      </a:cubicBezTo>
                      <a:cubicBezTo>
                        <a:pt x="234" y="66"/>
                        <a:pt x="234" y="66"/>
                        <a:pt x="234" y="66"/>
                      </a:cubicBezTo>
                      <a:cubicBezTo>
                        <a:pt x="234" y="55"/>
                        <a:pt x="226" y="46"/>
                        <a:pt x="215" y="44"/>
                      </a:cubicBezTo>
                      <a:close/>
                      <a:moveTo>
                        <a:pt x="219" y="175"/>
                      </a:moveTo>
                      <a:cubicBezTo>
                        <a:pt x="219" y="179"/>
                        <a:pt x="216" y="182"/>
                        <a:pt x="212" y="182"/>
                      </a:cubicBezTo>
                      <a:cubicBezTo>
                        <a:pt x="22" y="182"/>
                        <a:pt x="22" y="182"/>
                        <a:pt x="22" y="182"/>
                      </a:cubicBezTo>
                      <a:cubicBezTo>
                        <a:pt x="18" y="182"/>
                        <a:pt x="14" y="179"/>
                        <a:pt x="14" y="175"/>
                      </a:cubicBezTo>
                      <a:cubicBezTo>
                        <a:pt x="14" y="66"/>
                        <a:pt x="14" y="66"/>
                        <a:pt x="14" y="66"/>
                      </a:cubicBezTo>
                      <a:cubicBezTo>
                        <a:pt x="14" y="62"/>
                        <a:pt x="17" y="59"/>
                        <a:pt x="21" y="58"/>
                      </a:cubicBezTo>
                      <a:cubicBezTo>
                        <a:pt x="60" y="52"/>
                        <a:pt x="60" y="52"/>
                        <a:pt x="60" y="52"/>
                      </a:cubicBezTo>
                      <a:cubicBezTo>
                        <a:pt x="73" y="19"/>
                        <a:pt x="73" y="19"/>
                        <a:pt x="73" y="19"/>
                      </a:cubicBezTo>
                      <a:cubicBezTo>
                        <a:pt x="75" y="16"/>
                        <a:pt x="77" y="15"/>
                        <a:pt x="80" y="15"/>
                      </a:cubicBezTo>
                      <a:cubicBezTo>
                        <a:pt x="153" y="15"/>
                        <a:pt x="153" y="15"/>
                        <a:pt x="153" y="15"/>
                      </a:cubicBezTo>
                      <a:cubicBezTo>
                        <a:pt x="156" y="15"/>
                        <a:pt x="159" y="16"/>
                        <a:pt x="160" y="19"/>
                      </a:cubicBezTo>
                      <a:cubicBezTo>
                        <a:pt x="173" y="52"/>
                        <a:pt x="173" y="52"/>
                        <a:pt x="173" y="52"/>
                      </a:cubicBezTo>
                      <a:cubicBezTo>
                        <a:pt x="213" y="58"/>
                        <a:pt x="213" y="58"/>
                        <a:pt x="213" y="58"/>
                      </a:cubicBezTo>
                      <a:cubicBezTo>
                        <a:pt x="216" y="59"/>
                        <a:pt x="219" y="62"/>
                        <a:pt x="219" y="66"/>
                      </a:cubicBezTo>
                      <a:lnTo>
                        <a:pt x="219" y="1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00">
                    <a:solidFill>
                      <a:srgbClr val="58595B"/>
                    </a:solidFill>
                    <a:latin typeface="+mj-lt"/>
                  </a:endParaRPr>
                </a:p>
              </p:txBody>
            </p:sp>
          </p:grpSp>
        </p:grpSp>
      </p:grpSp>
      <p:sp>
        <p:nvSpPr>
          <p:cNvPr id="48"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47_84</a:t>
            </a:r>
            <a:endParaRPr lang="en-US" sz="100" dirty="0" err="1" smtClean="0">
              <a:solidFill>
                <a:srgbClr val="FFFFFF"/>
              </a:solidFill>
            </a:endParaRPr>
          </a:p>
        </p:txBody>
      </p:sp>
    </p:spTree>
    <p:extLst>
      <p:ext uri="{BB962C8B-B14F-4D97-AF65-F5344CB8AC3E}">
        <p14:creationId xmlns:p14="http://schemas.microsoft.com/office/powerpoint/2010/main" val="21296498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schedul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728978832"/>
              </p:ext>
            </p:extLst>
          </p:nvPr>
        </p:nvGraphicFramePr>
        <p:xfrm>
          <a:off x="736344" y="1454087"/>
          <a:ext cx="11205006" cy="4407192"/>
        </p:xfrm>
        <a:graphic>
          <a:graphicData uri="http://schemas.openxmlformats.org/drawingml/2006/table">
            <a:tbl>
              <a:tblPr firstRow="1" bandRow="1">
                <a:tableStyleId>{3B4B98B0-60AC-42C2-AFA5-B58CD77FA1E5}</a:tableStyleId>
              </a:tblPr>
              <a:tblGrid>
                <a:gridCol w="892050"/>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gridCol w="332676"/>
              </a:tblGrid>
              <a:tr h="408526">
                <a:tc>
                  <a:txBody>
                    <a:bodyPr/>
                    <a:lstStyle/>
                    <a:p>
                      <a:pPr algn="l"/>
                      <a:r>
                        <a:rPr lang="en-US" sz="1000" dirty="0" smtClean="0">
                          <a:solidFill>
                            <a:schemeClr val="bg2"/>
                          </a:solidFill>
                          <a:latin typeface="Lato Regular"/>
                          <a:cs typeface="Lato Regular"/>
                        </a:rPr>
                        <a:t>2015</a:t>
                      </a:r>
                      <a:endParaRPr lang="en-US" sz="1000" dirty="0">
                        <a:solidFill>
                          <a:schemeClr val="bg2"/>
                        </a:solidFill>
                        <a:latin typeface="Lato Regular"/>
                        <a:cs typeface="Lato Regular"/>
                      </a:endParaRPr>
                    </a:p>
                  </a:txBody>
                  <a:tcPr marL="122084" marR="122084" marT="61058" marB="61058" anchor="ctr">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1</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2</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3</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4</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5</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6</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7</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8</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9</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10</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11</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12</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13</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14</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15</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16</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17</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18</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19</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20</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21</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22</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23</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24</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25</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26</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27</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28</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29</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30</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lnR w="3175" cap="flat" cmpd="sng" algn="ctr">
                      <a:solidFill>
                        <a:srgbClr val="4E5663">
                          <a:lumMod val="60000"/>
                          <a:lumOff val="40000"/>
                        </a:srgbClr>
                      </a:solidFill>
                      <a:prstDash val="solid"/>
                      <a:round/>
                      <a:headEnd type="none" w="med" len="med"/>
                      <a:tailEnd type="none" w="med" len="med"/>
                    </a:lnR>
                    <a:solidFill>
                      <a:schemeClr val="accent5"/>
                    </a:solidFill>
                  </a:tcPr>
                </a:tc>
                <a:tc>
                  <a:txBody>
                    <a:bodyPr/>
                    <a:lstStyle/>
                    <a:p>
                      <a:pPr algn="ctr"/>
                      <a:r>
                        <a:rPr lang="en-US" sz="900" b="0" i="0" dirty="0" smtClean="0">
                          <a:solidFill>
                            <a:schemeClr val="bg2"/>
                          </a:solidFill>
                          <a:latin typeface="Lato Regular"/>
                          <a:cs typeface="Lato Regular"/>
                        </a:rPr>
                        <a:t>31</a:t>
                      </a:r>
                      <a:endParaRPr lang="en-US" sz="900" b="0" i="0" dirty="0">
                        <a:solidFill>
                          <a:schemeClr val="bg2"/>
                        </a:solidFill>
                        <a:latin typeface="Lato Regular"/>
                        <a:cs typeface="Lato Regular"/>
                      </a:endParaRPr>
                    </a:p>
                  </a:txBody>
                  <a:tcPr marL="0" marR="0" marT="61058" marB="61058" anchor="ctr">
                    <a:lnL w="3175" cap="flat" cmpd="sng" algn="ctr">
                      <a:solidFill>
                        <a:srgbClr val="4E5663">
                          <a:lumMod val="60000"/>
                          <a:lumOff val="40000"/>
                        </a:srgbClr>
                      </a:solidFill>
                      <a:prstDash val="solid"/>
                      <a:round/>
                      <a:headEnd type="none" w="med" len="med"/>
                      <a:tailEnd type="none" w="med" len="med"/>
                    </a:lnL>
                    <a:solidFill>
                      <a:schemeClr val="accent5"/>
                    </a:solidFill>
                  </a:tcPr>
                </a:tc>
              </a:tr>
              <a:tr h="335755">
                <a:tc>
                  <a:txBody>
                    <a:bodyPr/>
                    <a:lstStyle/>
                    <a:p>
                      <a:pPr algn="l"/>
                      <a:r>
                        <a:rPr lang="en-US" sz="1000" dirty="0" smtClean="0">
                          <a:solidFill>
                            <a:schemeClr val="bg2"/>
                          </a:solidFill>
                          <a:latin typeface="Lato Regular"/>
                          <a:cs typeface="Lato Regular"/>
                        </a:rPr>
                        <a:t>January</a:t>
                      </a:r>
                      <a:endParaRPr lang="en-US" sz="1000" dirty="0">
                        <a:solidFill>
                          <a:schemeClr val="bg2"/>
                        </a:solidFill>
                        <a:latin typeface="Lato Regular"/>
                        <a:cs typeface="Lato Regular"/>
                      </a:endParaRPr>
                    </a:p>
                  </a:txBody>
                  <a:tcPr marL="122084" marR="122084" marT="61058" marB="61058" anchor="ctr">
                    <a:solidFill>
                      <a:schemeClr val="bg1">
                        <a:lumMod val="65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r>
              <a:tr h="335755">
                <a:tc>
                  <a:txBody>
                    <a:bodyPr/>
                    <a:lstStyle/>
                    <a:p>
                      <a:pPr algn="l"/>
                      <a:r>
                        <a:rPr lang="en-US" sz="1000" dirty="0" smtClean="0">
                          <a:solidFill>
                            <a:schemeClr val="bg2"/>
                          </a:solidFill>
                          <a:latin typeface="Lato Regular"/>
                          <a:cs typeface="Lato Regular"/>
                        </a:rPr>
                        <a:t>February</a:t>
                      </a:r>
                      <a:endParaRPr lang="en-US" sz="1000" dirty="0">
                        <a:solidFill>
                          <a:schemeClr val="bg2"/>
                        </a:solidFill>
                        <a:latin typeface="Lato Regular"/>
                        <a:cs typeface="Lato Regular"/>
                      </a:endParaRPr>
                    </a:p>
                  </a:txBody>
                  <a:tcPr marL="122084" marR="122084" marT="61058" marB="61058" anchor="ctr">
                    <a:solidFill>
                      <a:schemeClr val="bg1">
                        <a:lumMod val="65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tcPr>
                </a:tc>
              </a:tr>
              <a:tr h="305361">
                <a:tc>
                  <a:txBody>
                    <a:bodyPr/>
                    <a:lstStyle/>
                    <a:p>
                      <a:pPr algn="l"/>
                      <a:r>
                        <a:rPr lang="en-US" sz="1000" dirty="0" smtClean="0">
                          <a:solidFill>
                            <a:schemeClr val="bg2"/>
                          </a:solidFill>
                          <a:latin typeface="Lato Regular"/>
                          <a:cs typeface="Lato Regular"/>
                        </a:rPr>
                        <a:t>March</a:t>
                      </a:r>
                      <a:endParaRPr lang="en-US" sz="1000" dirty="0">
                        <a:solidFill>
                          <a:schemeClr val="bg2"/>
                        </a:solidFill>
                        <a:latin typeface="Lato Regular"/>
                        <a:cs typeface="Lato Regular"/>
                      </a:endParaRPr>
                    </a:p>
                  </a:txBody>
                  <a:tcPr marL="122084" marR="122084" marT="61058" marB="61058" anchor="ctr">
                    <a:solidFill>
                      <a:schemeClr val="bg1">
                        <a:lumMod val="65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r>
              <a:tr h="335755">
                <a:tc>
                  <a:txBody>
                    <a:bodyPr/>
                    <a:lstStyle/>
                    <a:p>
                      <a:pPr algn="l"/>
                      <a:r>
                        <a:rPr lang="en-US" sz="1000" dirty="0" smtClean="0">
                          <a:solidFill>
                            <a:schemeClr val="bg2"/>
                          </a:solidFill>
                          <a:latin typeface="Lato Regular"/>
                          <a:cs typeface="Lato Regular"/>
                        </a:rPr>
                        <a:t>April</a:t>
                      </a:r>
                      <a:endParaRPr lang="en-US" sz="1000" dirty="0">
                        <a:solidFill>
                          <a:schemeClr val="bg2"/>
                        </a:solidFill>
                        <a:latin typeface="Lato Regular"/>
                        <a:cs typeface="Lato Regular"/>
                      </a:endParaRPr>
                    </a:p>
                  </a:txBody>
                  <a:tcPr marL="122084" marR="122084" marT="61058" marB="61058" anchor="ctr">
                    <a:solidFill>
                      <a:schemeClr val="bg1">
                        <a:lumMod val="65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tcPr>
                </a:tc>
              </a:tr>
              <a:tr h="335755">
                <a:tc>
                  <a:txBody>
                    <a:bodyPr/>
                    <a:lstStyle/>
                    <a:p>
                      <a:pPr algn="l"/>
                      <a:r>
                        <a:rPr lang="en-US" sz="1000" dirty="0" smtClean="0">
                          <a:solidFill>
                            <a:schemeClr val="bg2"/>
                          </a:solidFill>
                          <a:latin typeface="Lato Regular"/>
                          <a:cs typeface="Lato Regular"/>
                        </a:rPr>
                        <a:t>May</a:t>
                      </a:r>
                      <a:endParaRPr lang="en-US" sz="1000" dirty="0">
                        <a:solidFill>
                          <a:schemeClr val="bg2"/>
                        </a:solidFill>
                        <a:latin typeface="Lato Regular"/>
                        <a:cs typeface="Lato Regular"/>
                      </a:endParaRPr>
                    </a:p>
                  </a:txBody>
                  <a:tcPr marL="122084" marR="122084" marT="61058" marB="61058" anchor="ctr">
                    <a:solidFill>
                      <a:schemeClr val="bg1">
                        <a:lumMod val="65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r>
              <a:tr h="335755">
                <a:tc>
                  <a:txBody>
                    <a:bodyPr/>
                    <a:lstStyle/>
                    <a:p>
                      <a:pPr algn="l"/>
                      <a:r>
                        <a:rPr lang="en-US" sz="1000" dirty="0" smtClean="0">
                          <a:solidFill>
                            <a:schemeClr val="bg2"/>
                          </a:solidFill>
                          <a:latin typeface="Lato Regular"/>
                          <a:cs typeface="Lato Regular"/>
                        </a:rPr>
                        <a:t>June</a:t>
                      </a:r>
                      <a:endParaRPr lang="en-US" sz="1000" dirty="0">
                        <a:solidFill>
                          <a:schemeClr val="bg2"/>
                        </a:solidFill>
                        <a:latin typeface="Lato Regular"/>
                        <a:cs typeface="Lato Regular"/>
                      </a:endParaRPr>
                    </a:p>
                  </a:txBody>
                  <a:tcPr marL="122084" marR="122084" marT="61058" marB="61058" anchor="ctr">
                    <a:solidFill>
                      <a:schemeClr val="bg1">
                        <a:lumMod val="65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tcPr>
                </a:tc>
              </a:tr>
              <a:tr h="335755">
                <a:tc>
                  <a:txBody>
                    <a:bodyPr/>
                    <a:lstStyle/>
                    <a:p>
                      <a:pPr algn="l"/>
                      <a:r>
                        <a:rPr lang="en-US" sz="1000" dirty="0" smtClean="0">
                          <a:solidFill>
                            <a:schemeClr val="bg2"/>
                          </a:solidFill>
                          <a:latin typeface="Lato Regular"/>
                          <a:cs typeface="Lato Regular"/>
                        </a:rPr>
                        <a:t>July</a:t>
                      </a:r>
                      <a:endParaRPr lang="en-US" sz="1000" dirty="0">
                        <a:solidFill>
                          <a:schemeClr val="bg2"/>
                        </a:solidFill>
                        <a:latin typeface="Lato Regular"/>
                        <a:cs typeface="Lato Regular"/>
                      </a:endParaRPr>
                    </a:p>
                  </a:txBody>
                  <a:tcPr marL="122084" marR="122084" marT="61058" marB="61058" anchor="ctr">
                    <a:solidFill>
                      <a:schemeClr val="bg1">
                        <a:lumMod val="65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r>
              <a:tr h="335755">
                <a:tc>
                  <a:txBody>
                    <a:bodyPr/>
                    <a:lstStyle/>
                    <a:p>
                      <a:pPr algn="l"/>
                      <a:r>
                        <a:rPr lang="en-US" sz="1000" dirty="0" smtClean="0">
                          <a:solidFill>
                            <a:schemeClr val="bg2"/>
                          </a:solidFill>
                          <a:latin typeface="Lato Regular"/>
                          <a:cs typeface="Lato Regular"/>
                        </a:rPr>
                        <a:t>August</a:t>
                      </a:r>
                      <a:endParaRPr lang="en-US" sz="1000" dirty="0">
                        <a:solidFill>
                          <a:schemeClr val="bg2"/>
                        </a:solidFill>
                        <a:latin typeface="Lato Regular"/>
                        <a:cs typeface="Lato Regular"/>
                      </a:endParaRPr>
                    </a:p>
                  </a:txBody>
                  <a:tcPr marL="122084" marR="122084" marT="61058" marB="61058" anchor="ctr">
                    <a:solidFill>
                      <a:schemeClr val="bg1">
                        <a:lumMod val="65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tcPr>
                </a:tc>
              </a:tr>
              <a:tr h="335755">
                <a:tc>
                  <a:txBody>
                    <a:bodyPr/>
                    <a:lstStyle/>
                    <a:p>
                      <a:pPr algn="l"/>
                      <a:r>
                        <a:rPr lang="en-US" sz="1000" dirty="0" smtClean="0">
                          <a:solidFill>
                            <a:schemeClr val="bg2"/>
                          </a:solidFill>
                          <a:latin typeface="Lato Regular"/>
                          <a:cs typeface="Lato Regular"/>
                        </a:rPr>
                        <a:t>September</a:t>
                      </a:r>
                      <a:endParaRPr lang="en-US" sz="1000" dirty="0">
                        <a:solidFill>
                          <a:schemeClr val="bg2"/>
                        </a:solidFill>
                        <a:latin typeface="Lato Regular"/>
                        <a:cs typeface="Lato Regular"/>
                      </a:endParaRPr>
                    </a:p>
                  </a:txBody>
                  <a:tcPr marL="122084" marR="122084" marT="61058" marB="61058" anchor="ctr">
                    <a:solidFill>
                      <a:schemeClr val="bg1">
                        <a:lumMod val="65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r>
              <a:tr h="335755">
                <a:tc>
                  <a:txBody>
                    <a:bodyPr/>
                    <a:lstStyle/>
                    <a:p>
                      <a:pPr algn="l"/>
                      <a:r>
                        <a:rPr lang="en-US" sz="1000" dirty="0" smtClean="0">
                          <a:solidFill>
                            <a:schemeClr val="bg2"/>
                          </a:solidFill>
                          <a:latin typeface="Lato Regular"/>
                          <a:cs typeface="Lato Regular"/>
                        </a:rPr>
                        <a:t>October</a:t>
                      </a:r>
                      <a:endParaRPr lang="en-US" sz="1000" dirty="0">
                        <a:solidFill>
                          <a:schemeClr val="bg2"/>
                        </a:solidFill>
                        <a:latin typeface="Lato Regular"/>
                        <a:cs typeface="Lato Regular"/>
                      </a:endParaRPr>
                    </a:p>
                  </a:txBody>
                  <a:tcPr marL="122084" marR="122084" marT="61058" marB="61058" anchor="ctr">
                    <a:solidFill>
                      <a:schemeClr val="bg1">
                        <a:lumMod val="65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tcPr>
                </a:tc>
              </a:tr>
              <a:tr h="335755">
                <a:tc>
                  <a:txBody>
                    <a:bodyPr/>
                    <a:lstStyle/>
                    <a:p>
                      <a:pPr algn="l"/>
                      <a:r>
                        <a:rPr lang="en-US" sz="1000" dirty="0" smtClean="0">
                          <a:solidFill>
                            <a:schemeClr val="bg2"/>
                          </a:solidFill>
                          <a:latin typeface="Lato Regular"/>
                          <a:cs typeface="Lato Regular"/>
                        </a:rPr>
                        <a:t>November</a:t>
                      </a:r>
                      <a:endParaRPr lang="en-US" sz="1000" dirty="0">
                        <a:solidFill>
                          <a:schemeClr val="bg2"/>
                        </a:solidFill>
                        <a:latin typeface="Lato Regular"/>
                        <a:cs typeface="Lato Regular"/>
                      </a:endParaRPr>
                    </a:p>
                  </a:txBody>
                  <a:tcPr marL="122084" marR="122084" marT="61058" marB="61058" anchor="ctr">
                    <a:solidFill>
                      <a:schemeClr val="bg1">
                        <a:lumMod val="65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solidFill>
                      <a:schemeClr val="bg1">
                        <a:lumMod val="65000"/>
                        <a:alpha val="20000"/>
                      </a:schemeClr>
                    </a:solidFill>
                  </a:tcPr>
                </a:tc>
              </a:tr>
              <a:tr h="335755">
                <a:tc>
                  <a:txBody>
                    <a:bodyPr/>
                    <a:lstStyle/>
                    <a:p>
                      <a:pPr algn="l"/>
                      <a:r>
                        <a:rPr lang="en-US" sz="1000" dirty="0" smtClean="0">
                          <a:solidFill>
                            <a:schemeClr val="bg2"/>
                          </a:solidFill>
                          <a:latin typeface="Lato Regular"/>
                          <a:cs typeface="Lato Regular"/>
                        </a:rPr>
                        <a:t>December</a:t>
                      </a:r>
                      <a:endParaRPr lang="en-US" sz="1000" dirty="0">
                        <a:solidFill>
                          <a:schemeClr val="bg2"/>
                        </a:solidFill>
                        <a:latin typeface="Lato Regular"/>
                        <a:cs typeface="Lato Regular"/>
                      </a:endParaRPr>
                    </a:p>
                  </a:txBody>
                  <a:tcPr marL="122084" marR="122084" marT="61058" marB="61058" anchor="ctr">
                    <a:solidFill>
                      <a:schemeClr val="bg1">
                        <a:lumMod val="65000"/>
                      </a:schemeClr>
                    </a:solidFill>
                  </a:tcPr>
                </a:tc>
                <a:tc>
                  <a:txBody>
                    <a:bodyPr/>
                    <a:lstStyle/>
                    <a:p>
                      <a:pPr algn="l"/>
                      <a:endParaRPr lang="en-US" sz="1000" dirty="0">
                        <a:solidFill>
                          <a:schemeClr val="bg2"/>
                        </a:solidFill>
                        <a:latin typeface="Lato Regular"/>
                        <a:cs typeface="Lato Regular"/>
                      </a:endParaRPr>
                    </a:p>
                  </a:txBody>
                  <a:tcPr marL="122084" marR="122084" marT="61058" marB="61058" anchor="ctr">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lnR w="3175" cap="flat" cmpd="sng" algn="ctr">
                      <a:solidFill>
                        <a:srgbClr val="E7535F">
                          <a:lumMod val="20000"/>
                          <a:lumOff val="80000"/>
                        </a:srgbClr>
                      </a:solidFill>
                      <a:prstDash val="solid"/>
                      <a:round/>
                      <a:headEnd type="none" w="med" len="med"/>
                      <a:tailEnd type="none" w="med" len="med"/>
                    </a:lnR>
                  </a:tcPr>
                </a:tc>
                <a:tc>
                  <a:txBody>
                    <a:bodyPr/>
                    <a:lstStyle/>
                    <a:p>
                      <a:pPr algn="l"/>
                      <a:endParaRPr lang="en-US" sz="1000" dirty="0">
                        <a:solidFill>
                          <a:schemeClr val="bg2"/>
                        </a:solidFill>
                        <a:latin typeface="Lato Regular"/>
                        <a:cs typeface="Lato Regular"/>
                      </a:endParaRPr>
                    </a:p>
                  </a:txBody>
                  <a:tcPr marL="122084" marR="122084" marT="61058" marB="61058" anchor="ctr">
                    <a:lnL w="3175" cap="flat" cmpd="sng" algn="ctr">
                      <a:solidFill>
                        <a:srgbClr val="E7535F">
                          <a:lumMod val="20000"/>
                          <a:lumOff val="80000"/>
                        </a:srgbClr>
                      </a:solidFill>
                      <a:prstDash val="solid"/>
                      <a:round/>
                      <a:headEnd type="none" w="med" len="med"/>
                      <a:tailEnd type="none" w="med" len="med"/>
                    </a:lnL>
                  </a:tcPr>
                </a:tc>
              </a:tr>
            </a:tbl>
          </a:graphicData>
        </a:graphic>
      </p:graphicFrame>
      <p:grpSp>
        <p:nvGrpSpPr>
          <p:cNvPr id="11" name="Group 10"/>
          <p:cNvGrpSpPr/>
          <p:nvPr>
            <p:custDataLst>
              <p:tags r:id="rId1"/>
            </p:custDataLst>
          </p:nvPr>
        </p:nvGrpSpPr>
        <p:grpSpPr>
          <a:xfrm>
            <a:off x="9845428" y="-1643652"/>
            <a:ext cx="2341591" cy="309713"/>
            <a:chOff x="2807115" y="1400310"/>
            <a:chExt cx="1753841" cy="231913"/>
          </a:xfrm>
        </p:grpSpPr>
        <p:sp>
          <p:nvSpPr>
            <p:cNvPr id="12" name="Rounded Rectangle 11"/>
            <p:cNvSpPr/>
            <p:nvPr/>
          </p:nvSpPr>
          <p:spPr>
            <a:xfrm>
              <a:off x="2816085" y="1415855"/>
              <a:ext cx="1744871" cy="127508"/>
            </a:xfrm>
            <a:prstGeom prst="round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100"/>
            </a:p>
          </p:txBody>
        </p:sp>
        <p:sp>
          <p:nvSpPr>
            <p:cNvPr id="13" name="Text Placeholder 2"/>
            <p:cNvSpPr txBox="1">
              <a:spLocks/>
            </p:cNvSpPr>
            <p:nvPr/>
          </p:nvSpPr>
          <p:spPr>
            <a:xfrm>
              <a:off x="2807115" y="1400310"/>
              <a:ext cx="1753841"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200" dirty="0" smtClean="0">
                  <a:solidFill>
                    <a:srgbClr val="FFFFFF"/>
                  </a:solidFill>
                  <a:latin typeface="Lato Regular"/>
                  <a:cs typeface="Lato Regular"/>
                </a:rPr>
                <a:t>Project of Year</a:t>
              </a:r>
              <a:endParaRPr lang="en-US" sz="1200" dirty="0">
                <a:solidFill>
                  <a:srgbClr val="FFFFFF"/>
                </a:solidFill>
                <a:latin typeface="Lato Regular"/>
                <a:cs typeface="Lato Regular"/>
              </a:endParaRPr>
            </a:p>
          </p:txBody>
        </p:sp>
      </p:grpSp>
      <p:grpSp>
        <p:nvGrpSpPr>
          <p:cNvPr id="14" name="Group 13"/>
          <p:cNvGrpSpPr/>
          <p:nvPr>
            <p:custDataLst>
              <p:tags r:id="rId2"/>
            </p:custDataLst>
          </p:nvPr>
        </p:nvGrpSpPr>
        <p:grpSpPr>
          <a:xfrm>
            <a:off x="2288794" y="3871392"/>
            <a:ext cx="1002620" cy="309713"/>
            <a:chOff x="3059043" y="1881212"/>
            <a:chExt cx="750957" cy="231913"/>
          </a:xfrm>
        </p:grpSpPr>
        <p:sp>
          <p:nvSpPr>
            <p:cNvPr id="15" name="Rounded Rectangle 14"/>
            <p:cNvSpPr/>
            <p:nvPr/>
          </p:nvSpPr>
          <p:spPr>
            <a:xfrm>
              <a:off x="3059043" y="1907544"/>
              <a:ext cx="750957" cy="127508"/>
            </a:xfrm>
            <a:prstGeom prst="round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a:latin typeface="Roboto Regular" pitchFamily="2" charset="0"/>
                <a:ea typeface="Roboto Regular" pitchFamily="2" charset="0"/>
              </a:endParaRPr>
            </a:p>
          </p:txBody>
        </p:sp>
        <p:sp>
          <p:nvSpPr>
            <p:cNvPr id="16" name="Text Placeholder 2"/>
            <p:cNvSpPr txBox="1">
              <a:spLocks/>
            </p:cNvSpPr>
            <p:nvPr/>
          </p:nvSpPr>
          <p:spPr>
            <a:xfrm>
              <a:off x="3059043" y="1881212"/>
              <a:ext cx="750957"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00" dirty="0" smtClean="0">
                  <a:solidFill>
                    <a:srgbClr val="FFFFFF"/>
                  </a:solidFill>
                  <a:latin typeface="Roboto Regular" pitchFamily="2" charset="0"/>
                  <a:ea typeface="Roboto Regular" pitchFamily="2" charset="0"/>
                  <a:cs typeface="Lato Regular"/>
                </a:rPr>
                <a:t>Conference</a:t>
              </a:r>
              <a:endParaRPr lang="en-US" sz="1000" dirty="0">
                <a:solidFill>
                  <a:srgbClr val="FFFFFF"/>
                </a:solidFill>
                <a:latin typeface="Roboto Regular" pitchFamily="2" charset="0"/>
                <a:ea typeface="Roboto Regular" pitchFamily="2" charset="0"/>
                <a:cs typeface="Lato Regular"/>
              </a:endParaRPr>
            </a:p>
          </p:txBody>
        </p:sp>
      </p:grpSp>
      <p:grpSp>
        <p:nvGrpSpPr>
          <p:cNvPr id="17" name="Group 16"/>
          <p:cNvGrpSpPr/>
          <p:nvPr>
            <p:custDataLst>
              <p:tags r:id="rId3"/>
            </p:custDataLst>
          </p:nvPr>
        </p:nvGrpSpPr>
        <p:grpSpPr>
          <a:xfrm>
            <a:off x="5908881" y="2559702"/>
            <a:ext cx="2336986" cy="309713"/>
            <a:chOff x="1071217" y="2118647"/>
            <a:chExt cx="1750391" cy="231913"/>
          </a:xfrm>
        </p:grpSpPr>
        <p:sp>
          <p:nvSpPr>
            <p:cNvPr id="18" name="Rounded Rectangle 17"/>
            <p:cNvSpPr/>
            <p:nvPr/>
          </p:nvSpPr>
          <p:spPr>
            <a:xfrm>
              <a:off x="1071217" y="2144724"/>
              <a:ext cx="1750391" cy="127508"/>
            </a:xfrm>
            <a:prstGeom prst="roundRect">
              <a:avLst/>
            </a:prstGeom>
            <a:solidFill>
              <a:schemeClr val="accent6"/>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a:latin typeface="Roboto Regular" pitchFamily="2" charset="0"/>
                <a:ea typeface="Roboto Regular" pitchFamily="2" charset="0"/>
              </a:endParaRPr>
            </a:p>
          </p:txBody>
        </p:sp>
        <p:sp>
          <p:nvSpPr>
            <p:cNvPr id="19" name="Text Placeholder 2"/>
            <p:cNvSpPr txBox="1">
              <a:spLocks/>
            </p:cNvSpPr>
            <p:nvPr/>
          </p:nvSpPr>
          <p:spPr>
            <a:xfrm>
              <a:off x="1071217" y="2118647"/>
              <a:ext cx="1750391"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00" dirty="0" smtClean="0">
                  <a:solidFill>
                    <a:schemeClr val="bg1"/>
                  </a:solidFill>
                  <a:latin typeface="Roboto Regular" pitchFamily="2" charset="0"/>
                  <a:ea typeface="Roboto Regular" pitchFamily="2" charset="0"/>
                  <a:cs typeface="Lato Regular"/>
                </a:rPr>
                <a:t>General Campaign</a:t>
              </a:r>
              <a:endParaRPr lang="en-US" sz="1000" dirty="0">
                <a:solidFill>
                  <a:schemeClr val="bg1"/>
                </a:solidFill>
                <a:latin typeface="Roboto Regular" pitchFamily="2" charset="0"/>
                <a:ea typeface="Roboto Regular" pitchFamily="2" charset="0"/>
                <a:cs typeface="Lato Regular"/>
              </a:endParaRPr>
            </a:p>
          </p:txBody>
        </p:sp>
      </p:grpSp>
      <p:grpSp>
        <p:nvGrpSpPr>
          <p:cNvPr id="26" name="Group 25"/>
          <p:cNvGrpSpPr/>
          <p:nvPr>
            <p:custDataLst>
              <p:tags r:id="rId4"/>
            </p:custDataLst>
          </p:nvPr>
        </p:nvGrpSpPr>
        <p:grpSpPr>
          <a:xfrm>
            <a:off x="9140403" y="2231605"/>
            <a:ext cx="2013384" cy="309713"/>
            <a:chOff x="3555420" y="2866036"/>
            <a:chExt cx="1508015" cy="231913"/>
          </a:xfrm>
        </p:grpSpPr>
        <p:sp>
          <p:nvSpPr>
            <p:cNvPr id="27" name="Rounded Rectangle 26"/>
            <p:cNvSpPr/>
            <p:nvPr/>
          </p:nvSpPr>
          <p:spPr>
            <a:xfrm>
              <a:off x="3560942" y="2895681"/>
              <a:ext cx="1502493" cy="127508"/>
            </a:xfrm>
            <a:prstGeom prst="roundRect">
              <a:avLst/>
            </a:prstGeom>
            <a:solidFill>
              <a:schemeClr val="accent6"/>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a:latin typeface="Roboto Regular" pitchFamily="2" charset="0"/>
                <a:ea typeface="Roboto Regular" pitchFamily="2" charset="0"/>
              </a:endParaRPr>
            </a:p>
          </p:txBody>
        </p:sp>
        <p:sp>
          <p:nvSpPr>
            <p:cNvPr id="28" name="Text Placeholder 2"/>
            <p:cNvSpPr txBox="1">
              <a:spLocks/>
            </p:cNvSpPr>
            <p:nvPr/>
          </p:nvSpPr>
          <p:spPr>
            <a:xfrm>
              <a:off x="3555420" y="2866036"/>
              <a:ext cx="1508015"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00" dirty="0" smtClean="0">
                  <a:solidFill>
                    <a:schemeClr val="bg1"/>
                  </a:solidFill>
                  <a:latin typeface="Roboto Regular" pitchFamily="2" charset="0"/>
                  <a:ea typeface="Roboto Regular" pitchFamily="2" charset="0"/>
                  <a:cs typeface="Lato Regular"/>
                </a:rPr>
                <a:t>Manager Conference</a:t>
              </a:r>
              <a:endParaRPr lang="en-US" sz="1000" dirty="0">
                <a:solidFill>
                  <a:schemeClr val="bg1"/>
                </a:solidFill>
                <a:latin typeface="Roboto Regular" pitchFamily="2" charset="0"/>
                <a:ea typeface="Roboto Regular" pitchFamily="2" charset="0"/>
                <a:cs typeface="Lato Regular"/>
              </a:endParaRPr>
            </a:p>
          </p:txBody>
        </p:sp>
      </p:grpSp>
      <p:grpSp>
        <p:nvGrpSpPr>
          <p:cNvPr id="29" name="Group 28"/>
          <p:cNvGrpSpPr/>
          <p:nvPr>
            <p:custDataLst>
              <p:tags r:id="rId5"/>
            </p:custDataLst>
          </p:nvPr>
        </p:nvGrpSpPr>
        <p:grpSpPr>
          <a:xfrm>
            <a:off x="9043296" y="3220505"/>
            <a:ext cx="1006693" cy="309713"/>
            <a:chOff x="4800863" y="3119781"/>
            <a:chExt cx="754008" cy="231913"/>
          </a:xfrm>
        </p:grpSpPr>
        <p:sp>
          <p:nvSpPr>
            <p:cNvPr id="30" name="Rounded Rectangle 29"/>
            <p:cNvSpPr/>
            <p:nvPr/>
          </p:nvSpPr>
          <p:spPr>
            <a:xfrm>
              <a:off x="4803913" y="3155950"/>
              <a:ext cx="750957" cy="127508"/>
            </a:xfrm>
            <a:prstGeom prst="roundRect">
              <a:avLst/>
            </a:prstGeom>
            <a:solidFill>
              <a:schemeClr val="accent6"/>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a:latin typeface="Roboto Regular" pitchFamily="2" charset="0"/>
                <a:ea typeface="Roboto Regular" pitchFamily="2" charset="0"/>
              </a:endParaRPr>
            </a:p>
          </p:txBody>
        </p:sp>
        <p:sp>
          <p:nvSpPr>
            <p:cNvPr id="31" name="Text Placeholder 2"/>
            <p:cNvSpPr txBox="1">
              <a:spLocks/>
            </p:cNvSpPr>
            <p:nvPr/>
          </p:nvSpPr>
          <p:spPr>
            <a:xfrm>
              <a:off x="4800863" y="3119781"/>
              <a:ext cx="754008"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00" dirty="0">
                  <a:solidFill>
                    <a:schemeClr val="bg1"/>
                  </a:solidFill>
                  <a:latin typeface="Roboto Regular" pitchFamily="2" charset="0"/>
                  <a:ea typeface="Roboto Regular" pitchFamily="2" charset="0"/>
                  <a:cs typeface="Lato Regular"/>
                </a:rPr>
                <a:t>Conference</a:t>
              </a:r>
            </a:p>
          </p:txBody>
        </p:sp>
      </p:grpSp>
      <p:grpSp>
        <p:nvGrpSpPr>
          <p:cNvPr id="32" name="Group 31"/>
          <p:cNvGrpSpPr/>
          <p:nvPr>
            <p:custDataLst>
              <p:tags r:id="rId6"/>
            </p:custDataLst>
          </p:nvPr>
        </p:nvGrpSpPr>
        <p:grpSpPr>
          <a:xfrm>
            <a:off x="6460860" y="3554139"/>
            <a:ext cx="2001941" cy="309713"/>
            <a:chOff x="1565121" y="3373270"/>
            <a:chExt cx="1499444" cy="231913"/>
          </a:xfrm>
        </p:grpSpPr>
        <p:sp>
          <p:nvSpPr>
            <p:cNvPr id="33" name="Rounded Rectangle 32"/>
            <p:cNvSpPr/>
            <p:nvPr/>
          </p:nvSpPr>
          <p:spPr>
            <a:xfrm>
              <a:off x="1576456" y="3403681"/>
              <a:ext cx="1488109" cy="127508"/>
            </a:xfrm>
            <a:prstGeom prst="roundRect">
              <a:avLst/>
            </a:prstGeom>
            <a:solidFill>
              <a:schemeClr val="accent4"/>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a:latin typeface="Roboto Regular" pitchFamily="2" charset="0"/>
                <a:ea typeface="Roboto Regular" pitchFamily="2" charset="0"/>
              </a:endParaRPr>
            </a:p>
          </p:txBody>
        </p:sp>
        <p:sp>
          <p:nvSpPr>
            <p:cNvPr id="34" name="Text Placeholder 2"/>
            <p:cNvSpPr txBox="1">
              <a:spLocks/>
            </p:cNvSpPr>
            <p:nvPr/>
          </p:nvSpPr>
          <p:spPr>
            <a:xfrm>
              <a:off x="1565121" y="3373270"/>
              <a:ext cx="1499443"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00" dirty="0" smtClean="0">
                  <a:solidFill>
                    <a:srgbClr val="FFFFFF"/>
                  </a:solidFill>
                  <a:latin typeface="Roboto Regular" pitchFamily="2" charset="0"/>
                  <a:ea typeface="Roboto Regular" pitchFamily="2" charset="0"/>
                  <a:cs typeface="Lato Regular"/>
                </a:rPr>
                <a:t>Interviews</a:t>
              </a:r>
              <a:endParaRPr lang="en-US" sz="1000" dirty="0">
                <a:solidFill>
                  <a:srgbClr val="FFFFFF"/>
                </a:solidFill>
                <a:latin typeface="Roboto Regular" pitchFamily="2" charset="0"/>
                <a:ea typeface="Roboto Regular" pitchFamily="2" charset="0"/>
                <a:cs typeface="Lato Regular"/>
              </a:endParaRPr>
            </a:p>
          </p:txBody>
        </p:sp>
      </p:grpSp>
      <p:grpSp>
        <p:nvGrpSpPr>
          <p:cNvPr id="35" name="Group 34"/>
          <p:cNvGrpSpPr/>
          <p:nvPr>
            <p:custDataLst>
              <p:tags r:id="rId7"/>
            </p:custDataLst>
          </p:nvPr>
        </p:nvGrpSpPr>
        <p:grpSpPr>
          <a:xfrm>
            <a:off x="6796294" y="5235771"/>
            <a:ext cx="1331071" cy="309713"/>
            <a:chOff x="1565122" y="3875751"/>
            <a:chExt cx="996966" cy="231913"/>
          </a:xfrm>
        </p:grpSpPr>
        <p:sp>
          <p:nvSpPr>
            <p:cNvPr id="36" name="Rounded Rectangle 35"/>
            <p:cNvSpPr/>
            <p:nvPr/>
          </p:nvSpPr>
          <p:spPr>
            <a:xfrm>
              <a:off x="1576456" y="3906159"/>
              <a:ext cx="985631" cy="127508"/>
            </a:xfrm>
            <a:prstGeom prst="roundRect">
              <a:avLst/>
            </a:prstGeom>
            <a:solidFill>
              <a:schemeClr val="accent6"/>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a:latin typeface="Roboto Regular" pitchFamily="2" charset="0"/>
                <a:ea typeface="Roboto Regular" pitchFamily="2" charset="0"/>
              </a:endParaRPr>
            </a:p>
          </p:txBody>
        </p:sp>
        <p:sp>
          <p:nvSpPr>
            <p:cNvPr id="37" name="Text Placeholder 2"/>
            <p:cNvSpPr txBox="1">
              <a:spLocks/>
            </p:cNvSpPr>
            <p:nvPr/>
          </p:nvSpPr>
          <p:spPr>
            <a:xfrm>
              <a:off x="1565122" y="3875751"/>
              <a:ext cx="996966"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00" dirty="0" smtClean="0">
                  <a:solidFill>
                    <a:schemeClr val="bg1"/>
                  </a:solidFill>
                  <a:latin typeface="Roboto Regular" pitchFamily="2" charset="0"/>
                  <a:ea typeface="Roboto Regular" pitchFamily="2" charset="0"/>
                  <a:cs typeface="Lato Regular"/>
                </a:rPr>
                <a:t>General Meeting </a:t>
              </a:r>
              <a:endParaRPr lang="en-US" sz="1000" dirty="0">
                <a:solidFill>
                  <a:schemeClr val="bg1"/>
                </a:solidFill>
                <a:latin typeface="Roboto Regular" pitchFamily="2" charset="0"/>
                <a:ea typeface="Roboto Regular" pitchFamily="2" charset="0"/>
                <a:cs typeface="Lato Regular"/>
              </a:endParaRPr>
            </a:p>
          </p:txBody>
        </p:sp>
      </p:grpSp>
      <p:grpSp>
        <p:nvGrpSpPr>
          <p:cNvPr id="38" name="Group 37"/>
          <p:cNvGrpSpPr/>
          <p:nvPr>
            <p:custDataLst>
              <p:tags r:id="rId8"/>
            </p:custDataLst>
          </p:nvPr>
        </p:nvGrpSpPr>
        <p:grpSpPr>
          <a:xfrm>
            <a:off x="5816501" y="5603679"/>
            <a:ext cx="1333642" cy="309713"/>
            <a:chOff x="2308632" y="4133885"/>
            <a:chExt cx="998891" cy="231913"/>
          </a:xfrm>
        </p:grpSpPr>
        <p:sp>
          <p:nvSpPr>
            <p:cNvPr id="39" name="Rounded Rectangle 38"/>
            <p:cNvSpPr/>
            <p:nvPr/>
          </p:nvSpPr>
          <p:spPr>
            <a:xfrm>
              <a:off x="2320511" y="4153468"/>
              <a:ext cx="987012" cy="127508"/>
            </a:xfrm>
            <a:prstGeom prst="round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100">
                <a:latin typeface="+mj-lt"/>
              </a:endParaRPr>
            </a:p>
          </p:txBody>
        </p:sp>
        <p:sp>
          <p:nvSpPr>
            <p:cNvPr id="40" name="Text Placeholder 2"/>
            <p:cNvSpPr txBox="1">
              <a:spLocks/>
            </p:cNvSpPr>
            <p:nvPr/>
          </p:nvSpPr>
          <p:spPr>
            <a:xfrm>
              <a:off x="2308632" y="4133885"/>
              <a:ext cx="996966"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200" dirty="0" smtClean="0">
                  <a:solidFill>
                    <a:srgbClr val="FFFFFF"/>
                  </a:solidFill>
                  <a:latin typeface="+mj-lt"/>
                  <a:cs typeface="Lato Regular"/>
                </a:rPr>
                <a:t>Social Meeting</a:t>
              </a:r>
              <a:endParaRPr lang="en-US" sz="1200" dirty="0">
                <a:solidFill>
                  <a:srgbClr val="FFFFFF"/>
                </a:solidFill>
                <a:latin typeface="+mj-lt"/>
                <a:cs typeface="Lato Regular"/>
              </a:endParaRPr>
            </a:p>
          </p:txBody>
        </p:sp>
      </p:grpSp>
      <p:grpSp>
        <p:nvGrpSpPr>
          <p:cNvPr id="41" name="Group 40"/>
          <p:cNvGrpSpPr/>
          <p:nvPr>
            <p:custDataLst>
              <p:tags r:id="rId9"/>
            </p:custDataLst>
          </p:nvPr>
        </p:nvGrpSpPr>
        <p:grpSpPr>
          <a:xfrm>
            <a:off x="8318387" y="4223693"/>
            <a:ext cx="3012708" cy="309713"/>
            <a:chOff x="6048192" y="3619851"/>
            <a:chExt cx="2256504" cy="231913"/>
          </a:xfrm>
        </p:grpSpPr>
        <p:sp>
          <p:nvSpPr>
            <p:cNvPr id="42" name="Rounded Rectangle 41"/>
            <p:cNvSpPr/>
            <p:nvPr/>
          </p:nvSpPr>
          <p:spPr>
            <a:xfrm>
              <a:off x="6059527" y="3652159"/>
              <a:ext cx="2245169" cy="127508"/>
            </a:xfrm>
            <a:prstGeom prst="roundRect">
              <a:avLst/>
            </a:prstGeom>
            <a:solidFill>
              <a:schemeClr val="accent6"/>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a:latin typeface="Roboto Regular" pitchFamily="2" charset="0"/>
                <a:ea typeface="Roboto Regular" pitchFamily="2" charset="0"/>
              </a:endParaRPr>
            </a:p>
          </p:txBody>
        </p:sp>
        <p:sp>
          <p:nvSpPr>
            <p:cNvPr id="43" name="Text Placeholder 2"/>
            <p:cNvSpPr txBox="1">
              <a:spLocks/>
            </p:cNvSpPr>
            <p:nvPr/>
          </p:nvSpPr>
          <p:spPr>
            <a:xfrm>
              <a:off x="6048192" y="3619851"/>
              <a:ext cx="2256504"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00" dirty="0" smtClean="0">
                  <a:solidFill>
                    <a:schemeClr val="bg1"/>
                  </a:solidFill>
                  <a:latin typeface="Roboto Regular" pitchFamily="2" charset="0"/>
                  <a:ea typeface="Roboto Regular" pitchFamily="2" charset="0"/>
                  <a:cs typeface="Lato Regular"/>
                </a:rPr>
                <a:t>Best Workshop</a:t>
              </a:r>
              <a:endParaRPr lang="en-US" sz="1000" dirty="0">
                <a:solidFill>
                  <a:schemeClr val="bg1"/>
                </a:solidFill>
                <a:latin typeface="Roboto Regular" pitchFamily="2" charset="0"/>
                <a:ea typeface="Roboto Regular" pitchFamily="2" charset="0"/>
                <a:cs typeface="Lato Regular"/>
              </a:endParaRPr>
            </a:p>
          </p:txBody>
        </p:sp>
      </p:grpSp>
      <p:grpSp>
        <p:nvGrpSpPr>
          <p:cNvPr id="47" name="Group 46"/>
          <p:cNvGrpSpPr/>
          <p:nvPr>
            <p:custDataLst>
              <p:tags r:id="rId10"/>
            </p:custDataLst>
          </p:nvPr>
        </p:nvGrpSpPr>
        <p:grpSpPr>
          <a:xfrm>
            <a:off x="8389537" y="4901690"/>
            <a:ext cx="1002622" cy="309713"/>
            <a:chOff x="3059042" y="1870679"/>
            <a:chExt cx="750958" cy="231913"/>
          </a:xfrm>
        </p:grpSpPr>
        <p:sp>
          <p:nvSpPr>
            <p:cNvPr id="48" name="Rounded Rectangle 47"/>
            <p:cNvSpPr/>
            <p:nvPr/>
          </p:nvSpPr>
          <p:spPr>
            <a:xfrm>
              <a:off x="3059043" y="1907544"/>
              <a:ext cx="750957" cy="127508"/>
            </a:xfrm>
            <a:prstGeom prst="round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a:latin typeface="Roboto Regular" pitchFamily="2" charset="0"/>
                <a:ea typeface="Roboto Regular" pitchFamily="2" charset="0"/>
              </a:endParaRPr>
            </a:p>
          </p:txBody>
        </p:sp>
        <p:sp>
          <p:nvSpPr>
            <p:cNvPr id="49" name="Text Placeholder 2"/>
            <p:cNvSpPr txBox="1">
              <a:spLocks/>
            </p:cNvSpPr>
            <p:nvPr/>
          </p:nvSpPr>
          <p:spPr>
            <a:xfrm>
              <a:off x="3059042" y="1870679"/>
              <a:ext cx="750957"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00" dirty="0" smtClean="0">
                  <a:solidFill>
                    <a:srgbClr val="FFFFFF"/>
                  </a:solidFill>
                  <a:latin typeface="Roboto Regular" pitchFamily="2" charset="0"/>
                  <a:ea typeface="Roboto Regular" pitchFamily="2" charset="0"/>
                  <a:cs typeface="Lato Regular"/>
                </a:rPr>
                <a:t>Conference</a:t>
              </a:r>
              <a:endParaRPr lang="en-US" sz="1000" dirty="0">
                <a:solidFill>
                  <a:srgbClr val="FFFFFF"/>
                </a:solidFill>
                <a:latin typeface="Roboto Regular" pitchFamily="2" charset="0"/>
                <a:ea typeface="Roboto Regular" pitchFamily="2" charset="0"/>
                <a:cs typeface="Lato Regular"/>
              </a:endParaRPr>
            </a:p>
          </p:txBody>
        </p:sp>
      </p:grpSp>
      <p:grpSp>
        <p:nvGrpSpPr>
          <p:cNvPr id="50" name="Group 49"/>
          <p:cNvGrpSpPr/>
          <p:nvPr>
            <p:custDataLst>
              <p:tags r:id="rId11"/>
            </p:custDataLst>
          </p:nvPr>
        </p:nvGrpSpPr>
        <p:grpSpPr>
          <a:xfrm>
            <a:off x="3141531" y="2231605"/>
            <a:ext cx="1331071" cy="309713"/>
            <a:chOff x="1565122" y="3875749"/>
            <a:chExt cx="996966" cy="231913"/>
          </a:xfrm>
        </p:grpSpPr>
        <p:sp>
          <p:nvSpPr>
            <p:cNvPr id="51" name="Rounded Rectangle 50"/>
            <p:cNvSpPr/>
            <p:nvPr/>
          </p:nvSpPr>
          <p:spPr>
            <a:xfrm>
              <a:off x="1576456" y="3906159"/>
              <a:ext cx="985631" cy="127508"/>
            </a:xfrm>
            <a:prstGeom prst="roundRect">
              <a:avLst/>
            </a:prstGeom>
            <a:solidFill>
              <a:schemeClr val="accent6"/>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a:latin typeface="Roboto Regular" pitchFamily="2" charset="0"/>
                <a:ea typeface="Roboto Regular" pitchFamily="2" charset="0"/>
              </a:endParaRPr>
            </a:p>
          </p:txBody>
        </p:sp>
        <p:sp>
          <p:nvSpPr>
            <p:cNvPr id="52" name="Text Placeholder 2"/>
            <p:cNvSpPr txBox="1">
              <a:spLocks/>
            </p:cNvSpPr>
            <p:nvPr/>
          </p:nvSpPr>
          <p:spPr>
            <a:xfrm>
              <a:off x="1565122" y="3875749"/>
              <a:ext cx="996966"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00" dirty="0" smtClean="0">
                  <a:solidFill>
                    <a:schemeClr val="bg1"/>
                  </a:solidFill>
                  <a:latin typeface="Roboto Regular" pitchFamily="2" charset="0"/>
                  <a:ea typeface="Roboto Regular" pitchFamily="2" charset="0"/>
                  <a:cs typeface="Lato Regular"/>
                </a:rPr>
                <a:t>General Meeting </a:t>
              </a:r>
              <a:endParaRPr lang="en-US" sz="1000" dirty="0">
                <a:solidFill>
                  <a:schemeClr val="bg1"/>
                </a:solidFill>
                <a:latin typeface="Roboto Regular" pitchFamily="2" charset="0"/>
                <a:ea typeface="Roboto Regular" pitchFamily="2" charset="0"/>
                <a:cs typeface="Lato Regular"/>
              </a:endParaRPr>
            </a:p>
          </p:txBody>
        </p:sp>
      </p:grpSp>
      <p:grpSp>
        <p:nvGrpSpPr>
          <p:cNvPr id="53" name="Group 52"/>
          <p:cNvGrpSpPr/>
          <p:nvPr>
            <p:custDataLst>
              <p:tags r:id="rId12"/>
            </p:custDataLst>
          </p:nvPr>
        </p:nvGrpSpPr>
        <p:grpSpPr>
          <a:xfrm>
            <a:off x="4015607" y="3220505"/>
            <a:ext cx="1207000" cy="309713"/>
            <a:chOff x="1565121" y="3373270"/>
            <a:chExt cx="1499444" cy="231913"/>
          </a:xfrm>
        </p:grpSpPr>
        <p:sp>
          <p:nvSpPr>
            <p:cNvPr id="54" name="Rounded Rectangle 53"/>
            <p:cNvSpPr/>
            <p:nvPr/>
          </p:nvSpPr>
          <p:spPr>
            <a:xfrm>
              <a:off x="1576456" y="3403681"/>
              <a:ext cx="1488109" cy="127508"/>
            </a:xfrm>
            <a:prstGeom prst="roundRect">
              <a:avLst/>
            </a:prstGeom>
            <a:solidFill>
              <a:schemeClr val="accent4"/>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a:latin typeface="Roboto Regular" pitchFamily="2" charset="0"/>
                <a:ea typeface="Roboto Regular" pitchFamily="2" charset="0"/>
              </a:endParaRPr>
            </a:p>
          </p:txBody>
        </p:sp>
        <p:sp>
          <p:nvSpPr>
            <p:cNvPr id="55" name="Text Placeholder 2"/>
            <p:cNvSpPr txBox="1">
              <a:spLocks/>
            </p:cNvSpPr>
            <p:nvPr/>
          </p:nvSpPr>
          <p:spPr>
            <a:xfrm>
              <a:off x="1565121" y="3373270"/>
              <a:ext cx="1499443"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00" dirty="0" smtClean="0">
                  <a:solidFill>
                    <a:srgbClr val="FFFFFF"/>
                  </a:solidFill>
                  <a:latin typeface="Roboto Regular" pitchFamily="2" charset="0"/>
                  <a:ea typeface="Roboto Regular" pitchFamily="2" charset="0"/>
                  <a:cs typeface="Lato Regular"/>
                </a:rPr>
                <a:t>Meeting</a:t>
              </a:r>
              <a:endParaRPr lang="en-US" sz="1000" dirty="0">
                <a:solidFill>
                  <a:srgbClr val="FFFFFF"/>
                </a:solidFill>
                <a:latin typeface="Roboto Regular" pitchFamily="2" charset="0"/>
                <a:ea typeface="Roboto Regular" pitchFamily="2" charset="0"/>
                <a:cs typeface="Lato Regular"/>
              </a:endParaRPr>
            </a:p>
          </p:txBody>
        </p:sp>
      </p:grpSp>
      <p:grpSp>
        <p:nvGrpSpPr>
          <p:cNvPr id="56" name="Group 55"/>
          <p:cNvGrpSpPr/>
          <p:nvPr>
            <p:custDataLst>
              <p:tags r:id="rId13"/>
            </p:custDataLst>
          </p:nvPr>
        </p:nvGrpSpPr>
        <p:grpSpPr>
          <a:xfrm>
            <a:off x="5378431" y="-1643652"/>
            <a:ext cx="1002620" cy="309713"/>
            <a:chOff x="3059043" y="1891746"/>
            <a:chExt cx="750957" cy="231913"/>
          </a:xfrm>
        </p:grpSpPr>
        <p:sp>
          <p:nvSpPr>
            <p:cNvPr id="57" name="Rounded Rectangle 56"/>
            <p:cNvSpPr/>
            <p:nvPr/>
          </p:nvSpPr>
          <p:spPr>
            <a:xfrm>
              <a:off x="3059043" y="1907544"/>
              <a:ext cx="750957" cy="127508"/>
            </a:xfrm>
            <a:prstGeom prst="round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100"/>
            </a:p>
          </p:txBody>
        </p:sp>
        <p:sp>
          <p:nvSpPr>
            <p:cNvPr id="58" name="Text Placeholder 2"/>
            <p:cNvSpPr txBox="1">
              <a:spLocks/>
            </p:cNvSpPr>
            <p:nvPr/>
          </p:nvSpPr>
          <p:spPr>
            <a:xfrm>
              <a:off x="3059043" y="1891746"/>
              <a:ext cx="750957"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200" dirty="0" smtClean="0">
                  <a:solidFill>
                    <a:srgbClr val="FFFFFF"/>
                  </a:solidFill>
                  <a:latin typeface="Lato Regular"/>
                  <a:cs typeface="Lato Regular"/>
                </a:rPr>
                <a:t>Conference</a:t>
              </a:r>
              <a:endParaRPr lang="en-US" sz="1200" dirty="0">
                <a:solidFill>
                  <a:srgbClr val="FFFFFF"/>
                </a:solidFill>
                <a:latin typeface="Lato Regular"/>
                <a:cs typeface="Lato Regular"/>
              </a:endParaRPr>
            </a:p>
          </p:txBody>
        </p:sp>
      </p:grpSp>
      <p:grpSp>
        <p:nvGrpSpPr>
          <p:cNvPr id="59" name="Group 58"/>
          <p:cNvGrpSpPr/>
          <p:nvPr>
            <p:custDataLst>
              <p:tags r:id="rId14"/>
            </p:custDataLst>
          </p:nvPr>
        </p:nvGrpSpPr>
        <p:grpSpPr>
          <a:xfrm>
            <a:off x="5262882" y="4554473"/>
            <a:ext cx="2120271" cy="309713"/>
            <a:chOff x="7045158" y="2364915"/>
            <a:chExt cx="757059" cy="231913"/>
          </a:xfrm>
        </p:grpSpPr>
        <p:sp>
          <p:nvSpPr>
            <p:cNvPr id="60" name="Rounded Rectangle 59"/>
            <p:cNvSpPr/>
            <p:nvPr/>
          </p:nvSpPr>
          <p:spPr>
            <a:xfrm>
              <a:off x="7045158" y="2401558"/>
              <a:ext cx="757059" cy="127508"/>
            </a:xfrm>
            <a:prstGeom prst="roundRect">
              <a:avLst/>
            </a:prstGeom>
            <a:solidFill>
              <a:schemeClr val="accent4"/>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a:latin typeface="Roboto Regular" pitchFamily="2" charset="0"/>
                <a:ea typeface="Roboto Regular" pitchFamily="2" charset="0"/>
              </a:endParaRPr>
            </a:p>
          </p:txBody>
        </p:sp>
        <p:sp>
          <p:nvSpPr>
            <p:cNvPr id="61" name="Text Placeholder 2"/>
            <p:cNvSpPr txBox="1">
              <a:spLocks/>
            </p:cNvSpPr>
            <p:nvPr/>
          </p:nvSpPr>
          <p:spPr>
            <a:xfrm>
              <a:off x="7045158" y="2364915"/>
              <a:ext cx="757059"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00" dirty="0">
                  <a:solidFill>
                    <a:srgbClr val="FFFFFF"/>
                  </a:solidFill>
                  <a:latin typeface="Roboto Regular" pitchFamily="2" charset="0"/>
                  <a:ea typeface="Roboto Regular" pitchFamily="2" charset="0"/>
                  <a:cs typeface="Lato Regular"/>
                </a:rPr>
                <a:t>Conference</a:t>
              </a:r>
            </a:p>
          </p:txBody>
        </p:sp>
      </p:grpSp>
      <p:grpSp>
        <p:nvGrpSpPr>
          <p:cNvPr id="62" name="Group 61"/>
          <p:cNvGrpSpPr/>
          <p:nvPr>
            <p:custDataLst>
              <p:tags r:id="rId15"/>
            </p:custDataLst>
          </p:nvPr>
        </p:nvGrpSpPr>
        <p:grpSpPr>
          <a:xfrm>
            <a:off x="2700743" y="4873554"/>
            <a:ext cx="1207000" cy="309713"/>
            <a:chOff x="1565121" y="3362736"/>
            <a:chExt cx="1499444" cy="231913"/>
          </a:xfrm>
        </p:grpSpPr>
        <p:sp>
          <p:nvSpPr>
            <p:cNvPr id="63" name="Rounded Rectangle 62"/>
            <p:cNvSpPr/>
            <p:nvPr/>
          </p:nvSpPr>
          <p:spPr>
            <a:xfrm>
              <a:off x="1576456" y="3403681"/>
              <a:ext cx="1488109" cy="127508"/>
            </a:xfrm>
            <a:prstGeom prst="roundRect">
              <a:avLst/>
            </a:prstGeom>
            <a:solidFill>
              <a:schemeClr val="accent4"/>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900">
                <a:latin typeface="Roboto Regular" pitchFamily="2" charset="0"/>
                <a:ea typeface="Roboto Regular" pitchFamily="2" charset="0"/>
              </a:endParaRPr>
            </a:p>
          </p:txBody>
        </p:sp>
        <p:sp>
          <p:nvSpPr>
            <p:cNvPr id="64" name="Text Placeholder 2"/>
            <p:cNvSpPr txBox="1">
              <a:spLocks/>
            </p:cNvSpPr>
            <p:nvPr/>
          </p:nvSpPr>
          <p:spPr>
            <a:xfrm>
              <a:off x="1565121" y="3362736"/>
              <a:ext cx="1499443" cy="231913"/>
            </a:xfrm>
            <a:prstGeom prst="rect">
              <a:avLst/>
            </a:prstGeom>
          </p:spPr>
          <p:txBody>
            <a:bodyPr vert="horz"/>
            <a:lstStyle>
              <a:lvl1pPr marL="0" indent="0" algn="l" defTabSz="457200" rtl="0" eaLnBrk="1" latinLnBrk="0" hangingPunct="1">
                <a:spcBef>
                  <a:spcPct val="20000"/>
                </a:spcBef>
                <a:buFont typeface="Arial"/>
                <a:buNone/>
                <a:defRPr sz="800" kern="1200" baseline="0">
                  <a:solidFill>
                    <a:schemeClr val="bg1">
                      <a:lumMod val="65000"/>
                    </a:schemeClr>
                  </a:solidFill>
                  <a:latin typeface="Roboto condensed"/>
                  <a:ea typeface="+mn-ea"/>
                  <a:cs typeface="Roboto condensed"/>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00" dirty="0" smtClean="0">
                  <a:solidFill>
                    <a:srgbClr val="FFFFFF"/>
                  </a:solidFill>
                  <a:latin typeface="Roboto Regular" pitchFamily="2" charset="0"/>
                  <a:ea typeface="Roboto Regular" pitchFamily="2" charset="0"/>
                  <a:cs typeface="Lato Regular"/>
                </a:rPr>
                <a:t>Meeting</a:t>
              </a:r>
              <a:endParaRPr lang="en-US" sz="1000" dirty="0">
                <a:solidFill>
                  <a:srgbClr val="FFFFFF"/>
                </a:solidFill>
                <a:latin typeface="Roboto Regular" pitchFamily="2" charset="0"/>
                <a:ea typeface="Roboto Regular" pitchFamily="2" charset="0"/>
                <a:cs typeface="Lato Regular"/>
              </a:endParaRPr>
            </a:p>
          </p:txBody>
        </p:sp>
      </p:grpSp>
      <p:sp>
        <p:nvSpPr>
          <p:cNvPr id="65"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11_84 14_84 17_84 26_84 29_84 32_84 35_84 38_84 41_84 47_84 50_84 53_84 56_84 59_84 62_84</a:t>
            </a:r>
            <a:endParaRPr lang="en-US" sz="100" dirty="0" err="1" smtClean="0">
              <a:solidFill>
                <a:srgbClr val="FFFFFF"/>
              </a:solidFill>
            </a:endParaRPr>
          </a:p>
        </p:txBody>
      </p:sp>
    </p:spTree>
    <p:extLst>
      <p:ext uri="{BB962C8B-B14F-4D97-AF65-F5344CB8AC3E}">
        <p14:creationId xmlns:p14="http://schemas.microsoft.com/office/powerpoint/2010/main" val="312242574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arch map</a:t>
            </a:r>
            <a:endParaRPr lang="en-US" dirty="0"/>
          </a:p>
        </p:txBody>
      </p:sp>
      <p:grpSp>
        <p:nvGrpSpPr>
          <p:cNvPr id="27" name="Group 26"/>
          <p:cNvGrpSpPr/>
          <p:nvPr>
            <p:custDataLst>
              <p:tags r:id="rId1"/>
            </p:custDataLst>
          </p:nvPr>
        </p:nvGrpSpPr>
        <p:grpSpPr>
          <a:xfrm>
            <a:off x="969896" y="1714500"/>
            <a:ext cx="10901495" cy="3932038"/>
            <a:chOff x="2721576" y="3786483"/>
            <a:chExt cx="18044008" cy="6508256"/>
          </a:xfrm>
        </p:grpSpPr>
        <p:sp>
          <p:nvSpPr>
            <p:cNvPr id="3" name="Rounded Rectangle 2"/>
            <p:cNvSpPr/>
            <p:nvPr/>
          </p:nvSpPr>
          <p:spPr>
            <a:xfrm>
              <a:off x="10015190" y="4331667"/>
              <a:ext cx="4415340" cy="1391150"/>
            </a:xfrm>
            <a:prstGeom prst="roundRect">
              <a:avLst>
                <a:gd name="adj" fmla="val 7260"/>
              </a:avLst>
            </a:prstGeom>
            <a:solidFill>
              <a:srgbClr val="0A3E5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43" tIns="91422" rIns="182843" bIns="91422" rtlCol="0" anchor="ctr"/>
            <a:lstStyle/>
            <a:p>
              <a:pPr algn="ctr"/>
              <a:endParaRPr lang="bg-BG" sz="1050">
                <a:solidFill>
                  <a:srgbClr val="58595B"/>
                </a:solidFill>
                <a:latin typeface="+mj-lt"/>
              </a:endParaRPr>
            </a:p>
          </p:txBody>
        </p:sp>
        <p:sp>
          <p:nvSpPr>
            <p:cNvPr id="4" name="Rectangle 3"/>
            <p:cNvSpPr/>
            <p:nvPr/>
          </p:nvSpPr>
          <p:spPr>
            <a:xfrm>
              <a:off x="10834729" y="4575835"/>
              <a:ext cx="2776258" cy="916909"/>
            </a:xfrm>
            <a:prstGeom prst="rect">
              <a:avLst/>
            </a:prstGeom>
            <a:solidFill>
              <a:srgbClr val="0A3E56"/>
            </a:solidFill>
          </p:spPr>
          <p:txBody>
            <a:bodyPr wrap="none" lIns="182843" tIns="91422" rIns="182843" bIns="91422">
              <a:spAutoFit/>
            </a:bodyPr>
            <a:lstStyle/>
            <a:p>
              <a:pPr algn="ctr"/>
              <a:r>
                <a:rPr lang="en-US" sz="2400" dirty="0">
                  <a:solidFill>
                    <a:schemeClr val="bg2"/>
                  </a:solidFill>
                  <a:latin typeface="+mj-lt"/>
                  <a:cs typeface="Lato Regular"/>
                </a:rPr>
                <a:t>Research</a:t>
              </a:r>
              <a:endParaRPr lang="bg-BG" sz="2400" dirty="0">
                <a:solidFill>
                  <a:schemeClr val="bg2"/>
                </a:solidFill>
                <a:latin typeface="+mj-lt"/>
                <a:cs typeface="Lato Regular"/>
              </a:endParaRPr>
            </a:p>
          </p:txBody>
        </p:sp>
        <p:sp>
          <p:nvSpPr>
            <p:cNvPr id="5" name="Rounded Rectangle 4"/>
            <p:cNvSpPr/>
            <p:nvPr/>
          </p:nvSpPr>
          <p:spPr>
            <a:xfrm>
              <a:off x="10015190" y="6363837"/>
              <a:ext cx="4415340" cy="1391150"/>
            </a:xfrm>
            <a:prstGeom prst="roundRect">
              <a:avLst>
                <a:gd name="adj" fmla="val 72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43" tIns="91422" rIns="182843" bIns="91422" rtlCol="0" anchor="ctr"/>
            <a:lstStyle/>
            <a:p>
              <a:pPr algn="ctr"/>
              <a:endParaRPr lang="bg-BG" sz="1050">
                <a:solidFill>
                  <a:srgbClr val="58595B"/>
                </a:solidFill>
                <a:latin typeface="+mj-lt"/>
              </a:endParaRPr>
            </a:p>
          </p:txBody>
        </p:sp>
        <p:sp>
          <p:nvSpPr>
            <p:cNvPr id="6" name="Rectangle 5"/>
            <p:cNvSpPr/>
            <p:nvPr/>
          </p:nvSpPr>
          <p:spPr>
            <a:xfrm>
              <a:off x="11016482" y="6608003"/>
              <a:ext cx="2412759" cy="815024"/>
            </a:xfrm>
            <a:prstGeom prst="rect">
              <a:avLst/>
            </a:prstGeom>
            <a:solidFill>
              <a:schemeClr val="accent3"/>
            </a:solidFill>
          </p:spPr>
          <p:txBody>
            <a:bodyPr wrap="none" lIns="182843" tIns="91422" rIns="182843" bIns="91422">
              <a:spAutoFit/>
            </a:bodyPr>
            <a:lstStyle/>
            <a:p>
              <a:pPr algn="ctr"/>
              <a:r>
                <a:rPr lang="en-US" sz="2000" dirty="0">
                  <a:solidFill>
                    <a:srgbClr val="58595B"/>
                  </a:solidFill>
                  <a:latin typeface="+mj-lt"/>
                  <a:cs typeface="Lato Regular"/>
                </a:rPr>
                <a:t>Research</a:t>
              </a:r>
              <a:endParaRPr lang="bg-BG" sz="2000" dirty="0">
                <a:solidFill>
                  <a:srgbClr val="58595B"/>
                </a:solidFill>
                <a:latin typeface="+mj-lt"/>
                <a:cs typeface="Lato Regular"/>
              </a:endParaRPr>
            </a:p>
          </p:txBody>
        </p:sp>
        <p:sp>
          <p:nvSpPr>
            <p:cNvPr id="7" name="Rounded Rectangle 6"/>
            <p:cNvSpPr/>
            <p:nvPr/>
          </p:nvSpPr>
          <p:spPr>
            <a:xfrm>
              <a:off x="10015190" y="8396007"/>
              <a:ext cx="4415340" cy="1391150"/>
            </a:xfrm>
            <a:prstGeom prst="roundRect">
              <a:avLst>
                <a:gd name="adj" fmla="val 72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43" tIns="91422" rIns="182843" bIns="91422" rtlCol="0" anchor="ctr"/>
            <a:lstStyle/>
            <a:p>
              <a:pPr algn="ctr"/>
              <a:endParaRPr lang="bg-BG" sz="1050">
                <a:solidFill>
                  <a:srgbClr val="58595B"/>
                </a:solidFill>
                <a:latin typeface="+mj-lt"/>
              </a:endParaRPr>
            </a:p>
          </p:txBody>
        </p:sp>
        <p:sp>
          <p:nvSpPr>
            <p:cNvPr id="8" name="Rectangle 7"/>
            <p:cNvSpPr/>
            <p:nvPr/>
          </p:nvSpPr>
          <p:spPr>
            <a:xfrm>
              <a:off x="11016482" y="8640173"/>
              <a:ext cx="2412759" cy="815024"/>
            </a:xfrm>
            <a:prstGeom prst="rect">
              <a:avLst/>
            </a:prstGeom>
            <a:solidFill>
              <a:schemeClr val="accent4"/>
            </a:solidFill>
          </p:spPr>
          <p:txBody>
            <a:bodyPr wrap="none" lIns="182843" tIns="91422" rIns="182843" bIns="91422">
              <a:spAutoFit/>
            </a:bodyPr>
            <a:lstStyle/>
            <a:p>
              <a:pPr algn="ctr"/>
              <a:r>
                <a:rPr lang="en-US" sz="2000" dirty="0">
                  <a:solidFill>
                    <a:srgbClr val="58595B"/>
                  </a:solidFill>
                  <a:latin typeface="+mj-lt"/>
                  <a:cs typeface="Lato Regular"/>
                </a:rPr>
                <a:t>Research</a:t>
              </a:r>
              <a:endParaRPr lang="bg-BG" sz="2000" dirty="0">
                <a:solidFill>
                  <a:srgbClr val="58595B"/>
                </a:solidFill>
                <a:latin typeface="+mj-lt"/>
                <a:cs typeface="Lato Regular"/>
              </a:endParaRPr>
            </a:p>
          </p:txBody>
        </p:sp>
        <p:sp>
          <p:nvSpPr>
            <p:cNvPr id="9" name="Rounded Rectangle 8"/>
            <p:cNvSpPr/>
            <p:nvPr/>
          </p:nvSpPr>
          <p:spPr>
            <a:xfrm>
              <a:off x="2721576" y="6209658"/>
              <a:ext cx="5375194" cy="1719536"/>
            </a:xfrm>
            <a:prstGeom prst="roundRect">
              <a:avLst>
                <a:gd name="adj" fmla="val 726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43" tIns="91422" rIns="182843" bIns="91422" rtlCol="0" anchor="ctr"/>
            <a:lstStyle/>
            <a:p>
              <a:pPr algn="ctr"/>
              <a:endParaRPr lang="bg-BG" sz="1050">
                <a:solidFill>
                  <a:srgbClr val="58595B"/>
                </a:solidFill>
                <a:latin typeface="+mj-lt"/>
              </a:endParaRPr>
            </a:p>
          </p:txBody>
        </p:sp>
        <p:sp>
          <p:nvSpPr>
            <p:cNvPr id="10" name="Rectangle 9"/>
            <p:cNvSpPr/>
            <p:nvPr/>
          </p:nvSpPr>
          <p:spPr>
            <a:xfrm>
              <a:off x="4193610" y="6527098"/>
              <a:ext cx="3140142" cy="1120680"/>
            </a:xfrm>
            <a:prstGeom prst="rect">
              <a:avLst/>
            </a:prstGeom>
            <a:solidFill>
              <a:schemeClr val="accent1"/>
            </a:solidFill>
          </p:spPr>
          <p:txBody>
            <a:bodyPr wrap="square" lIns="182843" tIns="91422" rIns="182843" bIns="91422">
              <a:spAutoFit/>
            </a:bodyPr>
            <a:lstStyle/>
            <a:p>
              <a:pPr algn="ctr"/>
              <a:r>
                <a:rPr lang="en-US" sz="3200" dirty="0">
                  <a:solidFill>
                    <a:srgbClr val="58595B"/>
                  </a:solidFill>
                  <a:latin typeface="+mj-lt"/>
                  <a:cs typeface="Lato Regular"/>
                </a:rPr>
                <a:t>Start</a:t>
              </a:r>
              <a:endParaRPr lang="bg-BG" sz="3200" dirty="0">
                <a:solidFill>
                  <a:srgbClr val="58595B"/>
                </a:solidFill>
                <a:latin typeface="+mj-lt"/>
                <a:cs typeface="Lato Regular"/>
              </a:endParaRPr>
            </a:p>
          </p:txBody>
        </p:sp>
        <p:sp>
          <p:nvSpPr>
            <p:cNvPr id="11" name="Rounded Rectangle 10"/>
            <p:cNvSpPr/>
            <p:nvPr/>
          </p:nvSpPr>
          <p:spPr>
            <a:xfrm>
              <a:off x="16350244" y="3786483"/>
              <a:ext cx="4415340" cy="984750"/>
            </a:xfrm>
            <a:prstGeom prst="roundRect">
              <a:avLst>
                <a:gd name="adj" fmla="val 726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43" tIns="91422" rIns="182843" bIns="91422" rtlCol="0" anchor="ctr"/>
            <a:lstStyle/>
            <a:p>
              <a:pPr algn="ctr"/>
              <a:endParaRPr lang="bg-BG" sz="1050">
                <a:solidFill>
                  <a:srgbClr val="58595B"/>
                </a:solidFill>
                <a:latin typeface="+mj-lt"/>
              </a:endParaRPr>
            </a:p>
          </p:txBody>
        </p:sp>
        <p:sp>
          <p:nvSpPr>
            <p:cNvPr id="12" name="Rectangle 11"/>
            <p:cNvSpPr/>
            <p:nvPr/>
          </p:nvSpPr>
          <p:spPr>
            <a:xfrm>
              <a:off x="17169787" y="3827451"/>
              <a:ext cx="2776258" cy="916909"/>
            </a:xfrm>
            <a:prstGeom prst="rect">
              <a:avLst/>
            </a:prstGeom>
            <a:solidFill>
              <a:schemeClr val="accent1"/>
            </a:solidFill>
          </p:spPr>
          <p:txBody>
            <a:bodyPr wrap="none" lIns="182843" tIns="91422" rIns="182843" bIns="91422">
              <a:spAutoFit/>
            </a:bodyPr>
            <a:lstStyle/>
            <a:p>
              <a:pPr algn="ctr"/>
              <a:r>
                <a:rPr lang="en-US" sz="2400" dirty="0">
                  <a:solidFill>
                    <a:srgbClr val="58595B"/>
                  </a:solidFill>
                  <a:latin typeface="+mj-lt"/>
                  <a:cs typeface="Lato Regular"/>
                </a:rPr>
                <a:t>Research</a:t>
              </a:r>
              <a:endParaRPr lang="bg-BG" sz="2400" dirty="0">
                <a:solidFill>
                  <a:srgbClr val="58595B"/>
                </a:solidFill>
                <a:latin typeface="+mj-lt"/>
                <a:cs typeface="Lato Regular"/>
              </a:endParaRPr>
            </a:p>
          </p:txBody>
        </p:sp>
        <p:sp>
          <p:nvSpPr>
            <p:cNvPr id="13" name="Rounded Rectangle 12"/>
            <p:cNvSpPr/>
            <p:nvPr/>
          </p:nvSpPr>
          <p:spPr>
            <a:xfrm>
              <a:off x="16350244" y="5277548"/>
              <a:ext cx="4415340" cy="984752"/>
            </a:xfrm>
            <a:prstGeom prst="roundRect">
              <a:avLst>
                <a:gd name="adj" fmla="val 7260"/>
              </a:avLst>
            </a:prstGeom>
            <a:solidFill>
              <a:srgbClr val="0A3E5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43" tIns="91422" rIns="182843" bIns="91422" rtlCol="0" anchor="ctr"/>
            <a:lstStyle/>
            <a:p>
              <a:pPr algn="ctr"/>
              <a:endParaRPr lang="bg-BG" sz="1050">
                <a:solidFill>
                  <a:srgbClr val="58595B"/>
                </a:solidFill>
                <a:latin typeface="+mj-lt"/>
              </a:endParaRPr>
            </a:p>
          </p:txBody>
        </p:sp>
        <p:sp>
          <p:nvSpPr>
            <p:cNvPr id="14" name="Rectangle 13"/>
            <p:cNvSpPr/>
            <p:nvPr/>
          </p:nvSpPr>
          <p:spPr>
            <a:xfrm>
              <a:off x="17351537" y="5318515"/>
              <a:ext cx="2412759" cy="815024"/>
            </a:xfrm>
            <a:prstGeom prst="rect">
              <a:avLst/>
            </a:prstGeom>
            <a:solidFill>
              <a:srgbClr val="0A3E56"/>
            </a:solidFill>
          </p:spPr>
          <p:txBody>
            <a:bodyPr wrap="none" lIns="182843" tIns="91422" rIns="182843" bIns="91422">
              <a:spAutoFit/>
            </a:bodyPr>
            <a:lstStyle/>
            <a:p>
              <a:pPr algn="ctr"/>
              <a:r>
                <a:rPr lang="en-US" sz="2000" dirty="0">
                  <a:solidFill>
                    <a:schemeClr val="bg2"/>
                  </a:solidFill>
                  <a:latin typeface="+mj-lt"/>
                  <a:cs typeface="Lato Regular"/>
                </a:rPr>
                <a:t>Research</a:t>
              </a:r>
              <a:endParaRPr lang="bg-BG" sz="2000" dirty="0">
                <a:solidFill>
                  <a:schemeClr val="bg2"/>
                </a:solidFill>
                <a:latin typeface="+mj-lt"/>
                <a:cs typeface="Lato Regular"/>
              </a:endParaRPr>
            </a:p>
          </p:txBody>
        </p:sp>
        <p:sp>
          <p:nvSpPr>
            <p:cNvPr id="15" name="Rounded Rectangle 14"/>
            <p:cNvSpPr/>
            <p:nvPr/>
          </p:nvSpPr>
          <p:spPr>
            <a:xfrm>
              <a:off x="16350244" y="7818931"/>
              <a:ext cx="4415340" cy="984750"/>
            </a:xfrm>
            <a:prstGeom prst="roundRect">
              <a:avLst>
                <a:gd name="adj" fmla="val 72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43" tIns="91422" rIns="182843" bIns="91422" rtlCol="0" anchor="ctr"/>
            <a:lstStyle/>
            <a:p>
              <a:pPr algn="ctr"/>
              <a:endParaRPr lang="bg-BG" sz="1050">
                <a:solidFill>
                  <a:srgbClr val="58595B"/>
                </a:solidFill>
                <a:latin typeface="+mj-lt"/>
              </a:endParaRPr>
            </a:p>
          </p:txBody>
        </p:sp>
        <p:sp>
          <p:nvSpPr>
            <p:cNvPr id="16" name="Rectangle 15"/>
            <p:cNvSpPr/>
            <p:nvPr/>
          </p:nvSpPr>
          <p:spPr>
            <a:xfrm>
              <a:off x="17351537" y="7859898"/>
              <a:ext cx="2412759" cy="815024"/>
            </a:xfrm>
            <a:prstGeom prst="rect">
              <a:avLst/>
            </a:prstGeom>
            <a:solidFill>
              <a:schemeClr val="accent3"/>
            </a:solidFill>
          </p:spPr>
          <p:txBody>
            <a:bodyPr wrap="none" lIns="182843" tIns="91422" rIns="182843" bIns="91422">
              <a:spAutoFit/>
            </a:bodyPr>
            <a:lstStyle/>
            <a:p>
              <a:pPr algn="ctr"/>
              <a:r>
                <a:rPr lang="en-US" sz="2000" dirty="0">
                  <a:solidFill>
                    <a:srgbClr val="58595B"/>
                  </a:solidFill>
                  <a:latin typeface="+mj-lt"/>
                  <a:cs typeface="Lato Regular"/>
                </a:rPr>
                <a:t>Research</a:t>
              </a:r>
              <a:endParaRPr lang="bg-BG" sz="2000" dirty="0">
                <a:solidFill>
                  <a:srgbClr val="58595B"/>
                </a:solidFill>
                <a:latin typeface="+mj-lt"/>
                <a:cs typeface="Lato Regular"/>
              </a:endParaRPr>
            </a:p>
          </p:txBody>
        </p:sp>
        <p:sp>
          <p:nvSpPr>
            <p:cNvPr id="17" name="Rounded Rectangle 16"/>
            <p:cNvSpPr/>
            <p:nvPr/>
          </p:nvSpPr>
          <p:spPr>
            <a:xfrm>
              <a:off x="16350244" y="9309989"/>
              <a:ext cx="4415340" cy="984750"/>
            </a:xfrm>
            <a:prstGeom prst="roundRect">
              <a:avLst>
                <a:gd name="adj" fmla="val 72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43" tIns="91422" rIns="182843" bIns="91422" rtlCol="0" anchor="ctr"/>
            <a:lstStyle/>
            <a:p>
              <a:pPr algn="ctr"/>
              <a:endParaRPr lang="bg-BG" sz="1050">
                <a:solidFill>
                  <a:srgbClr val="58595B"/>
                </a:solidFill>
                <a:latin typeface="+mj-lt"/>
              </a:endParaRPr>
            </a:p>
          </p:txBody>
        </p:sp>
        <p:sp>
          <p:nvSpPr>
            <p:cNvPr id="18" name="Rectangle 17"/>
            <p:cNvSpPr/>
            <p:nvPr/>
          </p:nvSpPr>
          <p:spPr>
            <a:xfrm>
              <a:off x="17351537" y="9350957"/>
              <a:ext cx="2412759" cy="815024"/>
            </a:xfrm>
            <a:prstGeom prst="rect">
              <a:avLst/>
            </a:prstGeom>
            <a:solidFill>
              <a:schemeClr val="accent4"/>
            </a:solidFill>
          </p:spPr>
          <p:txBody>
            <a:bodyPr wrap="none" lIns="182843" tIns="91422" rIns="182843" bIns="91422">
              <a:spAutoFit/>
            </a:bodyPr>
            <a:lstStyle/>
            <a:p>
              <a:pPr algn="ctr"/>
              <a:r>
                <a:rPr lang="en-US" sz="2000" dirty="0">
                  <a:solidFill>
                    <a:srgbClr val="58595B"/>
                  </a:solidFill>
                  <a:latin typeface="+mj-lt"/>
                  <a:cs typeface="Lato Regular"/>
                </a:rPr>
                <a:t>Research</a:t>
              </a:r>
              <a:endParaRPr lang="bg-BG" sz="2000" dirty="0">
                <a:solidFill>
                  <a:srgbClr val="58595B"/>
                </a:solidFill>
                <a:latin typeface="+mj-lt"/>
                <a:cs typeface="Lato Regular"/>
              </a:endParaRPr>
            </a:p>
          </p:txBody>
        </p:sp>
        <p:cxnSp>
          <p:nvCxnSpPr>
            <p:cNvPr id="19" name="Elbow Connector 18"/>
            <p:cNvCxnSpPr/>
            <p:nvPr/>
          </p:nvCxnSpPr>
          <p:spPr>
            <a:xfrm rot="10800000" flipV="1">
              <a:off x="8074273" y="5068206"/>
              <a:ext cx="1894938" cy="1590784"/>
            </a:xfrm>
            <a:prstGeom prst="bentConnector3">
              <a:avLst>
                <a:gd name="adj1" fmla="val 50000"/>
              </a:avLst>
            </a:prstGeom>
            <a:ln w="19050">
              <a:solidFill>
                <a:schemeClr val="bg1">
                  <a:lumMod val="6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7" idx="1"/>
            </p:cNvCxnSpPr>
            <p:nvPr/>
          </p:nvCxnSpPr>
          <p:spPr>
            <a:xfrm rot="10800000">
              <a:off x="8096778" y="7510817"/>
              <a:ext cx="1918414" cy="1580770"/>
            </a:xfrm>
            <a:prstGeom prst="bentConnector3">
              <a:avLst>
                <a:gd name="adj1" fmla="val 50000"/>
              </a:avLst>
            </a:prstGeom>
            <a:ln w="19050">
              <a:solidFill>
                <a:schemeClr val="bg1">
                  <a:lumMod val="6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5" idx="1"/>
              <a:endCxn id="9" idx="3"/>
            </p:cNvCxnSpPr>
            <p:nvPr/>
          </p:nvCxnSpPr>
          <p:spPr>
            <a:xfrm rot="10800000" flipV="1">
              <a:off x="8096771" y="7059410"/>
              <a:ext cx="1918420" cy="10016"/>
            </a:xfrm>
            <a:prstGeom prst="bentConnector3">
              <a:avLst>
                <a:gd name="adj1" fmla="val 50000"/>
              </a:avLst>
            </a:prstGeom>
            <a:ln w="19050">
              <a:solidFill>
                <a:schemeClr val="bg1">
                  <a:lumMod val="6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1" idx="1"/>
              <a:endCxn id="3" idx="3"/>
            </p:cNvCxnSpPr>
            <p:nvPr/>
          </p:nvCxnSpPr>
          <p:spPr>
            <a:xfrm rot="10800000" flipV="1">
              <a:off x="14430530" y="4278856"/>
              <a:ext cx="1919714" cy="748384"/>
            </a:xfrm>
            <a:prstGeom prst="bentConnector3">
              <a:avLst>
                <a:gd name="adj1" fmla="val 50000"/>
              </a:avLst>
            </a:prstGeom>
            <a:ln w="19050">
              <a:solidFill>
                <a:schemeClr val="bg1">
                  <a:lumMod val="6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13" idx="1"/>
              <a:endCxn id="3" idx="3"/>
            </p:cNvCxnSpPr>
            <p:nvPr/>
          </p:nvCxnSpPr>
          <p:spPr>
            <a:xfrm rot="10800000">
              <a:off x="14430530" y="5027245"/>
              <a:ext cx="1919714" cy="742674"/>
            </a:xfrm>
            <a:prstGeom prst="bentConnector3">
              <a:avLst>
                <a:gd name="adj1" fmla="val 50000"/>
              </a:avLst>
            </a:prstGeom>
            <a:ln w="19050">
              <a:solidFill>
                <a:schemeClr val="bg1">
                  <a:lumMod val="6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15" idx="1"/>
              <a:endCxn id="7" idx="3"/>
            </p:cNvCxnSpPr>
            <p:nvPr/>
          </p:nvCxnSpPr>
          <p:spPr>
            <a:xfrm rot="10800000" flipV="1">
              <a:off x="14430530" y="8311305"/>
              <a:ext cx="1919714" cy="780278"/>
            </a:xfrm>
            <a:prstGeom prst="bentConnector3">
              <a:avLst>
                <a:gd name="adj1" fmla="val 50000"/>
              </a:avLst>
            </a:prstGeom>
            <a:ln w="19050">
              <a:solidFill>
                <a:schemeClr val="bg1">
                  <a:lumMod val="6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5" name="Elbow Connector 24"/>
            <p:cNvCxnSpPr>
              <a:stCxn id="17" idx="1"/>
              <a:endCxn id="7" idx="3"/>
            </p:cNvCxnSpPr>
            <p:nvPr/>
          </p:nvCxnSpPr>
          <p:spPr>
            <a:xfrm rot="10800000">
              <a:off x="14430530" y="9091587"/>
              <a:ext cx="1919714" cy="710782"/>
            </a:xfrm>
            <a:prstGeom prst="bentConnector3">
              <a:avLst>
                <a:gd name="adj1" fmla="val 50000"/>
              </a:avLst>
            </a:prstGeom>
            <a:ln w="19050">
              <a:solidFill>
                <a:schemeClr val="bg1">
                  <a:lumMod val="6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AutoShape 87"/>
            <p:cNvSpPr>
              <a:spLocks/>
            </p:cNvSpPr>
            <p:nvPr/>
          </p:nvSpPr>
          <p:spPr bwMode="auto">
            <a:xfrm>
              <a:off x="3691951" y="6588263"/>
              <a:ext cx="942049" cy="942294"/>
            </a:xfrm>
            <a:custGeom>
              <a:avLst/>
              <a:gdLst>
                <a:gd name="T0" fmla="+- 0 10798 9"/>
                <a:gd name="T1" fmla="*/ T0 w 21578"/>
                <a:gd name="T2" fmla="*/ 10800 h 21600"/>
                <a:gd name="T3" fmla="+- 0 10798 9"/>
                <a:gd name="T4" fmla="*/ T3 w 21578"/>
                <a:gd name="T5" fmla="*/ 10800 h 21600"/>
                <a:gd name="T6" fmla="+- 0 10798 9"/>
                <a:gd name="T7" fmla="*/ T6 w 21578"/>
                <a:gd name="T8" fmla="*/ 10800 h 21600"/>
                <a:gd name="T9" fmla="+- 0 10798 9"/>
                <a:gd name="T10" fmla="*/ T9 w 21578"/>
                <a:gd name="T11" fmla="*/ 10800 h 21600"/>
              </a:gdLst>
              <a:ahLst/>
              <a:cxnLst>
                <a:cxn ang="0">
                  <a:pos x="T1" y="T2"/>
                </a:cxn>
                <a:cxn ang="0">
                  <a:pos x="T4" y="T5"/>
                </a:cxn>
                <a:cxn ang="0">
                  <a:pos x="T7" y="T8"/>
                </a:cxn>
                <a:cxn ang="0">
                  <a:pos x="T10" y="T11"/>
                </a:cxn>
              </a:cxnLst>
              <a:rect l="0" t="0" r="r" b="b"/>
              <a:pathLst>
                <a:path w="21578" h="21600">
                  <a:moveTo>
                    <a:pt x="21416" y="10074"/>
                  </a:moveTo>
                  <a:cubicBezTo>
                    <a:pt x="21507" y="10166"/>
                    <a:pt x="21562" y="10284"/>
                    <a:pt x="21574" y="10428"/>
                  </a:cubicBezTo>
                  <a:cubicBezTo>
                    <a:pt x="21590" y="10569"/>
                    <a:pt x="21562" y="10702"/>
                    <a:pt x="21483" y="10820"/>
                  </a:cubicBezTo>
                  <a:lnTo>
                    <a:pt x="20967" y="11551"/>
                  </a:lnTo>
                  <a:cubicBezTo>
                    <a:pt x="20891" y="11678"/>
                    <a:pt x="20778" y="11744"/>
                    <a:pt x="20634" y="11744"/>
                  </a:cubicBezTo>
                  <a:lnTo>
                    <a:pt x="19889" y="11744"/>
                  </a:lnTo>
                  <a:cubicBezTo>
                    <a:pt x="19769" y="11744"/>
                    <a:pt x="19671" y="11704"/>
                    <a:pt x="19601" y="11632"/>
                  </a:cubicBezTo>
                  <a:lnTo>
                    <a:pt x="11078" y="3253"/>
                  </a:lnTo>
                  <a:cubicBezTo>
                    <a:pt x="10884" y="3072"/>
                    <a:pt x="10695" y="3072"/>
                    <a:pt x="10503" y="3253"/>
                  </a:cubicBezTo>
                  <a:lnTo>
                    <a:pt x="1980" y="11632"/>
                  </a:lnTo>
                  <a:cubicBezTo>
                    <a:pt x="1918" y="11704"/>
                    <a:pt x="1819" y="11744"/>
                    <a:pt x="1692" y="11744"/>
                  </a:cubicBezTo>
                  <a:lnTo>
                    <a:pt x="944" y="11744"/>
                  </a:lnTo>
                  <a:cubicBezTo>
                    <a:pt x="808" y="11744"/>
                    <a:pt x="695" y="11678"/>
                    <a:pt x="611" y="11551"/>
                  </a:cubicBezTo>
                  <a:lnTo>
                    <a:pt x="96" y="10820"/>
                  </a:lnTo>
                  <a:cubicBezTo>
                    <a:pt x="19" y="10710"/>
                    <a:pt x="-9" y="10584"/>
                    <a:pt x="2" y="10440"/>
                  </a:cubicBezTo>
                  <a:cubicBezTo>
                    <a:pt x="19" y="10298"/>
                    <a:pt x="74" y="10175"/>
                    <a:pt x="165" y="10074"/>
                  </a:cubicBezTo>
                  <a:lnTo>
                    <a:pt x="10112" y="287"/>
                  </a:lnTo>
                  <a:cubicBezTo>
                    <a:pt x="10321" y="106"/>
                    <a:pt x="10546" y="8"/>
                    <a:pt x="10788" y="0"/>
                  </a:cubicBezTo>
                  <a:cubicBezTo>
                    <a:pt x="11042" y="0"/>
                    <a:pt x="11267" y="97"/>
                    <a:pt x="11469" y="287"/>
                  </a:cubicBezTo>
                  <a:lnTo>
                    <a:pt x="14220" y="2991"/>
                  </a:lnTo>
                  <a:lnTo>
                    <a:pt x="14220" y="1586"/>
                  </a:lnTo>
                  <a:cubicBezTo>
                    <a:pt x="14220" y="1436"/>
                    <a:pt x="14266" y="1313"/>
                    <a:pt x="14352" y="1206"/>
                  </a:cubicBezTo>
                  <a:cubicBezTo>
                    <a:pt x="14441" y="1099"/>
                    <a:pt x="14546" y="1048"/>
                    <a:pt x="14669" y="1048"/>
                  </a:cubicBezTo>
                  <a:lnTo>
                    <a:pt x="17226" y="1048"/>
                  </a:lnTo>
                  <a:cubicBezTo>
                    <a:pt x="17348" y="1048"/>
                    <a:pt x="17451" y="1099"/>
                    <a:pt x="17530" y="1206"/>
                  </a:cubicBezTo>
                  <a:cubicBezTo>
                    <a:pt x="17609" y="1312"/>
                    <a:pt x="17653" y="1436"/>
                    <a:pt x="17653" y="1586"/>
                  </a:cubicBezTo>
                  <a:lnTo>
                    <a:pt x="17653" y="6383"/>
                  </a:lnTo>
                  <a:lnTo>
                    <a:pt x="21416" y="10074"/>
                  </a:lnTo>
                  <a:close/>
                  <a:moveTo>
                    <a:pt x="18523" y="11977"/>
                  </a:moveTo>
                  <a:lnTo>
                    <a:pt x="18523" y="20551"/>
                  </a:lnTo>
                  <a:cubicBezTo>
                    <a:pt x="18523" y="20854"/>
                    <a:pt x="18441" y="21104"/>
                    <a:pt x="18276" y="21300"/>
                  </a:cubicBezTo>
                  <a:cubicBezTo>
                    <a:pt x="18110" y="21502"/>
                    <a:pt x="17904" y="21599"/>
                    <a:pt x="17653" y="21599"/>
                  </a:cubicBezTo>
                  <a:lnTo>
                    <a:pt x="12809" y="21599"/>
                  </a:lnTo>
                  <a:lnTo>
                    <a:pt x="12809" y="14736"/>
                  </a:lnTo>
                  <a:lnTo>
                    <a:pt x="8772" y="14736"/>
                  </a:lnTo>
                  <a:lnTo>
                    <a:pt x="8772" y="21599"/>
                  </a:lnTo>
                  <a:lnTo>
                    <a:pt x="3928" y="21599"/>
                  </a:lnTo>
                  <a:cubicBezTo>
                    <a:pt x="3677" y="21599"/>
                    <a:pt x="3468" y="21502"/>
                    <a:pt x="3303" y="21300"/>
                  </a:cubicBezTo>
                  <a:cubicBezTo>
                    <a:pt x="3140" y="21104"/>
                    <a:pt x="3056" y="20854"/>
                    <a:pt x="3056" y="20551"/>
                  </a:cubicBezTo>
                  <a:lnTo>
                    <a:pt x="3056" y="11977"/>
                  </a:lnTo>
                  <a:lnTo>
                    <a:pt x="10788" y="4356"/>
                  </a:lnTo>
                  <a:lnTo>
                    <a:pt x="18523" y="11977"/>
                  </a:lnTo>
                  <a:close/>
                </a:path>
              </a:pathLst>
            </a:custGeom>
            <a:solidFill>
              <a:srgbClr val="58595B"/>
            </a:solidFill>
            <a:ln>
              <a:noFill/>
            </a:ln>
            <a:effectLst/>
            <a:extLst/>
          </p:spPr>
          <p:txBody>
            <a:bodyPr lIns="101578" tIns="101578" rIns="101578" bIns="101578" anchor="ctr"/>
            <a:lstStyle/>
            <a:p>
              <a:pPr defTabSz="914195">
                <a:defRPr/>
              </a:pPr>
              <a:endParaRPr lang="es-ES" sz="3600" dirty="0">
                <a:solidFill>
                  <a:srgbClr val="58595B"/>
                </a:solidFill>
                <a:effectLst>
                  <a:outerShdw blurRad="38100" dist="38100" dir="2700000" algn="tl">
                    <a:srgbClr val="000000"/>
                  </a:outerShdw>
                </a:effectLst>
                <a:latin typeface="+mj-lt"/>
                <a:cs typeface="Gill Sans" charset="0"/>
                <a:sym typeface="Gill Sans" charset="0"/>
              </a:endParaRPr>
            </a:p>
          </p:txBody>
        </p:sp>
      </p:grpSp>
      <p:sp>
        <p:nvSpPr>
          <p:cNvPr id="28"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27_84</a:t>
            </a:r>
            <a:endParaRPr lang="en-US" sz="100" dirty="0" err="1" smtClean="0">
              <a:solidFill>
                <a:srgbClr val="FFFFFF"/>
              </a:solidFill>
            </a:endParaRPr>
          </a:p>
        </p:txBody>
      </p:sp>
    </p:spTree>
    <p:extLst>
      <p:ext uri="{BB962C8B-B14F-4D97-AF65-F5344CB8AC3E}">
        <p14:creationId xmlns:p14="http://schemas.microsoft.com/office/powerpoint/2010/main" val="1688994890"/>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nthly report</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4_84 7_84 10_84 13_84 16_84 19_84 22_84 25_84 28_84 31_84 34_84 37_84 61_84 66_84 69_84 72_84 75_84 78_84</a:t>
            </a:r>
            <a:endParaRPr lang="en-US" sz="100" dirty="0" err="1" smtClean="0">
              <a:solidFill>
                <a:srgbClr val="FFFFFF"/>
              </a:solidFill>
            </a:endParaRPr>
          </a:p>
        </p:txBody>
      </p:sp>
      <p:grpSp>
        <p:nvGrpSpPr>
          <p:cNvPr id="4" name="Group 4"/>
          <p:cNvGrpSpPr>
            <a:grpSpLocks noChangeAspect="1"/>
          </p:cNvGrpSpPr>
          <p:nvPr>
            <p:custDataLst>
              <p:tags r:id="rId1"/>
            </p:custDataLst>
          </p:nvPr>
        </p:nvGrpSpPr>
        <p:grpSpPr bwMode="auto">
          <a:xfrm>
            <a:off x="1922500" y="3861151"/>
            <a:ext cx="2059562" cy="1165655"/>
            <a:chOff x="2814" y="1405"/>
            <a:chExt cx="2052" cy="1510"/>
          </a:xfrm>
        </p:grpSpPr>
        <p:sp>
          <p:nvSpPr>
            <p:cNvPr id="5" name="Freeform 5"/>
            <p:cNvSpPr>
              <a:spLocks/>
            </p:cNvSpPr>
            <p:nvPr/>
          </p:nvSpPr>
          <p:spPr bwMode="auto">
            <a:xfrm>
              <a:off x="2814" y="1405"/>
              <a:ext cx="2052" cy="1510"/>
            </a:xfrm>
            <a:custGeom>
              <a:avLst/>
              <a:gdLst>
                <a:gd name="T0" fmla="*/ 433 w 866"/>
                <a:gd name="T1" fmla="*/ 0 h 636"/>
                <a:gd name="T2" fmla="*/ 0 w 866"/>
                <a:gd name="T3" fmla="*/ 636 h 636"/>
                <a:gd name="T4" fmla="*/ 433 w 866"/>
                <a:gd name="T5" fmla="*/ 636 h 636"/>
                <a:gd name="T6" fmla="*/ 866 w 866"/>
                <a:gd name="T7" fmla="*/ 636 h 636"/>
                <a:gd name="T8" fmla="*/ 433 w 866"/>
                <a:gd name="T9" fmla="*/ 0 h 636"/>
              </a:gdLst>
              <a:ahLst/>
              <a:cxnLst>
                <a:cxn ang="0">
                  <a:pos x="T0" y="T1"/>
                </a:cxn>
                <a:cxn ang="0">
                  <a:pos x="T2" y="T3"/>
                </a:cxn>
                <a:cxn ang="0">
                  <a:pos x="T4" y="T5"/>
                </a:cxn>
                <a:cxn ang="0">
                  <a:pos x="T6" y="T7"/>
                </a:cxn>
                <a:cxn ang="0">
                  <a:pos x="T8" y="T9"/>
                </a:cxn>
              </a:cxnLst>
              <a:rect l="0" t="0" r="r" b="b"/>
              <a:pathLst>
                <a:path w="866" h="636">
                  <a:moveTo>
                    <a:pt x="433" y="0"/>
                  </a:moveTo>
                  <a:cubicBezTo>
                    <a:pt x="235" y="0"/>
                    <a:pt x="229" y="546"/>
                    <a:pt x="0" y="636"/>
                  </a:cubicBezTo>
                  <a:cubicBezTo>
                    <a:pt x="433" y="636"/>
                    <a:pt x="433" y="636"/>
                    <a:pt x="433" y="636"/>
                  </a:cubicBezTo>
                  <a:cubicBezTo>
                    <a:pt x="866" y="636"/>
                    <a:pt x="866" y="636"/>
                    <a:pt x="866" y="636"/>
                  </a:cubicBezTo>
                  <a:cubicBezTo>
                    <a:pt x="637" y="546"/>
                    <a:pt x="631" y="0"/>
                    <a:pt x="433" y="0"/>
                  </a:cubicBezTo>
                  <a:close/>
                </a:path>
              </a:pathLst>
            </a:custGeom>
            <a:solidFill>
              <a:schemeClr val="accent1">
                <a:alpha val="91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 name="Freeform 6"/>
            <p:cNvSpPr>
              <a:spLocks/>
            </p:cNvSpPr>
            <p:nvPr/>
          </p:nvSpPr>
          <p:spPr bwMode="auto">
            <a:xfrm>
              <a:off x="3840" y="1405"/>
              <a:ext cx="1026" cy="1510"/>
            </a:xfrm>
            <a:custGeom>
              <a:avLst/>
              <a:gdLst>
                <a:gd name="T0" fmla="*/ 433 w 433"/>
                <a:gd name="T1" fmla="*/ 636 h 636"/>
                <a:gd name="T2" fmla="*/ 0 w 433"/>
                <a:gd name="T3" fmla="*/ 0 h 636"/>
                <a:gd name="T4" fmla="*/ 0 w 433"/>
                <a:gd name="T5" fmla="*/ 636 h 636"/>
                <a:gd name="T6" fmla="*/ 433 w 433"/>
                <a:gd name="T7" fmla="*/ 636 h 636"/>
              </a:gdLst>
              <a:ahLst/>
              <a:cxnLst>
                <a:cxn ang="0">
                  <a:pos x="T0" y="T1"/>
                </a:cxn>
                <a:cxn ang="0">
                  <a:pos x="T2" y="T3"/>
                </a:cxn>
                <a:cxn ang="0">
                  <a:pos x="T4" y="T5"/>
                </a:cxn>
                <a:cxn ang="0">
                  <a:pos x="T6" y="T7"/>
                </a:cxn>
              </a:cxnLst>
              <a:rect l="0" t="0" r="r" b="b"/>
              <a:pathLst>
                <a:path w="433" h="636">
                  <a:moveTo>
                    <a:pt x="433" y="636"/>
                  </a:moveTo>
                  <a:cubicBezTo>
                    <a:pt x="204" y="546"/>
                    <a:pt x="198" y="0"/>
                    <a:pt x="0" y="0"/>
                  </a:cubicBezTo>
                  <a:cubicBezTo>
                    <a:pt x="0" y="636"/>
                    <a:pt x="0" y="636"/>
                    <a:pt x="0" y="636"/>
                  </a:cubicBezTo>
                  <a:lnTo>
                    <a:pt x="433" y="636"/>
                  </a:lnTo>
                  <a:close/>
                </a:path>
              </a:pathLst>
            </a:custGeom>
            <a:solidFill>
              <a:schemeClr val="accent1">
                <a:lumMod val="50000"/>
                <a:alpha val="1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7" name="Group 4"/>
          <p:cNvGrpSpPr>
            <a:grpSpLocks noChangeAspect="1"/>
          </p:cNvGrpSpPr>
          <p:nvPr>
            <p:custDataLst>
              <p:tags r:id="rId2"/>
            </p:custDataLst>
          </p:nvPr>
        </p:nvGrpSpPr>
        <p:grpSpPr bwMode="auto">
          <a:xfrm>
            <a:off x="3309846" y="3510846"/>
            <a:ext cx="2059562" cy="1515960"/>
            <a:chOff x="2814" y="1405"/>
            <a:chExt cx="2052" cy="1510"/>
          </a:xfrm>
        </p:grpSpPr>
        <p:sp>
          <p:nvSpPr>
            <p:cNvPr id="8" name="Freeform 5"/>
            <p:cNvSpPr>
              <a:spLocks/>
            </p:cNvSpPr>
            <p:nvPr/>
          </p:nvSpPr>
          <p:spPr bwMode="auto">
            <a:xfrm>
              <a:off x="2814" y="1405"/>
              <a:ext cx="2052" cy="1510"/>
            </a:xfrm>
            <a:custGeom>
              <a:avLst/>
              <a:gdLst>
                <a:gd name="T0" fmla="*/ 433 w 866"/>
                <a:gd name="T1" fmla="*/ 0 h 636"/>
                <a:gd name="T2" fmla="*/ 0 w 866"/>
                <a:gd name="T3" fmla="*/ 636 h 636"/>
                <a:gd name="T4" fmla="*/ 433 w 866"/>
                <a:gd name="T5" fmla="*/ 636 h 636"/>
                <a:gd name="T6" fmla="*/ 866 w 866"/>
                <a:gd name="T7" fmla="*/ 636 h 636"/>
                <a:gd name="T8" fmla="*/ 433 w 866"/>
                <a:gd name="T9" fmla="*/ 0 h 636"/>
              </a:gdLst>
              <a:ahLst/>
              <a:cxnLst>
                <a:cxn ang="0">
                  <a:pos x="T0" y="T1"/>
                </a:cxn>
                <a:cxn ang="0">
                  <a:pos x="T2" y="T3"/>
                </a:cxn>
                <a:cxn ang="0">
                  <a:pos x="T4" y="T5"/>
                </a:cxn>
                <a:cxn ang="0">
                  <a:pos x="T6" y="T7"/>
                </a:cxn>
                <a:cxn ang="0">
                  <a:pos x="T8" y="T9"/>
                </a:cxn>
              </a:cxnLst>
              <a:rect l="0" t="0" r="r" b="b"/>
              <a:pathLst>
                <a:path w="866" h="636">
                  <a:moveTo>
                    <a:pt x="433" y="0"/>
                  </a:moveTo>
                  <a:cubicBezTo>
                    <a:pt x="235" y="0"/>
                    <a:pt x="229" y="546"/>
                    <a:pt x="0" y="636"/>
                  </a:cubicBezTo>
                  <a:cubicBezTo>
                    <a:pt x="433" y="636"/>
                    <a:pt x="433" y="636"/>
                    <a:pt x="433" y="636"/>
                  </a:cubicBezTo>
                  <a:cubicBezTo>
                    <a:pt x="866" y="636"/>
                    <a:pt x="866" y="636"/>
                    <a:pt x="866" y="636"/>
                  </a:cubicBezTo>
                  <a:cubicBezTo>
                    <a:pt x="637" y="546"/>
                    <a:pt x="631" y="0"/>
                    <a:pt x="433" y="0"/>
                  </a:cubicBezTo>
                  <a:close/>
                </a:path>
              </a:pathLst>
            </a:custGeom>
            <a:solidFill>
              <a:srgbClr val="0A3E56">
                <a:alpha val="91000"/>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 name="Freeform 6"/>
            <p:cNvSpPr>
              <a:spLocks/>
            </p:cNvSpPr>
            <p:nvPr/>
          </p:nvSpPr>
          <p:spPr bwMode="auto">
            <a:xfrm>
              <a:off x="3840" y="1405"/>
              <a:ext cx="1026" cy="1510"/>
            </a:xfrm>
            <a:custGeom>
              <a:avLst/>
              <a:gdLst>
                <a:gd name="T0" fmla="*/ 433 w 433"/>
                <a:gd name="T1" fmla="*/ 636 h 636"/>
                <a:gd name="T2" fmla="*/ 0 w 433"/>
                <a:gd name="T3" fmla="*/ 0 h 636"/>
                <a:gd name="T4" fmla="*/ 0 w 433"/>
                <a:gd name="T5" fmla="*/ 636 h 636"/>
                <a:gd name="T6" fmla="*/ 433 w 433"/>
                <a:gd name="T7" fmla="*/ 636 h 636"/>
              </a:gdLst>
              <a:ahLst/>
              <a:cxnLst>
                <a:cxn ang="0">
                  <a:pos x="T0" y="T1"/>
                </a:cxn>
                <a:cxn ang="0">
                  <a:pos x="T2" y="T3"/>
                </a:cxn>
                <a:cxn ang="0">
                  <a:pos x="T4" y="T5"/>
                </a:cxn>
                <a:cxn ang="0">
                  <a:pos x="T6" y="T7"/>
                </a:cxn>
              </a:cxnLst>
              <a:rect l="0" t="0" r="r" b="b"/>
              <a:pathLst>
                <a:path w="433" h="636">
                  <a:moveTo>
                    <a:pt x="433" y="636"/>
                  </a:moveTo>
                  <a:cubicBezTo>
                    <a:pt x="204" y="546"/>
                    <a:pt x="198" y="0"/>
                    <a:pt x="0" y="0"/>
                  </a:cubicBezTo>
                  <a:cubicBezTo>
                    <a:pt x="0" y="636"/>
                    <a:pt x="0" y="636"/>
                    <a:pt x="0" y="636"/>
                  </a:cubicBezTo>
                  <a:lnTo>
                    <a:pt x="433" y="636"/>
                  </a:lnTo>
                  <a:close/>
                </a:path>
              </a:pathLst>
            </a:custGeom>
            <a:solidFill>
              <a:schemeClr val="bg1">
                <a:lumMod val="10000"/>
                <a:alpha val="1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 name="Group 4"/>
          <p:cNvGrpSpPr>
            <a:grpSpLocks noChangeAspect="1"/>
          </p:cNvGrpSpPr>
          <p:nvPr>
            <p:custDataLst>
              <p:tags r:id="rId3"/>
            </p:custDataLst>
          </p:nvPr>
        </p:nvGrpSpPr>
        <p:grpSpPr bwMode="auto">
          <a:xfrm>
            <a:off x="4697191" y="2833470"/>
            <a:ext cx="2059562" cy="2193336"/>
            <a:chOff x="2814" y="1405"/>
            <a:chExt cx="2052" cy="1510"/>
          </a:xfrm>
        </p:grpSpPr>
        <p:sp>
          <p:nvSpPr>
            <p:cNvPr id="11" name="Freeform 5"/>
            <p:cNvSpPr>
              <a:spLocks/>
            </p:cNvSpPr>
            <p:nvPr/>
          </p:nvSpPr>
          <p:spPr bwMode="auto">
            <a:xfrm>
              <a:off x="2814" y="1405"/>
              <a:ext cx="2052" cy="1510"/>
            </a:xfrm>
            <a:custGeom>
              <a:avLst/>
              <a:gdLst>
                <a:gd name="T0" fmla="*/ 433 w 866"/>
                <a:gd name="T1" fmla="*/ 0 h 636"/>
                <a:gd name="T2" fmla="*/ 0 w 866"/>
                <a:gd name="T3" fmla="*/ 636 h 636"/>
                <a:gd name="T4" fmla="*/ 433 w 866"/>
                <a:gd name="T5" fmla="*/ 636 h 636"/>
                <a:gd name="T6" fmla="*/ 866 w 866"/>
                <a:gd name="T7" fmla="*/ 636 h 636"/>
                <a:gd name="T8" fmla="*/ 433 w 866"/>
                <a:gd name="T9" fmla="*/ 0 h 636"/>
              </a:gdLst>
              <a:ahLst/>
              <a:cxnLst>
                <a:cxn ang="0">
                  <a:pos x="T0" y="T1"/>
                </a:cxn>
                <a:cxn ang="0">
                  <a:pos x="T2" y="T3"/>
                </a:cxn>
                <a:cxn ang="0">
                  <a:pos x="T4" y="T5"/>
                </a:cxn>
                <a:cxn ang="0">
                  <a:pos x="T6" y="T7"/>
                </a:cxn>
                <a:cxn ang="0">
                  <a:pos x="T8" y="T9"/>
                </a:cxn>
              </a:cxnLst>
              <a:rect l="0" t="0" r="r" b="b"/>
              <a:pathLst>
                <a:path w="866" h="636">
                  <a:moveTo>
                    <a:pt x="433" y="0"/>
                  </a:moveTo>
                  <a:cubicBezTo>
                    <a:pt x="235" y="0"/>
                    <a:pt x="229" y="546"/>
                    <a:pt x="0" y="636"/>
                  </a:cubicBezTo>
                  <a:cubicBezTo>
                    <a:pt x="433" y="636"/>
                    <a:pt x="433" y="636"/>
                    <a:pt x="433" y="636"/>
                  </a:cubicBezTo>
                  <a:cubicBezTo>
                    <a:pt x="866" y="636"/>
                    <a:pt x="866" y="636"/>
                    <a:pt x="866" y="636"/>
                  </a:cubicBezTo>
                  <a:cubicBezTo>
                    <a:pt x="637" y="546"/>
                    <a:pt x="631" y="0"/>
                    <a:pt x="433" y="0"/>
                  </a:cubicBezTo>
                  <a:close/>
                </a:path>
              </a:pathLst>
            </a:custGeom>
            <a:solidFill>
              <a:schemeClr val="accent3">
                <a:alpha val="91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 name="Freeform 6"/>
            <p:cNvSpPr>
              <a:spLocks/>
            </p:cNvSpPr>
            <p:nvPr/>
          </p:nvSpPr>
          <p:spPr bwMode="auto">
            <a:xfrm>
              <a:off x="3840" y="1405"/>
              <a:ext cx="1026" cy="1510"/>
            </a:xfrm>
            <a:custGeom>
              <a:avLst/>
              <a:gdLst>
                <a:gd name="T0" fmla="*/ 433 w 433"/>
                <a:gd name="T1" fmla="*/ 636 h 636"/>
                <a:gd name="T2" fmla="*/ 0 w 433"/>
                <a:gd name="T3" fmla="*/ 0 h 636"/>
                <a:gd name="T4" fmla="*/ 0 w 433"/>
                <a:gd name="T5" fmla="*/ 636 h 636"/>
                <a:gd name="T6" fmla="*/ 433 w 433"/>
                <a:gd name="T7" fmla="*/ 636 h 636"/>
              </a:gdLst>
              <a:ahLst/>
              <a:cxnLst>
                <a:cxn ang="0">
                  <a:pos x="T0" y="T1"/>
                </a:cxn>
                <a:cxn ang="0">
                  <a:pos x="T2" y="T3"/>
                </a:cxn>
                <a:cxn ang="0">
                  <a:pos x="T4" y="T5"/>
                </a:cxn>
                <a:cxn ang="0">
                  <a:pos x="T6" y="T7"/>
                </a:cxn>
              </a:cxnLst>
              <a:rect l="0" t="0" r="r" b="b"/>
              <a:pathLst>
                <a:path w="433" h="636">
                  <a:moveTo>
                    <a:pt x="433" y="636"/>
                  </a:moveTo>
                  <a:cubicBezTo>
                    <a:pt x="204" y="546"/>
                    <a:pt x="198" y="0"/>
                    <a:pt x="0" y="0"/>
                  </a:cubicBezTo>
                  <a:cubicBezTo>
                    <a:pt x="0" y="636"/>
                    <a:pt x="0" y="636"/>
                    <a:pt x="0" y="636"/>
                  </a:cubicBezTo>
                  <a:lnTo>
                    <a:pt x="433" y="636"/>
                  </a:lnTo>
                  <a:close/>
                </a:path>
              </a:pathLst>
            </a:custGeom>
            <a:solidFill>
              <a:schemeClr val="accent3">
                <a:lumMod val="50000"/>
                <a:alpha val="1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3" name="Group 4"/>
          <p:cNvGrpSpPr>
            <a:grpSpLocks noChangeAspect="1"/>
          </p:cNvGrpSpPr>
          <p:nvPr>
            <p:custDataLst>
              <p:tags r:id="rId4"/>
            </p:custDataLst>
          </p:nvPr>
        </p:nvGrpSpPr>
        <p:grpSpPr bwMode="auto">
          <a:xfrm>
            <a:off x="6084535" y="3979713"/>
            <a:ext cx="2059562" cy="1047093"/>
            <a:chOff x="2814" y="1405"/>
            <a:chExt cx="2052" cy="1510"/>
          </a:xfrm>
        </p:grpSpPr>
        <p:sp>
          <p:nvSpPr>
            <p:cNvPr id="14" name="Freeform 5"/>
            <p:cNvSpPr>
              <a:spLocks/>
            </p:cNvSpPr>
            <p:nvPr/>
          </p:nvSpPr>
          <p:spPr bwMode="auto">
            <a:xfrm>
              <a:off x="2814" y="1405"/>
              <a:ext cx="2052" cy="1510"/>
            </a:xfrm>
            <a:custGeom>
              <a:avLst/>
              <a:gdLst>
                <a:gd name="T0" fmla="*/ 433 w 866"/>
                <a:gd name="T1" fmla="*/ 0 h 636"/>
                <a:gd name="T2" fmla="*/ 0 w 866"/>
                <a:gd name="T3" fmla="*/ 636 h 636"/>
                <a:gd name="T4" fmla="*/ 433 w 866"/>
                <a:gd name="T5" fmla="*/ 636 h 636"/>
                <a:gd name="T6" fmla="*/ 866 w 866"/>
                <a:gd name="T7" fmla="*/ 636 h 636"/>
                <a:gd name="T8" fmla="*/ 433 w 866"/>
                <a:gd name="T9" fmla="*/ 0 h 636"/>
              </a:gdLst>
              <a:ahLst/>
              <a:cxnLst>
                <a:cxn ang="0">
                  <a:pos x="T0" y="T1"/>
                </a:cxn>
                <a:cxn ang="0">
                  <a:pos x="T2" y="T3"/>
                </a:cxn>
                <a:cxn ang="0">
                  <a:pos x="T4" y="T5"/>
                </a:cxn>
                <a:cxn ang="0">
                  <a:pos x="T6" y="T7"/>
                </a:cxn>
                <a:cxn ang="0">
                  <a:pos x="T8" y="T9"/>
                </a:cxn>
              </a:cxnLst>
              <a:rect l="0" t="0" r="r" b="b"/>
              <a:pathLst>
                <a:path w="866" h="636">
                  <a:moveTo>
                    <a:pt x="433" y="0"/>
                  </a:moveTo>
                  <a:cubicBezTo>
                    <a:pt x="235" y="0"/>
                    <a:pt x="229" y="546"/>
                    <a:pt x="0" y="636"/>
                  </a:cubicBezTo>
                  <a:cubicBezTo>
                    <a:pt x="433" y="636"/>
                    <a:pt x="433" y="636"/>
                    <a:pt x="433" y="636"/>
                  </a:cubicBezTo>
                  <a:cubicBezTo>
                    <a:pt x="866" y="636"/>
                    <a:pt x="866" y="636"/>
                    <a:pt x="866" y="636"/>
                  </a:cubicBezTo>
                  <a:cubicBezTo>
                    <a:pt x="637" y="546"/>
                    <a:pt x="631" y="0"/>
                    <a:pt x="433" y="0"/>
                  </a:cubicBezTo>
                  <a:close/>
                </a:path>
              </a:pathLst>
            </a:custGeom>
            <a:solidFill>
              <a:schemeClr val="accent4">
                <a:alpha val="91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 name="Freeform 6"/>
            <p:cNvSpPr>
              <a:spLocks/>
            </p:cNvSpPr>
            <p:nvPr/>
          </p:nvSpPr>
          <p:spPr bwMode="auto">
            <a:xfrm>
              <a:off x="3840" y="1405"/>
              <a:ext cx="1026" cy="1510"/>
            </a:xfrm>
            <a:custGeom>
              <a:avLst/>
              <a:gdLst>
                <a:gd name="T0" fmla="*/ 433 w 433"/>
                <a:gd name="T1" fmla="*/ 636 h 636"/>
                <a:gd name="T2" fmla="*/ 0 w 433"/>
                <a:gd name="T3" fmla="*/ 0 h 636"/>
                <a:gd name="T4" fmla="*/ 0 w 433"/>
                <a:gd name="T5" fmla="*/ 636 h 636"/>
                <a:gd name="T6" fmla="*/ 433 w 433"/>
                <a:gd name="T7" fmla="*/ 636 h 636"/>
              </a:gdLst>
              <a:ahLst/>
              <a:cxnLst>
                <a:cxn ang="0">
                  <a:pos x="T0" y="T1"/>
                </a:cxn>
                <a:cxn ang="0">
                  <a:pos x="T2" y="T3"/>
                </a:cxn>
                <a:cxn ang="0">
                  <a:pos x="T4" y="T5"/>
                </a:cxn>
                <a:cxn ang="0">
                  <a:pos x="T6" y="T7"/>
                </a:cxn>
              </a:cxnLst>
              <a:rect l="0" t="0" r="r" b="b"/>
              <a:pathLst>
                <a:path w="433" h="636">
                  <a:moveTo>
                    <a:pt x="433" y="636"/>
                  </a:moveTo>
                  <a:cubicBezTo>
                    <a:pt x="204" y="546"/>
                    <a:pt x="198" y="0"/>
                    <a:pt x="0" y="0"/>
                  </a:cubicBezTo>
                  <a:cubicBezTo>
                    <a:pt x="0" y="636"/>
                    <a:pt x="0" y="636"/>
                    <a:pt x="0" y="636"/>
                  </a:cubicBezTo>
                  <a:lnTo>
                    <a:pt x="433" y="636"/>
                  </a:lnTo>
                  <a:close/>
                </a:path>
              </a:pathLst>
            </a:custGeom>
            <a:solidFill>
              <a:schemeClr val="accent4">
                <a:lumMod val="50000"/>
                <a:alpha val="1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6" name="Group 4"/>
          <p:cNvGrpSpPr>
            <a:grpSpLocks noChangeAspect="1"/>
          </p:cNvGrpSpPr>
          <p:nvPr>
            <p:custDataLst>
              <p:tags r:id="rId5"/>
            </p:custDataLst>
          </p:nvPr>
        </p:nvGrpSpPr>
        <p:grpSpPr bwMode="auto">
          <a:xfrm>
            <a:off x="7471881" y="2489561"/>
            <a:ext cx="2059562" cy="2537246"/>
            <a:chOff x="2814" y="1405"/>
            <a:chExt cx="2052" cy="1510"/>
          </a:xfrm>
        </p:grpSpPr>
        <p:sp>
          <p:nvSpPr>
            <p:cNvPr id="17" name="Freeform 5"/>
            <p:cNvSpPr>
              <a:spLocks/>
            </p:cNvSpPr>
            <p:nvPr/>
          </p:nvSpPr>
          <p:spPr bwMode="auto">
            <a:xfrm>
              <a:off x="2814" y="1405"/>
              <a:ext cx="2052" cy="1510"/>
            </a:xfrm>
            <a:custGeom>
              <a:avLst/>
              <a:gdLst>
                <a:gd name="T0" fmla="*/ 433 w 866"/>
                <a:gd name="T1" fmla="*/ 0 h 636"/>
                <a:gd name="T2" fmla="*/ 0 w 866"/>
                <a:gd name="T3" fmla="*/ 636 h 636"/>
                <a:gd name="T4" fmla="*/ 433 w 866"/>
                <a:gd name="T5" fmla="*/ 636 h 636"/>
                <a:gd name="T6" fmla="*/ 866 w 866"/>
                <a:gd name="T7" fmla="*/ 636 h 636"/>
                <a:gd name="T8" fmla="*/ 433 w 866"/>
                <a:gd name="T9" fmla="*/ 0 h 636"/>
              </a:gdLst>
              <a:ahLst/>
              <a:cxnLst>
                <a:cxn ang="0">
                  <a:pos x="T0" y="T1"/>
                </a:cxn>
                <a:cxn ang="0">
                  <a:pos x="T2" y="T3"/>
                </a:cxn>
                <a:cxn ang="0">
                  <a:pos x="T4" y="T5"/>
                </a:cxn>
                <a:cxn ang="0">
                  <a:pos x="T6" y="T7"/>
                </a:cxn>
                <a:cxn ang="0">
                  <a:pos x="T8" y="T9"/>
                </a:cxn>
              </a:cxnLst>
              <a:rect l="0" t="0" r="r" b="b"/>
              <a:pathLst>
                <a:path w="866" h="636">
                  <a:moveTo>
                    <a:pt x="433" y="0"/>
                  </a:moveTo>
                  <a:cubicBezTo>
                    <a:pt x="235" y="0"/>
                    <a:pt x="229" y="546"/>
                    <a:pt x="0" y="636"/>
                  </a:cubicBezTo>
                  <a:cubicBezTo>
                    <a:pt x="433" y="636"/>
                    <a:pt x="433" y="636"/>
                    <a:pt x="433" y="636"/>
                  </a:cubicBezTo>
                  <a:cubicBezTo>
                    <a:pt x="866" y="636"/>
                    <a:pt x="866" y="636"/>
                    <a:pt x="866" y="636"/>
                  </a:cubicBezTo>
                  <a:cubicBezTo>
                    <a:pt x="637" y="546"/>
                    <a:pt x="631" y="0"/>
                    <a:pt x="433" y="0"/>
                  </a:cubicBezTo>
                  <a:close/>
                </a:path>
              </a:pathLst>
            </a:custGeom>
            <a:solidFill>
              <a:schemeClr val="accent5">
                <a:alpha val="91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8" name="Freeform 6"/>
            <p:cNvSpPr>
              <a:spLocks/>
            </p:cNvSpPr>
            <p:nvPr/>
          </p:nvSpPr>
          <p:spPr bwMode="auto">
            <a:xfrm>
              <a:off x="3840" y="1405"/>
              <a:ext cx="1026" cy="1510"/>
            </a:xfrm>
            <a:custGeom>
              <a:avLst/>
              <a:gdLst>
                <a:gd name="T0" fmla="*/ 433 w 433"/>
                <a:gd name="T1" fmla="*/ 636 h 636"/>
                <a:gd name="T2" fmla="*/ 0 w 433"/>
                <a:gd name="T3" fmla="*/ 0 h 636"/>
                <a:gd name="T4" fmla="*/ 0 w 433"/>
                <a:gd name="T5" fmla="*/ 636 h 636"/>
                <a:gd name="T6" fmla="*/ 433 w 433"/>
                <a:gd name="T7" fmla="*/ 636 h 636"/>
              </a:gdLst>
              <a:ahLst/>
              <a:cxnLst>
                <a:cxn ang="0">
                  <a:pos x="T0" y="T1"/>
                </a:cxn>
                <a:cxn ang="0">
                  <a:pos x="T2" y="T3"/>
                </a:cxn>
                <a:cxn ang="0">
                  <a:pos x="T4" y="T5"/>
                </a:cxn>
                <a:cxn ang="0">
                  <a:pos x="T6" y="T7"/>
                </a:cxn>
              </a:cxnLst>
              <a:rect l="0" t="0" r="r" b="b"/>
              <a:pathLst>
                <a:path w="433" h="636">
                  <a:moveTo>
                    <a:pt x="433" y="636"/>
                  </a:moveTo>
                  <a:cubicBezTo>
                    <a:pt x="204" y="546"/>
                    <a:pt x="198" y="0"/>
                    <a:pt x="0" y="0"/>
                  </a:cubicBezTo>
                  <a:cubicBezTo>
                    <a:pt x="0" y="636"/>
                    <a:pt x="0" y="636"/>
                    <a:pt x="0" y="636"/>
                  </a:cubicBezTo>
                  <a:lnTo>
                    <a:pt x="433" y="636"/>
                  </a:lnTo>
                  <a:close/>
                </a:path>
              </a:pathLst>
            </a:custGeom>
            <a:solidFill>
              <a:schemeClr val="accent5">
                <a:lumMod val="50000"/>
                <a:alpha val="1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9" name="Group 4"/>
          <p:cNvGrpSpPr>
            <a:grpSpLocks noChangeAspect="1"/>
          </p:cNvGrpSpPr>
          <p:nvPr>
            <p:custDataLst>
              <p:tags r:id="rId6"/>
            </p:custDataLst>
          </p:nvPr>
        </p:nvGrpSpPr>
        <p:grpSpPr bwMode="auto">
          <a:xfrm>
            <a:off x="8859225" y="3289828"/>
            <a:ext cx="2059562" cy="1736979"/>
            <a:chOff x="2814" y="1405"/>
            <a:chExt cx="2052" cy="1510"/>
          </a:xfrm>
        </p:grpSpPr>
        <p:sp>
          <p:nvSpPr>
            <p:cNvPr id="20" name="Freeform 5"/>
            <p:cNvSpPr>
              <a:spLocks/>
            </p:cNvSpPr>
            <p:nvPr/>
          </p:nvSpPr>
          <p:spPr bwMode="auto">
            <a:xfrm>
              <a:off x="2814" y="1405"/>
              <a:ext cx="2052" cy="1510"/>
            </a:xfrm>
            <a:custGeom>
              <a:avLst/>
              <a:gdLst>
                <a:gd name="T0" fmla="*/ 433 w 866"/>
                <a:gd name="T1" fmla="*/ 0 h 636"/>
                <a:gd name="T2" fmla="*/ 0 w 866"/>
                <a:gd name="T3" fmla="*/ 636 h 636"/>
                <a:gd name="T4" fmla="*/ 433 w 866"/>
                <a:gd name="T5" fmla="*/ 636 h 636"/>
                <a:gd name="T6" fmla="*/ 866 w 866"/>
                <a:gd name="T7" fmla="*/ 636 h 636"/>
                <a:gd name="T8" fmla="*/ 433 w 866"/>
                <a:gd name="T9" fmla="*/ 0 h 636"/>
              </a:gdLst>
              <a:ahLst/>
              <a:cxnLst>
                <a:cxn ang="0">
                  <a:pos x="T0" y="T1"/>
                </a:cxn>
                <a:cxn ang="0">
                  <a:pos x="T2" y="T3"/>
                </a:cxn>
                <a:cxn ang="0">
                  <a:pos x="T4" y="T5"/>
                </a:cxn>
                <a:cxn ang="0">
                  <a:pos x="T6" y="T7"/>
                </a:cxn>
                <a:cxn ang="0">
                  <a:pos x="T8" y="T9"/>
                </a:cxn>
              </a:cxnLst>
              <a:rect l="0" t="0" r="r" b="b"/>
              <a:pathLst>
                <a:path w="866" h="636">
                  <a:moveTo>
                    <a:pt x="433" y="0"/>
                  </a:moveTo>
                  <a:cubicBezTo>
                    <a:pt x="235" y="0"/>
                    <a:pt x="229" y="546"/>
                    <a:pt x="0" y="636"/>
                  </a:cubicBezTo>
                  <a:cubicBezTo>
                    <a:pt x="433" y="636"/>
                    <a:pt x="433" y="636"/>
                    <a:pt x="433" y="636"/>
                  </a:cubicBezTo>
                  <a:cubicBezTo>
                    <a:pt x="866" y="636"/>
                    <a:pt x="866" y="636"/>
                    <a:pt x="866" y="636"/>
                  </a:cubicBezTo>
                  <a:cubicBezTo>
                    <a:pt x="637" y="546"/>
                    <a:pt x="631" y="0"/>
                    <a:pt x="433" y="0"/>
                  </a:cubicBezTo>
                  <a:close/>
                </a:path>
              </a:pathLst>
            </a:custGeom>
            <a:solidFill>
              <a:schemeClr val="accent6">
                <a:alpha val="91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21" name="Freeform 6"/>
            <p:cNvSpPr>
              <a:spLocks/>
            </p:cNvSpPr>
            <p:nvPr/>
          </p:nvSpPr>
          <p:spPr bwMode="auto">
            <a:xfrm>
              <a:off x="3840" y="1405"/>
              <a:ext cx="1026" cy="1510"/>
            </a:xfrm>
            <a:custGeom>
              <a:avLst/>
              <a:gdLst>
                <a:gd name="T0" fmla="*/ 433 w 433"/>
                <a:gd name="T1" fmla="*/ 636 h 636"/>
                <a:gd name="T2" fmla="*/ 0 w 433"/>
                <a:gd name="T3" fmla="*/ 0 h 636"/>
                <a:gd name="T4" fmla="*/ 0 w 433"/>
                <a:gd name="T5" fmla="*/ 636 h 636"/>
                <a:gd name="T6" fmla="*/ 433 w 433"/>
                <a:gd name="T7" fmla="*/ 636 h 636"/>
              </a:gdLst>
              <a:ahLst/>
              <a:cxnLst>
                <a:cxn ang="0">
                  <a:pos x="T0" y="T1"/>
                </a:cxn>
                <a:cxn ang="0">
                  <a:pos x="T2" y="T3"/>
                </a:cxn>
                <a:cxn ang="0">
                  <a:pos x="T4" y="T5"/>
                </a:cxn>
                <a:cxn ang="0">
                  <a:pos x="T6" y="T7"/>
                </a:cxn>
              </a:cxnLst>
              <a:rect l="0" t="0" r="r" b="b"/>
              <a:pathLst>
                <a:path w="433" h="636">
                  <a:moveTo>
                    <a:pt x="433" y="636"/>
                  </a:moveTo>
                  <a:cubicBezTo>
                    <a:pt x="204" y="546"/>
                    <a:pt x="198" y="0"/>
                    <a:pt x="0" y="0"/>
                  </a:cubicBezTo>
                  <a:cubicBezTo>
                    <a:pt x="0" y="636"/>
                    <a:pt x="0" y="636"/>
                    <a:pt x="0" y="636"/>
                  </a:cubicBezTo>
                  <a:lnTo>
                    <a:pt x="433" y="636"/>
                  </a:lnTo>
                  <a:close/>
                </a:path>
              </a:pathLst>
            </a:custGeom>
            <a:solidFill>
              <a:schemeClr val="accent6">
                <a:lumMod val="50000"/>
                <a:alpha val="1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22" name="Group 4"/>
          <p:cNvGrpSpPr>
            <a:grpSpLocks noChangeAspect="1"/>
          </p:cNvGrpSpPr>
          <p:nvPr>
            <p:custDataLst>
              <p:tags r:id="rId7"/>
            </p:custDataLst>
          </p:nvPr>
        </p:nvGrpSpPr>
        <p:grpSpPr bwMode="auto">
          <a:xfrm rot="10800000">
            <a:off x="4056556" y="1357381"/>
            <a:ext cx="585385" cy="706443"/>
            <a:chOff x="347" y="3344"/>
            <a:chExt cx="586" cy="707"/>
          </a:xfrm>
          <a:solidFill>
            <a:srgbClr val="0A3E56"/>
          </a:solidFill>
        </p:grpSpPr>
        <p:sp>
          <p:nvSpPr>
            <p:cNvPr id="23" name="Oval 5"/>
            <p:cNvSpPr>
              <a:spLocks noChangeArrowheads="1"/>
            </p:cNvSpPr>
            <p:nvPr/>
          </p:nvSpPr>
          <p:spPr bwMode="auto">
            <a:xfrm rot="10800000">
              <a:off x="347" y="3466"/>
              <a:ext cx="586" cy="58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400" dirty="0">
                  <a:solidFill>
                    <a:schemeClr val="bg2"/>
                  </a:solidFill>
                  <a:latin typeface="+mj-lt"/>
                </a:rPr>
                <a:t>50%</a:t>
              </a:r>
            </a:p>
          </p:txBody>
        </p:sp>
        <p:sp>
          <p:nvSpPr>
            <p:cNvPr id="24" name="Freeform 6"/>
            <p:cNvSpPr>
              <a:spLocks/>
            </p:cNvSpPr>
            <p:nvPr/>
          </p:nvSpPr>
          <p:spPr bwMode="auto">
            <a:xfrm>
              <a:off x="433" y="3344"/>
              <a:ext cx="414" cy="207"/>
            </a:xfrm>
            <a:custGeom>
              <a:avLst/>
              <a:gdLst>
                <a:gd name="T0" fmla="*/ 0 w 414"/>
                <a:gd name="T1" fmla="*/ 207 h 207"/>
                <a:gd name="T2" fmla="*/ 206 w 414"/>
                <a:gd name="T3" fmla="*/ 0 h 207"/>
                <a:gd name="T4" fmla="*/ 414 w 414"/>
                <a:gd name="T5" fmla="*/ 207 h 207"/>
                <a:gd name="T6" fmla="*/ 0 w 414"/>
                <a:gd name="T7" fmla="*/ 207 h 207"/>
              </a:gdLst>
              <a:ahLst/>
              <a:cxnLst>
                <a:cxn ang="0">
                  <a:pos x="T0" y="T1"/>
                </a:cxn>
                <a:cxn ang="0">
                  <a:pos x="T2" y="T3"/>
                </a:cxn>
                <a:cxn ang="0">
                  <a:pos x="T4" y="T5"/>
                </a:cxn>
                <a:cxn ang="0">
                  <a:pos x="T6" y="T7"/>
                </a:cxn>
              </a:cxnLst>
              <a:rect l="0" t="0" r="r" b="b"/>
              <a:pathLst>
                <a:path w="414" h="207">
                  <a:moveTo>
                    <a:pt x="0" y="207"/>
                  </a:moveTo>
                  <a:lnTo>
                    <a:pt x="206" y="0"/>
                  </a:lnTo>
                  <a:lnTo>
                    <a:pt x="414" y="207"/>
                  </a:lnTo>
                  <a:lnTo>
                    <a:pt x="0" y="2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chemeClr val="bg2"/>
                </a:solidFill>
                <a:latin typeface="+mj-lt"/>
              </a:endParaRPr>
            </a:p>
          </p:txBody>
        </p:sp>
      </p:grpSp>
      <p:grpSp>
        <p:nvGrpSpPr>
          <p:cNvPr id="25" name="Group 4"/>
          <p:cNvGrpSpPr>
            <a:grpSpLocks noChangeAspect="1"/>
          </p:cNvGrpSpPr>
          <p:nvPr>
            <p:custDataLst>
              <p:tags r:id="rId8"/>
            </p:custDataLst>
          </p:nvPr>
        </p:nvGrpSpPr>
        <p:grpSpPr bwMode="auto">
          <a:xfrm rot="10800000">
            <a:off x="5429553" y="1368045"/>
            <a:ext cx="585385" cy="706443"/>
            <a:chOff x="347" y="3344"/>
            <a:chExt cx="586" cy="707"/>
          </a:xfrm>
          <a:solidFill>
            <a:schemeClr val="accent3"/>
          </a:solidFill>
        </p:grpSpPr>
        <p:sp>
          <p:nvSpPr>
            <p:cNvPr id="26" name="Oval 5"/>
            <p:cNvSpPr>
              <a:spLocks noChangeArrowheads="1"/>
            </p:cNvSpPr>
            <p:nvPr/>
          </p:nvSpPr>
          <p:spPr bwMode="auto">
            <a:xfrm rot="10800000">
              <a:off x="347" y="3466"/>
              <a:ext cx="586" cy="58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400" dirty="0">
                  <a:solidFill>
                    <a:schemeClr val="bg2"/>
                  </a:solidFill>
                  <a:latin typeface="+mj-lt"/>
                </a:rPr>
                <a:t>50%</a:t>
              </a:r>
            </a:p>
          </p:txBody>
        </p:sp>
        <p:sp>
          <p:nvSpPr>
            <p:cNvPr id="27" name="Freeform 6"/>
            <p:cNvSpPr>
              <a:spLocks/>
            </p:cNvSpPr>
            <p:nvPr/>
          </p:nvSpPr>
          <p:spPr bwMode="auto">
            <a:xfrm>
              <a:off x="433" y="3344"/>
              <a:ext cx="414" cy="207"/>
            </a:xfrm>
            <a:custGeom>
              <a:avLst/>
              <a:gdLst>
                <a:gd name="T0" fmla="*/ 0 w 414"/>
                <a:gd name="T1" fmla="*/ 207 h 207"/>
                <a:gd name="T2" fmla="*/ 206 w 414"/>
                <a:gd name="T3" fmla="*/ 0 h 207"/>
                <a:gd name="T4" fmla="*/ 414 w 414"/>
                <a:gd name="T5" fmla="*/ 207 h 207"/>
                <a:gd name="T6" fmla="*/ 0 w 414"/>
                <a:gd name="T7" fmla="*/ 207 h 207"/>
              </a:gdLst>
              <a:ahLst/>
              <a:cxnLst>
                <a:cxn ang="0">
                  <a:pos x="T0" y="T1"/>
                </a:cxn>
                <a:cxn ang="0">
                  <a:pos x="T2" y="T3"/>
                </a:cxn>
                <a:cxn ang="0">
                  <a:pos x="T4" y="T5"/>
                </a:cxn>
                <a:cxn ang="0">
                  <a:pos x="T6" y="T7"/>
                </a:cxn>
              </a:cxnLst>
              <a:rect l="0" t="0" r="r" b="b"/>
              <a:pathLst>
                <a:path w="414" h="207">
                  <a:moveTo>
                    <a:pt x="0" y="207"/>
                  </a:moveTo>
                  <a:lnTo>
                    <a:pt x="206" y="0"/>
                  </a:lnTo>
                  <a:lnTo>
                    <a:pt x="414" y="207"/>
                  </a:lnTo>
                  <a:lnTo>
                    <a:pt x="0" y="2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chemeClr val="bg2"/>
                </a:solidFill>
                <a:latin typeface="+mj-lt"/>
              </a:endParaRPr>
            </a:p>
          </p:txBody>
        </p:sp>
      </p:grpSp>
      <p:grpSp>
        <p:nvGrpSpPr>
          <p:cNvPr id="28" name="Group 4"/>
          <p:cNvGrpSpPr>
            <a:grpSpLocks noChangeAspect="1"/>
          </p:cNvGrpSpPr>
          <p:nvPr>
            <p:custDataLst>
              <p:tags r:id="rId9"/>
            </p:custDataLst>
          </p:nvPr>
        </p:nvGrpSpPr>
        <p:grpSpPr bwMode="auto">
          <a:xfrm rot="10800000">
            <a:off x="6810961" y="1357572"/>
            <a:ext cx="585385" cy="706443"/>
            <a:chOff x="347" y="3344"/>
            <a:chExt cx="586" cy="707"/>
          </a:xfrm>
          <a:solidFill>
            <a:schemeClr val="accent4"/>
          </a:solidFill>
        </p:grpSpPr>
        <p:sp>
          <p:nvSpPr>
            <p:cNvPr id="29" name="Oval 5"/>
            <p:cNvSpPr>
              <a:spLocks noChangeArrowheads="1"/>
            </p:cNvSpPr>
            <p:nvPr/>
          </p:nvSpPr>
          <p:spPr bwMode="auto">
            <a:xfrm rot="10800000">
              <a:off x="347" y="3466"/>
              <a:ext cx="586" cy="58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400" dirty="0">
                  <a:solidFill>
                    <a:schemeClr val="bg2"/>
                  </a:solidFill>
                  <a:latin typeface="+mj-lt"/>
                </a:rPr>
                <a:t>50%</a:t>
              </a:r>
            </a:p>
          </p:txBody>
        </p:sp>
        <p:sp>
          <p:nvSpPr>
            <p:cNvPr id="30" name="Freeform 6"/>
            <p:cNvSpPr>
              <a:spLocks/>
            </p:cNvSpPr>
            <p:nvPr/>
          </p:nvSpPr>
          <p:spPr bwMode="auto">
            <a:xfrm>
              <a:off x="433" y="3344"/>
              <a:ext cx="414" cy="207"/>
            </a:xfrm>
            <a:custGeom>
              <a:avLst/>
              <a:gdLst>
                <a:gd name="T0" fmla="*/ 0 w 414"/>
                <a:gd name="T1" fmla="*/ 207 h 207"/>
                <a:gd name="T2" fmla="*/ 206 w 414"/>
                <a:gd name="T3" fmla="*/ 0 h 207"/>
                <a:gd name="T4" fmla="*/ 414 w 414"/>
                <a:gd name="T5" fmla="*/ 207 h 207"/>
                <a:gd name="T6" fmla="*/ 0 w 414"/>
                <a:gd name="T7" fmla="*/ 207 h 207"/>
              </a:gdLst>
              <a:ahLst/>
              <a:cxnLst>
                <a:cxn ang="0">
                  <a:pos x="T0" y="T1"/>
                </a:cxn>
                <a:cxn ang="0">
                  <a:pos x="T2" y="T3"/>
                </a:cxn>
                <a:cxn ang="0">
                  <a:pos x="T4" y="T5"/>
                </a:cxn>
                <a:cxn ang="0">
                  <a:pos x="T6" y="T7"/>
                </a:cxn>
              </a:cxnLst>
              <a:rect l="0" t="0" r="r" b="b"/>
              <a:pathLst>
                <a:path w="414" h="207">
                  <a:moveTo>
                    <a:pt x="0" y="207"/>
                  </a:moveTo>
                  <a:lnTo>
                    <a:pt x="206" y="0"/>
                  </a:lnTo>
                  <a:lnTo>
                    <a:pt x="414" y="207"/>
                  </a:lnTo>
                  <a:lnTo>
                    <a:pt x="0" y="2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chemeClr val="bg2"/>
                </a:solidFill>
                <a:latin typeface="+mj-lt"/>
              </a:endParaRPr>
            </a:p>
          </p:txBody>
        </p:sp>
      </p:grpSp>
      <p:grpSp>
        <p:nvGrpSpPr>
          <p:cNvPr id="31" name="Group 4"/>
          <p:cNvGrpSpPr>
            <a:grpSpLocks noChangeAspect="1"/>
          </p:cNvGrpSpPr>
          <p:nvPr>
            <p:custDataLst>
              <p:tags r:id="rId10"/>
            </p:custDataLst>
          </p:nvPr>
        </p:nvGrpSpPr>
        <p:grpSpPr bwMode="auto">
          <a:xfrm rot="10800000">
            <a:off x="8216543" y="1357381"/>
            <a:ext cx="585385" cy="706443"/>
            <a:chOff x="347" y="3344"/>
            <a:chExt cx="586" cy="707"/>
          </a:xfrm>
          <a:solidFill>
            <a:schemeClr val="accent5"/>
          </a:solidFill>
        </p:grpSpPr>
        <p:sp>
          <p:nvSpPr>
            <p:cNvPr id="32" name="Oval 5"/>
            <p:cNvSpPr>
              <a:spLocks noChangeArrowheads="1"/>
            </p:cNvSpPr>
            <p:nvPr/>
          </p:nvSpPr>
          <p:spPr bwMode="auto">
            <a:xfrm rot="10800000">
              <a:off x="347" y="3466"/>
              <a:ext cx="586" cy="58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200" dirty="0">
                  <a:solidFill>
                    <a:schemeClr val="bg2"/>
                  </a:solidFill>
                  <a:latin typeface="+mj-lt"/>
                </a:rPr>
                <a:t>50%</a:t>
              </a:r>
            </a:p>
          </p:txBody>
        </p:sp>
        <p:sp>
          <p:nvSpPr>
            <p:cNvPr id="33" name="Freeform 6"/>
            <p:cNvSpPr>
              <a:spLocks/>
            </p:cNvSpPr>
            <p:nvPr/>
          </p:nvSpPr>
          <p:spPr bwMode="auto">
            <a:xfrm>
              <a:off x="433" y="3344"/>
              <a:ext cx="414" cy="207"/>
            </a:xfrm>
            <a:custGeom>
              <a:avLst/>
              <a:gdLst>
                <a:gd name="T0" fmla="*/ 0 w 414"/>
                <a:gd name="T1" fmla="*/ 207 h 207"/>
                <a:gd name="T2" fmla="*/ 206 w 414"/>
                <a:gd name="T3" fmla="*/ 0 h 207"/>
                <a:gd name="T4" fmla="*/ 414 w 414"/>
                <a:gd name="T5" fmla="*/ 207 h 207"/>
                <a:gd name="T6" fmla="*/ 0 w 414"/>
                <a:gd name="T7" fmla="*/ 207 h 207"/>
              </a:gdLst>
              <a:ahLst/>
              <a:cxnLst>
                <a:cxn ang="0">
                  <a:pos x="T0" y="T1"/>
                </a:cxn>
                <a:cxn ang="0">
                  <a:pos x="T2" y="T3"/>
                </a:cxn>
                <a:cxn ang="0">
                  <a:pos x="T4" y="T5"/>
                </a:cxn>
                <a:cxn ang="0">
                  <a:pos x="T6" y="T7"/>
                </a:cxn>
              </a:cxnLst>
              <a:rect l="0" t="0" r="r" b="b"/>
              <a:pathLst>
                <a:path w="414" h="207">
                  <a:moveTo>
                    <a:pt x="0" y="207"/>
                  </a:moveTo>
                  <a:lnTo>
                    <a:pt x="206" y="0"/>
                  </a:lnTo>
                  <a:lnTo>
                    <a:pt x="414" y="207"/>
                  </a:lnTo>
                  <a:lnTo>
                    <a:pt x="0" y="2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chemeClr val="bg2"/>
                </a:solidFill>
                <a:latin typeface="+mj-lt"/>
              </a:endParaRPr>
            </a:p>
          </p:txBody>
        </p:sp>
      </p:grpSp>
      <p:grpSp>
        <p:nvGrpSpPr>
          <p:cNvPr id="34" name="Group 4"/>
          <p:cNvGrpSpPr>
            <a:grpSpLocks noChangeAspect="1"/>
          </p:cNvGrpSpPr>
          <p:nvPr>
            <p:custDataLst>
              <p:tags r:id="rId11"/>
            </p:custDataLst>
          </p:nvPr>
        </p:nvGrpSpPr>
        <p:grpSpPr bwMode="auto">
          <a:xfrm rot="10800000">
            <a:off x="9606032" y="1360896"/>
            <a:ext cx="585385" cy="706443"/>
            <a:chOff x="347" y="3344"/>
            <a:chExt cx="586" cy="707"/>
          </a:xfrm>
          <a:solidFill>
            <a:schemeClr val="accent6"/>
          </a:solidFill>
        </p:grpSpPr>
        <p:sp>
          <p:nvSpPr>
            <p:cNvPr id="35" name="Oval 5"/>
            <p:cNvSpPr>
              <a:spLocks noChangeArrowheads="1"/>
            </p:cNvSpPr>
            <p:nvPr/>
          </p:nvSpPr>
          <p:spPr bwMode="auto">
            <a:xfrm rot="10800000">
              <a:off x="347" y="3466"/>
              <a:ext cx="586" cy="58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200" dirty="0">
                  <a:solidFill>
                    <a:schemeClr val="bg2"/>
                  </a:solidFill>
                  <a:latin typeface="+mj-lt"/>
                </a:rPr>
                <a:t>50%</a:t>
              </a:r>
            </a:p>
          </p:txBody>
        </p:sp>
        <p:sp>
          <p:nvSpPr>
            <p:cNvPr id="36" name="Freeform 6"/>
            <p:cNvSpPr>
              <a:spLocks/>
            </p:cNvSpPr>
            <p:nvPr/>
          </p:nvSpPr>
          <p:spPr bwMode="auto">
            <a:xfrm>
              <a:off x="433" y="3344"/>
              <a:ext cx="414" cy="207"/>
            </a:xfrm>
            <a:custGeom>
              <a:avLst/>
              <a:gdLst>
                <a:gd name="T0" fmla="*/ 0 w 414"/>
                <a:gd name="T1" fmla="*/ 207 h 207"/>
                <a:gd name="T2" fmla="*/ 206 w 414"/>
                <a:gd name="T3" fmla="*/ 0 h 207"/>
                <a:gd name="T4" fmla="*/ 414 w 414"/>
                <a:gd name="T5" fmla="*/ 207 h 207"/>
                <a:gd name="T6" fmla="*/ 0 w 414"/>
                <a:gd name="T7" fmla="*/ 207 h 207"/>
              </a:gdLst>
              <a:ahLst/>
              <a:cxnLst>
                <a:cxn ang="0">
                  <a:pos x="T0" y="T1"/>
                </a:cxn>
                <a:cxn ang="0">
                  <a:pos x="T2" y="T3"/>
                </a:cxn>
                <a:cxn ang="0">
                  <a:pos x="T4" y="T5"/>
                </a:cxn>
                <a:cxn ang="0">
                  <a:pos x="T6" y="T7"/>
                </a:cxn>
              </a:cxnLst>
              <a:rect l="0" t="0" r="r" b="b"/>
              <a:pathLst>
                <a:path w="414" h="207">
                  <a:moveTo>
                    <a:pt x="0" y="207"/>
                  </a:moveTo>
                  <a:lnTo>
                    <a:pt x="206" y="0"/>
                  </a:lnTo>
                  <a:lnTo>
                    <a:pt x="414" y="207"/>
                  </a:lnTo>
                  <a:lnTo>
                    <a:pt x="0" y="2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chemeClr val="bg2"/>
                </a:solidFill>
                <a:latin typeface="+mj-lt"/>
              </a:endParaRPr>
            </a:p>
          </p:txBody>
        </p:sp>
      </p:grpSp>
      <p:grpSp>
        <p:nvGrpSpPr>
          <p:cNvPr id="37" name="Group 4"/>
          <p:cNvGrpSpPr>
            <a:grpSpLocks noChangeAspect="1"/>
          </p:cNvGrpSpPr>
          <p:nvPr>
            <p:custDataLst>
              <p:tags r:id="rId12"/>
            </p:custDataLst>
          </p:nvPr>
        </p:nvGrpSpPr>
        <p:grpSpPr bwMode="auto">
          <a:xfrm rot="10800000">
            <a:off x="2654401" y="1357381"/>
            <a:ext cx="585385" cy="706443"/>
            <a:chOff x="347" y="3344"/>
            <a:chExt cx="586" cy="707"/>
          </a:xfrm>
          <a:solidFill>
            <a:schemeClr val="accent1"/>
          </a:solidFill>
        </p:grpSpPr>
        <p:sp>
          <p:nvSpPr>
            <p:cNvPr id="38" name="Oval 5"/>
            <p:cNvSpPr>
              <a:spLocks noChangeArrowheads="1"/>
            </p:cNvSpPr>
            <p:nvPr/>
          </p:nvSpPr>
          <p:spPr bwMode="auto">
            <a:xfrm rot="10800000">
              <a:off x="347" y="3466"/>
              <a:ext cx="586" cy="58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a:r>
                <a:rPr lang="en-US" sz="1400" dirty="0">
                  <a:solidFill>
                    <a:schemeClr val="bg2"/>
                  </a:solidFill>
                  <a:latin typeface="+mj-lt"/>
                  <a:cs typeface="Lato Black"/>
                </a:rPr>
                <a:t>50%</a:t>
              </a:r>
            </a:p>
          </p:txBody>
        </p:sp>
        <p:sp>
          <p:nvSpPr>
            <p:cNvPr id="39" name="Freeform 6"/>
            <p:cNvSpPr>
              <a:spLocks/>
            </p:cNvSpPr>
            <p:nvPr/>
          </p:nvSpPr>
          <p:spPr bwMode="auto">
            <a:xfrm>
              <a:off x="433" y="3344"/>
              <a:ext cx="414" cy="207"/>
            </a:xfrm>
            <a:custGeom>
              <a:avLst/>
              <a:gdLst>
                <a:gd name="T0" fmla="*/ 0 w 414"/>
                <a:gd name="T1" fmla="*/ 207 h 207"/>
                <a:gd name="T2" fmla="*/ 206 w 414"/>
                <a:gd name="T3" fmla="*/ 0 h 207"/>
                <a:gd name="T4" fmla="*/ 414 w 414"/>
                <a:gd name="T5" fmla="*/ 207 h 207"/>
                <a:gd name="T6" fmla="*/ 0 w 414"/>
                <a:gd name="T7" fmla="*/ 207 h 207"/>
              </a:gdLst>
              <a:ahLst/>
              <a:cxnLst>
                <a:cxn ang="0">
                  <a:pos x="T0" y="T1"/>
                </a:cxn>
                <a:cxn ang="0">
                  <a:pos x="T2" y="T3"/>
                </a:cxn>
                <a:cxn ang="0">
                  <a:pos x="T4" y="T5"/>
                </a:cxn>
                <a:cxn ang="0">
                  <a:pos x="T6" y="T7"/>
                </a:cxn>
              </a:cxnLst>
              <a:rect l="0" t="0" r="r" b="b"/>
              <a:pathLst>
                <a:path w="414" h="207">
                  <a:moveTo>
                    <a:pt x="0" y="207"/>
                  </a:moveTo>
                  <a:lnTo>
                    <a:pt x="206" y="0"/>
                  </a:lnTo>
                  <a:lnTo>
                    <a:pt x="414" y="207"/>
                  </a:lnTo>
                  <a:lnTo>
                    <a:pt x="0" y="20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solidFill>
                  <a:schemeClr val="bg2"/>
                </a:solidFill>
                <a:latin typeface="+mj-lt"/>
              </a:endParaRPr>
            </a:p>
          </p:txBody>
        </p:sp>
      </p:grpSp>
      <p:cxnSp>
        <p:nvCxnSpPr>
          <p:cNvPr id="40" name="Straight Connector 39"/>
          <p:cNvCxnSpPr>
            <a:endCxn id="6" idx="1"/>
          </p:cNvCxnSpPr>
          <p:nvPr/>
        </p:nvCxnSpPr>
        <p:spPr>
          <a:xfrm>
            <a:off x="2952281" y="2200725"/>
            <a:ext cx="0" cy="1660426"/>
          </a:xfrm>
          <a:prstGeom prst="line">
            <a:avLst/>
          </a:prstGeom>
          <a:ln w="12700">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4337778" y="2200725"/>
            <a:ext cx="1848" cy="1310121"/>
          </a:xfrm>
          <a:prstGeom prst="line">
            <a:avLst/>
          </a:prstGeom>
          <a:ln w="12700">
            <a:solidFill>
              <a:srgbClr val="0A3E56"/>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5726972" y="2200725"/>
            <a:ext cx="0" cy="632745"/>
          </a:xfrm>
          <a:prstGeom prst="line">
            <a:avLst/>
          </a:prstGeom>
          <a:ln w="12700">
            <a:solidFill>
              <a:schemeClr val="accent3"/>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7114316" y="2200725"/>
            <a:ext cx="0" cy="1778987"/>
          </a:xfrm>
          <a:prstGeom prst="line">
            <a:avLst/>
          </a:prstGeom>
          <a:ln w="12700">
            <a:solidFill>
              <a:schemeClr val="accent4"/>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8501662" y="2200725"/>
            <a:ext cx="0" cy="316372"/>
          </a:xfrm>
          <a:prstGeom prst="line">
            <a:avLst/>
          </a:prstGeom>
          <a:ln w="12700">
            <a:solidFill>
              <a:schemeClr val="accent5"/>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9898283" y="2200725"/>
            <a:ext cx="1848" cy="1089103"/>
          </a:xfrm>
          <a:prstGeom prst="line">
            <a:avLst/>
          </a:prstGeom>
          <a:ln w="12700">
            <a:solidFill>
              <a:schemeClr val="accent6"/>
            </a:solidFill>
            <a:headEnd type="oval"/>
            <a:tailEnd type="none"/>
          </a:ln>
        </p:spPr>
        <p:style>
          <a:lnRef idx="1">
            <a:schemeClr val="accent1"/>
          </a:lnRef>
          <a:fillRef idx="0">
            <a:schemeClr val="accent1"/>
          </a:fillRef>
          <a:effectRef idx="0">
            <a:schemeClr val="accent1"/>
          </a:effectRef>
          <a:fontRef idx="minor">
            <a:schemeClr val="tx1"/>
          </a:fontRef>
        </p:style>
      </p:cxnSp>
      <p:grpSp>
        <p:nvGrpSpPr>
          <p:cNvPr id="61" name="Group 60"/>
          <p:cNvGrpSpPr/>
          <p:nvPr>
            <p:custDataLst>
              <p:tags r:id="rId13"/>
            </p:custDataLst>
          </p:nvPr>
        </p:nvGrpSpPr>
        <p:grpSpPr>
          <a:xfrm>
            <a:off x="9444764" y="5189736"/>
            <a:ext cx="1441420" cy="569470"/>
            <a:chOff x="1564940" y="2293819"/>
            <a:chExt cx="1081589" cy="284735"/>
          </a:xfrm>
        </p:grpSpPr>
        <p:sp>
          <p:nvSpPr>
            <p:cNvPr id="62" name="TextBox 61"/>
            <p:cNvSpPr txBox="1"/>
            <p:nvPr/>
          </p:nvSpPr>
          <p:spPr>
            <a:xfrm>
              <a:off x="1902235" y="2293819"/>
              <a:ext cx="375525" cy="130805"/>
            </a:xfrm>
            <a:prstGeom prst="rect">
              <a:avLst/>
            </a:prstGeom>
            <a:noFill/>
          </p:spPr>
          <p:txBody>
            <a:bodyPr wrap="none" rtlCol="0">
              <a:spAutoFit/>
            </a:bodyPr>
            <a:lstStyle/>
            <a:p>
              <a:pPr algn="ctr"/>
              <a:r>
                <a:rPr lang="id-ID" sz="1050" dirty="0" smtClean="0">
                  <a:solidFill>
                    <a:srgbClr val="58595B"/>
                  </a:solidFill>
                  <a:latin typeface="+mj-lt"/>
                  <a:cs typeface="Lato Regular"/>
                </a:rPr>
                <a:t>June</a:t>
              </a:r>
              <a:endParaRPr lang="id-ID" sz="1050" dirty="0">
                <a:solidFill>
                  <a:srgbClr val="58595B"/>
                </a:solidFill>
                <a:latin typeface="+mj-lt"/>
                <a:cs typeface="Lato Regular"/>
              </a:endParaRPr>
            </a:p>
          </p:txBody>
        </p:sp>
        <p:sp>
          <p:nvSpPr>
            <p:cNvPr id="63" name="TextBox 62"/>
            <p:cNvSpPr txBox="1"/>
            <p:nvPr/>
          </p:nvSpPr>
          <p:spPr>
            <a:xfrm>
              <a:off x="1564940" y="2440054"/>
              <a:ext cx="1081589" cy="138500"/>
            </a:xfrm>
            <a:prstGeom prst="rect">
              <a:avLst/>
            </a:prstGeom>
            <a:noFill/>
          </p:spPr>
          <p:txBody>
            <a:bodyPr wrap="none" rtlCol="0">
              <a:spAutoFit/>
            </a:bodyPr>
            <a:lstStyle/>
            <a:p>
              <a:pPr algn="ctr"/>
              <a:r>
                <a:rPr lang="id-ID" sz="1200" i="1" dirty="0">
                  <a:solidFill>
                    <a:srgbClr val="58595B"/>
                  </a:solidFill>
                  <a:latin typeface="+mj-lt"/>
                  <a:cs typeface="Lato Light"/>
                </a:rPr>
                <a:t>Your Subtitle here</a:t>
              </a:r>
            </a:p>
          </p:txBody>
        </p:sp>
      </p:grpSp>
      <p:grpSp>
        <p:nvGrpSpPr>
          <p:cNvPr id="66" name="Group 65"/>
          <p:cNvGrpSpPr/>
          <p:nvPr>
            <p:custDataLst>
              <p:tags r:id="rId14"/>
            </p:custDataLst>
          </p:nvPr>
        </p:nvGrpSpPr>
        <p:grpSpPr>
          <a:xfrm>
            <a:off x="7929177" y="5189736"/>
            <a:ext cx="1441420" cy="569470"/>
            <a:chOff x="1564940" y="2293819"/>
            <a:chExt cx="1081589" cy="284735"/>
          </a:xfrm>
        </p:grpSpPr>
        <p:sp>
          <p:nvSpPr>
            <p:cNvPr id="67" name="TextBox 66"/>
            <p:cNvSpPr txBox="1"/>
            <p:nvPr/>
          </p:nvSpPr>
          <p:spPr>
            <a:xfrm>
              <a:off x="1922682" y="2293819"/>
              <a:ext cx="334629" cy="126958"/>
            </a:xfrm>
            <a:prstGeom prst="rect">
              <a:avLst/>
            </a:prstGeom>
            <a:noFill/>
          </p:spPr>
          <p:txBody>
            <a:bodyPr wrap="none" rtlCol="0">
              <a:spAutoFit/>
            </a:bodyPr>
            <a:lstStyle/>
            <a:p>
              <a:pPr algn="ctr"/>
              <a:r>
                <a:rPr lang="en-US" sz="1050" dirty="0" smtClean="0">
                  <a:solidFill>
                    <a:srgbClr val="58595B"/>
                  </a:solidFill>
                  <a:latin typeface="+mj-lt"/>
                  <a:cs typeface="Lato Regular"/>
                </a:rPr>
                <a:t>May</a:t>
              </a:r>
              <a:endParaRPr lang="id-ID" sz="1050" dirty="0">
                <a:solidFill>
                  <a:srgbClr val="58595B"/>
                </a:solidFill>
                <a:latin typeface="+mj-lt"/>
                <a:cs typeface="Lato Regular"/>
              </a:endParaRPr>
            </a:p>
          </p:txBody>
        </p:sp>
        <p:sp>
          <p:nvSpPr>
            <p:cNvPr id="68" name="TextBox 67"/>
            <p:cNvSpPr txBox="1"/>
            <p:nvPr/>
          </p:nvSpPr>
          <p:spPr>
            <a:xfrm>
              <a:off x="1564940" y="2440054"/>
              <a:ext cx="1081589" cy="138500"/>
            </a:xfrm>
            <a:prstGeom prst="rect">
              <a:avLst/>
            </a:prstGeom>
            <a:noFill/>
          </p:spPr>
          <p:txBody>
            <a:bodyPr wrap="none" rtlCol="0">
              <a:spAutoFit/>
            </a:bodyPr>
            <a:lstStyle/>
            <a:p>
              <a:pPr algn="ctr"/>
              <a:r>
                <a:rPr lang="id-ID" sz="1200" i="1" dirty="0">
                  <a:solidFill>
                    <a:srgbClr val="58595B"/>
                  </a:solidFill>
                  <a:latin typeface="+mj-lt"/>
                  <a:cs typeface="Lato Light"/>
                </a:rPr>
                <a:t>Your Subtitle here</a:t>
              </a:r>
            </a:p>
          </p:txBody>
        </p:sp>
      </p:grpSp>
      <p:grpSp>
        <p:nvGrpSpPr>
          <p:cNvPr id="69" name="Group 68"/>
          <p:cNvGrpSpPr/>
          <p:nvPr>
            <p:custDataLst>
              <p:tags r:id="rId15"/>
            </p:custDataLst>
          </p:nvPr>
        </p:nvGrpSpPr>
        <p:grpSpPr>
          <a:xfrm>
            <a:off x="6413588" y="5189736"/>
            <a:ext cx="1441420" cy="569470"/>
            <a:chOff x="1564940" y="2293819"/>
            <a:chExt cx="1081589" cy="284735"/>
          </a:xfrm>
        </p:grpSpPr>
        <p:sp>
          <p:nvSpPr>
            <p:cNvPr id="70" name="TextBox 69"/>
            <p:cNvSpPr txBox="1"/>
            <p:nvPr/>
          </p:nvSpPr>
          <p:spPr>
            <a:xfrm>
              <a:off x="1911255" y="2293819"/>
              <a:ext cx="357482" cy="126958"/>
            </a:xfrm>
            <a:prstGeom prst="rect">
              <a:avLst/>
            </a:prstGeom>
            <a:noFill/>
          </p:spPr>
          <p:txBody>
            <a:bodyPr wrap="none" rtlCol="0">
              <a:spAutoFit/>
            </a:bodyPr>
            <a:lstStyle/>
            <a:p>
              <a:pPr algn="ctr"/>
              <a:r>
                <a:rPr lang="en-US" sz="1050" dirty="0" smtClean="0">
                  <a:solidFill>
                    <a:srgbClr val="58595B"/>
                  </a:solidFill>
                  <a:latin typeface="+mj-lt"/>
                  <a:cs typeface="Lato Regular"/>
                </a:rPr>
                <a:t>April</a:t>
              </a:r>
              <a:endParaRPr lang="id-ID" sz="1050" dirty="0">
                <a:solidFill>
                  <a:srgbClr val="58595B"/>
                </a:solidFill>
                <a:latin typeface="+mj-lt"/>
                <a:cs typeface="Lato Regular"/>
              </a:endParaRPr>
            </a:p>
          </p:txBody>
        </p:sp>
        <p:sp>
          <p:nvSpPr>
            <p:cNvPr id="71" name="TextBox 70"/>
            <p:cNvSpPr txBox="1"/>
            <p:nvPr/>
          </p:nvSpPr>
          <p:spPr>
            <a:xfrm>
              <a:off x="1564940" y="2440054"/>
              <a:ext cx="1081589" cy="138500"/>
            </a:xfrm>
            <a:prstGeom prst="rect">
              <a:avLst/>
            </a:prstGeom>
            <a:noFill/>
          </p:spPr>
          <p:txBody>
            <a:bodyPr wrap="none" rtlCol="0">
              <a:spAutoFit/>
            </a:bodyPr>
            <a:lstStyle/>
            <a:p>
              <a:pPr algn="ctr"/>
              <a:r>
                <a:rPr lang="id-ID" sz="1200" i="1" dirty="0">
                  <a:solidFill>
                    <a:srgbClr val="58595B"/>
                  </a:solidFill>
                  <a:latin typeface="+mj-lt"/>
                  <a:cs typeface="Lato Light"/>
                </a:rPr>
                <a:t>Your Subtitle here</a:t>
              </a:r>
            </a:p>
          </p:txBody>
        </p:sp>
      </p:grpSp>
      <p:grpSp>
        <p:nvGrpSpPr>
          <p:cNvPr id="72" name="Group 71"/>
          <p:cNvGrpSpPr/>
          <p:nvPr>
            <p:custDataLst>
              <p:tags r:id="rId16"/>
            </p:custDataLst>
          </p:nvPr>
        </p:nvGrpSpPr>
        <p:grpSpPr>
          <a:xfrm>
            <a:off x="4897999" y="5189736"/>
            <a:ext cx="1441420" cy="569470"/>
            <a:chOff x="1564940" y="2293819"/>
            <a:chExt cx="1081589" cy="284735"/>
          </a:xfrm>
        </p:grpSpPr>
        <p:sp>
          <p:nvSpPr>
            <p:cNvPr id="73" name="TextBox 72"/>
            <p:cNvSpPr txBox="1"/>
            <p:nvPr/>
          </p:nvSpPr>
          <p:spPr>
            <a:xfrm>
              <a:off x="1875169" y="2293819"/>
              <a:ext cx="429653" cy="126958"/>
            </a:xfrm>
            <a:prstGeom prst="rect">
              <a:avLst/>
            </a:prstGeom>
            <a:noFill/>
          </p:spPr>
          <p:txBody>
            <a:bodyPr wrap="none" rtlCol="0">
              <a:spAutoFit/>
            </a:bodyPr>
            <a:lstStyle/>
            <a:p>
              <a:pPr algn="ctr"/>
              <a:r>
                <a:rPr lang="en-US" sz="1050" dirty="0" smtClean="0">
                  <a:solidFill>
                    <a:srgbClr val="58595B"/>
                  </a:solidFill>
                  <a:latin typeface="+mj-lt"/>
                  <a:cs typeface="Lato Regular"/>
                </a:rPr>
                <a:t>March</a:t>
              </a:r>
              <a:endParaRPr lang="id-ID" sz="1050" dirty="0">
                <a:solidFill>
                  <a:srgbClr val="58595B"/>
                </a:solidFill>
                <a:latin typeface="+mj-lt"/>
                <a:cs typeface="Lato Regular"/>
              </a:endParaRPr>
            </a:p>
          </p:txBody>
        </p:sp>
        <p:sp>
          <p:nvSpPr>
            <p:cNvPr id="74" name="TextBox 73"/>
            <p:cNvSpPr txBox="1"/>
            <p:nvPr/>
          </p:nvSpPr>
          <p:spPr>
            <a:xfrm>
              <a:off x="1564940" y="2440054"/>
              <a:ext cx="1081589" cy="138500"/>
            </a:xfrm>
            <a:prstGeom prst="rect">
              <a:avLst/>
            </a:prstGeom>
            <a:noFill/>
          </p:spPr>
          <p:txBody>
            <a:bodyPr wrap="none" rtlCol="0">
              <a:spAutoFit/>
            </a:bodyPr>
            <a:lstStyle/>
            <a:p>
              <a:pPr algn="ctr"/>
              <a:r>
                <a:rPr lang="id-ID" sz="1200" i="1" dirty="0">
                  <a:solidFill>
                    <a:srgbClr val="58595B"/>
                  </a:solidFill>
                  <a:latin typeface="+mj-lt"/>
                  <a:cs typeface="Lato Light"/>
                </a:rPr>
                <a:t>Your Subtitle here</a:t>
              </a:r>
            </a:p>
          </p:txBody>
        </p:sp>
      </p:grpSp>
      <p:grpSp>
        <p:nvGrpSpPr>
          <p:cNvPr id="75" name="Group 74"/>
          <p:cNvGrpSpPr/>
          <p:nvPr>
            <p:custDataLst>
              <p:tags r:id="rId17"/>
            </p:custDataLst>
          </p:nvPr>
        </p:nvGrpSpPr>
        <p:grpSpPr>
          <a:xfrm>
            <a:off x="3382410" y="5189736"/>
            <a:ext cx="1441420" cy="569470"/>
            <a:chOff x="1564940" y="2293819"/>
            <a:chExt cx="1081589" cy="284735"/>
          </a:xfrm>
        </p:grpSpPr>
        <p:sp>
          <p:nvSpPr>
            <p:cNvPr id="76" name="TextBox 75"/>
            <p:cNvSpPr txBox="1"/>
            <p:nvPr/>
          </p:nvSpPr>
          <p:spPr>
            <a:xfrm>
              <a:off x="1816834" y="2293819"/>
              <a:ext cx="546328" cy="126958"/>
            </a:xfrm>
            <a:prstGeom prst="rect">
              <a:avLst/>
            </a:prstGeom>
            <a:noFill/>
          </p:spPr>
          <p:txBody>
            <a:bodyPr wrap="none" rtlCol="0">
              <a:spAutoFit/>
            </a:bodyPr>
            <a:lstStyle/>
            <a:p>
              <a:pPr algn="ctr"/>
              <a:r>
                <a:rPr lang="en-US" sz="1050" dirty="0" smtClean="0">
                  <a:solidFill>
                    <a:srgbClr val="58595B"/>
                  </a:solidFill>
                  <a:latin typeface="+mj-lt"/>
                  <a:cs typeface="Lato Regular"/>
                </a:rPr>
                <a:t>February</a:t>
              </a:r>
              <a:endParaRPr lang="id-ID" sz="1050" dirty="0">
                <a:solidFill>
                  <a:srgbClr val="58595B"/>
                </a:solidFill>
                <a:latin typeface="+mj-lt"/>
                <a:cs typeface="Lato Regular"/>
              </a:endParaRPr>
            </a:p>
          </p:txBody>
        </p:sp>
        <p:sp>
          <p:nvSpPr>
            <p:cNvPr id="77" name="TextBox 76"/>
            <p:cNvSpPr txBox="1"/>
            <p:nvPr/>
          </p:nvSpPr>
          <p:spPr>
            <a:xfrm>
              <a:off x="1564940" y="2440054"/>
              <a:ext cx="1081589" cy="138500"/>
            </a:xfrm>
            <a:prstGeom prst="rect">
              <a:avLst/>
            </a:prstGeom>
            <a:noFill/>
          </p:spPr>
          <p:txBody>
            <a:bodyPr wrap="none" rtlCol="0">
              <a:spAutoFit/>
            </a:bodyPr>
            <a:lstStyle/>
            <a:p>
              <a:pPr algn="ctr"/>
              <a:r>
                <a:rPr lang="id-ID" sz="1200" i="1" dirty="0">
                  <a:solidFill>
                    <a:srgbClr val="58595B"/>
                  </a:solidFill>
                  <a:latin typeface="+mj-lt"/>
                  <a:cs typeface="Lato Light"/>
                </a:rPr>
                <a:t>Your Subtitle here</a:t>
              </a:r>
            </a:p>
          </p:txBody>
        </p:sp>
      </p:grpSp>
      <p:grpSp>
        <p:nvGrpSpPr>
          <p:cNvPr id="78" name="Group 77"/>
          <p:cNvGrpSpPr/>
          <p:nvPr>
            <p:custDataLst>
              <p:tags r:id="rId18"/>
            </p:custDataLst>
          </p:nvPr>
        </p:nvGrpSpPr>
        <p:grpSpPr>
          <a:xfrm>
            <a:off x="1866821" y="5189736"/>
            <a:ext cx="1441420" cy="569470"/>
            <a:chOff x="1564940" y="2293819"/>
            <a:chExt cx="1081589" cy="284735"/>
          </a:xfrm>
        </p:grpSpPr>
        <p:sp>
          <p:nvSpPr>
            <p:cNvPr id="79" name="TextBox 78"/>
            <p:cNvSpPr txBox="1"/>
            <p:nvPr/>
          </p:nvSpPr>
          <p:spPr>
            <a:xfrm>
              <a:off x="1836079" y="2293819"/>
              <a:ext cx="507837" cy="126958"/>
            </a:xfrm>
            <a:prstGeom prst="rect">
              <a:avLst/>
            </a:prstGeom>
            <a:noFill/>
          </p:spPr>
          <p:txBody>
            <a:bodyPr wrap="none" rtlCol="0">
              <a:spAutoFit/>
            </a:bodyPr>
            <a:lstStyle/>
            <a:p>
              <a:pPr algn="ctr"/>
              <a:r>
                <a:rPr lang="en-US" sz="1050" dirty="0" smtClean="0">
                  <a:solidFill>
                    <a:srgbClr val="58595B"/>
                  </a:solidFill>
                  <a:latin typeface="+mj-lt"/>
                  <a:cs typeface="Lato Regular"/>
                </a:rPr>
                <a:t>January</a:t>
              </a:r>
              <a:endParaRPr lang="id-ID" sz="1050" dirty="0">
                <a:solidFill>
                  <a:srgbClr val="58595B"/>
                </a:solidFill>
                <a:latin typeface="+mj-lt"/>
                <a:cs typeface="Lato Regular"/>
              </a:endParaRPr>
            </a:p>
          </p:txBody>
        </p:sp>
        <p:sp>
          <p:nvSpPr>
            <p:cNvPr id="80" name="TextBox 79"/>
            <p:cNvSpPr txBox="1"/>
            <p:nvPr/>
          </p:nvSpPr>
          <p:spPr>
            <a:xfrm>
              <a:off x="1564940" y="2440054"/>
              <a:ext cx="1081589" cy="138500"/>
            </a:xfrm>
            <a:prstGeom prst="rect">
              <a:avLst/>
            </a:prstGeom>
            <a:noFill/>
          </p:spPr>
          <p:txBody>
            <a:bodyPr wrap="none" rtlCol="0">
              <a:spAutoFit/>
            </a:bodyPr>
            <a:lstStyle/>
            <a:p>
              <a:pPr algn="ctr"/>
              <a:r>
                <a:rPr lang="id-ID" sz="1200" i="1" dirty="0">
                  <a:solidFill>
                    <a:srgbClr val="58595B"/>
                  </a:solidFill>
                  <a:latin typeface="+mj-lt"/>
                  <a:cs typeface="Lato Light"/>
                </a:rPr>
                <a:t>Your Subtitle here</a:t>
              </a:r>
            </a:p>
          </p:txBody>
        </p:sp>
      </p:grpSp>
    </p:spTree>
    <p:extLst>
      <p:ext uri="{BB962C8B-B14F-4D97-AF65-F5344CB8AC3E}">
        <p14:creationId xmlns:p14="http://schemas.microsoft.com/office/powerpoint/2010/main" val="3996416529"/>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R CHART</a:t>
            </a:r>
            <a:endParaRPr lang="en-US" dirty="0"/>
          </a:p>
        </p:txBody>
      </p:sp>
      <p:graphicFrame>
        <p:nvGraphicFramePr>
          <p:cNvPr id="3" name="Chart 1"/>
          <p:cNvGraphicFramePr>
            <a:graphicFrameLocks/>
          </p:cNvGraphicFramePr>
          <p:nvPr>
            <p:extLst>
              <p:ext uri="{D42A27DB-BD31-4B8C-83A1-F6EECF244321}">
                <p14:modId xmlns:p14="http://schemas.microsoft.com/office/powerpoint/2010/main" val="3329996783"/>
              </p:ext>
            </p:extLst>
          </p:nvPr>
        </p:nvGraphicFramePr>
        <p:xfrm>
          <a:off x="690254" y="1359115"/>
          <a:ext cx="4675122" cy="4772743"/>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6687230" y="2134132"/>
            <a:ext cx="2456351" cy="461665"/>
          </a:xfrm>
          <a:prstGeom prst="rect">
            <a:avLst/>
          </a:prstGeom>
          <a:noFill/>
        </p:spPr>
        <p:txBody>
          <a:bodyPr wrap="square" rtlCol="0">
            <a:spAutoFit/>
          </a:bodyPr>
          <a:lstStyle/>
          <a:p>
            <a:r>
              <a:rPr lang="id-ID" sz="2400" b="1" dirty="0">
                <a:solidFill>
                  <a:srgbClr val="58595B"/>
                </a:solidFill>
                <a:latin typeface="+mj-lt"/>
              </a:rPr>
              <a:t>Service Circles</a:t>
            </a:r>
          </a:p>
        </p:txBody>
      </p:sp>
      <p:sp>
        <p:nvSpPr>
          <p:cNvPr id="7" name="TextBox 6"/>
          <p:cNvSpPr txBox="1"/>
          <p:nvPr/>
        </p:nvSpPr>
        <p:spPr>
          <a:xfrm>
            <a:off x="6420644" y="3936891"/>
            <a:ext cx="5445874" cy="1212640"/>
          </a:xfrm>
          <a:prstGeom prst="rect">
            <a:avLst/>
          </a:prstGeom>
          <a:noFill/>
        </p:spPr>
        <p:txBody>
          <a:bodyPr wrap="square" rtlCol="0">
            <a:spAutoFit/>
          </a:bodyPr>
          <a:lstStyle/>
          <a:p>
            <a:pPr algn="just">
              <a:lnSpc>
                <a:spcPct val="130000"/>
              </a:lnSpc>
            </a:pPr>
            <a:r>
              <a:rPr lang="pt-BR" sz="1400" dirty="0">
                <a:solidFill>
                  <a:srgbClr val="58595B"/>
                </a:solidFill>
                <a:latin typeface="Roboto Regular" pitchFamily="2" charset="0"/>
                <a:ea typeface="Roboto Regular" pitchFamily="2" charset="0"/>
                <a:cs typeface="Lato Light"/>
              </a:rPr>
              <a:t>Lorem ipsum dolor sit amet, consectetur adipiscing elit. Aliquam tincidunt ante nec sem Pellentesque vel mauris quis nisl ornare rutrum in id risus. Proin vehicula ut sem et tempus. Interdum et malesuada fames ac ante ipsum primis in faucibus.</a:t>
            </a:r>
            <a:endParaRPr lang="en-US" sz="1400" dirty="0">
              <a:solidFill>
                <a:srgbClr val="58595B"/>
              </a:solidFill>
              <a:latin typeface="Roboto Regular" pitchFamily="2" charset="0"/>
              <a:ea typeface="Roboto Regular" pitchFamily="2" charset="0"/>
              <a:cs typeface="Lato Light"/>
            </a:endParaRPr>
          </a:p>
        </p:txBody>
      </p:sp>
      <p:sp>
        <p:nvSpPr>
          <p:cNvPr id="8" name="TextBox 7"/>
          <p:cNvSpPr txBox="1"/>
          <p:nvPr/>
        </p:nvSpPr>
        <p:spPr>
          <a:xfrm>
            <a:off x="6846336" y="2646308"/>
            <a:ext cx="2138139" cy="1200330"/>
          </a:xfrm>
          <a:prstGeom prst="rect">
            <a:avLst/>
          </a:prstGeom>
          <a:noFill/>
        </p:spPr>
        <p:txBody>
          <a:bodyPr wrap="square" rtlCol="0">
            <a:spAutoFit/>
          </a:bodyPr>
          <a:lstStyle/>
          <a:p>
            <a:r>
              <a:rPr lang="en-US" sz="7200" b="1" dirty="0" smtClean="0">
                <a:solidFill>
                  <a:srgbClr val="58595B"/>
                </a:solidFill>
                <a:latin typeface="+mj-lt"/>
                <a:cs typeface="Lato Light"/>
              </a:rPr>
              <a:t>10</a:t>
            </a:r>
            <a:r>
              <a:rPr lang="id-ID" sz="7200" b="1" dirty="0" smtClean="0">
                <a:solidFill>
                  <a:srgbClr val="58595B"/>
                </a:solidFill>
                <a:latin typeface="+mj-lt"/>
                <a:cs typeface="Lato Light"/>
              </a:rPr>
              <a:t>%</a:t>
            </a:r>
            <a:endParaRPr lang="id-ID" sz="7200" b="1" dirty="0">
              <a:solidFill>
                <a:srgbClr val="58595B"/>
              </a:solidFill>
              <a:latin typeface="+mj-lt"/>
              <a:cs typeface="Lato Light"/>
            </a:endParaRPr>
          </a:p>
        </p:txBody>
      </p:sp>
      <p:sp>
        <p:nvSpPr>
          <p:cNvPr id="9" name="TextBox 8"/>
          <p:cNvSpPr txBox="1"/>
          <p:nvPr/>
        </p:nvSpPr>
        <p:spPr>
          <a:xfrm>
            <a:off x="9433075" y="2134132"/>
            <a:ext cx="2456351" cy="461665"/>
          </a:xfrm>
          <a:prstGeom prst="rect">
            <a:avLst/>
          </a:prstGeom>
          <a:noFill/>
        </p:spPr>
        <p:txBody>
          <a:bodyPr wrap="square" rtlCol="0">
            <a:spAutoFit/>
          </a:bodyPr>
          <a:lstStyle/>
          <a:p>
            <a:r>
              <a:rPr lang="id-ID" sz="2400" b="1" dirty="0">
                <a:solidFill>
                  <a:srgbClr val="41B5E8"/>
                </a:solidFill>
                <a:latin typeface="+mj-lt"/>
              </a:rPr>
              <a:t>Service Circles</a:t>
            </a:r>
          </a:p>
        </p:txBody>
      </p:sp>
      <p:sp>
        <p:nvSpPr>
          <p:cNvPr id="10" name="TextBox 9"/>
          <p:cNvSpPr txBox="1"/>
          <p:nvPr/>
        </p:nvSpPr>
        <p:spPr>
          <a:xfrm>
            <a:off x="9592181" y="2646308"/>
            <a:ext cx="2138139" cy="1200330"/>
          </a:xfrm>
          <a:prstGeom prst="rect">
            <a:avLst/>
          </a:prstGeom>
          <a:noFill/>
        </p:spPr>
        <p:txBody>
          <a:bodyPr wrap="square" rtlCol="0">
            <a:spAutoFit/>
          </a:bodyPr>
          <a:lstStyle/>
          <a:p>
            <a:r>
              <a:rPr lang="en-US" sz="7200" b="1" dirty="0">
                <a:solidFill>
                  <a:srgbClr val="41B5E8"/>
                </a:solidFill>
                <a:latin typeface="+mj-lt"/>
                <a:cs typeface="Lato Light"/>
              </a:rPr>
              <a:t>4</a:t>
            </a:r>
            <a:r>
              <a:rPr lang="id-ID" sz="7200" b="1" dirty="0" smtClean="0">
                <a:solidFill>
                  <a:srgbClr val="41B5E8"/>
                </a:solidFill>
                <a:latin typeface="+mj-lt"/>
                <a:cs typeface="Lato Light"/>
              </a:rPr>
              <a:t>5</a:t>
            </a:r>
            <a:r>
              <a:rPr lang="id-ID" sz="7200" b="1" dirty="0">
                <a:solidFill>
                  <a:srgbClr val="41B5E8"/>
                </a:solidFill>
                <a:latin typeface="+mj-lt"/>
                <a:cs typeface="Lato Light"/>
              </a:rPr>
              <a:t>%</a:t>
            </a:r>
          </a:p>
        </p:txBody>
      </p:sp>
      <p:sp>
        <p:nvSpPr>
          <p:cNvPr id="11"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395968119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 STEPS</a:t>
            </a:r>
            <a:endParaRPr lang="en-US" dirty="0"/>
          </a:p>
        </p:txBody>
      </p:sp>
      <p:sp>
        <p:nvSpPr>
          <p:cNvPr id="9" name="Content Placeholder 2"/>
          <p:cNvSpPr txBox="1">
            <a:spLocks/>
          </p:cNvSpPr>
          <p:nvPr/>
        </p:nvSpPr>
        <p:spPr bwMode="auto">
          <a:xfrm>
            <a:off x="4736336" y="4917415"/>
            <a:ext cx="3715900" cy="1645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43785" tIns="121892" rIns="243785" bIns="121892"/>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spcBef>
                <a:spcPct val="20000"/>
              </a:spcBef>
            </a:pPr>
            <a:r>
              <a:rPr lang="en-US" sz="1100" dirty="0">
                <a:solidFill>
                  <a:srgbClr val="58595B"/>
                </a:solidFill>
                <a:latin typeface="Roboto Regular" pitchFamily="2" charset="0"/>
                <a:ea typeface="Roboto Regular" pitchFamily="2" charset="0"/>
                <a:cs typeface="Lato Light"/>
              </a:rPr>
              <a:t>Lorem ipsum dolor sit amet, consectetur adipiscing elit. Curabitur elementum posuere pretium. Quisque nibh dolor, dignissim ac dignissim ut</a:t>
            </a:r>
            <a:endParaRPr lang="en-US" sz="1100" dirty="0">
              <a:solidFill>
                <a:srgbClr val="58595B"/>
              </a:solidFill>
              <a:latin typeface="Roboto Regular" pitchFamily="2" charset="0"/>
              <a:ea typeface="Roboto Regular" pitchFamily="2" charset="0"/>
            </a:endParaRPr>
          </a:p>
          <a:p>
            <a:pPr algn="ctr">
              <a:spcBef>
                <a:spcPct val="20000"/>
              </a:spcBef>
              <a:buFont typeface="Arial" charset="0"/>
              <a:buNone/>
            </a:pPr>
            <a:endParaRPr lang="en-US" sz="1100" dirty="0">
              <a:solidFill>
                <a:srgbClr val="58595B"/>
              </a:solidFill>
              <a:latin typeface="Roboto Regular" pitchFamily="2" charset="0"/>
              <a:ea typeface="Roboto Regular" pitchFamily="2" charset="0"/>
            </a:endParaRPr>
          </a:p>
        </p:txBody>
      </p:sp>
      <p:sp>
        <p:nvSpPr>
          <p:cNvPr id="10" name="Title 13"/>
          <p:cNvSpPr txBox="1">
            <a:spLocks/>
          </p:cNvSpPr>
          <p:nvPr/>
        </p:nvSpPr>
        <p:spPr bwMode="auto">
          <a:xfrm>
            <a:off x="4617126" y="4237133"/>
            <a:ext cx="3835111" cy="6770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43785" tIns="121892" rIns="243785" bIns="121892" anchor="ct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r>
              <a:rPr lang="en-US" sz="2800" dirty="0">
                <a:solidFill>
                  <a:srgbClr val="58595B"/>
                </a:solidFill>
                <a:latin typeface="+mj-lt"/>
                <a:cs typeface="Lato Regular"/>
              </a:rPr>
              <a:t>Step 2</a:t>
            </a:r>
          </a:p>
        </p:txBody>
      </p:sp>
      <p:grpSp>
        <p:nvGrpSpPr>
          <p:cNvPr id="18" name="Group 17"/>
          <p:cNvGrpSpPr/>
          <p:nvPr>
            <p:custDataLst>
              <p:tags r:id="rId1"/>
            </p:custDataLst>
          </p:nvPr>
        </p:nvGrpSpPr>
        <p:grpSpPr>
          <a:xfrm>
            <a:off x="903100" y="1333077"/>
            <a:ext cx="11267171" cy="2729794"/>
            <a:chOff x="2719336" y="3249889"/>
            <a:chExt cx="19028109" cy="4610102"/>
          </a:xfrm>
        </p:grpSpPr>
        <p:cxnSp>
          <p:nvCxnSpPr>
            <p:cNvPr id="3" name="Straight Connector 2"/>
            <p:cNvCxnSpPr/>
            <p:nvPr/>
          </p:nvCxnSpPr>
          <p:spPr>
            <a:xfrm>
              <a:off x="2719336" y="5455448"/>
              <a:ext cx="19028109" cy="0"/>
            </a:xfrm>
            <a:prstGeom prst="line">
              <a:avLst/>
            </a:prstGeom>
            <a:ln>
              <a:solidFill>
                <a:schemeClr val="bg1">
                  <a:lumMod val="85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
          <p:nvSpPr>
            <p:cNvPr id="4" name="Oval 3"/>
            <p:cNvSpPr/>
            <p:nvPr/>
          </p:nvSpPr>
          <p:spPr bwMode="auto">
            <a:xfrm>
              <a:off x="9867570" y="3249889"/>
              <a:ext cx="4604667" cy="4610102"/>
            </a:xfrm>
            <a:prstGeom prst="ellipse">
              <a:avLst/>
            </a:prstGeom>
            <a:solidFill>
              <a:srgbClr val="58595B"/>
            </a:solidFill>
            <a:ln>
              <a:noFill/>
            </a:ln>
          </p:spPr>
          <p:style>
            <a:lnRef idx="2">
              <a:schemeClr val="accent2">
                <a:shade val="50000"/>
              </a:schemeClr>
            </a:lnRef>
            <a:fillRef idx="1">
              <a:schemeClr val="accent2"/>
            </a:fillRef>
            <a:effectRef idx="0">
              <a:schemeClr val="accent2"/>
            </a:effectRef>
            <a:fontRef idx="minor">
              <a:schemeClr val="lt1"/>
            </a:fontRef>
          </p:style>
          <p:txBody>
            <a:bodyPr lIns="182843" tIns="91422" rIns="182843" bIns="91422" anchor="ctr"/>
            <a:lstStyle/>
            <a:p>
              <a:pPr algn="ctr"/>
              <a:endParaRPr lang="en-US" sz="1450" b="1" dirty="0">
                <a:solidFill>
                  <a:srgbClr val="DDDDDD"/>
                </a:solidFill>
                <a:latin typeface="+mj-lt"/>
                <a:ea typeface="ＭＳ Ｐゴシック" charset="0"/>
                <a:cs typeface="Lato Light"/>
              </a:endParaRPr>
            </a:p>
            <a:p>
              <a:pPr algn="ctr"/>
              <a:endParaRPr lang="en-US" sz="1450" b="1" dirty="0">
                <a:solidFill>
                  <a:srgbClr val="DDDDDD"/>
                </a:solidFill>
                <a:latin typeface="+mj-lt"/>
                <a:ea typeface="ＭＳ Ｐゴシック" charset="0"/>
                <a:cs typeface="Lato Light"/>
              </a:endParaRPr>
            </a:p>
            <a:p>
              <a:pPr algn="ctr"/>
              <a:endParaRPr lang="en-US" sz="1450" b="1" dirty="0" smtClean="0">
                <a:solidFill>
                  <a:srgbClr val="DDDDDD"/>
                </a:solidFill>
                <a:latin typeface="+mj-lt"/>
                <a:ea typeface="ＭＳ Ｐゴシック" charset="0"/>
                <a:cs typeface="Lato Light"/>
              </a:endParaRPr>
            </a:p>
            <a:p>
              <a:pPr algn="ctr"/>
              <a:endParaRPr lang="en-US" sz="1450" b="1" dirty="0" smtClean="0">
                <a:solidFill>
                  <a:srgbClr val="DDDDDD"/>
                </a:solidFill>
                <a:latin typeface="+mj-lt"/>
                <a:ea typeface="ＭＳ Ｐゴシック" charset="0"/>
                <a:cs typeface="Lato Light"/>
              </a:endParaRPr>
            </a:p>
            <a:p>
              <a:pPr algn="ctr"/>
              <a:r>
                <a:rPr lang="en-US" sz="1450" b="1" dirty="0" smtClean="0">
                  <a:solidFill>
                    <a:srgbClr val="DDDDDD"/>
                  </a:solidFill>
                  <a:latin typeface="+mj-lt"/>
                  <a:ea typeface="ＭＳ Ｐゴシック" charset="0"/>
                  <a:cs typeface="Lato Light"/>
                </a:rPr>
                <a:t>Grown </a:t>
              </a:r>
              <a:r>
                <a:rPr lang="en-US" sz="1450" b="1" dirty="0">
                  <a:solidFill>
                    <a:srgbClr val="DDDDDD"/>
                  </a:solidFill>
                  <a:latin typeface="+mj-lt"/>
                  <a:ea typeface="ＭＳ Ｐゴシック" charset="0"/>
                  <a:cs typeface="Lato Light"/>
                </a:rPr>
                <a:t>Plan</a:t>
              </a:r>
            </a:p>
          </p:txBody>
        </p:sp>
        <p:sp>
          <p:nvSpPr>
            <p:cNvPr id="5" name="Oval 4"/>
            <p:cNvSpPr/>
            <p:nvPr/>
          </p:nvSpPr>
          <p:spPr bwMode="auto">
            <a:xfrm>
              <a:off x="4331817" y="3753647"/>
              <a:ext cx="3580468" cy="358563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2843" tIns="91422" rIns="182843" bIns="91422" anchor="ctr"/>
            <a:lstStyle/>
            <a:p>
              <a:pPr algn="ctr">
                <a:defRPr/>
              </a:pPr>
              <a:endParaRPr lang="en-US" sz="1450" b="1" dirty="0">
                <a:solidFill>
                  <a:srgbClr val="58595B"/>
                </a:solidFill>
                <a:latin typeface="+mj-lt"/>
                <a:cs typeface="Lato Light"/>
              </a:endParaRPr>
            </a:p>
            <a:p>
              <a:pPr algn="ctr">
                <a:defRPr/>
              </a:pPr>
              <a:endParaRPr lang="en-US" sz="1450" b="1" dirty="0">
                <a:solidFill>
                  <a:srgbClr val="58595B"/>
                </a:solidFill>
                <a:latin typeface="+mj-lt"/>
                <a:cs typeface="Lato Light"/>
              </a:endParaRPr>
            </a:p>
            <a:p>
              <a:pPr algn="ctr">
                <a:defRPr/>
              </a:pPr>
              <a:r>
                <a:rPr lang="en-US" sz="1450" b="1" dirty="0">
                  <a:solidFill>
                    <a:srgbClr val="58595B"/>
                  </a:solidFill>
                  <a:latin typeface="+mj-lt"/>
                  <a:cs typeface="Lato Light"/>
                </a:rPr>
                <a:t>Achievement</a:t>
              </a:r>
            </a:p>
          </p:txBody>
        </p:sp>
        <p:sp>
          <p:nvSpPr>
            <p:cNvPr id="6" name="Oval 5"/>
            <p:cNvSpPr/>
            <p:nvPr/>
          </p:nvSpPr>
          <p:spPr bwMode="auto">
            <a:xfrm>
              <a:off x="16554498" y="3753648"/>
              <a:ext cx="3580467" cy="3585632"/>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lIns="182843" tIns="91422" rIns="182843" bIns="91422" anchor="ctr"/>
            <a:lstStyle/>
            <a:p>
              <a:pPr algn="ctr">
                <a:defRPr/>
              </a:pPr>
              <a:endParaRPr lang="en-US" sz="1450" b="1" dirty="0">
                <a:solidFill>
                  <a:srgbClr val="58595B"/>
                </a:solidFill>
                <a:latin typeface="+mj-lt"/>
                <a:cs typeface="Lato Light"/>
              </a:endParaRPr>
            </a:p>
            <a:p>
              <a:pPr algn="ctr">
                <a:defRPr/>
              </a:pPr>
              <a:endParaRPr lang="en-US" sz="1450" b="1" dirty="0">
                <a:solidFill>
                  <a:srgbClr val="58595B"/>
                </a:solidFill>
                <a:latin typeface="+mj-lt"/>
                <a:cs typeface="Lato Light"/>
              </a:endParaRPr>
            </a:p>
            <a:p>
              <a:pPr algn="ctr">
                <a:defRPr/>
              </a:pPr>
              <a:r>
                <a:rPr lang="en-US" sz="1450" b="1" dirty="0">
                  <a:solidFill>
                    <a:srgbClr val="DDDDDD"/>
                  </a:solidFill>
                  <a:latin typeface="+mj-lt"/>
                  <a:cs typeface="Lato Light"/>
                </a:rPr>
                <a:t>Approved</a:t>
              </a:r>
            </a:p>
          </p:txBody>
        </p:sp>
        <p:sp>
          <p:nvSpPr>
            <p:cNvPr id="12" name="AutoShape 39"/>
            <p:cNvSpPr>
              <a:spLocks/>
            </p:cNvSpPr>
            <p:nvPr/>
          </p:nvSpPr>
          <p:spPr bwMode="auto">
            <a:xfrm>
              <a:off x="17981752" y="4625315"/>
              <a:ext cx="810462" cy="810672"/>
            </a:xfrm>
            <a:custGeom>
              <a:avLst/>
              <a:gdLst>
                <a:gd name="T0" fmla="*/ 10797 w 21595"/>
                <a:gd name="T1" fmla="*/ 10800 h 21600"/>
                <a:gd name="T2" fmla="*/ 10797 w 21595"/>
                <a:gd name="T3" fmla="*/ 10800 h 21600"/>
                <a:gd name="T4" fmla="*/ 10797 w 21595"/>
                <a:gd name="T5" fmla="*/ 10800 h 21600"/>
                <a:gd name="T6" fmla="*/ 10797 w 21595"/>
                <a:gd name="T7" fmla="*/ 10800 h 21600"/>
              </a:gdLst>
              <a:ahLst/>
              <a:cxnLst>
                <a:cxn ang="0">
                  <a:pos x="T0" y="T1"/>
                </a:cxn>
                <a:cxn ang="0">
                  <a:pos x="T2" y="T3"/>
                </a:cxn>
                <a:cxn ang="0">
                  <a:pos x="T4" y="T5"/>
                </a:cxn>
                <a:cxn ang="0">
                  <a:pos x="T6" y="T7"/>
                </a:cxn>
              </a:cxnLst>
              <a:rect l="0" t="0" r="r" b="b"/>
              <a:pathLst>
                <a:path w="21595" h="21600">
                  <a:moveTo>
                    <a:pt x="8043" y="21599"/>
                  </a:moveTo>
                  <a:cubicBezTo>
                    <a:pt x="7769" y="21599"/>
                    <a:pt x="7477" y="21507"/>
                    <a:pt x="7164" y="21320"/>
                  </a:cubicBezTo>
                  <a:cubicBezTo>
                    <a:pt x="6850" y="21132"/>
                    <a:pt x="6608" y="20916"/>
                    <a:pt x="6436" y="20665"/>
                  </a:cubicBezTo>
                  <a:lnTo>
                    <a:pt x="266" y="11697"/>
                  </a:lnTo>
                  <a:cubicBezTo>
                    <a:pt x="88" y="11439"/>
                    <a:pt x="0" y="11120"/>
                    <a:pt x="0" y="10741"/>
                  </a:cubicBezTo>
                  <a:cubicBezTo>
                    <a:pt x="0" y="10362"/>
                    <a:pt x="88" y="10047"/>
                    <a:pt x="266" y="9799"/>
                  </a:cubicBezTo>
                  <a:lnTo>
                    <a:pt x="2307" y="6831"/>
                  </a:lnTo>
                  <a:cubicBezTo>
                    <a:pt x="2488" y="6573"/>
                    <a:pt x="2708" y="6445"/>
                    <a:pt x="2970" y="6452"/>
                  </a:cubicBezTo>
                  <a:cubicBezTo>
                    <a:pt x="3233" y="6459"/>
                    <a:pt x="3448" y="6583"/>
                    <a:pt x="3622" y="6831"/>
                  </a:cubicBezTo>
                  <a:lnTo>
                    <a:pt x="7903" y="13022"/>
                  </a:lnTo>
                  <a:cubicBezTo>
                    <a:pt x="8082" y="13280"/>
                    <a:pt x="8302" y="13408"/>
                    <a:pt x="8567" y="13408"/>
                  </a:cubicBezTo>
                  <a:cubicBezTo>
                    <a:pt x="8827" y="13408"/>
                    <a:pt x="9045" y="13280"/>
                    <a:pt x="9221" y="13022"/>
                  </a:cubicBezTo>
                  <a:lnTo>
                    <a:pt x="17965" y="393"/>
                  </a:lnTo>
                  <a:cubicBezTo>
                    <a:pt x="18144" y="127"/>
                    <a:pt x="18364" y="0"/>
                    <a:pt x="18629" y="0"/>
                  </a:cubicBezTo>
                  <a:cubicBezTo>
                    <a:pt x="18888" y="0"/>
                    <a:pt x="19109" y="127"/>
                    <a:pt x="19292" y="393"/>
                  </a:cubicBezTo>
                  <a:lnTo>
                    <a:pt x="21333" y="3339"/>
                  </a:lnTo>
                  <a:cubicBezTo>
                    <a:pt x="21511" y="3601"/>
                    <a:pt x="21600" y="3920"/>
                    <a:pt x="21595" y="4299"/>
                  </a:cubicBezTo>
                  <a:cubicBezTo>
                    <a:pt x="21590" y="4678"/>
                    <a:pt x="21502" y="4993"/>
                    <a:pt x="21333" y="5241"/>
                  </a:cubicBezTo>
                  <a:lnTo>
                    <a:pt x="10664" y="20665"/>
                  </a:lnTo>
                  <a:cubicBezTo>
                    <a:pt x="10482" y="20930"/>
                    <a:pt x="10237" y="21146"/>
                    <a:pt x="9929" y="21330"/>
                  </a:cubicBezTo>
                  <a:cubicBezTo>
                    <a:pt x="9620" y="21511"/>
                    <a:pt x="9339" y="21599"/>
                    <a:pt x="9079" y="21599"/>
                  </a:cubicBezTo>
                  <a:lnTo>
                    <a:pt x="8043" y="21599"/>
                  </a:lnTo>
                  <a:close/>
                </a:path>
              </a:pathLst>
            </a:custGeom>
            <a:solidFill>
              <a:schemeClr val="bg1"/>
            </a:solidFill>
            <a:ln>
              <a:noFill/>
            </a:ln>
            <a:effectLst/>
            <a:extLst/>
          </p:spPr>
          <p:txBody>
            <a:bodyPr lIns="101578" tIns="101578" rIns="101578" bIns="101578" anchor="ctr"/>
            <a:lstStyle/>
            <a:p>
              <a:pPr defTabSz="914195">
                <a:defRPr/>
              </a:pPr>
              <a:endParaRPr lang="es-ES" sz="3600" dirty="0">
                <a:solidFill>
                  <a:srgbClr val="58595B"/>
                </a:solidFill>
                <a:effectLst>
                  <a:outerShdw blurRad="38100" dist="38100" dir="2700000" algn="tl">
                    <a:srgbClr val="000000"/>
                  </a:outerShdw>
                </a:effectLst>
                <a:latin typeface="+mj-lt"/>
                <a:cs typeface="Gill Sans" charset="0"/>
                <a:sym typeface="Gill Sans" charset="0"/>
              </a:endParaRPr>
            </a:p>
          </p:txBody>
        </p:sp>
        <p:sp>
          <p:nvSpPr>
            <p:cNvPr id="13" name="AutoShape 31"/>
            <p:cNvSpPr>
              <a:spLocks/>
            </p:cNvSpPr>
            <p:nvPr/>
          </p:nvSpPr>
          <p:spPr bwMode="auto">
            <a:xfrm>
              <a:off x="5764645" y="4621686"/>
              <a:ext cx="813714" cy="81067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4276" y="7975"/>
                  </a:moveTo>
                  <a:cubicBezTo>
                    <a:pt x="3988" y="7975"/>
                    <a:pt x="3706" y="8031"/>
                    <a:pt x="3434" y="8148"/>
                  </a:cubicBezTo>
                  <a:cubicBezTo>
                    <a:pt x="3160" y="8266"/>
                    <a:pt x="2903" y="8427"/>
                    <a:pt x="2666" y="8627"/>
                  </a:cubicBezTo>
                  <a:cubicBezTo>
                    <a:pt x="2428" y="8830"/>
                    <a:pt x="2220" y="9071"/>
                    <a:pt x="2044" y="9344"/>
                  </a:cubicBezTo>
                  <a:cubicBezTo>
                    <a:pt x="1867" y="9620"/>
                    <a:pt x="1730" y="9926"/>
                    <a:pt x="1628" y="10252"/>
                  </a:cubicBezTo>
                  <a:lnTo>
                    <a:pt x="0" y="16271"/>
                  </a:lnTo>
                  <a:lnTo>
                    <a:pt x="0" y="1618"/>
                  </a:lnTo>
                  <a:cubicBezTo>
                    <a:pt x="0" y="1177"/>
                    <a:pt x="132" y="796"/>
                    <a:pt x="399" y="478"/>
                  </a:cubicBezTo>
                  <a:cubicBezTo>
                    <a:pt x="663" y="161"/>
                    <a:pt x="981" y="0"/>
                    <a:pt x="1348" y="0"/>
                  </a:cubicBezTo>
                  <a:lnTo>
                    <a:pt x="9459" y="0"/>
                  </a:lnTo>
                  <a:cubicBezTo>
                    <a:pt x="9824" y="0"/>
                    <a:pt x="10140" y="161"/>
                    <a:pt x="10407" y="478"/>
                  </a:cubicBezTo>
                  <a:cubicBezTo>
                    <a:pt x="10673" y="796"/>
                    <a:pt x="10806" y="1177"/>
                    <a:pt x="10806" y="1618"/>
                  </a:cubicBezTo>
                  <a:cubicBezTo>
                    <a:pt x="10806" y="2059"/>
                    <a:pt x="10938" y="2438"/>
                    <a:pt x="11197" y="2749"/>
                  </a:cubicBezTo>
                  <a:cubicBezTo>
                    <a:pt x="11459" y="3063"/>
                    <a:pt x="11773" y="3222"/>
                    <a:pt x="12142" y="3222"/>
                  </a:cubicBezTo>
                  <a:lnTo>
                    <a:pt x="17332" y="3222"/>
                  </a:lnTo>
                  <a:cubicBezTo>
                    <a:pt x="17700" y="3222"/>
                    <a:pt x="18015" y="3384"/>
                    <a:pt x="18277" y="3713"/>
                  </a:cubicBezTo>
                  <a:cubicBezTo>
                    <a:pt x="18539" y="4042"/>
                    <a:pt x="18669" y="4426"/>
                    <a:pt x="18669" y="4867"/>
                  </a:cubicBezTo>
                  <a:lnTo>
                    <a:pt x="18669" y="7975"/>
                  </a:lnTo>
                  <a:lnTo>
                    <a:pt x="4276" y="7975"/>
                  </a:lnTo>
                  <a:close/>
                  <a:moveTo>
                    <a:pt x="21599" y="10140"/>
                  </a:moveTo>
                  <a:lnTo>
                    <a:pt x="18552" y="20800"/>
                  </a:lnTo>
                  <a:cubicBezTo>
                    <a:pt x="18505" y="21015"/>
                    <a:pt x="18385" y="21203"/>
                    <a:pt x="18194" y="21362"/>
                  </a:cubicBezTo>
                  <a:cubicBezTo>
                    <a:pt x="18003" y="21520"/>
                    <a:pt x="17817" y="21599"/>
                    <a:pt x="17638" y="21599"/>
                  </a:cubicBezTo>
                  <a:lnTo>
                    <a:pt x="504" y="21599"/>
                  </a:lnTo>
                  <a:lnTo>
                    <a:pt x="3388" y="10913"/>
                  </a:lnTo>
                  <a:cubicBezTo>
                    <a:pt x="3434" y="10698"/>
                    <a:pt x="3552" y="10516"/>
                    <a:pt x="3745" y="10363"/>
                  </a:cubicBezTo>
                  <a:cubicBezTo>
                    <a:pt x="3936" y="10213"/>
                    <a:pt x="4120" y="10140"/>
                    <a:pt x="4301" y="10140"/>
                  </a:cubicBezTo>
                  <a:lnTo>
                    <a:pt x="21599" y="10140"/>
                  </a:lnTo>
                  <a:close/>
                </a:path>
              </a:pathLst>
            </a:custGeom>
            <a:solidFill>
              <a:srgbClr val="58595B"/>
            </a:solidFill>
            <a:ln>
              <a:noFill/>
            </a:ln>
            <a:effectLst/>
            <a:extLst/>
          </p:spPr>
          <p:txBody>
            <a:bodyPr lIns="101578" tIns="101578" rIns="101578" bIns="101578" anchor="ctr"/>
            <a:lstStyle/>
            <a:p>
              <a:pPr defTabSz="914195">
                <a:defRPr/>
              </a:pPr>
              <a:endParaRPr lang="es-ES" sz="3600" dirty="0">
                <a:solidFill>
                  <a:srgbClr val="58595B"/>
                </a:solidFill>
                <a:effectLst>
                  <a:outerShdw blurRad="38100" dist="38100" dir="2700000" algn="tl">
                    <a:srgbClr val="000000"/>
                  </a:outerShdw>
                </a:effectLst>
                <a:latin typeface="+mj-lt"/>
                <a:cs typeface="Gill Sans" charset="0"/>
                <a:sym typeface="Gill Sans" charset="0"/>
              </a:endParaRPr>
            </a:p>
          </p:txBody>
        </p:sp>
        <p:sp>
          <p:nvSpPr>
            <p:cNvPr id="14" name="AutoShape 121"/>
            <p:cNvSpPr>
              <a:spLocks/>
            </p:cNvSpPr>
            <p:nvPr/>
          </p:nvSpPr>
          <p:spPr bwMode="auto">
            <a:xfrm>
              <a:off x="11534954" y="4523873"/>
              <a:ext cx="1252479" cy="1378085"/>
            </a:xfrm>
            <a:custGeom>
              <a:avLst/>
              <a:gdLst>
                <a:gd name="T0" fmla="*/ 10800 w 21600"/>
                <a:gd name="T1" fmla="+- 0 10813 26"/>
                <a:gd name="T2" fmla="*/ 10813 h 21574"/>
                <a:gd name="T3" fmla="*/ 10800 w 21600"/>
                <a:gd name="T4" fmla="+- 0 10813 26"/>
                <a:gd name="T5" fmla="*/ 10813 h 21574"/>
                <a:gd name="T6" fmla="*/ 10800 w 21600"/>
                <a:gd name="T7" fmla="+- 0 10813 26"/>
                <a:gd name="T8" fmla="*/ 10813 h 21574"/>
                <a:gd name="T9" fmla="*/ 10800 w 21600"/>
                <a:gd name="T10" fmla="+- 0 10813 26"/>
                <a:gd name="T11" fmla="*/ 10813 h 21574"/>
              </a:gdLst>
              <a:ahLst/>
              <a:cxnLst>
                <a:cxn ang="0">
                  <a:pos x="T0" y="T2"/>
                </a:cxn>
                <a:cxn ang="0">
                  <a:pos x="T3" y="T5"/>
                </a:cxn>
                <a:cxn ang="0">
                  <a:pos x="T6" y="T8"/>
                </a:cxn>
                <a:cxn ang="0">
                  <a:pos x="T9" y="T11"/>
                </a:cxn>
              </a:cxnLst>
              <a:rect l="0" t="0" r="r" b="b"/>
              <a:pathLst>
                <a:path w="21600" h="21574">
                  <a:moveTo>
                    <a:pt x="19883" y="9849"/>
                  </a:moveTo>
                  <a:cubicBezTo>
                    <a:pt x="20430" y="10441"/>
                    <a:pt x="20853" y="11078"/>
                    <a:pt x="21152" y="11757"/>
                  </a:cubicBezTo>
                  <a:cubicBezTo>
                    <a:pt x="21448" y="12437"/>
                    <a:pt x="21599" y="13164"/>
                    <a:pt x="21599" y="13934"/>
                  </a:cubicBezTo>
                  <a:cubicBezTo>
                    <a:pt x="21599" y="14988"/>
                    <a:pt x="21324" y="15980"/>
                    <a:pt x="20757" y="16911"/>
                  </a:cubicBezTo>
                  <a:cubicBezTo>
                    <a:pt x="20194" y="17841"/>
                    <a:pt x="19428" y="18656"/>
                    <a:pt x="18453" y="19346"/>
                  </a:cubicBezTo>
                  <a:cubicBezTo>
                    <a:pt x="17479" y="20040"/>
                    <a:pt x="16337" y="20584"/>
                    <a:pt x="15016" y="20982"/>
                  </a:cubicBezTo>
                  <a:cubicBezTo>
                    <a:pt x="13698" y="21373"/>
                    <a:pt x="12293" y="21574"/>
                    <a:pt x="10800" y="21574"/>
                  </a:cubicBezTo>
                  <a:cubicBezTo>
                    <a:pt x="9310" y="21574"/>
                    <a:pt x="7905" y="21373"/>
                    <a:pt x="6595" y="20982"/>
                  </a:cubicBezTo>
                  <a:cubicBezTo>
                    <a:pt x="5282" y="20584"/>
                    <a:pt x="4136" y="20040"/>
                    <a:pt x="3154" y="19346"/>
                  </a:cubicBezTo>
                  <a:cubicBezTo>
                    <a:pt x="2175" y="18656"/>
                    <a:pt x="1405" y="17841"/>
                    <a:pt x="842" y="16911"/>
                  </a:cubicBezTo>
                  <a:cubicBezTo>
                    <a:pt x="279" y="15978"/>
                    <a:pt x="0" y="14988"/>
                    <a:pt x="0" y="13934"/>
                  </a:cubicBezTo>
                  <a:cubicBezTo>
                    <a:pt x="0" y="13164"/>
                    <a:pt x="151" y="12434"/>
                    <a:pt x="451" y="11757"/>
                  </a:cubicBezTo>
                  <a:cubicBezTo>
                    <a:pt x="746" y="11078"/>
                    <a:pt x="1173" y="10441"/>
                    <a:pt x="1720" y="9849"/>
                  </a:cubicBezTo>
                  <a:cubicBezTo>
                    <a:pt x="1972" y="9553"/>
                    <a:pt x="2419" y="9105"/>
                    <a:pt x="3046" y="8507"/>
                  </a:cubicBezTo>
                  <a:cubicBezTo>
                    <a:pt x="3677" y="7906"/>
                    <a:pt x="4367" y="7213"/>
                    <a:pt x="5114" y="6421"/>
                  </a:cubicBezTo>
                  <a:cubicBezTo>
                    <a:pt x="5861" y="5626"/>
                    <a:pt x="6579" y="4758"/>
                    <a:pt x="7282" y="3810"/>
                  </a:cubicBezTo>
                  <a:cubicBezTo>
                    <a:pt x="7985" y="2860"/>
                    <a:pt x="8556" y="1882"/>
                    <a:pt x="9003" y="873"/>
                  </a:cubicBezTo>
                  <a:cubicBezTo>
                    <a:pt x="9131" y="560"/>
                    <a:pt x="9370" y="329"/>
                    <a:pt x="9714" y="179"/>
                  </a:cubicBezTo>
                  <a:cubicBezTo>
                    <a:pt x="10057" y="30"/>
                    <a:pt x="10420" y="-26"/>
                    <a:pt x="10800" y="10"/>
                  </a:cubicBezTo>
                  <a:cubicBezTo>
                    <a:pt x="11195" y="-26"/>
                    <a:pt x="11558" y="30"/>
                    <a:pt x="11897" y="179"/>
                  </a:cubicBezTo>
                  <a:cubicBezTo>
                    <a:pt x="12237" y="329"/>
                    <a:pt x="12468" y="560"/>
                    <a:pt x="12596" y="873"/>
                  </a:cubicBezTo>
                  <a:cubicBezTo>
                    <a:pt x="13015" y="1888"/>
                    <a:pt x="13586" y="2872"/>
                    <a:pt x="14309" y="3816"/>
                  </a:cubicBezTo>
                  <a:cubicBezTo>
                    <a:pt x="15028" y="4760"/>
                    <a:pt x="15758" y="5626"/>
                    <a:pt x="16505" y="6421"/>
                  </a:cubicBezTo>
                  <a:cubicBezTo>
                    <a:pt x="17256" y="7213"/>
                    <a:pt x="17934" y="7907"/>
                    <a:pt x="18561" y="8507"/>
                  </a:cubicBezTo>
                  <a:cubicBezTo>
                    <a:pt x="19188" y="9105"/>
                    <a:pt x="19623" y="9553"/>
                    <a:pt x="19883" y="9849"/>
                  </a:cubicBezTo>
                  <a:moveTo>
                    <a:pt x="7438" y="17542"/>
                  </a:moveTo>
                  <a:cubicBezTo>
                    <a:pt x="8188" y="17542"/>
                    <a:pt x="8831" y="17356"/>
                    <a:pt x="9350" y="16987"/>
                  </a:cubicBezTo>
                  <a:cubicBezTo>
                    <a:pt x="9873" y="16618"/>
                    <a:pt x="10133" y="16167"/>
                    <a:pt x="10133" y="15622"/>
                  </a:cubicBezTo>
                  <a:cubicBezTo>
                    <a:pt x="10133" y="15239"/>
                    <a:pt x="9993" y="14898"/>
                    <a:pt x="9713" y="14613"/>
                  </a:cubicBezTo>
                  <a:cubicBezTo>
                    <a:pt x="9634" y="14543"/>
                    <a:pt x="9518" y="14430"/>
                    <a:pt x="9358" y="14283"/>
                  </a:cubicBezTo>
                  <a:cubicBezTo>
                    <a:pt x="9198" y="14134"/>
                    <a:pt x="9031" y="13959"/>
                    <a:pt x="8851" y="13753"/>
                  </a:cubicBezTo>
                  <a:cubicBezTo>
                    <a:pt x="8671" y="13553"/>
                    <a:pt x="8492" y="13336"/>
                    <a:pt x="8304" y="13099"/>
                  </a:cubicBezTo>
                  <a:cubicBezTo>
                    <a:pt x="8120" y="12868"/>
                    <a:pt x="7977" y="12626"/>
                    <a:pt x="7877" y="12372"/>
                  </a:cubicBezTo>
                  <a:cubicBezTo>
                    <a:pt x="7825" y="12192"/>
                    <a:pt x="7677" y="12115"/>
                    <a:pt x="7438" y="12141"/>
                  </a:cubicBezTo>
                  <a:cubicBezTo>
                    <a:pt x="7210" y="12107"/>
                    <a:pt x="7054" y="12183"/>
                    <a:pt x="6983" y="12372"/>
                  </a:cubicBezTo>
                  <a:cubicBezTo>
                    <a:pt x="6883" y="12634"/>
                    <a:pt x="6739" y="12879"/>
                    <a:pt x="6567" y="13108"/>
                  </a:cubicBezTo>
                  <a:cubicBezTo>
                    <a:pt x="6396" y="13336"/>
                    <a:pt x="6216" y="13553"/>
                    <a:pt x="6032" y="13753"/>
                  </a:cubicBezTo>
                  <a:cubicBezTo>
                    <a:pt x="5853" y="13959"/>
                    <a:pt x="5677" y="14131"/>
                    <a:pt x="5517" y="14275"/>
                  </a:cubicBezTo>
                  <a:cubicBezTo>
                    <a:pt x="5358" y="14421"/>
                    <a:pt x="5242" y="14531"/>
                    <a:pt x="5162" y="14613"/>
                  </a:cubicBezTo>
                  <a:cubicBezTo>
                    <a:pt x="4870" y="14909"/>
                    <a:pt x="4731" y="15247"/>
                    <a:pt x="4743" y="15622"/>
                  </a:cubicBezTo>
                  <a:cubicBezTo>
                    <a:pt x="4743" y="16155"/>
                    <a:pt x="5002" y="16606"/>
                    <a:pt x="5525" y="16981"/>
                  </a:cubicBezTo>
                  <a:cubicBezTo>
                    <a:pt x="6048" y="17356"/>
                    <a:pt x="6687" y="17542"/>
                    <a:pt x="7438" y="17542"/>
                  </a:cubicBezTo>
                </a:path>
              </a:pathLst>
            </a:custGeom>
            <a:solidFill>
              <a:schemeClr val="bg1"/>
            </a:solidFill>
            <a:ln>
              <a:noFill/>
            </a:ln>
            <a:effectLst/>
            <a:extLst/>
          </p:spPr>
          <p:txBody>
            <a:bodyPr lIns="101578" tIns="101578" rIns="101578" bIns="101578" anchor="ctr"/>
            <a:lstStyle/>
            <a:p>
              <a:pPr defTabSz="914195">
                <a:defRPr/>
              </a:pPr>
              <a:endParaRPr lang="es-ES" sz="3600" dirty="0">
                <a:solidFill>
                  <a:srgbClr val="58595B"/>
                </a:solidFill>
                <a:effectLst>
                  <a:outerShdw blurRad="38100" dist="38100" dir="2700000" algn="tl">
                    <a:srgbClr val="000000"/>
                  </a:outerShdw>
                </a:effectLst>
                <a:latin typeface="+mj-lt"/>
                <a:cs typeface="Gill Sans" charset="0"/>
                <a:sym typeface="Gill Sans" charset="0"/>
              </a:endParaRPr>
            </a:p>
          </p:txBody>
        </p:sp>
      </p:grpSp>
      <p:sp>
        <p:nvSpPr>
          <p:cNvPr id="8" name="Title 13"/>
          <p:cNvSpPr txBox="1">
            <a:spLocks/>
          </p:cNvSpPr>
          <p:nvPr/>
        </p:nvSpPr>
        <p:spPr bwMode="auto">
          <a:xfrm>
            <a:off x="1029685" y="4281005"/>
            <a:ext cx="3835111" cy="6770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243785" tIns="121892" rIns="243785" bIns="121892" anchor="ct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r>
              <a:rPr lang="en-US" sz="2800" dirty="0">
                <a:solidFill>
                  <a:srgbClr val="58595B"/>
                </a:solidFill>
                <a:latin typeface="+mj-lt"/>
                <a:cs typeface="Lato Regular"/>
              </a:rPr>
              <a:t>Step 1</a:t>
            </a:r>
          </a:p>
        </p:txBody>
      </p:sp>
      <p:sp>
        <p:nvSpPr>
          <p:cNvPr id="15" name="Content Placeholder 2"/>
          <p:cNvSpPr txBox="1">
            <a:spLocks/>
          </p:cNvSpPr>
          <p:nvPr/>
        </p:nvSpPr>
        <p:spPr bwMode="auto">
          <a:xfrm>
            <a:off x="1122021" y="4917415"/>
            <a:ext cx="3715900" cy="1645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43785" tIns="121892" rIns="243785" bIns="121892"/>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spcBef>
                <a:spcPct val="20000"/>
              </a:spcBef>
            </a:pPr>
            <a:r>
              <a:rPr lang="en-US" sz="1100" dirty="0">
                <a:solidFill>
                  <a:srgbClr val="58595B"/>
                </a:solidFill>
                <a:latin typeface="Roboto Regular" pitchFamily="2" charset="0"/>
                <a:ea typeface="Roboto Regular" pitchFamily="2" charset="0"/>
                <a:cs typeface="Lato Light"/>
              </a:rPr>
              <a:t>Lorem ipsum dolor sit amet, consectetur adipiscing elit. Curabitur elementum posuere pretium. Quisque nibh dolor, dignissim ac dignissim ut</a:t>
            </a:r>
            <a:endParaRPr lang="en-US" sz="1100" dirty="0">
              <a:solidFill>
                <a:srgbClr val="58595B"/>
              </a:solidFill>
              <a:latin typeface="Roboto Regular" pitchFamily="2" charset="0"/>
              <a:ea typeface="Roboto Regular" pitchFamily="2" charset="0"/>
            </a:endParaRPr>
          </a:p>
          <a:p>
            <a:pPr algn="ctr">
              <a:spcBef>
                <a:spcPct val="20000"/>
              </a:spcBef>
              <a:buFont typeface="Arial" charset="0"/>
              <a:buNone/>
            </a:pPr>
            <a:endParaRPr lang="en-US" sz="1100" dirty="0">
              <a:solidFill>
                <a:srgbClr val="58595B"/>
              </a:solidFill>
              <a:latin typeface="Roboto Regular" pitchFamily="2" charset="0"/>
              <a:ea typeface="Roboto Regular" pitchFamily="2" charset="0"/>
            </a:endParaRPr>
          </a:p>
        </p:txBody>
      </p:sp>
      <p:sp>
        <p:nvSpPr>
          <p:cNvPr id="11" name="Title 13"/>
          <p:cNvSpPr txBox="1">
            <a:spLocks/>
          </p:cNvSpPr>
          <p:nvPr/>
        </p:nvSpPr>
        <p:spPr bwMode="auto">
          <a:xfrm>
            <a:off x="8262874" y="4257915"/>
            <a:ext cx="3835111" cy="6770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43785" tIns="121892" rIns="243785" bIns="121892" anchor="ctr">
            <a:spAutoFit/>
          </a:bodyPr>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r>
              <a:rPr lang="en-US" sz="2800" dirty="0">
                <a:solidFill>
                  <a:srgbClr val="58595B"/>
                </a:solidFill>
                <a:latin typeface="+mj-lt"/>
                <a:cs typeface="Lato Regular"/>
              </a:rPr>
              <a:t>Step 3</a:t>
            </a:r>
          </a:p>
        </p:txBody>
      </p:sp>
      <p:sp>
        <p:nvSpPr>
          <p:cNvPr id="16" name="Content Placeholder 2"/>
          <p:cNvSpPr txBox="1">
            <a:spLocks/>
          </p:cNvSpPr>
          <p:nvPr/>
        </p:nvSpPr>
        <p:spPr bwMode="auto">
          <a:xfrm>
            <a:off x="8310450" y="4917415"/>
            <a:ext cx="3715900" cy="16456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243785" tIns="121892" rIns="243785" bIns="121892"/>
          <a:lstStyle>
            <a:lvl1pPr>
              <a:defRPr>
                <a:solidFill>
                  <a:schemeClr val="tx1"/>
                </a:solidFill>
                <a:latin typeface="Calibri" charset="0"/>
                <a:ea typeface="ＭＳ Ｐゴシック" charset="0"/>
              </a:defRPr>
            </a:lvl1pPr>
            <a:lvl2pPr marL="742950" indent="-285750">
              <a:defRPr>
                <a:solidFill>
                  <a:schemeClr val="tx1"/>
                </a:solidFill>
                <a:latin typeface="Calibri" charset="0"/>
                <a:ea typeface="ＭＳ Ｐゴシック" charset="0"/>
              </a:defRPr>
            </a:lvl2pPr>
            <a:lvl3pPr marL="1143000" indent="-228600">
              <a:defRPr>
                <a:solidFill>
                  <a:schemeClr val="tx1"/>
                </a:solidFill>
                <a:latin typeface="Calibri" charset="0"/>
                <a:ea typeface="ＭＳ Ｐゴシック" charset="0"/>
              </a:defRPr>
            </a:lvl3pPr>
            <a:lvl4pPr marL="1600200" indent="-228600">
              <a:defRPr>
                <a:solidFill>
                  <a:schemeClr val="tx1"/>
                </a:solidFill>
                <a:latin typeface="Calibri" charset="0"/>
                <a:ea typeface="ＭＳ Ｐゴシック" charset="0"/>
              </a:defRPr>
            </a:lvl4pPr>
            <a:lvl5pPr marL="2057400" indent="-228600">
              <a:defRPr>
                <a:solidFill>
                  <a:schemeClr val="tx1"/>
                </a:solidFill>
                <a:latin typeface="Calibri" charset="0"/>
                <a:ea typeface="ＭＳ Ｐゴシック" charset="0"/>
              </a:defRPr>
            </a:lvl5pPr>
            <a:lvl6pPr marL="2514600" indent="-228600" fontAlgn="base">
              <a:spcBef>
                <a:spcPct val="0"/>
              </a:spcBef>
              <a:spcAft>
                <a:spcPct val="0"/>
              </a:spcAft>
              <a:defRPr>
                <a:solidFill>
                  <a:schemeClr val="tx1"/>
                </a:solidFill>
                <a:latin typeface="Calibri" charset="0"/>
                <a:ea typeface="ＭＳ Ｐゴシック" charset="0"/>
              </a:defRPr>
            </a:lvl6pPr>
            <a:lvl7pPr marL="2971800" indent="-228600" fontAlgn="base">
              <a:spcBef>
                <a:spcPct val="0"/>
              </a:spcBef>
              <a:spcAft>
                <a:spcPct val="0"/>
              </a:spcAft>
              <a:defRPr>
                <a:solidFill>
                  <a:schemeClr val="tx1"/>
                </a:solidFill>
                <a:latin typeface="Calibri" charset="0"/>
                <a:ea typeface="ＭＳ Ｐゴシック" charset="0"/>
              </a:defRPr>
            </a:lvl7pPr>
            <a:lvl8pPr marL="3429000" indent="-228600" fontAlgn="base">
              <a:spcBef>
                <a:spcPct val="0"/>
              </a:spcBef>
              <a:spcAft>
                <a:spcPct val="0"/>
              </a:spcAft>
              <a:defRPr>
                <a:solidFill>
                  <a:schemeClr val="tx1"/>
                </a:solidFill>
                <a:latin typeface="Calibri" charset="0"/>
                <a:ea typeface="ＭＳ Ｐゴシック" charset="0"/>
              </a:defRPr>
            </a:lvl8pPr>
            <a:lvl9pPr marL="3886200" indent="-228600" fontAlgn="base">
              <a:spcBef>
                <a:spcPct val="0"/>
              </a:spcBef>
              <a:spcAft>
                <a:spcPct val="0"/>
              </a:spcAft>
              <a:defRPr>
                <a:solidFill>
                  <a:schemeClr val="tx1"/>
                </a:solidFill>
                <a:latin typeface="Calibri" charset="0"/>
                <a:ea typeface="ＭＳ Ｐゴシック" charset="0"/>
              </a:defRPr>
            </a:lvl9pPr>
          </a:lstStyle>
          <a:p>
            <a:pPr algn="ctr">
              <a:spcBef>
                <a:spcPct val="20000"/>
              </a:spcBef>
            </a:pPr>
            <a:r>
              <a:rPr lang="en-US" sz="1100" dirty="0">
                <a:solidFill>
                  <a:srgbClr val="58595B"/>
                </a:solidFill>
                <a:latin typeface="Roboto Regular" pitchFamily="2" charset="0"/>
                <a:ea typeface="Roboto Regular" pitchFamily="2" charset="0"/>
                <a:cs typeface="Lato Light"/>
              </a:rPr>
              <a:t>Lorem ipsum dolor sit amet, consectetur adipiscing elit. Curabitur elementum posuere pretium. Quisque nibh dolor, dignissim ac dignissim ut</a:t>
            </a:r>
            <a:endParaRPr lang="en-US" sz="1100" dirty="0">
              <a:solidFill>
                <a:srgbClr val="58595B"/>
              </a:solidFill>
              <a:latin typeface="Roboto Regular" pitchFamily="2" charset="0"/>
              <a:ea typeface="Roboto Regular" pitchFamily="2" charset="0"/>
            </a:endParaRPr>
          </a:p>
          <a:p>
            <a:pPr algn="ctr">
              <a:spcBef>
                <a:spcPct val="20000"/>
              </a:spcBef>
              <a:buFont typeface="Arial" charset="0"/>
              <a:buNone/>
            </a:pPr>
            <a:endParaRPr lang="en-US" sz="1100" dirty="0">
              <a:solidFill>
                <a:srgbClr val="58595B"/>
              </a:solidFill>
              <a:latin typeface="Roboto Regular" pitchFamily="2" charset="0"/>
              <a:ea typeface="Roboto Regular" pitchFamily="2" charset="0"/>
            </a:endParaRPr>
          </a:p>
        </p:txBody>
      </p:sp>
      <p:sp>
        <p:nvSpPr>
          <p:cNvPr id="22"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18_84</a:t>
            </a:r>
            <a:endParaRPr lang="en-US" sz="100" dirty="0" err="1" smtClean="0">
              <a:solidFill>
                <a:srgbClr val="FFFFFF"/>
              </a:solidFill>
            </a:endParaRPr>
          </a:p>
        </p:txBody>
      </p:sp>
    </p:spTree>
    <p:extLst>
      <p:ext uri="{BB962C8B-B14F-4D97-AF65-F5344CB8AC3E}">
        <p14:creationId xmlns:p14="http://schemas.microsoft.com/office/powerpoint/2010/main" val="408470535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CT US</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5_84</a:t>
            </a:r>
            <a:endParaRPr lang="en-US" sz="100" dirty="0" err="1" smtClean="0">
              <a:solidFill>
                <a:srgbClr val="FFFFFF"/>
              </a:solidFill>
            </a:endParaRPr>
          </a:p>
        </p:txBody>
      </p:sp>
      <p:grpSp>
        <p:nvGrpSpPr>
          <p:cNvPr id="5" name="Group 4"/>
          <p:cNvGrpSpPr/>
          <p:nvPr>
            <p:custDataLst>
              <p:tags r:id="rId1"/>
            </p:custDataLst>
          </p:nvPr>
        </p:nvGrpSpPr>
        <p:grpSpPr>
          <a:xfrm>
            <a:off x="2836157" y="1896556"/>
            <a:ext cx="3277405" cy="3278259"/>
            <a:chOff x="15270472" y="4509046"/>
            <a:chExt cx="1592106" cy="1591898"/>
          </a:xfrm>
        </p:grpSpPr>
        <p:sp>
          <p:nvSpPr>
            <p:cNvPr id="6" name="Oval 5"/>
            <p:cNvSpPr/>
            <p:nvPr/>
          </p:nvSpPr>
          <p:spPr>
            <a:xfrm>
              <a:off x="15270472" y="4509046"/>
              <a:ext cx="1592106" cy="1591898"/>
            </a:xfrm>
            <a:prstGeom prst="ellipse">
              <a:avLst/>
            </a:prstGeom>
            <a:solidFill>
              <a:srgbClr val="58595B"/>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4400" dirty="0">
                <a:latin typeface="Lato Light"/>
                <a:cs typeface="Lato Light"/>
              </a:endParaRPr>
            </a:p>
          </p:txBody>
        </p:sp>
        <p:sp>
          <p:nvSpPr>
            <p:cNvPr id="7" name="AutoShape 81"/>
            <p:cNvSpPr>
              <a:spLocks/>
            </p:cNvSpPr>
            <p:nvPr/>
          </p:nvSpPr>
          <p:spPr bwMode="auto">
            <a:xfrm>
              <a:off x="15630214" y="4980611"/>
              <a:ext cx="841202" cy="61628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782" y="15633"/>
                  </a:moveTo>
                  <a:cubicBezTo>
                    <a:pt x="11211" y="15633"/>
                    <a:pt x="11622" y="15565"/>
                    <a:pt x="12011" y="15416"/>
                  </a:cubicBezTo>
                  <a:cubicBezTo>
                    <a:pt x="12403" y="15272"/>
                    <a:pt x="12778" y="15084"/>
                    <a:pt x="13138" y="14855"/>
                  </a:cubicBezTo>
                  <a:cubicBezTo>
                    <a:pt x="13498" y="14626"/>
                    <a:pt x="13845" y="14361"/>
                    <a:pt x="14181" y="14073"/>
                  </a:cubicBezTo>
                  <a:cubicBezTo>
                    <a:pt x="14516" y="13774"/>
                    <a:pt x="14844" y="13471"/>
                    <a:pt x="15168" y="13160"/>
                  </a:cubicBezTo>
                  <a:cubicBezTo>
                    <a:pt x="16142" y="12226"/>
                    <a:pt x="17126" y="11306"/>
                    <a:pt x="18120" y="10410"/>
                  </a:cubicBezTo>
                  <a:cubicBezTo>
                    <a:pt x="19112" y="9515"/>
                    <a:pt x="20113" y="8616"/>
                    <a:pt x="21120" y="7714"/>
                  </a:cubicBezTo>
                  <a:cubicBezTo>
                    <a:pt x="21198" y="7640"/>
                    <a:pt x="21279" y="7570"/>
                    <a:pt x="21360" y="7496"/>
                  </a:cubicBezTo>
                  <a:cubicBezTo>
                    <a:pt x="21443" y="7429"/>
                    <a:pt x="21524" y="7347"/>
                    <a:pt x="21599" y="7250"/>
                  </a:cubicBezTo>
                  <a:lnTo>
                    <a:pt x="21599" y="19981"/>
                  </a:lnTo>
                  <a:cubicBezTo>
                    <a:pt x="21599" y="20416"/>
                    <a:pt x="21470" y="20800"/>
                    <a:pt x="21208" y="21118"/>
                  </a:cubicBezTo>
                  <a:cubicBezTo>
                    <a:pt x="20946" y="21438"/>
                    <a:pt x="20632" y="21599"/>
                    <a:pt x="20265" y="21599"/>
                  </a:cubicBezTo>
                  <a:lnTo>
                    <a:pt x="1346" y="21599"/>
                  </a:lnTo>
                  <a:cubicBezTo>
                    <a:pt x="979" y="21599"/>
                    <a:pt x="663" y="21438"/>
                    <a:pt x="396" y="21118"/>
                  </a:cubicBezTo>
                  <a:cubicBezTo>
                    <a:pt x="132" y="20803"/>
                    <a:pt x="0" y="20419"/>
                    <a:pt x="0" y="19981"/>
                  </a:cubicBezTo>
                  <a:lnTo>
                    <a:pt x="0" y="7250"/>
                  </a:lnTo>
                  <a:cubicBezTo>
                    <a:pt x="75" y="7347"/>
                    <a:pt x="156" y="7429"/>
                    <a:pt x="239" y="7496"/>
                  </a:cubicBezTo>
                  <a:cubicBezTo>
                    <a:pt x="320" y="7570"/>
                    <a:pt x="401" y="7640"/>
                    <a:pt x="479" y="7714"/>
                  </a:cubicBezTo>
                  <a:cubicBezTo>
                    <a:pt x="1488" y="8616"/>
                    <a:pt x="2487" y="9514"/>
                    <a:pt x="3481" y="10410"/>
                  </a:cubicBezTo>
                  <a:cubicBezTo>
                    <a:pt x="4473" y="11306"/>
                    <a:pt x="5457" y="12223"/>
                    <a:pt x="6434" y="13160"/>
                  </a:cubicBezTo>
                  <a:cubicBezTo>
                    <a:pt x="6738" y="13454"/>
                    <a:pt x="7058" y="13744"/>
                    <a:pt x="7394" y="14038"/>
                  </a:cubicBezTo>
                  <a:cubicBezTo>
                    <a:pt x="7729" y="14338"/>
                    <a:pt x="8079" y="14599"/>
                    <a:pt x="8437" y="14840"/>
                  </a:cubicBezTo>
                  <a:cubicBezTo>
                    <a:pt x="8797" y="15075"/>
                    <a:pt x="9174" y="15269"/>
                    <a:pt x="9568" y="15413"/>
                  </a:cubicBezTo>
                  <a:cubicBezTo>
                    <a:pt x="9965" y="15563"/>
                    <a:pt x="10371" y="15633"/>
                    <a:pt x="10782" y="15633"/>
                  </a:cubicBezTo>
                  <a:moveTo>
                    <a:pt x="10782" y="12413"/>
                  </a:moveTo>
                  <a:cubicBezTo>
                    <a:pt x="10540" y="12413"/>
                    <a:pt x="10278" y="12334"/>
                    <a:pt x="9996" y="12167"/>
                  </a:cubicBezTo>
                  <a:cubicBezTo>
                    <a:pt x="9715" y="12005"/>
                    <a:pt x="9441" y="11806"/>
                    <a:pt x="9171" y="11576"/>
                  </a:cubicBezTo>
                  <a:cubicBezTo>
                    <a:pt x="8900" y="11347"/>
                    <a:pt x="8638" y="11106"/>
                    <a:pt x="8380" y="10854"/>
                  </a:cubicBezTo>
                  <a:cubicBezTo>
                    <a:pt x="8121" y="10601"/>
                    <a:pt x="7896" y="10390"/>
                    <a:pt x="7700" y="10222"/>
                  </a:cubicBezTo>
                  <a:cubicBezTo>
                    <a:pt x="6752" y="9356"/>
                    <a:pt x="5819" y="8507"/>
                    <a:pt x="4891" y="7664"/>
                  </a:cubicBezTo>
                  <a:cubicBezTo>
                    <a:pt x="3966" y="6815"/>
                    <a:pt x="3023" y="5960"/>
                    <a:pt x="2061" y="5087"/>
                  </a:cubicBezTo>
                  <a:cubicBezTo>
                    <a:pt x="1882" y="4920"/>
                    <a:pt x="1672" y="4691"/>
                    <a:pt x="1434" y="4406"/>
                  </a:cubicBezTo>
                  <a:cubicBezTo>
                    <a:pt x="1194" y="4118"/>
                    <a:pt x="974" y="3804"/>
                    <a:pt x="766" y="3460"/>
                  </a:cubicBezTo>
                  <a:cubicBezTo>
                    <a:pt x="560" y="3110"/>
                    <a:pt x="384" y="2761"/>
                    <a:pt x="239" y="2405"/>
                  </a:cubicBezTo>
                  <a:cubicBezTo>
                    <a:pt x="95" y="2050"/>
                    <a:pt x="22" y="1724"/>
                    <a:pt x="22" y="1436"/>
                  </a:cubicBezTo>
                  <a:cubicBezTo>
                    <a:pt x="22" y="1051"/>
                    <a:pt x="164" y="713"/>
                    <a:pt x="443" y="425"/>
                  </a:cubicBezTo>
                  <a:cubicBezTo>
                    <a:pt x="727" y="143"/>
                    <a:pt x="1025" y="0"/>
                    <a:pt x="1346" y="0"/>
                  </a:cubicBezTo>
                  <a:lnTo>
                    <a:pt x="20265" y="0"/>
                  </a:lnTo>
                  <a:cubicBezTo>
                    <a:pt x="20583" y="0"/>
                    <a:pt x="20882" y="143"/>
                    <a:pt x="21161" y="425"/>
                  </a:cubicBezTo>
                  <a:cubicBezTo>
                    <a:pt x="21438" y="713"/>
                    <a:pt x="21577" y="1051"/>
                    <a:pt x="21577" y="1436"/>
                  </a:cubicBezTo>
                  <a:cubicBezTo>
                    <a:pt x="21577" y="1724"/>
                    <a:pt x="21504" y="2050"/>
                    <a:pt x="21360" y="2405"/>
                  </a:cubicBezTo>
                  <a:cubicBezTo>
                    <a:pt x="21215" y="2761"/>
                    <a:pt x="21039" y="3110"/>
                    <a:pt x="20833" y="3460"/>
                  </a:cubicBezTo>
                  <a:cubicBezTo>
                    <a:pt x="20627" y="3804"/>
                    <a:pt x="20402" y="4121"/>
                    <a:pt x="20165" y="4406"/>
                  </a:cubicBezTo>
                  <a:cubicBezTo>
                    <a:pt x="19927" y="4691"/>
                    <a:pt x="19717" y="4923"/>
                    <a:pt x="19538" y="5087"/>
                  </a:cubicBezTo>
                  <a:cubicBezTo>
                    <a:pt x="18578" y="5948"/>
                    <a:pt x="17633" y="6803"/>
                    <a:pt x="16708" y="7652"/>
                  </a:cubicBezTo>
                  <a:cubicBezTo>
                    <a:pt x="15782" y="8501"/>
                    <a:pt x="14844" y="9356"/>
                    <a:pt x="13899" y="10222"/>
                  </a:cubicBezTo>
                  <a:cubicBezTo>
                    <a:pt x="13703" y="10390"/>
                    <a:pt x="13481" y="10601"/>
                    <a:pt x="13226" y="10854"/>
                  </a:cubicBezTo>
                  <a:cubicBezTo>
                    <a:pt x="12971" y="11106"/>
                    <a:pt x="12709" y="11347"/>
                    <a:pt x="12435" y="11576"/>
                  </a:cubicBezTo>
                  <a:cubicBezTo>
                    <a:pt x="12161" y="11806"/>
                    <a:pt x="11884" y="12005"/>
                    <a:pt x="11603" y="12167"/>
                  </a:cubicBezTo>
                  <a:cubicBezTo>
                    <a:pt x="11321" y="12334"/>
                    <a:pt x="11064" y="12413"/>
                    <a:pt x="10829" y="12413"/>
                  </a:cubicBezTo>
                  <a:lnTo>
                    <a:pt x="10804" y="12413"/>
                  </a:lnTo>
                  <a:lnTo>
                    <a:pt x="10782" y="12413"/>
                  </a:lnTo>
                  <a:close/>
                </a:path>
              </a:pathLst>
            </a:custGeom>
            <a:solidFill>
              <a:schemeClr val="bg1"/>
            </a:solidFill>
            <a:ln>
              <a:noFill/>
            </a:ln>
            <a:effectLst/>
            <a:extLst/>
          </p:spPr>
          <p:txBody>
            <a:bodyPr lIns="38100" tIns="38100" rIns="38100" bIns="38100" anchor="ctr"/>
            <a:lstStyle/>
            <a:p>
              <a:pPr defTabSz="342763">
                <a:defRPr/>
              </a:pPr>
              <a:endParaRPr lang="es-ES" sz="2200" dirty="0">
                <a:solidFill>
                  <a:srgbClr val="44CEB9"/>
                </a:solidFill>
                <a:effectLst>
                  <a:outerShdw blurRad="38100" dist="38100" dir="2700000" algn="tl">
                    <a:srgbClr val="000000"/>
                  </a:outerShdw>
                </a:effectLst>
                <a:latin typeface="Gill Sans" charset="0"/>
                <a:cs typeface="Gill Sans" charset="0"/>
                <a:sym typeface="Gill Sans" charset="0"/>
              </a:endParaRPr>
            </a:p>
          </p:txBody>
        </p:sp>
      </p:grpSp>
      <p:sp>
        <p:nvSpPr>
          <p:cNvPr id="8" name="Subtitle 2"/>
          <p:cNvSpPr txBox="1">
            <a:spLocks/>
          </p:cNvSpPr>
          <p:nvPr/>
        </p:nvSpPr>
        <p:spPr>
          <a:xfrm>
            <a:off x="7031614" y="3659462"/>
            <a:ext cx="2770014" cy="1550546"/>
          </a:xfrm>
          <a:prstGeom prst="rect">
            <a:avLst/>
          </a:prstGeom>
        </p:spPr>
        <p:txBody>
          <a:bodyPr vert="horz" lIns="243785" tIns="121892" rIns="243785" bIns="121892"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000" dirty="0">
                <a:latin typeface="+mj-lt"/>
                <a:cs typeface="Lato Regular"/>
              </a:rPr>
              <a:t>Address</a:t>
            </a:r>
            <a:endParaRPr lang="en-US" sz="1800" dirty="0">
              <a:latin typeface="+mj-lt"/>
              <a:cs typeface="Lato Regular"/>
            </a:endParaRPr>
          </a:p>
          <a:p>
            <a:pPr marL="0" indent="0">
              <a:buNone/>
            </a:pPr>
            <a:r>
              <a:rPr lang="en-US" sz="1800" dirty="0">
                <a:solidFill>
                  <a:srgbClr val="767676"/>
                </a:solidFill>
                <a:latin typeface="+mj-lt"/>
                <a:cs typeface="Lato Light"/>
              </a:rPr>
              <a:t>Company Name</a:t>
            </a:r>
          </a:p>
          <a:p>
            <a:pPr marL="0" indent="0">
              <a:buNone/>
            </a:pPr>
            <a:r>
              <a:rPr lang="en-US" sz="1800" dirty="0">
                <a:solidFill>
                  <a:srgbClr val="767676"/>
                </a:solidFill>
                <a:latin typeface="+mj-lt"/>
                <a:cs typeface="Lato Light"/>
              </a:rPr>
              <a:t>1234 Street Name </a:t>
            </a:r>
          </a:p>
          <a:p>
            <a:pPr marL="0" indent="0">
              <a:buNone/>
            </a:pPr>
            <a:r>
              <a:rPr lang="en-US" sz="1800" dirty="0">
                <a:solidFill>
                  <a:srgbClr val="767676"/>
                </a:solidFill>
                <a:latin typeface="+mj-lt"/>
                <a:cs typeface="Lato Light"/>
              </a:rPr>
              <a:t>Miami, FL 88305</a:t>
            </a:r>
          </a:p>
        </p:txBody>
      </p:sp>
      <p:sp>
        <p:nvSpPr>
          <p:cNvPr id="9" name="Subtitle 2"/>
          <p:cNvSpPr txBox="1">
            <a:spLocks/>
          </p:cNvSpPr>
          <p:nvPr/>
        </p:nvSpPr>
        <p:spPr>
          <a:xfrm>
            <a:off x="7031614" y="2092396"/>
            <a:ext cx="3622887" cy="1550546"/>
          </a:xfrm>
          <a:prstGeom prst="rect">
            <a:avLst/>
          </a:prstGeom>
        </p:spPr>
        <p:txBody>
          <a:bodyPr vert="horz" lIns="243785" tIns="121892" rIns="243785" bIns="121892"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000" dirty="0">
                <a:latin typeface="+mj-lt"/>
                <a:cs typeface="Lato Regular"/>
              </a:rPr>
              <a:t>Phone &amp; Fax</a:t>
            </a:r>
            <a:endParaRPr lang="en-US" sz="1800" dirty="0">
              <a:latin typeface="+mj-lt"/>
              <a:cs typeface="Lato Regular"/>
            </a:endParaRPr>
          </a:p>
          <a:p>
            <a:pPr marL="0" indent="0">
              <a:buNone/>
            </a:pPr>
            <a:r>
              <a:rPr lang="en-US" sz="1800" dirty="0">
                <a:solidFill>
                  <a:srgbClr val="767676"/>
                </a:solidFill>
                <a:latin typeface="+mj-lt"/>
                <a:cs typeface="Lato Light"/>
              </a:rPr>
              <a:t>Direct Line: +001 123456789</a:t>
            </a:r>
          </a:p>
          <a:p>
            <a:pPr marL="0" indent="0">
              <a:buNone/>
            </a:pPr>
            <a:r>
              <a:rPr lang="en-US" sz="1800" dirty="0">
                <a:solidFill>
                  <a:srgbClr val="767676"/>
                </a:solidFill>
                <a:latin typeface="+mj-lt"/>
                <a:cs typeface="Lato Light"/>
              </a:rPr>
              <a:t>Fax: +001 123456789</a:t>
            </a:r>
          </a:p>
          <a:p>
            <a:pPr marL="0" indent="0">
              <a:buNone/>
            </a:pPr>
            <a:r>
              <a:rPr lang="en-US" sz="1800" dirty="0" err="1">
                <a:solidFill>
                  <a:srgbClr val="767676"/>
                </a:solidFill>
                <a:latin typeface="+mj-lt"/>
                <a:cs typeface="Lato Light"/>
              </a:rPr>
              <a:t>Contact@company.com</a:t>
            </a:r>
            <a:endParaRPr lang="en-US" sz="1800" dirty="0">
              <a:solidFill>
                <a:srgbClr val="767676"/>
              </a:solidFill>
              <a:latin typeface="+mj-lt"/>
              <a:cs typeface="Lato Light"/>
            </a:endParaRPr>
          </a:p>
        </p:txBody>
      </p:sp>
    </p:spTree>
    <p:extLst>
      <p:ext uri="{BB962C8B-B14F-4D97-AF65-F5344CB8AC3E}">
        <p14:creationId xmlns:p14="http://schemas.microsoft.com/office/powerpoint/2010/main" val="2704195835"/>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43_84</a:t>
            </a:r>
            <a:endParaRPr lang="en-US" sz="100" dirty="0" err="1" smtClean="0">
              <a:solidFill>
                <a:srgbClr val="FFFFFF"/>
              </a:solidFill>
            </a:endParaRPr>
          </a:p>
        </p:txBody>
      </p:sp>
      <p:grpSp>
        <p:nvGrpSpPr>
          <p:cNvPr id="43" name="Group 42"/>
          <p:cNvGrpSpPr/>
          <p:nvPr>
            <p:custDataLst>
              <p:tags r:id="rId1"/>
            </p:custDataLst>
          </p:nvPr>
        </p:nvGrpSpPr>
        <p:grpSpPr>
          <a:xfrm>
            <a:off x="2500442" y="1226227"/>
            <a:ext cx="7724293" cy="5233074"/>
            <a:chOff x="4130808" y="3084401"/>
            <a:chExt cx="15925809" cy="10789458"/>
          </a:xfrm>
        </p:grpSpPr>
        <p:sp>
          <p:nvSpPr>
            <p:cNvPr id="24" name="Subtitle 9"/>
            <p:cNvSpPr txBox="1">
              <a:spLocks/>
            </p:cNvSpPr>
            <p:nvPr/>
          </p:nvSpPr>
          <p:spPr>
            <a:xfrm>
              <a:off x="12816836" y="3084401"/>
              <a:ext cx="7239781" cy="2173397"/>
            </a:xfrm>
            <a:prstGeom prst="rect">
              <a:avLst/>
            </a:prstGeom>
          </p:spPr>
          <p:txBody>
            <a:bodyPr>
              <a:sp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0" indent="0">
                <a:lnSpc>
                  <a:spcPct val="110000"/>
                </a:lnSpc>
                <a:buNone/>
              </a:pPr>
              <a:r>
                <a:rPr lang="en-US" sz="2000" dirty="0" smtClean="0">
                  <a:solidFill>
                    <a:srgbClr val="58595B"/>
                  </a:solidFill>
                  <a:latin typeface="+mj-lt"/>
                </a:rPr>
                <a:t>Introduction</a:t>
              </a:r>
            </a:p>
            <a:p>
              <a:pPr marL="0" indent="0">
                <a:lnSpc>
                  <a:spcPct val="110000"/>
                </a:lnSpc>
                <a:buNone/>
              </a:pPr>
              <a:r>
                <a:rPr lang="en-US" sz="1100" dirty="0" smtClean="0">
                  <a:solidFill>
                    <a:srgbClr val="58595B"/>
                  </a:solidFill>
                  <a:latin typeface="+mj-lt"/>
                </a:rPr>
                <a:t>Our Welcome Message for you</a:t>
              </a:r>
            </a:p>
            <a:p>
              <a:pPr marL="0" indent="0">
                <a:lnSpc>
                  <a:spcPct val="110000"/>
                </a:lnSpc>
                <a:buNone/>
              </a:pPr>
              <a:endParaRPr lang="en-US" sz="1600" dirty="0">
                <a:solidFill>
                  <a:srgbClr val="58595B"/>
                </a:solidFill>
                <a:latin typeface="+mj-lt"/>
              </a:endParaRPr>
            </a:p>
          </p:txBody>
        </p:sp>
        <p:cxnSp>
          <p:nvCxnSpPr>
            <p:cNvPr id="25" name="Straight Connector 24"/>
            <p:cNvCxnSpPr/>
            <p:nvPr/>
          </p:nvCxnSpPr>
          <p:spPr>
            <a:xfrm>
              <a:off x="12190352" y="3957279"/>
              <a:ext cx="0" cy="7843710"/>
            </a:xfrm>
            <a:prstGeom prst="line">
              <a:avLst/>
            </a:prstGeom>
            <a:ln>
              <a:solidFill>
                <a:srgbClr val="D9D9D9"/>
              </a:solidFill>
              <a:prstDash val="dash"/>
            </a:ln>
          </p:spPr>
          <p:style>
            <a:lnRef idx="2">
              <a:schemeClr val="accent1"/>
            </a:lnRef>
            <a:fillRef idx="0">
              <a:schemeClr val="accent1"/>
            </a:fillRef>
            <a:effectRef idx="1">
              <a:schemeClr val="accent1"/>
            </a:effectRef>
            <a:fontRef idx="minor">
              <a:schemeClr val="tx1"/>
            </a:fontRef>
          </p:style>
        </p:cxnSp>
        <p:sp>
          <p:nvSpPr>
            <p:cNvPr id="26" name="Oval 25"/>
            <p:cNvSpPr/>
            <p:nvPr/>
          </p:nvSpPr>
          <p:spPr>
            <a:xfrm>
              <a:off x="11693726" y="3259594"/>
              <a:ext cx="1011116" cy="1011116"/>
            </a:xfrm>
            <a:prstGeom prst="ellipse">
              <a:avLst/>
            </a:prstGeom>
            <a:solidFill>
              <a:srgbClr val="41B5E8"/>
            </a:solidFill>
            <a:ln>
              <a:noFill/>
            </a:ln>
            <a:effectLst/>
          </p:spPr>
          <p:style>
            <a:lnRef idx="1">
              <a:schemeClr val="accent1"/>
            </a:lnRef>
            <a:fillRef idx="3">
              <a:schemeClr val="accent1"/>
            </a:fillRef>
            <a:effectRef idx="2">
              <a:schemeClr val="accent1"/>
            </a:effectRef>
            <a:fontRef idx="minor">
              <a:schemeClr val="lt1"/>
            </a:fontRef>
          </p:style>
          <p:txBody>
            <a:bodyPr lIns="91425" tIns="45712" rIns="91425" bIns="45712" spcCol="0" rtlCol="0" anchor="ctr"/>
            <a:lstStyle/>
            <a:p>
              <a:pPr algn="ctr"/>
              <a:endParaRPr lang="en-US" sz="1100" dirty="0">
                <a:solidFill>
                  <a:srgbClr val="58595B"/>
                </a:solidFill>
                <a:latin typeface="+mj-lt"/>
              </a:endParaRPr>
            </a:p>
          </p:txBody>
        </p:sp>
        <p:sp>
          <p:nvSpPr>
            <p:cNvPr id="27" name="AutoShape 29"/>
            <p:cNvSpPr>
              <a:spLocks/>
            </p:cNvSpPr>
            <p:nvPr/>
          </p:nvSpPr>
          <p:spPr bwMode="auto">
            <a:xfrm>
              <a:off x="12004203" y="3516298"/>
              <a:ext cx="411120" cy="44098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3598" y="2167"/>
                  </a:moveTo>
                  <a:cubicBezTo>
                    <a:pt x="3598" y="2549"/>
                    <a:pt x="3517" y="2902"/>
                    <a:pt x="3358" y="3213"/>
                  </a:cubicBezTo>
                  <a:cubicBezTo>
                    <a:pt x="3197" y="3525"/>
                    <a:pt x="2981" y="3792"/>
                    <a:pt x="2707" y="4006"/>
                  </a:cubicBezTo>
                  <a:lnTo>
                    <a:pt x="2707" y="21050"/>
                  </a:lnTo>
                  <a:cubicBezTo>
                    <a:pt x="2707" y="21203"/>
                    <a:pt x="2663" y="21329"/>
                    <a:pt x="2580" y="21438"/>
                  </a:cubicBezTo>
                  <a:cubicBezTo>
                    <a:pt x="2492" y="21547"/>
                    <a:pt x="2386" y="21599"/>
                    <a:pt x="2262" y="21599"/>
                  </a:cubicBezTo>
                  <a:lnTo>
                    <a:pt x="1348" y="21599"/>
                  </a:lnTo>
                  <a:cubicBezTo>
                    <a:pt x="1221" y="21599"/>
                    <a:pt x="1118" y="21544"/>
                    <a:pt x="1038" y="21438"/>
                  </a:cubicBezTo>
                  <a:cubicBezTo>
                    <a:pt x="954" y="21329"/>
                    <a:pt x="913" y="21203"/>
                    <a:pt x="913" y="21050"/>
                  </a:cubicBezTo>
                  <a:lnTo>
                    <a:pt x="913" y="4006"/>
                  </a:lnTo>
                  <a:cubicBezTo>
                    <a:pt x="641" y="3792"/>
                    <a:pt x="421" y="3525"/>
                    <a:pt x="252" y="3213"/>
                  </a:cubicBezTo>
                  <a:cubicBezTo>
                    <a:pt x="83" y="2902"/>
                    <a:pt x="0" y="2549"/>
                    <a:pt x="0" y="2167"/>
                  </a:cubicBezTo>
                  <a:cubicBezTo>
                    <a:pt x="0" y="1574"/>
                    <a:pt x="176" y="1069"/>
                    <a:pt x="528" y="640"/>
                  </a:cubicBezTo>
                  <a:cubicBezTo>
                    <a:pt x="878" y="211"/>
                    <a:pt x="1304" y="0"/>
                    <a:pt x="1804" y="0"/>
                  </a:cubicBezTo>
                  <a:cubicBezTo>
                    <a:pt x="2296" y="0"/>
                    <a:pt x="2719" y="211"/>
                    <a:pt x="3069" y="640"/>
                  </a:cubicBezTo>
                  <a:cubicBezTo>
                    <a:pt x="3422" y="1069"/>
                    <a:pt x="3598" y="1571"/>
                    <a:pt x="3598" y="2167"/>
                  </a:cubicBezTo>
                  <a:moveTo>
                    <a:pt x="20838" y="2476"/>
                  </a:moveTo>
                  <a:cubicBezTo>
                    <a:pt x="21063" y="2323"/>
                    <a:pt x="21247" y="2297"/>
                    <a:pt x="21389" y="2391"/>
                  </a:cubicBezTo>
                  <a:cubicBezTo>
                    <a:pt x="21529" y="2485"/>
                    <a:pt x="21599" y="2684"/>
                    <a:pt x="21599" y="2996"/>
                  </a:cubicBezTo>
                  <a:lnTo>
                    <a:pt x="21599" y="13515"/>
                  </a:lnTo>
                  <a:cubicBezTo>
                    <a:pt x="21599" y="13803"/>
                    <a:pt x="21526" y="14106"/>
                    <a:pt x="21382" y="14420"/>
                  </a:cubicBezTo>
                  <a:cubicBezTo>
                    <a:pt x="21237" y="14737"/>
                    <a:pt x="21056" y="14966"/>
                    <a:pt x="20838" y="15119"/>
                  </a:cubicBezTo>
                  <a:cubicBezTo>
                    <a:pt x="19954" y="15757"/>
                    <a:pt x="19146" y="16165"/>
                    <a:pt x="18412" y="16350"/>
                  </a:cubicBezTo>
                  <a:cubicBezTo>
                    <a:pt x="17678" y="16529"/>
                    <a:pt x="17036" y="16606"/>
                    <a:pt x="16490" y="16567"/>
                  </a:cubicBezTo>
                  <a:cubicBezTo>
                    <a:pt x="15849" y="16526"/>
                    <a:pt x="15281" y="16371"/>
                    <a:pt x="14791" y="16103"/>
                  </a:cubicBezTo>
                  <a:cubicBezTo>
                    <a:pt x="14392" y="15851"/>
                    <a:pt x="14003" y="15607"/>
                    <a:pt x="13623" y="15378"/>
                  </a:cubicBezTo>
                  <a:cubicBezTo>
                    <a:pt x="13244" y="15146"/>
                    <a:pt x="12857" y="14946"/>
                    <a:pt x="12458" y="14773"/>
                  </a:cubicBezTo>
                  <a:cubicBezTo>
                    <a:pt x="12059" y="14599"/>
                    <a:pt x="11640" y="14461"/>
                    <a:pt x="11197" y="14358"/>
                  </a:cubicBezTo>
                  <a:cubicBezTo>
                    <a:pt x="10757" y="14256"/>
                    <a:pt x="10269" y="14203"/>
                    <a:pt x="9738" y="14203"/>
                  </a:cubicBezTo>
                  <a:cubicBezTo>
                    <a:pt x="9310" y="14220"/>
                    <a:pt x="8825" y="14306"/>
                    <a:pt x="8286" y="14455"/>
                  </a:cubicBezTo>
                  <a:cubicBezTo>
                    <a:pt x="7824" y="14588"/>
                    <a:pt x="7266" y="14799"/>
                    <a:pt x="6605" y="15090"/>
                  </a:cubicBezTo>
                  <a:cubicBezTo>
                    <a:pt x="5944" y="15381"/>
                    <a:pt x="5207" y="15792"/>
                    <a:pt x="4394" y="16327"/>
                  </a:cubicBezTo>
                  <a:cubicBezTo>
                    <a:pt x="4169" y="16476"/>
                    <a:pt x="3978" y="16494"/>
                    <a:pt x="3826" y="16382"/>
                  </a:cubicBezTo>
                  <a:cubicBezTo>
                    <a:pt x="3674" y="16268"/>
                    <a:pt x="3598" y="16059"/>
                    <a:pt x="3598" y="15751"/>
                  </a:cubicBezTo>
                  <a:lnTo>
                    <a:pt x="3598" y="5273"/>
                  </a:lnTo>
                  <a:cubicBezTo>
                    <a:pt x="3598" y="4964"/>
                    <a:pt x="3674" y="4653"/>
                    <a:pt x="3826" y="4347"/>
                  </a:cubicBezTo>
                  <a:cubicBezTo>
                    <a:pt x="3978" y="4036"/>
                    <a:pt x="4169" y="3807"/>
                    <a:pt x="4394" y="3654"/>
                  </a:cubicBezTo>
                  <a:cubicBezTo>
                    <a:pt x="5207" y="3143"/>
                    <a:pt x="5941" y="2737"/>
                    <a:pt x="6597" y="2447"/>
                  </a:cubicBezTo>
                  <a:cubicBezTo>
                    <a:pt x="7253" y="2156"/>
                    <a:pt x="7816" y="1944"/>
                    <a:pt x="8286" y="1812"/>
                  </a:cubicBezTo>
                  <a:cubicBezTo>
                    <a:pt x="8832" y="1665"/>
                    <a:pt x="9317" y="1580"/>
                    <a:pt x="9738" y="1559"/>
                  </a:cubicBezTo>
                  <a:cubicBezTo>
                    <a:pt x="10269" y="1559"/>
                    <a:pt x="10757" y="1612"/>
                    <a:pt x="11197" y="1715"/>
                  </a:cubicBezTo>
                  <a:cubicBezTo>
                    <a:pt x="11640" y="1818"/>
                    <a:pt x="12059" y="1956"/>
                    <a:pt x="12458" y="2135"/>
                  </a:cubicBezTo>
                  <a:cubicBezTo>
                    <a:pt x="12857" y="2306"/>
                    <a:pt x="13242" y="2508"/>
                    <a:pt x="13619" y="2737"/>
                  </a:cubicBezTo>
                  <a:cubicBezTo>
                    <a:pt x="13993" y="2967"/>
                    <a:pt x="14385" y="3207"/>
                    <a:pt x="14791" y="3463"/>
                  </a:cubicBezTo>
                  <a:cubicBezTo>
                    <a:pt x="15281" y="3736"/>
                    <a:pt x="15849" y="3889"/>
                    <a:pt x="16490" y="3924"/>
                  </a:cubicBezTo>
                  <a:cubicBezTo>
                    <a:pt x="17036" y="3965"/>
                    <a:pt x="17678" y="3889"/>
                    <a:pt x="18412" y="3707"/>
                  </a:cubicBezTo>
                  <a:cubicBezTo>
                    <a:pt x="19146" y="3522"/>
                    <a:pt x="19957" y="3113"/>
                    <a:pt x="20838" y="2476"/>
                  </a:cubicBezTo>
                </a:path>
              </a:pathLst>
            </a:custGeom>
            <a:solidFill>
              <a:schemeClr val="bg1"/>
            </a:solidFill>
            <a:ln>
              <a:noFill/>
            </a:ln>
            <a:effectLst/>
            <a:extLst/>
          </p:spPr>
          <p:txBody>
            <a:bodyPr lIns="38086" tIns="38086" rIns="38086" bIns="38086" anchor="ctr"/>
            <a:lstStyle/>
            <a:p>
              <a:pPr defTabSz="342528">
                <a:defRPr/>
              </a:pPr>
              <a:endParaRPr lang="es-ES" sz="1400">
                <a:solidFill>
                  <a:srgbClr val="58595B"/>
                </a:solidFill>
                <a:effectLst>
                  <a:outerShdw blurRad="38100" dist="38100" dir="2700000" algn="tl">
                    <a:srgbClr val="000000"/>
                  </a:outerShdw>
                </a:effectLst>
                <a:latin typeface="+mj-lt"/>
                <a:cs typeface="Gill Sans" charset="0"/>
                <a:sym typeface="Gill Sans" charset="0"/>
              </a:endParaRPr>
            </a:p>
          </p:txBody>
        </p:sp>
        <p:sp>
          <p:nvSpPr>
            <p:cNvPr id="28" name="Oval 27"/>
            <p:cNvSpPr/>
            <p:nvPr/>
          </p:nvSpPr>
          <p:spPr>
            <a:xfrm>
              <a:off x="11693726" y="4955774"/>
              <a:ext cx="1011116" cy="1011116"/>
            </a:xfrm>
            <a:prstGeom prst="ellipse">
              <a:avLst/>
            </a:prstGeom>
            <a:solidFill>
              <a:srgbClr val="0A3E56"/>
            </a:solidFill>
            <a:ln>
              <a:noFill/>
            </a:ln>
            <a:effectLst/>
          </p:spPr>
          <p:style>
            <a:lnRef idx="1">
              <a:schemeClr val="accent1"/>
            </a:lnRef>
            <a:fillRef idx="3">
              <a:schemeClr val="accent1"/>
            </a:fillRef>
            <a:effectRef idx="2">
              <a:schemeClr val="accent1"/>
            </a:effectRef>
            <a:fontRef idx="minor">
              <a:schemeClr val="lt1"/>
            </a:fontRef>
          </p:style>
          <p:txBody>
            <a:bodyPr lIns="91425" tIns="45712" rIns="91425" bIns="45712" spcCol="0" rtlCol="0" anchor="ctr"/>
            <a:lstStyle/>
            <a:p>
              <a:pPr algn="ctr"/>
              <a:endParaRPr lang="en-US" sz="1100" dirty="0">
                <a:solidFill>
                  <a:srgbClr val="58595B"/>
                </a:solidFill>
                <a:latin typeface="+mj-lt"/>
              </a:endParaRPr>
            </a:p>
          </p:txBody>
        </p:sp>
        <p:sp>
          <p:nvSpPr>
            <p:cNvPr id="29" name="AutoShape 82"/>
            <p:cNvSpPr>
              <a:spLocks/>
            </p:cNvSpPr>
            <p:nvPr/>
          </p:nvSpPr>
          <p:spPr bwMode="auto">
            <a:xfrm>
              <a:off x="11984194" y="5282216"/>
              <a:ext cx="452232" cy="36444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3767" y="5419"/>
                  </a:moveTo>
                  <a:cubicBezTo>
                    <a:pt x="4051" y="5419"/>
                    <a:pt x="4271" y="5505"/>
                    <a:pt x="4428" y="5687"/>
                  </a:cubicBezTo>
                  <a:cubicBezTo>
                    <a:pt x="4586" y="5865"/>
                    <a:pt x="4701" y="6078"/>
                    <a:pt x="4766" y="6326"/>
                  </a:cubicBezTo>
                  <a:cubicBezTo>
                    <a:pt x="4835" y="6574"/>
                    <a:pt x="4879" y="6836"/>
                    <a:pt x="4893" y="7106"/>
                  </a:cubicBezTo>
                  <a:cubicBezTo>
                    <a:pt x="4910" y="7377"/>
                    <a:pt x="4917" y="7596"/>
                    <a:pt x="4917" y="7760"/>
                  </a:cubicBezTo>
                  <a:lnTo>
                    <a:pt x="4917" y="9856"/>
                  </a:lnTo>
                  <a:cubicBezTo>
                    <a:pt x="4809" y="9928"/>
                    <a:pt x="4720" y="10015"/>
                    <a:pt x="4646" y="10110"/>
                  </a:cubicBezTo>
                  <a:cubicBezTo>
                    <a:pt x="4574" y="10208"/>
                    <a:pt x="4468" y="10257"/>
                    <a:pt x="4329" y="10257"/>
                  </a:cubicBezTo>
                  <a:lnTo>
                    <a:pt x="561" y="10257"/>
                  </a:lnTo>
                  <a:cubicBezTo>
                    <a:pt x="439" y="10257"/>
                    <a:pt x="338" y="10208"/>
                    <a:pt x="256" y="10110"/>
                  </a:cubicBezTo>
                  <a:cubicBezTo>
                    <a:pt x="177" y="10015"/>
                    <a:pt x="93" y="9928"/>
                    <a:pt x="0" y="9856"/>
                  </a:cubicBezTo>
                  <a:lnTo>
                    <a:pt x="0" y="7760"/>
                  </a:lnTo>
                  <a:cubicBezTo>
                    <a:pt x="0" y="7596"/>
                    <a:pt x="4" y="7377"/>
                    <a:pt x="12" y="7106"/>
                  </a:cubicBezTo>
                  <a:cubicBezTo>
                    <a:pt x="19" y="6836"/>
                    <a:pt x="57" y="6574"/>
                    <a:pt x="124" y="6326"/>
                  </a:cubicBezTo>
                  <a:cubicBezTo>
                    <a:pt x="196" y="6078"/>
                    <a:pt x="309" y="5865"/>
                    <a:pt x="465" y="5687"/>
                  </a:cubicBezTo>
                  <a:cubicBezTo>
                    <a:pt x="624" y="5508"/>
                    <a:pt x="842" y="5419"/>
                    <a:pt x="1123" y="5419"/>
                  </a:cubicBezTo>
                  <a:cubicBezTo>
                    <a:pt x="782" y="5151"/>
                    <a:pt x="508" y="4803"/>
                    <a:pt x="304" y="4377"/>
                  </a:cubicBezTo>
                  <a:cubicBezTo>
                    <a:pt x="103" y="3950"/>
                    <a:pt x="0" y="3469"/>
                    <a:pt x="0" y="2937"/>
                  </a:cubicBezTo>
                  <a:cubicBezTo>
                    <a:pt x="0" y="2539"/>
                    <a:pt x="64" y="2162"/>
                    <a:pt x="189" y="1805"/>
                  </a:cubicBezTo>
                  <a:cubicBezTo>
                    <a:pt x="316" y="1448"/>
                    <a:pt x="491" y="1134"/>
                    <a:pt x="717" y="861"/>
                  </a:cubicBezTo>
                  <a:cubicBezTo>
                    <a:pt x="943" y="590"/>
                    <a:pt x="1207" y="380"/>
                    <a:pt x="1504" y="227"/>
                  </a:cubicBezTo>
                  <a:cubicBezTo>
                    <a:pt x="1804" y="77"/>
                    <a:pt x="2119" y="0"/>
                    <a:pt x="2445" y="0"/>
                  </a:cubicBezTo>
                  <a:cubicBezTo>
                    <a:pt x="2793" y="0"/>
                    <a:pt x="3115" y="77"/>
                    <a:pt x="3412" y="227"/>
                  </a:cubicBezTo>
                  <a:cubicBezTo>
                    <a:pt x="3712" y="380"/>
                    <a:pt x="3969" y="590"/>
                    <a:pt x="4188" y="861"/>
                  </a:cubicBezTo>
                  <a:cubicBezTo>
                    <a:pt x="4406" y="1134"/>
                    <a:pt x="4584" y="1448"/>
                    <a:pt x="4716" y="1805"/>
                  </a:cubicBezTo>
                  <a:cubicBezTo>
                    <a:pt x="4850" y="2162"/>
                    <a:pt x="4917" y="2539"/>
                    <a:pt x="4917" y="2937"/>
                  </a:cubicBezTo>
                  <a:cubicBezTo>
                    <a:pt x="4917" y="3458"/>
                    <a:pt x="4814" y="3939"/>
                    <a:pt x="4603" y="4371"/>
                  </a:cubicBezTo>
                  <a:cubicBezTo>
                    <a:pt x="4392" y="4800"/>
                    <a:pt x="4115" y="5151"/>
                    <a:pt x="3767" y="5419"/>
                  </a:cubicBezTo>
                  <a:moveTo>
                    <a:pt x="18165" y="12062"/>
                  </a:moveTo>
                  <a:cubicBezTo>
                    <a:pt x="18672" y="12604"/>
                    <a:pt x="19070" y="13142"/>
                    <a:pt x="19356" y="13669"/>
                  </a:cubicBezTo>
                  <a:cubicBezTo>
                    <a:pt x="19641" y="14196"/>
                    <a:pt x="19788" y="14801"/>
                    <a:pt x="19788" y="15480"/>
                  </a:cubicBezTo>
                  <a:lnTo>
                    <a:pt x="19788" y="20816"/>
                  </a:lnTo>
                  <a:cubicBezTo>
                    <a:pt x="19694" y="20868"/>
                    <a:pt x="19620" y="20931"/>
                    <a:pt x="19557" y="20995"/>
                  </a:cubicBezTo>
                  <a:cubicBezTo>
                    <a:pt x="19497" y="21061"/>
                    <a:pt x="19425" y="21122"/>
                    <a:pt x="19344" y="21191"/>
                  </a:cubicBezTo>
                  <a:cubicBezTo>
                    <a:pt x="19262" y="21251"/>
                    <a:pt x="19173" y="21317"/>
                    <a:pt x="19075" y="21386"/>
                  </a:cubicBezTo>
                  <a:cubicBezTo>
                    <a:pt x="18976" y="21455"/>
                    <a:pt x="18835" y="21528"/>
                    <a:pt x="18662" y="21599"/>
                  </a:cubicBezTo>
                  <a:lnTo>
                    <a:pt x="2942" y="21599"/>
                  </a:lnTo>
                  <a:cubicBezTo>
                    <a:pt x="2675" y="21599"/>
                    <a:pt x="2467" y="21499"/>
                    <a:pt x="2318" y="21291"/>
                  </a:cubicBezTo>
                  <a:cubicBezTo>
                    <a:pt x="2167" y="21081"/>
                    <a:pt x="2003" y="20926"/>
                    <a:pt x="1819" y="20816"/>
                  </a:cubicBezTo>
                  <a:lnTo>
                    <a:pt x="1819" y="15480"/>
                  </a:lnTo>
                  <a:cubicBezTo>
                    <a:pt x="1819" y="14763"/>
                    <a:pt x="1989" y="14127"/>
                    <a:pt x="2335" y="13571"/>
                  </a:cubicBezTo>
                  <a:cubicBezTo>
                    <a:pt x="2678" y="13018"/>
                    <a:pt x="3052" y="12511"/>
                    <a:pt x="3460" y="12062"/>
                  </a:cubicBezTo>
                  <a:cubicBezTo>
                    <a:pt x="3535" y="11970"/>
                    <a:pt x="3633" y="11869"/>
                    <a:pt x="3753" y="11766"/>
                  </a:cubicBezTo>
                  <a:cubicBezTo>
                    <a:pt x="3873" y="11659"/>
                    <a:pt x="4000" y="11590"/>
                    <a:pt x="4137" y="11553"/>
                  </a:cubicBezTo>
                  <a:cubicBezTo>
                    <a:pt x="4276" y="11495"/>
                    <a:pt x="4432" y="11466"/>
                    <a:pt x="4610" y="11455"/>
                  </a:cubicBezTo>
                  <a:cubicBezTo>
                    <a:pt x="4785" y="11446"/>
                    <a:pt x="4956" y="11423"/>
                    <a:pt x="5126" y="11388"/>
                  </a:cubicBezTo>
                  <a:cubicBezTo>
                    <a:pt x="5594" y="11299"/>
                    <a:pt x="6091" y="11210"/>
                    <a:pt x="6621" y="11121"/>
                  </a:cubicBezTo>
                  <a:cubicBezTo>
                    <a:pt x="7149" y="11034"/>
                    <a:pt x="7665" y="10945"/>
                    <a:pt x="8172" y="10853"/>
                  </a:cubicBezTo>
                  <a:cubicBezTo>
                    <a:pt x="7483" y="10326"/>
                    <a:pt x="6928" y="9632"/>
                    <a:pt x="6513" y="8762"/>
                  </a:cubicBezTo>
                  <a:cubicBezTo>
                    <a:pt x="6093" y="7896"/>
                    <a:pt x="5884" y="6940"/>
                    <a:pt x="5884" y="5903"/>
                  </a:cubicBezTo>
                  <a:cubicBezTo>
                    <a:pt x="5884" y="5097"/>
                    <a:pt x="6016" y="4331"/>
                    <a:pt x="6275" y="3608"/>
                  </a:cubicBezTo>
                  <a:cubicBezTo>
                    <a:pt x="6535" y="2885"/>
                    <a:pt x="6887" y="2260"/>
                    <a:pt x="7331" y="1733"/>
                  </a:cubicBezTo>
                  <a:cubicBezTo>
                    <a:pt x="7778" y="1203"/>
                    <a:pt x="8299" y="786"/>
                    <a:pt x="8894" y="472"/>
                  </a:cubicBezTo>
                  <a:cubicBezTo>
                    <a:pt x="9494" y="158"/>
                    <a:pt x="10125" y="3"/>
                    <a:pt x="10802" y="3"/>
                  </a:cubicBezTo>
                  <a:cubicBezTo>
                    <a:pt x="11476" y="3"/>
                    <a:pt x="12112" y="158"/>
                    <a:pt x="12710" y="472"/>
                  </a:cubicBezTo>
                  <a:cubicBezTo>
                    <a:pt x="13307" y="786"/>
                    <a:pt x="13826" y="1203"/>
                    <a:pt x="14272" y="1733"/>
                  </a:cubicBezTo>
                  <a:cubicBezTo>
                    <a:pt x="14716" y="2260"/>
                    <a:pt x="15067" y="2885"/>
                    <a:pt x="15328" y="3608"/>
                  </a:cubicBezTo>
                  <a:cubicBezTo>
                    <a:pt x="15590" y="4331"/>
                    <a:pt x="15719" y="5097"/>
                    <a:pt x="15719" y="5903"/>
                  </a:cubicBezTo>
                  <a:cubicBezTo>
                    <a:pt x="15719" y="6939"/>
                    <a:pt x="15513" y="7890"/>
                    <a:pt x="15100" y="8757"/>
                  </a:cubicBezTo>
                  <a:cubicBezTo>
                    <a:pt x="14685" y="9620"/>
                    <a:pt x="14128" y="10320"/>
                    <a:pt x="13432" y="10853"/>
                  </a:cubicBezTo>
                  <a:cubicBezTo>
                    <a:pt x="13936" y="10945"/>
                    <a:pt x="14452" y="11031"/>
                    <a:pt x="14978" y="11115"/>
                  </a:cubicBezTo>
                  <a:cubicBezTo>
                    <a:pt x="15504" y="11198"/>
                    <a:pt x="16005" y="11288"/>
                    <a:pt x="16478" y="11388"/>
                  </a:cubicBezTo>
                  <a:cubicBezTo>
                    <a:pt x="16653" y="11426"/>
                    <a:pt x="16826" y="11449"/>
                    <a:pt x="16994" y="11455"/>
                  </a:cubicBezTo>
                  <a:cubicBezTo>
                    <a:pt x="17162" y="11466"/>
                    <a:pt x="17323" y="11495"/>
                    <a:pt x="17467" y="11553"/>
                  </a:cubicBezTo>
                  <a:cubicBezTo>
                    <a:pt x="17603" y="11590"/>
                    <a:pt x="17731" y="11659"/>
                    <a:pt x="17851" y="11766"/>
                  </a:cubicBezTo>
                  <a:cubicBezTo>
                    <a:pt x="17966" y="11869"/>
                    <a:pt x="18074" y="11970"/>
                    <a:pt x="18165" y="12062"/>
                  </a:cubicBezTo>
                  <a:moveTo>
                    <a:pt x="20474" y="5419"/>
                  </a:moveTo>
                  <a:cubicBezTo>
                    <a:pt x="20757" y="5419"/>
                    <a:pt x="20973" y="5505"/>
                    <a:pt x="21124" y="5687"/>
                  </a:cubicBezTo>
                  <a:cubicBezTo>
                    <a:pt x="21271" y="5865"/>
                    <a:pt x="21381" y="6078"/>
                    <a:pt x="21448" y="6326"/>
                  </a:cubicBezTo>
                  <a:cubicBezTo>
                    <a:pt x="21520" y="6574"/>
                    <a:pt x="21561" y="6836"/>
                    <a:pt x="21576" y="7106"/>
                  </a:cubicBezTo>
                  <a:cubicBezTo>
                    <a:pt x="21592" y="7377"/>
                    <a:pt x="21599" y="7596"/>
                    <a:pt x="21599" y="7760"/>
                  </a:cubicBezTo>
                  <a:lnTo>
                    <a:pt x="21599" y="9856"/>
                  </a:lnTo>
                  <a:cubicBezTo>
                    <a:pt x="21508" y="9928"/>
                    <a:pt x="21422" y="10015"/>
                    <a:pt x="21340" y="10110"/>
                  </a:cubicBezTo>
                  <a:cubicBezTo>
                    <a:pt x="21261" y="10208"/>
                    <a:pt x="21158" y="10257"/>
                    <a:pt x="21036" y="10257"/>
                  </a:cubicBezTo>
                  <a:lnTo>
                    <a:pt x="17268" y="10257"/>
                  </a:lnTo>
                  <a:cubicBezTo>
                    <a:pt x="17131" y="10257"/>
                    <a:pt x="17023" y="10208"/>
                    <a:pt x="16953" y="10110"/>
                  </a:cubicBezTo>
                  <a:cubicBezTo>
                    <a:pt x="16879" y="10015"/>
                    <a:pt x="16790" y="9928"/>
                    <a:pt x="16682" y="9856"/>
                  </a:cubicBezTo>
                  <a:lnTo>
                    <a:pt x="16682" y="7760"/>
                  </a:lnTo>
                  <a:cubicBezTo>
                    <a:pt x="16682" y="7596"/>
                    <a:pt x="16692" y="7377"/>
                    <a:pt x="16706" y="7106"/>
                  </a:cubicBezTo>
                  <a:cubicBezTo>
                    <a:pt x="16720" y="6836"/>
                    <a:pt x="16766" y="6574"/>
                    <a:pt x="16836" y="6326"/>
                  </a:cubicBezTo>
                  <a:cubicBezTo>
                    <a:pt x="16912" y="6078"/>
                    <a:pt x="17023" y="5865"/>
                    <a:pt x="17183" y="5687"/>
                  </a:cubicBezTo>
                  <a:cubicBezTo>
                    <a:pt x="17337" y="5508"/>
                    <a:pt x="17556" y="5419"/>
                    <a:pt x="17829" y="5419"/>
                  </a:cubicBezTo>
                  <a:cubicBezTo>
                    <a:pt x="17488" y="5151"/>
                    <a:pt x="17210" y="4803"/>
                    <a:pt x="16999" y="4377"/>
                  </a:cubicBezTo>
                  <a:cubicBezTo>
                    <a:pt x="16788" y="3950"/>
                    <a:pt x="16682" y="3469"/>
                    <a:pt x="16682" y="2937"/>
                  </a:cubicBezTo>
                  <a:cubicBezTo>
                    <a:pt x="16682" y="2539"/>
                    <a:pt x="16744" y="2162"/>
                    <a:pt x="16872" y="1805"/>
                  </a:cubicBezTo>
                  <a:cubicBezTo>
                    <a:pt x="16999" y="1448"/>
                    <a:pt x="17174" y="1134"/>
                    <a:pt x="17400" y="861"/>
                  </a:cubicBezTo>
                  <a:cubicBezTo>
                    <a:pt x="17625" y="590"/>
                    <a:pt x="17889" y="380"/>
                    <a:pt x="18187" y="227"/>
                  </a:cubicBezTo>
                  <a:cubicBezTo>
                    <a:pt x="18487" y="77"/>
                    <a:pt x="18808" y="0"/>
                    <a:pt x="19152" y="0"/>
                  </a:cubicBezTo>
                  <a:cubicBezTo>
                    <a:pt x="19480" y="0"/>
                    <a:pt x="19795" y="77"/>
                    <a:pt x="20095" y="227"/>
                  </a:cubicBezTo>
                  <a:cubicBezTo>
                    <a:pt x="20395" y="380"/>
                    <a:pt x="20656" y="590"/>
                    <a:pt x="20882" y="861"/>
                  </a:cubicBezTo>
                  <a:cubicBezTo>
                    <a:pt x="21108" y="1134"/>
                    <a:pt x="21285" y="1448"/>
                    <a:pt x="21412" y="1805"/>
                  </a:cubicBezTo>
                  <a:cubicBezTo>
                    <a:pt x="21537" y="2162"/>
                    <a:pt x="21599" y="2539"/>
                    <a:pt x="21599" y="2937"/>
                  </a:cubicBezTo>
                  <a:cubicBezTo>
                    <a:pt x="21599" y="3458"/>
                    <a:pt x="21499" y="3939"/>
                    <a:pt x="21295" y="4371"/>
                  </a:cubicBezTo>
                  <a:cubicBezTo>
                    <a:pt x="21093" y="4800"/>
                    <a:pt x="20820" y="5151"/>
                    <a:pt x="20474" y="5419"/>
                  </a:cubicBezTo>
                </a:path>
              </a:pathLst>
            </a:custGeom>
            <a:solidFill>
              <a:schemeClr val="bg1"/>
            </a:solidFill>
            <a:ln>
              <a:noFill/>
            </a:ln>
            <a:effectLst/>
            <a:extLst/>
          </p:spPr>
          <p:txBody>
            <a:bodyPr lIns="38093" tIns="38093" rIns="38093" bIns="38093" anchor="ctr"/>
            <a:lstStyle/>
            <a:p>
              <a:pPr defTabSz="342528">
                <a:defRPr/>
              </a:pPr>
              <a:endParaRPr lang="es-ES" sz="1400">
                <a:solidFill>
                  <a:srgbClr val="58595B"/>
                </a:solidFill>
                <a:effectLst>
                  <a:outerShdw blurRad="38100" dist="38100" dir="2700000" algn="tl">
                    <a:srgbClr val="000000"/>
                  </a:outerShdw>
                </a:effectLst>
                <a:latin typeface="+mj-lt"/>
                <a:cs typeface="Gill Sans" charset="0"/>
                <a:sym typeface="Gill Sans" charset="0"/>
              </a:endParaRPr>
            </a:p>
          </p:txBody>
        </p:sp>
        <p:sp>
          <p:nvSpPr>
            <p:cNvPr id="30" name="Oval 29"/>
            <p:cNvSpPr/>
            <p:nvPr/>
          </p:nvSpPr>
          <p:spPr>
            <a:xfrm>
              <a:off x="11690945" y="6548382"/>
              <a:ext cx="1011116" cy="1011116"/>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25" tIns="45712" rIns="91425" bIns="45712" spcCol="0" rtlCol="0" anchor="ctr"/>
            <a:lstStyle/>
            <a:p>
              <a:pPr algn="ctr"/>
              <a:endParaRPr lang="en-US" sz="1100" dirty="0">
                <a:solidFill>
                  <a:srgbClr val="58595B"/>
                </a:solidFill>
                <a:latin typeface="+mj-lt"/>
              </a:endParaRPr>
            </a:p>
          </p:txBody>
        </p:sp>
        <p:sp>
          <p:nvSpPr>
            <p:cNvPr id="31" name="Oval 30"/>
            <p:cNvSpPr/>
            <p:nvPr/>
          </p:nvSpPr>
          <p:spPr>
            <a:xfrm>
              <a:off x="11690945" y="8244564"/>
              <a:ext cx="1011116" cy="1011116"/>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91425" tIns="45712" rIns="91425" bIns="45712" spcCol="0" rtlCol="0" anchor="ctr"/>
            <a:lstStyle/>
            <a:p>
              <a:pPr algn="ctr"/>
              <a:endParaRPr lang="en-US" sz="1100" dirty="0">
                <a:solidFill>
                  <a:srgbClr val="58595B"/>
                </a:solidFill>
                <a:latin typeface="+mj-lt"/>
              </a:endParaRPr>
            </a:p>
          </p:txBody>
        </p:sp>
        <p:sp>
          <p:nvSpPr>
            <p:cNvPr id="32" name="Oval 31"/>
            <p:cNvSpPr/>
            <p:nvPr/>
          </p:nvSpPr>
          <p:spPr>
            <a:xfrm>
              <a:off x="11693726" y="9822482"/>
              <a:ext cx="1011116" cy="101111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5" tIns="45712" rIns="91425" bIns="45712" spcCol="0" rtlCol="0" anchor="ctr"/>
            <a:lstStyle/>
            <a:p>
              <a:pPr algn="ctr"/>
              <a:endParaRPr lang="en-US" sz="1100" dirty="0">
                <a:solidFill>
                  <a:srgbClr val="58595B"/>
                </a:solidFill>
                <a:latin typeface="+mj-lt"/>
              </a:endParaRPr>
            </a:p>
          </p:txBody>
        </p:sp>
        <p:sp>
          <p:nvSpPr>
            <p:cNvPr id="33" name="Oval 32"/>
            <p:cNvSpPr/>
            <p:nvPr/>
          </p:nvSpPr>
          <p:spPr>
            <a:xfrm>
              <a:off x="11693726" y="11518664"/>
              <a:ext cx="1011116" cy="1011116"/>
            </a:xfrm>
            <a:prstGeom prst="ellipse">
              <a:avLst/>
            </a:prstGeom>
            <a:solidFill>
              <a:srgbClr val="41B5E8"/>
            </a:solidFill>
            <a:ln>
              <a:noFill/>
            </a:ln>
            <a:effectLst/>
          </p:spPr>
          <p:style>
            <a:lnRef idx="1">
              <a:schemeClr val="accent1"/>
            </a:lnRef>
            <a:fillRef idx="3">
              <a:schemeClr val="accent1"/>
            </a:fillRef>
            <a:effectRef idx="2">
              <a:schemeClr val="accent1"/>
            </a:effectRef>
            <a:fontRef idx="minor">
              <a:schemeClr val="lt1"/>
            </a:fontRef>
          </p:style>
          <p:txBody>
            <a:bodyPr lIns="91425" tIns="45712" rIns="91425" bIns="45712" spcCol="0" rtlCol="0" anchor="ctr"/>
            <a:lstStyle/>
            <a:p>
              <a:pPr algn="ctr"/>
              <a:endParaRPr lang="en-US" sz="1100" dirty="0">
                <a:solidFill>
                  <a:srgbClr val="58595B"/>
                </a:solidFill>
                <a:latin typeface="+mj-lt"/>
              </a:endParaRPr>
            </a:p>
          </p:txBody>
        </p:sp>
        <p:sp>
          <p:nvSpPr>
            <p:cNvPr id="34" name="AutoShape 81"/>
            <p:cNvSpPr>
              <a:spLocks/>
            </p:cNvSpPr>
            <p:nvPr/>
          </p:nvSpPr>
          <p:spPr bwMode="auto">
            <a:xfrm>
              <a:off x="11944355" y="11800989"/>
              <a:ext cx="495467" cy="36299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782" y="15633"/>
                  </a:moveTo>
                  <a:cubicBezTo>
                    <a:pt x="11211" y="15633"/>
                    <a:pt x="11622" y="15565"/>
                    <a:pt x="12011" y="15416"/>
                  </a:cubicBezTo>
                  <a:cubicBezTo>
                    <a:pt x="12403" y="15272"/>
                    <a:pt x="12778" y="15084"/>
                    <a:pt x="13138" y="14855"/>
                  </a:cubicBezTo>
                  <a:cubicBezTo>
                    <a:pt x="13498" y="14626"/>
                    <a:pt x="13845" y="14361"/>
                    <a:pt x="14181" y="14073"/>
                  </a:cubicBezTo>
                  <a:cubicBezTo>
                    <a:pt x="14516" y="13774"/>
                    <a:pt x="14844" y="13471"/>
                    <a:pt x="15168" y="13160"/>
                  </a:cubicBezTo>
                  <a:cubicBezTo>
                    <a:pt x="16142" y="12226"/>
                    <a:pt x="17126" y="11306"/>
                    <a:pt x="18120" y="10410"/>
                  </a:cubicBezTo>
                  <a:cubicBezTo>
                    <a:pt x="19112" y="9515"/>
                    <a:pt x="20113" y="8616"/>
                    <a:pt x="21120" y="7714"/>
                  </a:cubicBezTo>
                  <a:cubicBezTo>
                    <a:pt x="21198" y="7640"/>
                    <a:pt x="21279" y="7570"/>
                    <a:pt x="21360" y="7496"/>
                  </a:cubicBezTo>
                  <a:cubicBezTo>
                    <a:pt x="21443" y="7429"/>
                    <a:pt x="21524" y="7347"/>
                    <a:pt x="21599" y="7250"/>
                  </a:cubicBezTo>
                  <a:lnTo>
                    <a:pt x="21599" y="19981"/>
                  </a:lnTo>
                  <a:cubicBezTo>
                    <a:pt x="21599" y="20416"/>
                    <a:pt x="21470" y="20800"/>
                    <a:pt x="21208" y="21118"/>
                  </a:cubicBezTo>
                  <a:cubicBezTo>
                    <a:pt x="20946" y="21438"/>
                    <a:pt x="20632" y="21599"/>
                    <a:pt x="20265" y="21599"/>
                  </a:cubicBezTo>
                  <a:lnTo>
                    <a:pt x="1346" y="21599"/>
                  </a:lnTo>
                  <a:cubicBezTo>
                    <a:pt x="979" y="21599"/>
                    <a:pt x="663" y="21438"/>
                    <a:pt x="396" y="21118"/>
                  </a:cubicBezTo>
                  <a:cubicBezTo>
                    <a:pt x="132" y="20803"/>
                    <a:pt x="0" y="20419"/>
                    <a:pt x="0" y="19981"/>
                  </a:cubicBezTo>
                  <a:lnTo>
                    <a:pt x="0" y="7250"/>
                  </a:lnTo>
                  <a:cubicBezTo>
                    <a:pt x="75" y="7347"/>
                    <a:pt x="156" y="7429"/>
                    <a:pt x="239" y="7496"/>
                  </a:cubicBezTo>
                  <a:cubicBezTo>
                    <a:pt x="320" y="7570"/>
                    <a:pt x="401" y="7640"/>
                    <a:pt x="479" y="7714"/>
                  </a:cubicBezTo>
                  <a:cubicBezTo>
                    <a:pt x="1488" y="8616"/>
                    <a:pt x="2487" y="9514"/>
                    <a:pt x="3481" y="10410"/>
                  </a:cubicBezTo>
                  <a:cubicBezTo>
                    <a:pt x="4473" y="11306"/>
                    <a:pt x="5457" y="12223"/>
                    <a:pt x="6434" y="13160"/>
                  </a:cubicBezTo>
                  <a:cubicBezTo>
                    <a:pt x="6738" y="13454"/>
                    <a:pt x="7058" y="13744"/>
                    <a:pt x="7394" y="14038"/>
                  </a:cubicBezTo>
                  <a:cubicBezTo>
                    <a:pt x="7729" y="14338"/>
                    <a:pt x="8079" y="14599"/>
                    <a:pt x="8437" y="14840"/>
                  </a:cubicBezTo>
                  <a:cubicBezTo>
                    <a:pt x="8797" y="15075"/>
                    <a:pt x="9174" y="15269"/>
                    <a:pt x="9568" y="15413"/>
                  </a:cubicBezTo>
                  <a:cubicBezTo>
                    <a:pt x="9965" y="15563"/>
                    <a:pt x="10371" y="15633"/>
                    <a:pt x="10782" y="15633"/>
                  </a:cubicBezTo>
                  <a:moveTo>
                    <a:pt x="10782" y="12413"/>
                  </a:moveTo>
                  <a:cubicBezTo>
                    <a:pt x="10540" y="12413"/>
                    <a:pt x="10278" y="12334"/>
                    <a:pt x="9996" y="12167"/>
                  </a:cubicBezTo>
                  <a:cubicBezTo>
                    <a:pt x="9715" y="12005"/>
                    <a:pt x="9441" y="11806"/>
                    <a:pt x="9171" y="11576"/>
                  </a:cubicBezTo>
                  <a:cubicBezTo>
                    <a:pt x="8900" y="11347"/>
                    <a:pt x="8638" y="11106"/>
                    <a:pt x="8380" y="10854"/>
                  </a:cubicBezTo>
                  <a:cubicBezTo>
                    <a:pt x="8121" y="10601"/>
                    <a:pt x="7896" y="10390"/>
                    <a:pt x="7700" y="10222"/>
                  </a:cubicBezTo>
                  <a:cubicBezTo>
                    <a:pt x="6752" y="9356"/>
                    <a:pt x="5819" y="8507"/>
                    <a:pt x="4891" y="7664"/>
                  </a:cubicBezTo>
                  <a:cubicBezTo>
                    <a:pt x="3966" y="6815"/>
                    <a:pt x="3023" y="5960"/>
                    <a:pt x="2061" y="5087"/>
                  </a:cubicBezTo>
                  <a:cubicBezTo>
                    <a:pt x="1882" y="4920"/>
                    <a:pt x="1672" y="4691"/>
                    <a:pt x="1434" y="4406"/>
                  </a:cubicBezTo>
                  <a:cubicBezTo>
                    <a:pt x="1194" y="4118"/>
                    <a:pt x="974" y="3804"/>
                    <a:pt x="766" y="3460"/>
                  </a:cubicBezTo>
                  <a:cubicBezTo>
                    <a:pt x="560" y="3110"/>
                    <a:pt x="384" y="2761"/>
                    <a:pt x="239" y="2405"/>
                  </a:cubicBezTo>
                  <a:cubicBezTo>
                    <a:pt x="95" y="2050"/>
                    <a:pt x="22" y="1724"/>
                    <a:pt x="22" y="1436"/>
                  </a:cubicBezTo>
                  <a:cubicBezTo>
                    <a:pt x="22" y="1051"/>
                    <a:pt x="164" y="713"/>
                    <a:pt x="443" y="425"/>
                  </a:cubicBezTo>
                  <a:cubicBezTo>
                    <a:pt x="727" y="143"/>
                    <a:pt x="1025" y="0"/>
                    <a:pt x="1346" y="0"/>
                  </a:cubicBezTo>
                  <a:lnTo>
                    <a:pt x="20265" y="0"/>
                  </a:lnTo>
                  <a:cubicBezTo>
                    <a:pt x="20583" y="0"/>
                    <a:pt x="20882" y="143"/>
                    <a:pt x="21161" y="425"/>
                  </a:cubicBezTo>
                  <a:cubicBezTo>
                    <a:pt x="21438" y="713"/>
                    <a:pt x="21577" y="1051"/>
                    <a:pt x="21577" y="1436"/>
                  </a:cubicBezTo>
                  <a:cubicBezTo>
                    <a:pt x="21577" y="1724"/>
                    <a:pt x="21504" y="2050"/>
                    <a:pt x="21360" y="2405"/>
                  </a:cubicBezTo>
                  <a:cubicBezTo>
                    <a:pt x="21215" y="2761"/>
                    <a:pt x="21039" y="3110"/>
                    <a:pt x="20833" y="3460"/>
                  </a:cubicBezTo>
                  <a:cubicBezTo>
                    <a:pt x="20627" y="3804"/>
                    <a:pt x="20402" y="4121"/>
                    <a:pt x="20165" y="4406"/>
                  </a:cubicBezTo>
                  <a:cubicBezTo>
                    <a:pt x="19927" y="4691"/>
                    <a:pt x="19717" y="4923"/>
                    <a:pt x="19538" y="5087"/>
                  </a:cubicBezTo>
                  <a:cubicBezTo>
                    <a:pt x="18578" y="5948"/>
                    <a:pt x="17633" y="6803"/>
                    <a:pt x="16708" y="7652"/>
                  </a:cubicBezTo>
                  <a:cubicBezTo>
                    <a:pt x="15782" y="8501"/>
                    <a:pt x="14844" y="9356"/>
                    <a:pt x="13899" y="10222"/>
                  </a:cubicBezTo>
                  <a:cubicBezTo>
                    <a:pt x="13703" y="10390"/>
                    <a:pt x="13481" y="10601"/>
                    <a:pt x="13226" y="10854"/>
                  </a:cubicBezTo>
                  <a:cubicBezTo>
                    <a:pt x="12971" y="11106"/>
                    <a:pt x="12709" y="11347"/>
                    <a:pt x="12435" y="11576"/>
                  </a:cubicBezTo>
                  <a:cubicBezTo>
                    <a:pt x="12161" y="11806"/>
                    <a:pt x="11884" y="12005"/>
                    <a:pt x="11603" y="12167"/>
                  </a:cubicBezTo>
                  <a:cubicBezTo>
                    <a:pt x="11321" y="12334"/>
                    <a:pt x="11064" y="12413"/>
                    <a:pt x="10829" y="12413"/>
                  </a:cubicBezTo>
                  <a:lnTo>
                    <a:pt x="10804" y="12413"/>
                  </a:lnTo>
                  <a:lnTo>
                    <a:pt x="10782" y="12413"/>
                  </a:lnTo>
                  <a:close/>
                </a:path>
              </a:pathLst>
            </a:custGeom>
            <a:solidFill>
              <a:schemeClr val="bg1"/>
            </a:solidFill>
            <a:ln>
              <a:noFill/>
            </a:ln>
            <a:effectLst/>
            <a:extLst/>
          </p:spPr>
          <p:txBody>
            <a:bodyPr lIns="38093" tIns="38093" rIns="38093" bIns="38093" anchor="ctr"/>
            <a:lstStyle/>
            <a:p>
              <a:pPr defTabSz="342528">
                <a:defRPr/>
              </a:pPr>
              <a:endParaRPr lang="es-ES" sz="1400">
                <a:solidFill>
                  <a:srgbClr val="58595B"/>
                </a:solidFill>
                <a:effectLst>
                  <a:outerShdw blurRad="38100" dist="38100" dir="2700000" algn="tl">
                    <a:srgbClr val="000000"/>
                  </a:outerShdw>
                </a:effectLst>
                <a:latin typeface="+mj-lt"/>
                <a:cs typeface="Gill Sans" charset="0"/>
                <a:sym typeface="Gill Sans" charset="0"/>
              </a:endParaRPr>
            </a:p>
          </p:txBody>
        </p:sp>
        <p:sp>
          <p:nvSpPr>
            <p:cNvPr id="35" name="Freeform 429"/>
            <p:cNvSpPr>
              <a:spLocks noChangeArrowheads="1"/>
            </p:cNvSpPr>
            <p:nvPr/>
          </p:nvSpPr>
          <p:spPr bwMode="auto">
            <a:xfrm>
              <a:off x="11961599" y="6818688"/>
              <a:ext cx="483724" cy="480256"/>
            </a:xfrm>
            <a:custGeom>
              <a:avLst/>
              <a:gdLst>
                <a:gd name="T0" fmla="*/ 1162 w 1230"/>
                <a:gd name="T1" fmla="*/ 383 h 1221"/>
                <a:gd name="T2" fmla="*/ 1112 w 1230"/>
                <a:gd name="T3" fmla="*/ 433 h 1221"/>
                <a:gd name="T4" fmla="*/ 794 w 1230"/>
                <a:gd name="T5" fmla="*/ 116 h 1221"/>
                <a:gd name="T6" fmla="*/ 844 w 1230"/>
                <a:gd name="T7" fmla="*/ 57 h 1221"/>
                <a:gd name="T8" fmla="*/ 1061 w 1230"/>
                <a:gd name="T9" fmla="*/ 57 h 1221"/>
                <a:gd name="T10" fmla="*/ 1162 w 1230"/>
                <a:gd name="T11" fmla="*/ 166 h 1221"/>
                <a:gd name="T12" fmla="*/ 1162 w 1230"/>
                <a:gd name="T13" fmla="*/ 383 h 1221"/>
                <a:gd name="T14" fmla="*/ 418 w 1230"/>
                <a:gd name="T15" fmla="*/ 1019 h 1221"/>
                <a:gd name="T16" fmla="*/ 418 w 1230"/>
                <a:gd name="T17" fmla="*/ 1077 h 1221"/>
                <a:gd name="T18" fmla="*/ 468 w 1230"/>
                <a:gd name="T19" fmla="*/ 1077 h 1221"/>
                <a:gd name="T20" fmla="*/ 1061 w 1230"/>
                <a:gd name="T21" fmla="*/ 484 h 1221"/>
                <a:gd name="T22" fmla="*/ 1003 w 1230"/>
                <a:gd name="T23" fmla="*/ 433 h 1221"/>
                <a:gd name="T24" fmla="*/ 418 w 1230"/>
                <a:gd name="T25" fmla="*/ 1019 h 1221"/>
                <a:gd name="T26" fmla="*/ 150 w 1230"/>
                <a:gd name="T27" fmla="*/ 751 h 1221"/>
                <a:gd name="T28" fmla="*/ 150 w 1230"/>
                <a:gd name="T29" fmla="*/ 810 h 1221"/>
                <a:gd name="T30" fmla="*/ 209 w 1230"/>
                <a:gd name="T31" fmla="*/ 810 h 1221"/>
                <a:gd name="T32" fmla="*/ 794 w 1230"/>
                <a:gd name="T33" fmla="*/ 216 h 1221"/>
                <a:gd name="T34" fmla="*/ 735 w 1230"/>
                <a:gd name="T35" fmla="*/ 166 h 1221"/>
                <a:gd name="T36" fmla="*/ 150 w 1230"/>
                <a:gd name="T37" fmla="*/ 751 h 1221"/>
                <a:gd name="T38" fmla="*/ 844 w 1230"/>
                <a:gd name="T39" fmla="*/ 275 h 1221"/>
                <a:gd name="T40" fmla="*/ 259 w 1230"/>
                <a:gd name="T41" fmla="*/ 860 h 1221"/>
                <a:gd name="T42" fmla="*/ 259 w 1230"/>
                <a:gd name="T43" fmla="*/ 969 h 1221"/>
                <a:gd name="T44" fmla="*/ 367 w 1230"/>
                <a:gd name="T45" fmla="*/ 969 h 1221"/>
                <a:gd name="T46" fmla="*/ 953 w 1230"/>
                <a:gd name="T47" fmla="*/ 383 h 1221"/>
                <a:gd name="T48" fmla="*/ 844 w 1230"/>
                <a:gd name="T49" fmla="*/ 275 h 1221"/>
                <a:gd name="T50" fmla="*/ 367 w 1230"/>
                <a:gd name="T51" fmla="*/ 1127 h 1221"/>
                <a:gd name="T52" fmla="*/ 334 w 1230"/>
                <a:gd name="T53" fmla="*/ 1061 h 1221"/>
                <a:gd name="T54" fmla="*/ 309 w 1230"/>
                <a:gd name="T55" fmla="*/ 1061 h 1221"/>
                <a:gd name="T56" fmla="*/ 209 w 1230"/>
                <a:gd name="T57" fmla="*/ 1019 h 1221"/>
                <a:gd name="T58" fmla="*/ 158 w 1230"/>
                <a:gd name="T59" fmla="*/ 910 h 1221"/>
                <a:gd name="T60" fmla="*/ 167 w 1230"/>
                <a:gd name="T61" fmla="*/ 893 h 1221"/>
                <a:gd name="T62" fmla="*/ 100 w 1230"/>
                <a:gd name="T63" fmla="*/ 860 h 1221"/>
                <a:gd name="T64" fmla="*/ 92 w 1230"/>
                <a:gd name="T65" fmla="*/ 852 h 1221"/>
                <a:gd name="T66" fmla="*/ 0 w 1230"/>
                <a:gd name="T67" fmla="*/ 1220 h 1221"/>
                <a:gd name="T68" fmla="*/ 367 w 1230"/>
                <a:gd name="T69" fmla="*/ 1127 h 1221"/>
                <a:gd name="T70" fmla="*/ 367 w 1230"/>
                <a:gd name="T71" fmla="*/ 1127 h 1221"/>
                <a:gd name="T72" fmla="*/ 367 w 1230"/>
                <a:gd name="T73" fmla="*/ 1127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0" h="1221">
                  <a:moveTo>
                    <a:pt x="1162" y="383"/>
                  </a:moveTo>
                  <a:cubicBezTo>
                    <a:pt x="1112" y="433"/>
                    <a:pt x="1112" y="433"/>
                    <a:pt x="1112" y="433"/>
                  </a:cubicBezTo>
                  <a:cubicBezTo>
                    <a:pt x="794" y="116"/>
                    <a:pt x="794" y="116"/>
                    <a:pt x="794" y="116"/>
                  </a:cubicBezTo>
                  <a:cubicBezTo>
                    <a:pt x="844" y="57"/>
                    <a:pt x="844" y="57"/>
                    <a:pt x="844" y="57"/>
                  </a:cubicBezTo>
                  <a:cubicBezTo>
                    <a:pt x="903" y="0"/>
                    <a:pt x="1003" y="0"/>
                    <a:pt x="1061" y="57"/>
                  </a:cubicBezTo>
                  <a:cubicBezTo>
                    <a:pt x="1162" y="166"/>
                    <a:pt x="1162" y="166"/>
                    <a:pt x="1162" y="166"/>
                  </a:cubicBezTo>
                  <a:cubicBezTo>
                    <a:pt x="1229" y="225"/>
                    <a:pt x="1229" y="325"/>
                    <a:pt x="1162" y="383"/>
                  </a:cubicBezTo>
                  <a:close/>
                  <a:moveTo>
                    <a:pt x="418" y="1019"/>
                  </a:moveTo>
                  <a:cubicBezTo>
                    <a:pt x="401" y="1035"/>
                    <a:pt x="401" y="1061"/>
                    <a:pt x="418" y="1077"/>
                  </a:cubicBezTo>
                  <a:cubicBezTo>
                    <a:pt x="434" y="1086"/>
                    <a:pt x="459" y="1086"/>
                    <a:pt x="468" y="1077"/>
                  </a:cubicBezTo>
                  <a:cubicBezTo>
                    <a:pt x="1061" y="484"/>
                    <a:pt x="1061" y="484"/>
                    <a:pt x="1061" y="484"/>
                  </a:cubicBezTo>
                  <a:cubicBezTo>
                    <a:pt x="1003" y="433"/>
                    <a:pt x="1003" y="433"/>
                    <a:pt x="1003" y="433"/>
                  </a:cubicBezTo>
                  <a:lnTo>
                    <a:pt x="418" y="1019"/>
                  </a:lnTo>
                  <a:close/>
                  <a:moveTo>
                    <a:pt x="150" y="751"/>
                  </a:moveTo>
                  <a:cubicBezTo>
                    <a:pt x="133" y="768"/>
                    <a:pt x="133" y="793"/>
                    <a:pt x="150" y="810"/>
                  </a:cubicBezTo>
                  <a:cubicBezTo>
                    <a:pt x="167" y="818"/>
                    <a:pt x="192" y="818"/>
                    <a:pt x="209" y="810"/>
                  </a:cubicBezTo>
                  <a:cubicBezTo>
                    <a:pt x="794" y="216"/>
                    <a:pt x="794" y="216"/>
                    <a:pt x="794" y="216"/>
                  </a:cubicBezTo>
                  <a:cubicBezTo>
                    <a:pt x="735" y="166"/>
                    <a:pt x="735" y="166"/>
                    <a:pt x="735" y="166"/>
                  </a:cubicBezTo>
                  <a:lnTo>
                    <a:pt x="150" y="751"/>
                  </a:lnTo>
                  <a:close/>
                  <a:moveTo>
                    <a:pt x="844" y="275"/>
                  </a:moveTo>
                  <a:cubicBezTo>
                    <a:pt x="259" y="860"/>
                    <a:pt x="259" y="860"/>
                    <a:pt x="259" y="860"/>
                  </a:cubicBezTo>
                  <a:cubicBezTo>
                    <a:pt x="225" y="893"/>
                    <a:pt x="225" y="935"/>
                    <a:pt x="259" y="969"/>
                  </a:cubicBezTo>
                  <a:cubicBezTo>
                    <a:pt x="284" y="994"/>
                    <a:pt x="334" y="994"/>
                    <a:pt x="367" y="969"/>
                  </a:cubicBezTo>
                  <a:cubicBezTo>
                    <a:pt x="953" y="383"/>
                    <a:pt x="953" y="383"/>
                    <a:pt x="953" y="383"/>
                  </a:cubicBezTo>
                  <a:lnTo>
                    <a:pt x="844" y="275"/>
                  </a:lnTo>
                  <a:close/>
                  <a:moveTo>
                    <a:pt x="367" y="1127"/>
                  </a:moveTo>
                  <a:cubicBezTo>
                    <a:pt x="351" y="1111"/>
                    <a:pt x="343" y="1086"/>
                    <a:pt x="334" y="1061"/>
                  </a:cubicBezTo>
                  <a:cubicBezTo>
                    <a:pt x="326" y="1061"/>
                    <a:pt x="317" y="1061"/>
                    <a:pt x="309" y="1061"/>
                  </a:cubicBezTo>
                  <a:cubicBezTo>
                    <a:pt x="276" y="1061"/>
                    <a:pt x="234" y="1052"/>
                    <a:pt x="209" y="1019"/>
                  </a:cubicBezTo>
                  <a:cubicBezTo>
                    <a:pt x="175" y="994"/>
                    <a:pt x="158" y="952"/>
                    <a:pt x="158" y="910"/>
                  </a:cubicBezTo>
                  <a:cubicBezTo>
                    <a:pt x="158" y="910"/>
                    <a:pt x="158" y="902"/>
                    <a:pt x="167" y="893"/>
                  </a:cubicBezTo>
                  <a:cubicBezTo>
                    <a:pt x="142" y="885"/>
                    <a:pt x="117" y="877"/>
                    <a:pt x="100" y="860"/>
                  </a:cubicBezTo>
                  <a:lnTo>
                    <a:pt x="92" y="852"/>
                  </a:lnTo>
                  <a:cubicBezTo>
                    <a:pt x="0" y="1220"/>
                    <a:pt x="0" y="1220"/>
                    <a:pt x="0" y="1220"/>
                  </a:cubicBezTo>
                  <a:cubicBezTo>
                    <a:pt x="367" y="1127"/>
                    <a:pt x="367" y="1127"/>
                    <a:pt x="367" y="1127"/>
                  </a:cubicBezTo>
                  <a:close/>
                  <a:moveTo>
                    <a:pt x="367" y="1127"/>
                  </a:moveTo>
                  <a:lnTo>
                    <a:pt x="367" y="1127"/>
                  </a:lnTo>
                  <a:close/>
                </a:path>
              </a:pathLst>
            </a:custGeom>
            <a:solidFill>
              <a:schemeClr val="bg2"/>
            </a:solidFill>
            <a:ln>
              <a:noFill/>
            </a:ln>
            <a:effectLst/>
            <a:extLst/>
          </p:spPr>
          <p:txBody>
            <a:bodyPr wrap="none" lIns="121917" tIns="60958" rIns="121917" bIns="60958" anchor="ctr"/>
            <a:lstStyle/>
            <a:p>
              <a:pPr>
                <a:defRPr/>
              </a:pPr>
              <a:endParaRPr lang="en-US" sz="1100" dirty="0">
                <a:solidFill>
                  <a:srgbClr val="58595B"/>
                </a:solidFill>
                <a:latin typeface="+mj-lt"/>
                <a:ea typeface="SimSun" charset="0"/>
              </a:endParaRPr>
            </a:p>
          </p:txBody>
        </p:sp>
        <p:sp>
          <p:nvSpPr>
            <p:cNvPr id="36" name="AutoShape 18"/>
            <p:cNvSpPr>
              <a:spLocks/>
            </p:cNvSpPr>
            <p:nvPr/>
          </p:nvSpPr>
          <p:spPr bwMode="auto">
            <a:xfrm>
              <a:off x="11925311" y="8473537"/>
              <a:ext cx="547201" cy="48313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11152"/>
                  </a:moveTo>
                  <a:lnTo>
                    <a:pt x="0" y="5936"/>
                  </a:lnTo>
                  <a:cubicBezTo>
                    <a:pt x="0" y="5498"/>
                    <a:pt x="132" y="5116"/>
                    <a:pt x="396" y="4796"/>
                  </a:cubicBezTo>
                  <a:cubicBezTo>
                    <a:pt x="663" y="4479"/>
                    <a:pt x="979" y="4317"/>
                    <a:pt x="1346" y="4317"/>
                  </a:cubicBezTo>
                  <a:lnTo>
                    <a:pt x="6316" y="4317"/>
                  </a:lnTo>
                  <a:lnTo>
                    <a:pt x="6316" y="1072"/>
                  </a:lnTo>
                  <a:cubicBezTo>
                    <a:pt x="6316" y="781"/>
                    <a:pt x="6399" y="528"/>
                    <a:pt x="6568" y="320"/>
                  </a:cubicBezTo>
                  <a:cubicBezTo>
                    <a:pt x="6737" y="108"/>
                    <a:pt x="6945" y="0"/>
                    <a:pt x="7195" y="0"/>
                  </a:cubicBezTo>
                  <a:lnTo>
                    <a:pt x="14402" y="0"/>
                  </a:lnTo>
                  <a:cubicBezTo>
                    <a:pt x="14661" y="0"/>
                    <a:pt x="14877" y="108"/>
                    <a:pt x="15053" y="320"/>
                  </a:cubicBezTo>
                  <a:cubicBezTo>
                    <a:pt x="15227" y="528"/>
                    <a:pt x="15318" y="781"/>
                    <a:pt x="15318" y="1072"/>
                  </a:cubicBezTo>
                  <a:lnTo>
                    <a:pt x="15318" y="4317"/>
                  </a:lnTo>
                  <a:lnTo>
                    <a:pt x="20263" y="4317"/>
                  </a:lnTo>
                  <a:cubicBezTo>
                    <a:pt x="20630" y="4317"/>
                    <a:pt x="20943" y="4479"/>
                    <a:pt x="21205" y="4796"/>
                  </a:cubicBezTo>
                  <a:cubicBezTo>
                    <a:pt x="21467" y="5116"/>
                    <a:pt x="21599" y="5498"/>
                    <a:pt x="21599" y="5936"/>
                  </a:cubicBezTo>
                  <a:lnTo>
                    <a:pt x="21599" y="11152"/>
                  </a:lnTo>
                  <a:lnTo>
                    <a:pt x="0" y="11152"/>
                  </a:lnTo>
                  <a:close/>
                  <a:moveTo>
                    <a:pt x="21599" y="12782"/>
                  </a:moveTo>
                  <a:lnTo>
                    <a:pt x="21599" y="19981"/>
                  </a:lnTo>
                  <a:cubicBezTo>
                    <a:pt x="21599" y="20425"/>
                    <a:pt x="21467" y="20801"/>
                    <a:pt x="21205" y="21121"/>
                  </a:cubicBezTo>
                  <a:cubicBezTo>
                    <a:pt x="20943" y="21438"/>
                    <a:pt x="20630" y="21599"/>
                    <a:pt x="20263" y="21599"/>
                  </a:cubicBezTo>
                  <a:lnTo>
                    <a:pt x="1346" y="21599"/>
                  </a:lnTo>
                  <a:cubicBezTo>
                    <a:pt x="979" y="21599"/>
                    <a:pt x="663" y="21438"/>
                    <a:pt x="396" y="21121"/>
                  </a:cubicBezTo>
                  <a:cubicBezTo>
                    <a:pt x="132" y="20801"/>
                    <a:pt x="0" y="20425"/>
                    <a:pt x="0" y="19981"/>
                  </a:cubicBezTo>
                  <a:lnTo>
                    <a:pt x="0" y="12782"/>
                  </a:lnTo>
                  <a:lnTo>
                    <a:pt x="8355" y="12782"/>
                  </a:lnTo>
                  <a:cubicBezTo>
                    <a:pt x="8340" y="12841"/>
                    <a:pt x="8333" y="12929"/>
                    <a:pt x="8333" y="13052"/>
                  </a:cubicBezTo>
                  <a:lnTo>
                    <a:pt x="8333" y="15199"/>
                  </a:lnTo>
                  <a:cubicBezTo>
                    <a:pt x="8333" y="15713"/>
                    <a:pt x="8482" y="16160"/>
                    <a:pt x="8783" y="16542"/>
                  </a:cubicBezTo>
                  <a:cubicBezTo>
                    <a:pt x="9085" y="16921"/>
                    <a:pt x="9462" y="17112"/>
                    <a:pt x="9914" y="17112"/>
                  </a:cubicBezTo>
                  <a:lnTo>
                    <a:pt x="11707" y="17112"/>
                  </a:lnTo>
                  <a:cubicBezTo>
                    <a:pt x="12137" y="17112"/>
                    <a:pt x="12507" y="16924"/>
                    <a:pt x="12816" y="16548"/>
                  </a:cubicBezTo>
                  <a:cubicBezTo>
                    <a:pt x="13124" y="16175"/>
                    <a:pt x="13278" y="15725"/>
                    <a:pt x="13278" y="15199"/>
                  </a:cubicBezTo>
                  <a:lnTo>
                    <a:pt x="13278" y="13052"/>
                  </a:lnTo>
                  <a:cubicBezTo>
                    <a:pt x="13278" y="12938"/>
                    <a:pt x="13266" y="12847"/>
                    <a:pt x="13242" y="12782"/>
                  </a:cubicBezTo>
                  <a:lnTo>
                    <a:pt x="21599" y="12782"/>
                  </a:lnTo>
                  <a:close/>
                  <a:moveTo>
                    <a:pt x="8108" y="4320"/>
                  </a:moveTo>
                  <a:lnTo>
                    <a:pt x="13511" y="4320"/>
                  </a:lnTo>
                  <a:lnTo>
                    <a:pt x="13511" y="2170"/>
                  </a:lnTo>
                  <a:lnTo>
                    <a:pt x="8108" y="2170"/>
                  </a:lnTo>
                  <a:lnTo>
                    <a:pt x="8108" y="4320"/>
                  </a:lnTo>
                  <a:close/>
                  <a:moveTo>
                    <a:pt x="11707" y="12782"/>
                  </a:moveTo>
                  <a:cubicBezTo>
                    <a:pt x="11849" y="12782"/>
                    <a:pt x="11922" y="12873"/>
                    <a:pt x="11929" y="13052"/>
                  </a:cubicBezTo>
                  <a:lnTo>
                    <a:pt x="11929" y="15199"/>
                  </a:lnTo>
                  <a:cubicBezTo>
                    <a:pt x="11929" y="15367"/>
                    <a:pt x="11856" y="15455"/>
                    <a:pt x="11707" y="15467"/>
                  </a:cubicBezTo>
                  <a:lnTo>
                    <a:pt x="9914" y="15467"/>
                  </a:lnTo>
                  <a:cubicBezTo>
                    <a:pt x="9758" y="15467"/>
                    <a:pt x="9675" y="15379"/>
                    <a:pt x="9667" y="15199"/>
                  </a:cubicBezTo>
                  <a:lnTo>
                    <a:pt x="9667" y="13052"/>
                  </a:lnTo>
                  <a:cubicBezTo>
                    <a:pt x="9667" y="12882"/>
                    <a:pt x="9750" y="12794"/>
                    <a:pt x="9914" y="12782"/>
                  </a:cubicBezTo>
                  <a:lnTo>
                    <a:pt x="11707" y="12782"/>
                  </a:lnTo>
                  <a:close/>
                </a:path>
              </a:pathLst>
            </a:custGeom>
            <a:solidFill>
              <a:schemeClr val="bg1"/>
            </a:solidFill>
            <a:ln>
              <a:noFill/>
            </a:ln>
            <a:effectLst/>
            <a:extLst/>
          </p:spPr>
          <p:txBody>
            <a:bodyPr lIns="38100" tIns="38100" rIns="38100" bIns="38100" anchor="ctr"/>
            <a:lstStyle/>
            <a:p>
              <a:pPr defTabSz="342528">
                <a:defRPr/>
              </a:pPr>
              <a:endParaRPr lang="es-ES" sz="1400">
                <a:solidFill>
                  <a:srgbClr val="58595B"/>
                </a:solidFill>
                <a:effectLst>
                  <a:outerShdw blurRad="38100" dist="38100" dir="2700000" algn="tl">
                    <a:srgbClr val="000000"/>
                  </a:outerShdw>
                </a:effectLst>
                <a:latin typeface="+mj-lt"/>
                <a:cs typeface="Gill Sans" charset="0"/>
                <a:sym typeface="Gill Sans" charset="0"/>
              </a:endParaRPr>
            </a:p>
          </p:txBody>
        </p:sp>
        <p:sp>
          <p:nvSpPr>
            <p:cNvPr id="37" name="Subtitle 9"/>
            <p:cNvSpPr txBox="1">
              <a:spLocks/>
            </p:cNvSpPr>
            <p:nvPr/>
          </p:nvSpPr>
          <p:spPr>
            <a:xfrm>
              <a:off x="4130808" y="4771167"/>
              <a:ext cx="7239781" cy="2553216"/>
            </a:xfrm>
            <a:prstGeom prst="rect">
              <a:avLst/>
            </a:prstGeom>
          </p:spPr>
          <p:txBody>
            <a:bodyPr vert="horz" lIns="217490" tIns="108745" rIns="217490" bIns="108745" rtlCol="0">
              <a:spAutoFit/>
            </a:bodyPr>
            <a:lstStyle>
              <a:lvl1pPr marL="0" indent="0" algn="ctr" defTabSz="1087444"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444"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2pPr>
              <a:lvl3pPr marL="2174887"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3pPr>
              <a:lvl4pPr marL="3262338"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4pPr>
              <a:lvl5pPr marL="4349779"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5pPr>
              <a:lvl6pPr marL="5437225"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4671"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2115"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8pPr>
              <a:lvl9pPr marL="8699558"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10000"/>
                </a:lnSpc>
              </a:pPr>
              <a:r>
                <a:rPr lang="en-US" sz="2000" dirty="0" smtClean="0">
                  <a:solidFill>
                    <a:srgbClr val="58595B"/>
                  </a:solidFill>
                  <a:latin typeface="+mj-lt"/>
                </a:rPr>
                <a:t>Who we are</a:t>
              </a:r>
            </a:p>
            <a:p>
              <a:pPr algn="r">
                <a:lnSpc>
                  <a:spcPct val="110000"/>
                </a:lnSpc>
              </a:pPr>
              <a:r>
                <a:rPr lang="en-US" sz="1400" dirty="0" smtClean="0">
                  <a:solidFill>
                    <a:srgbClr val="58595B"/>
                  </a:solidFill>
                  <a:latin typeface="+mj-lt"/>
                </a:rPr>
                <a:t>Meet who are behind the curtain.</a:t>
              </a:r>
            </a:p>
            <a:p>
              <a:pPr algn="r">
                <a:lnSpc>
                  <a:spcPct val="110000"/>
                </a:lnSpc>
              </a:pPr>
              <a:endParaRPr lang="en-US" sz="2000" dirty="0">
                <a:solidFill>
                  <a:srgbClr val="58595B"/>
                </a:solidFill>
                <a:latin typeface="+mj-lt"/>
              </a:endParaRPr>
            </a:p>
          </p:txBody>
        </p:sp>
        <p:sp>
          <p:nvSpPr>
            <p:cNvPr id="38" name="Subtitle 9"/>
            <p:cNvSpPr txBox="1">
              <a:spLocks/>
            </p:cNvSpPr>
            <p:nvPr/>
          </p:nvSpPr>
          <p:spPr>
            <a:xfrm>
              <a:off x="12702061" y="6373250"/>
              <a:ext cx="7239781" cy="2553216"/>
            </a:xfrm>
            <a:prstGeom prst="rect">
              <a:avLst/>
            </a:prstGeom>
          </p:spPr>
          <p:txBody>
            <a:bodyPr vert="horz" lIns="217490" tIns="108745" rIns="217490" bIns="108745" rtlCol="0">
              <a:spAutoFit/>
            </a:bodyPr>
            <a:lstStyle>
              <a:lvl1pPr marL="0" indent="0" algn="ctr" defTabSz="1087444"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444"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2pPr>
              <a:lvl3pPr marL="2174887"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3pPr>
              <a:lvl4pPr marL="3262338"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4pPr>
              <a:lvl5pPr marL="4349779"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5pPr>
              <a:lvl6pPr marL="5437225"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4671"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2115"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8pPr>
              <a:lvl9pPr marL="8699558"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2000" dirty="0" smtClean="0">
                  <a:solidFill>
                    <a:srgbClr val="58595B"/>
                  </a:solidFill>
                  <a:latin typeface="+mj-lt"/>
                </a:rPr>
                <a:t>Our Services</a:t>
              </a:r>
            </a:p>
            <a:p>
              <a:pPr algn="l">
                <a:lnSpc>
                  <a:spcPct val="110000"/>
                </a:lnSpc>
              </a:pPr>
              <a:r>
                <a:rPr lang="en-US" sz="1400" dirty="0" smtClean="0">
                  <a:solidFill>
                    <a:srgbClr val="58595B"/>
                  </a:solidFill>
                  <a:latin typeface="+mj-lt"/>
                </a:rPr>
                <a:t>What we do</a:t>
              </a:r>
            </a:p>
            <a:p>
              <a:pPr algn="l">
                <a:lnSpc>
                  <a:spcPct val="110000"/>
                </a:lnSpc>
              </a:pPr>
              <a:endParaRPr lang="en-US" sz="2000" dirty="0">
                <a:solidFill>
                  <a:srgbClr val="58595B"/>
                </a:solidFill>
                <a:latin typeface="+mj-lt"/>
              </a:endParaRPr>
            </a:p>
          </p:txBody>
        </p:sp>
        <p:sp>
          <p:nvSpPr>
            <p:cNvPr id="39" name="Subtitle 9"/>
            <p:cNvSpPr txBox="1">
              <a:spLocks/>
            </p:cNvSpPr>
            <p:nvPr/>
          </p:nvSpPr>
          <p:spPr>
            <a:xfrm>
              <a:off x="4130808" y="8051706"/>
              <a:ext cx="7239781" cy="2553216"/>
            </a:xfrm>
            <a:prstGeom prst="rect">
              <a:avLst/>
            </a:prstGeom>
          </p:spPr>
          <p:txBody>
            <a:bodyPr vert="horz" lIns="217490" tIns="108745" rIns="217490" bIns="108745" rtlCol="0">
              <a:spAutoFit/>
            </a:bodyPr>
            <a:lstStyle>
              <a:lvl1pPr marL="0" indent="0" algn="ctr" defTabSz="1087444"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444"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2pPr>
              <a:lvl3pPr marL="2174887"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3pPr>
              <a:lvl4pPr marL="3262338"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4pPr>
              <a:lvl5pPr marL="4349779"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5pPr>
              <a:lvl6pPr marL="5437225"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4671"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2115"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8pPr>
              <a:lvl9pPr marL="8699558"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10000"/>
                </a:lnSpc>
              </a:pPr>
              <a:r>
                <a:rPr lang="en-US" sz="2000" dirty="0" smtClean="0">
                  <a:solidFill>
                    <a:srgbClr val="58595B"/>
                  </a:solidFill>
                  <a:latin typeface="+mj-lt"/>
                </a:rPr>
                <a:t>Our Portfolio</a:t>
              </a:r>
            </a:p>
            <a:p>
              <a:pPr algn="r">
                <a:lnSpc>
                  <a:spcPct val="110000"/>
                </a:lnSpc>
              </a:pPr>
              <a:r>
                <a:rPr lang="en-US" sz="1400" dirty="0" smtClean="0">
                  <a:solidFill>
                    <a:srgbClr val="58595B"/>
                  </a:solidFill>
                  <a:latin typeface="+mj-lt"/>
                </a:rPr>
                <a:t>Take a look at our latest projects</a:t>
              </a:r>
            </a:p>
            <a:p>
              <a:pPr algn="r">
                <a:lnSpc>
                  <a:spcPct val="110000"/>
                </a:lnSpc>
              </a:pPr>
              <a:endParaRPr lang="en-US" sz="2000" dirty="0">
                <a:solidFill>
                  <a:srgbClr val="58595B"/>
                </a:solidFill>
                <a:latin typeface="+mj-lt"/>
              </a:endParaRPr>
            </a:p>
          </p:txBody>
        </p:sp>
        <p:sp>
          <p:nvSpPr>
            <p:cNvPr id="40" name="Subtitle 9"/>
            <p:cNvSpPr txBox="1">
              <a:spLocks/>
            </p:cNvSpPr>
            <p:nvPr/>
          </p:nvSpPr>
          <p:spPr>
            <a:xfrm>
              <a:off x="12816836" y="9642632"/>
              <a:ext cx="7239781" cy="2553216"/>
            </a:xfrm>
            <a:prstGeom prst="rect">
              <a:avLst/>
            </a:prstGeom>
          </p:spPr>
          <p:txBody>
            <a:bodyPr vert="horz" lIns="217490" tIns="108745" rIns="217490" bIns="108745" rtlCol="0">
              <a:spAutoFit/>
            </a:bodyPr>
            <a:lstStyle>
              <a:lvl1pPr marL="0" indent="0" algn="ctr" defTabSz="1087444"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444"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2pPr>
              <a:lvl3pPr marL="2174887"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3pPr>
              <a:lvl4pPr marL="3262338"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4pPr>
              <a:lvl5pPr marL="4349779"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5pPr>
              <a:lvl6pPr marL="5437225"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4671"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2115"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8pPr>
              <a:lvl9pPr marL="8699558"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2000" dirty="0" smtClean="0">
                  <a:solidFill>
                    <a:srgbClr val="58595B"/>
                  </a:solidFill>
                  <a:latin typeface="+mj-lt"/>
                </a:rPr>
                <a:t>Statistics and Diagrams</a:t>
              </a:r>
            </a:p>
            <a:p>
              <a:pPr algn="l">
                <a:lnSpc>
                  <a:spcPct val="110000"/>
                </a:lnSpc>
              </a:pPr>
              <a:r>
                <a:rPr lang="en-US" sz="1400" dirty="0" smtClean="0">
                  <a:solidFill>
                    <a:srgbClr val="58595B"/>
                  </a:solidFill>
                  <a:latin typeface="+mj-lt"/>
                </a:rPr>
                <a:t>Check out our Progress</a:t>
              </a:r>
            </a:p>
            <a:p>
              <a:pPr algn="l">
                <a:lnSpc>
                  <a:spcPct val="110000"/>
                </a:lnSpc>
              </a:pPr>
              <a:endParaRPr lang="en-US" sz="2000" dirty="0">
                <a:solidFill>
                  <a:srgbClr val="58595B"/>
                </a:solidFill>
                <a:latin typeface="+mj-lt"/>
              </a:endParaRPr>
            </a:p>
          </p:txBody>
        </p:sp>
        <p:sp>
          <p:nvSpPr>
            <p:cNvPr id="41" name="Subtitle 9"/>
            <p:cNvSpPr txBox="1">
              <a:spLocks/>
            </p:cNvSpPr>
            <p:nvPr/>
          </p:nvSpPr>
          <p:spPr>
            <a:xfrm>
              <a:off x="4130808" y="11320643"/>
              <a:ext cx="7239781" cy="2553216"/>
            </a:xfrm>
            <a:prstGeom prst="rect">
              <a:avLst/>
            </a:prstGeom>
          </p:spPr>
          <p:txBody>
            <a:bodyPr vert="horz" lIns="217490" tIns="108745" rIns="217490" bIns="108745" rtlCol="0">
              <a:spAutoFit/>
            </a:bodyPr>
            <a:lstStyle>
              <a:lvl1pPr marL="0" indent="0" algn="ctr" defTabSz="1087444"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444"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2pPr>
              <a:lvl3pPr marL="2174887"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3pPr>
              <a:lvl4pPr marL="3262338"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4pPr>
              <a:lvl5pPr marL="4349779" indent="0" algn="ctr" defTabSz="1087444" rtl="0" eaLnBrk="1" latinLnBrk="0" hangingPunct="1">
                <a:lnSpc>
                  <a:spcPct val="130000"/>
                </a:lnSpc>
                <a:spcBef>
                  <a:spcPct val="20000"/>
                </a:spcBef>
                <a:buFont typeface="Arial"/>
                <a:buNone/>
                <a:defRPr sz="3100" kern="1200">
                  <a:solidFill>
                    <a:schemeClr val="tx1">
                      <a:tint val="75000"/>
                    </a:schemeClr>
                  </a:solidFill>
                  <a:latin typeface="Open Sans"/>
                  <a:ea typeface="+mn-ea"/>
                  <a:cs typeface="Open Sans"/>
                </a:defRPr>
              </a:lvl5pPr>
              <a:lvl6pPr marL="5437225"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4671"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2115"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8pPr>
              <a:lvl9pPr marL="8699558" indent="0" algn="ctr" defTabSz="1087444"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10000"/>
                </a:lnSpc>
              </a:pPr>
              <a:r>
                <a:rPr lang="en-US" sz="2000" dirty="0" smtClean="0">
                  <a:solidFill>
                    <a:srgbClr val="58595B"/>
                  </a:solidFill>
                  <a:latin typeface="+mj-lt"/>
                </a:rPr>
                <a:t>Get in touch</a:t>
              </a:r>
            </a:p>
            <a:p>
              <a:pPr algn="r">
                <a:lnSpc>
                  <a:spcPct val="110000"/>
                </a:lnSpc>
              </a:pPr>
              <a:r>
                <a:rPr lang="en-US" sz="1400" dirty="0" smtClean="0">
                  <a:solidFill>
                    <a:srgbClr val="58595B"/>
                  </a:solidFill>
                  <a:latin typeface="+mj-lt"/>
                </a:rPr>
                <a:t>We want to hear from you</a:t>
              </a:r>
            </a:p>
            <a:p>
              <a:pPr algn="r">
                <a:lnSpc>
                  <a:spcPct val="110000"/>
                </a:lnSpc>
              </a:pPr>
              <a:endParaRPr lang="en-US" sz="2000" dirty="0">
                <a:solidFill>
                  <a:srgbClr val="58595B"/>
                </a:solidFill>
                <a:latin typeface="+mj-lt"/>
              </a:endParaRPr>
            </a:p>
          </p:txBody>
        </p:sp>
        <p:sp>
          <p:nvSpPr>
            <p:cNvPr id="42" name="Freeform 10"/>
            <p:cNvSpPr>
              <a:spLocks noEditPoints="1"/>
            </p:cNvSpPr>
            <p:nvPr/>
          </p:nvSpPr>
          <p:spPr bwMode="auto">
            <a:xfrm>
              <a:off x="11918730" y="10058610"/>
              <a:ext cx="553405" cy="423994"/>
            </a:xfrm>
            <a:custGeom>
              <a:avLst/>
              <a:gdLst>
                <a:gd name="T0" fmla="*/ 633 w 718"/>
                <a:gd name="T1" fmla="*/ 0 h 549"/>
                <a:gd name="T2" fmla="*/ 549 w 718"/>
                <a:gd name="T3" fmla="*/ 84 h 549"/>
                <a:gd name="T4" fmla="*/ 578 w 718"/>
                <a:gd name="T5" fmla="*/ 148 h 549"/>
                <a:gd name="T6" fmla="*/ 475 w 718"/>
                <a:gd name="T7" fmla="*/ 302 h 549"/>
                <a:gd name="T8" fmla="*/ 443 w 718"/>
                <a:gd name="T9" fmla="*/ 296 h 549"/>
                <a:gd name="T10" fmla="*/ 369 w 718"/>
                <a:gd name="T11" fmla="*/ 340 h 549"/>
                <a:gd name="T12" fmla="*/ 310 w 718"/>
                <a:gd name="T13" fmla="*/ 305 h 549"/>
                <a:gd name="T14" fmla="*/ 316 w 718"/>
                <a:gd name="T15" fmla="*/ 275 h 549"/>
                <a:gd name="T16" fmla="*/ 232 w 718"/>
                <a:gd name="T17" fmla="*/ 190 h 549"/>
                <a:gd name="T18" fmla="*/ 147 w 718"/>
                <a:gd name="T19" fmla="*/ 275 h 549"/>
                <a:gd name="T20" fmla="*/ 176 w 718"/>
                <a:gd name="T21" fmla="*/ 338 h 549"/>
                <a:gd name="T22" fmla="*/ 133 w 718"/>
                <a:gd name="T23" fmla="*/ 396 h 549"/>
                <a:gd name="T24" fmla="*/ 84 w 718"/>
                <a:gd name="T25" fmla="*/ 380 h 549"/>
                <a:gd name="T26" fmla="*/ 0 w 718"/>
                <a:gd name="T27" fmla="*/ 465 h 549"/>
                <a:gd name="T28" fmla="*/ 84 w 718"/>
                <a:gd name="T29" fmla="*/ 549 h 549"/>
                <a:gd name="T30" fmla="*/ 168 w 718"/>
                <a:gd name="T31" fmla="*/ 465 h 549"/>
                <a:gd name="T32" fmla="*/ 148 w 718"/>
                <a:gd name="T33" fmla="*/ 411 h 549"/>
                <a:gd name="T34" fmla="*/ 194 w 718"/>
                <a:gd name="T35" fmla="*/ 350 h 549"/>
                <a:gd name="T36" fmla="*/ 232 w 718"/>
                <a:gd name="T37" fmla="*/ 359 h 549"/>
                <a:gd name="T38" fmla="*/ 300 w 718"/>
                <a:gd name="T39" fmla="*/ 324 h 549"/>
                <a:gd name="T40" fmla="*/ 361 w 718"/>
                <a:gd name="T41" fmla="*/ 360 h 549"/>
                <a:gd name="T42" fmla="*/ 359 w 718"/>
                <a:gd name="T43" fmla="*/ 380 h 549"/>
                <a:gd name="T44" fmla="*/ 443 w 718"/>
                <a:gd name="T45" fmla="*/ 465 h 549"/>
                <a:gd name="T46" fmla="*/ 528 w 718"/>
                <a:gd name="T47" fmla="*/ 380 h 549"/>
                <a:gd name="T48" fmla="*/ 494 w 718"/>
                <a:gd name="T49" fmla="*/ 313 h 549"/>
                <a:gd name="T50" fmla="*/ 596 w 718"/>
                <a:gd name="T51" fmla="*/ 160 h 549"/>
                <a:gd name="T52" fmla="*/ 633 w 718"/>
                <a:gd name="T53" fmla="*/ 169 h 549"/>
                <a:gd name="T54" fmla="*/ 718 w 718"/>
                <a:gd name="T55" fmla="*/ 84 h 549"/>
                <a:gd name="T56" fmla="*/ 633 w 718"/>
                <a:gd name="T57" fmla="*/ 0 h 549"/>
                <a:gd name="T58" fmla="*/ 84 w 718"/>
                <a:gd name="T59" fmla="*/ 507 h 549"/>
                <a:gd name="T60" fmla="*/ 42 w 718"/>
                <a:gd name="T61" fmla="*/ 465 h 549"/>
                <a:gd name="T62" fmla="*/ 84 w 718"/>
                <a:gd name="T63" fmla="*/ 422 h 549"/>
                <a:gd name="T64" fmla="*/ 126 w 718"/>
                <a:gd name="T65" fmla="*/ 465 h 549"/>
                <a:gd name="T66" fmla="*/ 84 w 718"/>
                <a:gd name="T67" fmla="*/ 507 h 549"/>
                <a:gd name="T68" fmla="*/ 232 w 718"/>
                <a:gd name="T69" fmla="*/ 317 h 549"/>
                <a:gd name="T70" fmla="*/ 190 w 718"/>
                <a:gd name="T71" fmla="*/ 275 h 549"/>
                <a:gd name="T72" fmla="*/ 232 w 718"/>
                <a:gd name="T73" fmla="*/ 233 h 549"/>
                <a:gd name="T74" fmla="*/ 274 w 718"/>
                <a:gd name="T75" fmla="*/ 275 h 549"/>
                <a:gd name="T76" fmla="*/ 232 w 718"/>
                <a:gd name="T77" fmla="*/ 317 h 549"/>
                <a:gd name="T78" fmla="*/ 443 w 718"/>
                <a:gd name="T79" fmla="*/ 422 h 549"/>
                <a:gd name="T80" fmla="*/ 401 w 718"/>
                <a:gd name="T81" fmla="*/ 380 h 549"/>
                <a:gd name="T82" fmla="*/ 443 w 718"/>
                <a:gd name="T83" fmla="*/ 338 h 549"/>
                <a:gd name="T84" fmla="*/ 486 w 718"/>
                <a:gd name="T85" fmla="*/ 380 h 549"/>
                <a:gd name="T86" fmla="*/ 443 w 718"/>
                <a:gd name="T87" fmla="*/ 422 h 549"/>
                <a:gd name="T88" fmla="*/ 633 w 718"/>
                <a:gd name="T89" fmla="*/ 127 h 549"/>
                <a:gd name="T90" fmla="*/ 591 w 718"/>
                <a:gd name="T91" fmla="*/ 84 h 549"/>
                <a:gd name="T92" fmla="*/ 633 w 718"/>
                <a:gd name="T93" fmla="*/ 42 h 549"/>
                <a:gd name="T94" fmla="*/ 675 w 718"/>
                <a:gd name="T95" fmla="*/ 84 h 549"/>
                <a:gd name="T96" fmla="*/ 633 w 718"/>
                <a:gd name="T97" fmla="*/ 127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8" h="549">
                  <a:moveTo>
                    <a:pt x="633" y="0"/>
                  </a:moveTo>
                  <a:cubicBezTo>
                    <a:pt x="587" y="0"/>
                    <a:pt x="549" y="38"/>
                    <a:pt x="549" y="84"/>
                  </a:cubicBezTo>
                  <a:cubicBezTo>
                    <a:pt x="549" y="110"/>
                    <a:pt x="561" y="132"/>
                    <a:pt x="578" y="148"/>
                  </a:cubicBezTo>
                  <a:cubicBezTo>
                    <a:pt x="475" y="302"/>
                    <a:pt x="475" y="302"/>
                    <a:pt x="475" y="302"/>
                  </a:cubicBezTo>
                  <a:cubicBezTo>
                    <a:pt x="466" y="298"/>
                    <a:pt x="455" y="296"/>
                    <a:pt x="443" y="296"/>
                  </a:cubicBezTo>
                  <a:cubicBezTo>
                    <a:pt x="411" y="296"/>
                    <a:pt x="383" y="314"/>
                    <a:pt x="369" y="340"/>
                  </a:cubicBezTo>
                  <a:cubicBezTo>
                    <a:pt x="310" y="305"/>
                    <a:pt x="310" y="305"/>
                    <a:pt x="310" y="305"/>
                  </a:cubicBezTo>
                  <a:cubicBezTo>
                    <a:pt x="314" y="296"/>
                    <a:pt x="316" y="285"/>
                    <a:pt x="316" y="275"/>
                  </a:cubicBezTo>
                  <a:cubicBezTo>
                    <a:pt x="316" y="228"/>
                    <a:pt x="278" y="190"/>
                    <a:pt x="232" y="190"/>
                  </a:cubicBezTo>
                  <a:cubicBezTo>
                    <a:pt x="185" y="190"/>
                    <a:pt x="147" y="228"/>
                    <a:pt x="147" y="275"/>
                  </a:cubicBezTo>
                  <a:cubicBezTo>
                    <a:pt x="147" y="300"/>
                    <a:pt x="159" y="322"/>
                    <a:pt x="176" y="338"/>
                  </a:cubicBezTo>
                  <a:cubicBezTo>
                    <a:pt x="133" y="396"/>
                    <a:pt x="133" y="396"/>
                    <a:pt x="133" y="396"/>
                  </a:cubicBezTo>
                  <a:cubicBezTo>
                    <a:pt x="119" y="386"/>
                    <a:pt x="102" y="380"/>
                    <a:pt x="84" y="380"/>
                  </a:cubicBezTo>
                  <a:cubicBezTo>
                    <a:pt x="38" y="380"/>
                    <a:pt x="0" y="418"/>
                    <a:pt x="0" y="465"/>
                  </a:cubicBezTo>
                  <a:cubicBezTo>
                    <a:pt x="0" y="511"/>
                    <a:pt x="38" y="549"/>
                    <a:pt x="84" y="549"/>
                  </a:cubicBezTo>
                  <a:cubicBezTo>
                    <a:pt x="130" y="549"/>
                    <a:pt x="168" y="511"/>
                    <a:pt x="168" y="465"/>
                  </a:cubicBezTo>
                  <a:cubicBezTo>
                    <a:pt x="168" y="444"/>
                    <a:pt x="160" y="425"/>
                    <a:pt x="148" y="411"/>
                  </a:cubicBezTo>
                  <a:cubicBezTo>
                    <a:pt x="194" y="350"/>
                    <a:pt x="194" y="350"/>
                    <a:pt x="194" y="350"/>
                  </a:cubicBezTo>
                  <a:cubicBezTo>
                    <a:pt x="205" y="355"/>
                    <a:pt x="218" y="359"/>
                    <a:pt x="232" y="359"/>
                  </a:cubicBezTo>
                  <a:cubicBezTo>
                    <a:pt x="260" y="359"/>
                    <a:pt x="285" y="345"/>
                    <a:pt x="300" y="324"/>
                  </a:cubicBezTo>
                  <a:cubicBezTo>
                    <a:pt x="361" y="360"/>
                    <a:pt x="361" y="360"/>
                    <a:pt x="361" y="360"/>
                  </a:cubicBezTo>
                  <a:cubicBezTo>
                    <a:pt x="360" y="367"/>
                    <a:pt x="359" y="373"/>
                    <a:pt x="359" y="380"/>
                  </a:cubicBezTo>
                  <a:cubicBezTo>
                    <a:pt x="359" y="427"/>
                    <a:pt x="397" y="465"/>
                    <a:pt x="443" y="465"/>
                  </a:cubicBezTo>
                  <a:cubicBezTo>
                    <a:pt x="490" y="465"/>
                    <a:pt x="528" y="427"/>
                    <a:pt x="528" y="380"/>
                  </a:cubicBezTo>
                  <a:cubicBezTo>
                    <a:pt x="528" y="352"/>
                    <a:pt x="514" y="328"/>
                    <a:pt x="494" y="313"/>
                  </a:cubicBezTo>
                  <a:cubicBezTo>
                    <a:pt x="596" y="160"/>
                    <a:pt x="596" y="160"/>
                    <a:pt x="596" y="160"/>
                  </a:cubicBezTo>
                  <a:cubicBezTo>
                    <a:pt x="607" y="165"/>
                    <a:pt x="620" y="169"/>
                    <a:pt x="633" y="169"/>
                  </a:cubicBezTo>
                  <a:cubicBezTo>
                    <a:pt x="680" y="169"/>
                    <a:pt x="718" y="131"/>
                    <a:pt x="718" y="84"/>
                  </a:cubicBezTo>
                  <a:cubicBezTo>
                    <a:pt x="718" y="38"/>
                    <a:pt x="680" y="0"/>
                    <a:pt x="633" y="0"/>
                  </a:cubicBezTo>
                  <a:close/>
                  <a:moveTo>
                    <a:pt x="84" y="507"/>
                  </a:moveTo>
                  <a:cubicBezTo>
                    <a:pt x="61" y="507"/>
                    <a:pt x="42" y="488"/>
                    <a:pt x="42" y="465"/>
                  </a:cubicBezTo>
                  <a:cubicBezTo>
                    <a:pt x="42" y="441"/>
                    <a:pt x="61" y="422"/>
                    <a:pt x="84" y="422"/>
                  </a:cubicBezTo>
                  <a:cubicBezTo>
                    <a:pt x="107" y="422"/>
                    <a:pt x="126" y="441"/>
                    <a:pt x="126" y="465"/>
                  </a:cubicBezTo>
                  <a:cubicBezTo>
                    <a:pt x="126" y="488"/>
                    <a:pt x="107" y="507"/>
                    <a:pt x="84" y="507"/>
                  </a:cubicBezTo>
                  <a:close/>
                  <a:moveTo>
                    <a:pt x="232" y="317"/>
                  </a:moveTo>
                  <a:cubicBezTo>
                    <a:pt x="209" y="317"/>
                    <a:pt x="190" y="298"/>
                    <a:pt x="190" y="275"/>
                  </a:cubicBezTo>
                  <a:cubicBezTo>
                    <a:pt x="190" y="251"/>
                    <a:pt x="209" y="233"/>
                    <a:pt x="232" y="233"/>
                  </a:cubicBezTo>
                  <a:cubicBezTo>
                    <a:pt x="255" y="233"/>
                    <a:pt x="274" y="251"/>
                    <a:pt x="274" y="275"/>
                  </a:cubicBezTo>
                  <a:cubicBezTo>
                    <a:pt x="274" y="298"/>
                    <a:pt x="255" y="317"/>
                    <a:pt x="232" y="317"/>
                  </a:cubicBezTo>
                  <a:close/>
                  <a:moveTo>
                    <a:pt x="443" y="422"/>
                  </a:moveTo>
                  <a:cubicBezTo>
                    <a:pt x="420" y="422"/>
                    <a:pt x="401" y="403"/>
                    <a:pt x="401" y="380"/>
                  </a:cubicBezTo>
                  <a:cubicBezTo>
                    <a:pt x="401" y="357"/>
                    <a:pt x="420" y="338"/>
                    <a:pt x="443" y="338"/>
                  </a:cubicBezTo>
                  <a:cubicBezTo>
                    <a:pt x="467" y="338"/>
                    <a:pt x="486" y="357"/>
                    <a:pt x="486" y="380"/>
                  </a:cubicBezTo>
                  <a:cubicBezTo>
                    <a:pt x="486" y="403"/>
                    <a:pt x="467" y="422"/>
                    <a:pt x="443" y="422"/>
                  </a:cubicBezTo>
                  <a:close/>
                  <a:moveTo>
                    <a:pt x="633" y="127"/>
                  </a:moveTo>
                  <a:cubicBezTo>
                    <a:pt x="610" y="127"/>
                    <a:pt x="591" y="108"/>
                    <a:pt x="591" y="84"/>
                  </a:cubicBezTo>
                  <a:cubicBezTo>
                    <a:pt x="591" y="61"/>
                    <a:pt x="610" y="42"/>
                    <a:pt x="633" y="42"/>
                  </a:cubicBezTo>
                  <a:cubicBezTo>
                    <a:pt x="657" y="42"/>
                    <a:pt x="675" y="61"/>
                    <a:pt x="675" y="84"/>
                  </a:cubicBezTo>
                  <a:cubicBezTo>
                    <a:pt x="675" y="108"/>
                    <a:pt x="657" y="127"/>
                    <a:pt x="633" y="127"/>
                  </a:cubicBezTo>
                  <a:close/>
                </a:path>
              </a:pathLst>
            </a:custGeom>
            <a:solidFill>
              <a:srgbClr val="58595B"/>
            </a:solidFill>
            <a:ln>
              <a:noFill/>
            </a:ln>
          </p:spPr>
          <p:txBody>
            <a:bodyPr vert="horz" wrap="square" lIns="91440" tIns="45720" rIns="91440" bIns="45720" numCol="1" anchor="t" anchorCtr="0" compatLnSpc="1">
              <a:prstTxWarp prst="textNoShape">
                <a:avLst/>
              </a:prstTxWarp>
            </a:bodyPr>
            <a:lstStyle/>
            <a:p>
              <a:endParaRPr lang="id-ID" sz="1100" dirty="0">
                <a:solidFill>
                  <a:srgbClr val="58595B"/>
                </a:solidFill>
                <a:latin typeface="+mj-lt"/>
              </a:endParaRPr>
            </a:p>
          </p:txBody>
        </p:sp>
      </p:grpSp>
    </p:spTree>
    <p:extLst>
      <p:ext uri="{BB962C8B-B14F-4D97-AF65-F5344CB8AC3E}">
        <p14:creationId xmlns:p14="http://schemas.microsoft.com/office/powerpoint/2010/main" val="22404794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age &amp; BULLETS</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3591" y="1376828"/>
            <a:ext cx="8294105" cy="2641552"/>
          </a:xfrm>
          <a:prstGeom prst="rect">
            <a:avLst/>
          </a:prstGeom>
        </p:spPr>
      </p:pic>
      <p:sp>
        <p:nvSpPr>
          <p:cNvPr id="4" name="Rectangle 3"/>
          <p:cNvSpPr/>
          <p:nvPr/>
        </p:nvSpPr>
        <p:spPr>
          <a:xfrm>
            <a:off x="593034" y="4499290"/>
            <a:ext cx="12009782" cy="1579920"/>
          </a:xfrm>
          <a:prstGeom prst="rect">
            <a:avLst/>
          </a:prstGeom>
        </p:spPr>
        <p:txBody>
          <a:bodyPr wrap="square">
            <a:spAutoFit/>
          </a:bodyPr>
          <a:lstStyle/>
          <a:p>
            <a:pPr marL="285750" indent="-285750">
              <a:spcBef>
                <a:spcPts val="768"/>
              </a:spcBef>
              <a:buSzPct val="100000"/>
              <a:buFont typeface="Arial" panose="020B0604020202020204" pitchFamily="34" charset="0"/>
              <a:buChar char="•"/>
            </a:pPr>
            <a:r>
              <a:rPr lang="en-US" dirty="0">
                <a:latin typeface="Roboto Regular" pitchFamily="2" charset="0"/>
                <a:ea typeface="Roboto Regular" pitchFamily="2" charset="0"/>
                <a:cs typeface="Source Sans Pro ExtraLight"/>
              </a:rPr>
              <a:t>Cum </a:t>
            </a:r>
            <a:r>
              <a:rPr lang="en-US" dirty="0" err="1">
                <a:latin typeface="Roboto Regular" pitchFamily="2" charset="0"/>
                <a:ea typeface="Roboto Regular" pitchFamily="2" charset="0"/>
                <a:cs typeface="Source Sans Pro ExtraLight"/>
              </a:rPr>
              <a:t>socii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atoque</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enatibus</a:t>
            </a:r>
            <a:r>
              <a:rPr lang="en-US" dirty="0">
                <a:latin typeface="Roboto Regular" pitchFamily="2" charset="0"/>
                <a:ea typeface="Roboto Regular" pitchFamily="2" charset="0"/>
                <a:cs typeface="Source Sans Pro ExtraLight"/>
              </a:rPr>
              <a:t> et </a:t>
            </a:r>
            <a:r>
              <a:rPr lang="en-US" dirty="0" err="1">
                <a:latin typeface="Roboto Regular" pitchFamily="2" charset="0"/>
                <a:ea typeface="Roboto Regular" pitchFamily="2" charset="0"/>
                <a:cs typeface="Source Sans Pro ExtraLight"/>
              </a:rPr>
              <a:t>magnis</a:t>
            </a:r>
            <a:r>
              <a:rPr lang="en-US" dirty="0">
                <a:latin typeface="Roboto Regular" pitchFamily="2" charset="0"/>
                <a:ea typeface="Roboto Regular" pitchFamily="2" charset="0"/>
                <a:cs typeface="Source Sans Pro ExtraLight"/>
              </a:rPr>
              <a:t> dis parturient </a:t>
            </a:r>
            <a:r>
              <a:rPr lang="en-US" dirty="0" err="1">
                <a:latin typeface="Roboto Regular" pitchFamily="2" charset="0"/>
                <a:ea typeface="Roboto Regular" pitchFamily="2" charset="0"/>
                <a:cs typeface="Source Sans Pro ExtraLight"/>
              </a:rPr>
              <a:t>monte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ascetur</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ridiculus</a:t>
            </a:r>
            <a:r>
              <a:rPr lang="en-US" dirty="0">
                <a:latin typeface="Roboto Regular" pitchFamily="2" charset="0"/>
                <a:ea typeface="Roboto Regular" pitchFamily="2" charset="0"/>
                <a:cs typeface="Source Sans Pro ExtraLight"/>
              </a:rPr>
              <a:t> mus. Nam </a:t>
            </a:r>
            <a:r>
              <a:rPr lang="en-US" dirty="0" err="1">
                <a:latin typeface="Roboto Regular" pitchFamily="2" charset="0"/>
                <a:ea typeface="Roboto Regular" pitchFamily="2" charset="0"/>
                <a:cs typeface="Source Sans Pro ExtraLight"/>
              </a:rPr>
              <a:t>odio</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ulla</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tempor</a:t>
            </a:r>
            <a:r>
              <a:rPr lang="en-US" dirty="0">
                <a:latin typeface="Roboto Regular" pitchFamily="2" charset="0"/>
                <a:ea typeface="Roboto Regular" pitchFamily="2" charset="0"/>
                <a:cs typeface="Source Sans Pro ExtraLight"/>
              </a:rPr>
              <a:t> a </a:t>
            </a:r>
            <a:r>
              <a:rPr lang="en-US" dirty="0" err="1">
                <a:latin typeface="Roboto Regular" pitchFamily="2" charset="0"/>
                <a:ea typeface="Roboto Regular" pitchFamily="2" charset="0"/>
                <a:cs typeface="Source Sans Pro ExtraLight"/>
              </a:rPr>
              <a:t>eleifend</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ut</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dignissim</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ec</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tellu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Donec</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orttitor</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orttitor</a:t>
            </a:r>
            <a:r>
              <a:rPr lang="en-US" dirty="0">
                <a:latin typeface="Roboto Regular" pitchFamily="2" charset="0"/>
                <a:ea typeface="Roboto Regular" pitchFamily="2" charset="0"/>
                <a:cs typeface="Source Sans Pro ExtraLight"/>
              </a:rPr>
              <a:t> ante. Nam dictum quam </a:t>
            </a:r>
            <a:r>
              <a:rPr lang="en-US" dirty="0" err="1">
                <a:latin typeface="Roboto Regular" pitchFamily="2" charset="0"/>
                <a:ea typeface="Roboto Regular" pitchFamily="2" charset="0"/>
                <a:cs typeface="Source Sans Pro ExtraLight"/>
              </a:rPr>
              <a:t>sed</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erat</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lobortis</a:t>
            </a:r>
            <a:r>
              <a:rPr lang="en-US" dirty="0">
                <a:latin typeface="Roboto Regular" pitchFamily="2" charset="0"/>
                <a:ea typeface="Roboto Regular" pitchFamily="2" charset="0"/>
                <a:cs typeface="Source Sans Pro ExtraLight"/>
              </a:rPr>
              <a:t>, et gravida </a:t>
            </a:r>
            <a:r>
              <a:rPr lang="en-US" dirty="0" err="1">
                <a:latin typeface="Roboto Regular" pitchFamily="2" charset="0"/>
                <a:ea typeface="Roboto Regular" pitchFamily="2" charset="0"/>
                <a:cs typeface="Source Sans Pro ExtraLight"/>
              </a:rPr>
              <a:t>nunc</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ellentesque</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Mauris</a:t>
            </a:r>
            <a:r>
              <a:rPr lang="en-US" dirty="0">
                <a:latin typeface="Roboto Regular" pitchFamily="2" charset="0"/>
                <a:ea typeface="Roboto Regular" pitchFamily="2" charset="0"/>
                <a:cs typeface="Source Sans Pro ExtraLight"/>
              </a:rPr>
              <a:t> gravida </a:t>
            </a:r>
            <a:r>
              <a:rPr lang="en-US" dirty="0" err="1">
                <a:latin typeface="Roboto Regular" pitchFamily="2" charset="0"/>
                <a:ea typeface="Roboto Regular" pitchFamily="2" charset="0"/>
                <a:cs typeface="Source Sans Pro ExtraLight"/>
              </a:rPr>
              <a:t>ut</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augue</a:t>
            </a:r>
            <a:r>
              <a:rPr lang="en-US" dirty="0">
                <a:latin typeface="Roboto Regular" pitchFamily="2" charset="0"/>
                <a:ea typeface="Roboto Regular" pitchFamily="2" charset="0"/>
                <a:cs typeface="Source Sans Pro ExtraLight"/>
              </a:rPr>
              <a:t> et </a:t>
            </a:r>
            <a:r>
              <a:rPr lang="en-US" dirty="0" err="1" smtClean="0">
                <a:latin typeface="Roboto Regular" pitchFamily="2" charset="0"/>
                <a:ea typeface="Roboto Regular" pitchFamily="2" charset="0"/>
                <a:cs typeface="Source Sans Pro ExtraLight"/>
              </a:rPr>
              <a:t>lobortis</a:t>
            </a:r>
            <a:r>
              <a:rPr lang="en-US" dirty="0" smtClean="0">
                <a:latin typeface="Roboto Regular" pitchFamily="2" charset="0"/>
                <a:ea typeface="Roboto Regular" pitchFamily="2" charset="0"/>
                <a:cs typeface="Source Sans Pro ExtraLight"/>
              </a:rPr>
              <a:t>. </a:t>
            </a:r>
          </a:p>
          <a:p>
            <a:pPr marL="285750" indent="-285750">
              <a:spcBef>
                <a:spcPts val="768"/>
              </a:spcBef>
              <a:buSzPct val="100000"/>
              <a:buFont typeface="Arial" panose="020B0604020202020204" pitchFamily="34" charset="0"/>
              <a:buChar char="•"/>
            </a:pPr>
            <a:r>
              <a:rPr lang="en-US" dirty="0" smtClean="0">
                <a:latin typeface="Roboto Regular" pitchFamily="2" charset="0"/>
                <a:ea typeface="Roboto Regular" pitchFamily="2" charset="0"/>
                <a:cs typeface="Source Sans Pro ExtraLight"/>
              </a:rPr>
              <a:t>Cum </a:t>
            </a:r>
            <a:r>
              <a:rPr lang="en-US" dirty="0" err="1">
                <a:latin typeface="Roboto Regular" pitchFamily="2" charset="0"/>
                <a:ea typeface="Roboto Regular" pitchFamily="2" charset="0"/>
                <a:cs typeface="Source Sans Pro ExtraLight"/>
              </a:rPr>
              <a:t>socii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atoque</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enatibus</a:t>
            </a:r>
            <a:r>
              <a:rPr lang="en-US" dirty="0">
                <a:latin typeface="Roboto Regular" pitchFamily="2" charset="0"/>
                <a:ea typeface="Roboto Regular" pitchFamily="2" charset="0"/>
                <a:cs typeface="Source Sans Pro ExtraLight"/>
              </a:rPr>
              <a:t> et </a:t>
            </a:r>
            <a:r>
              <a:rPr lang="en-US" dirty="0" err="1">
                <a:latin typeface="Roboto Regular" pitchFamily="2" charset="0"/>
                <a:ea typeface="Roboto Regular" pitchFamily="2" charset="0"/>
                <a:cs typeface="Source Sans Pro ExtraLight"/>
              </a:rPr>
              <a:t>magnis</a:t>
            </a:r>
            <a:r>
              <a:rPr lang="en-US" dirty="0">
                <a:latin typeface="Roboto Regular" pitchFamily="2" charset="0"/>
                <a:ea typeface="Roboto Regular" pitchFamily="2" charset="0"/>
                <a:cs typeface="Source Sans Pro ExtraLight"/>
              </a:rPr>
              <a:t> dis parturient </a:t>
            </a:r>
            <a:r>
              <a:rPr lang="en-US" dirty="0" err="1">
                <a:latin typeface="Roboto Regular" pitchFamily="2" charset="0"/>
                <a:ea typeface="Roboto Regular" pitchFamily="2" charset="0"/>
                <a:cs typeface="Source Sans Pro ExtraLight"/>
              </a:rPr>
              <a:t>monte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ascetur</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ridiculus</a:t>
            </a:r>
            <a:r>
              <a:rPr lang="en-US" dirty="0">
                <a:latin typeface="Roboto Regular" pitchFamily="2" charset="0"/>
                <a:ea typeface="Roboto Regular" pitchFamily="2" charset="0"/>
                <a:cs typeface="Source Sans Pro ExtraLight"/>
              </a:rPr>
              <a:t> mus. Nam </a:t>
            </a:r>
            <a:r>
              <a:rPr lang="en-US" dirty="0" err="1">
                <a:latin typeface="Roboto Regular" pitchFamily="2" charset="0"/>
                <a:ea typeface="Roboto Regular" pitchFamily="2" charset="0"/>
                <a:cs typeface="Source Sans Pro ExtraLight"/>
              </a:rPr>
              <a:t>odio</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ulla</a:t>
            </a:r>
            <a:r>
              <a:rPr lang="en-US" dirty="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tempor</a:t>
            </a:r>
            <a:r>
              <a:rPr lang="en-US" dirty="0" smtClean="0">
                <a:latin typeface="Roboto Regular" pitchFamily="2" charset="0"/>
                <a:ea typeface="Roboto Regular" pitchFamily="2" charset="0"/>
                <a:cs typeface="Source Sans Pro ExtraLight"/>
              </a:rPr>
              <a:t>. </a:t>
            </a:r>
            <a:r>
              <a:rPr lang="en-US" dirty="0">
                <a:latin typeface="Roboto Regular" pitchFamily="2" charset="0"/>
                <a:ea typeface="Roboto Regular" pitchFamily="2" charset="0"/>
                <a:cs typeface="Source Sans Pro ExtraLight"/>
              </a:rPr>
              <a:t>Cum </a:t>
            </a:r>
            <a:r>
              <a:rPr lang="en-US" dirty="0" err="1">
                <a:latin typeface="Roboto Regular" pitchFamily="2" charset="0"/>
                <a:ea typeface="Roboto Regular" pitchFamily="2" charset="0"/>
                <a:cs typeface="Source Sans Pro ExtraLight"/>
              </a:rPr>
              <a:t>socii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atoque</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enatibus</a:t>
            </a:r>
            <a:r>
              <a:rPr lang="en-US" dirty="0">
                <a:latin typeface="Roboto Regular" pitchFamily="2" charset="0"/>
                <a:ea typeface="Roboto Regular" pitchFamily="2" charset="0"/>
                <a:cs typeface="Source Sans Pro ExtraLight"/>
              </a:rPr>
              <a:t> et </a:t>
            </a:r>
            <a:r>
              <a:rPr lang="en-US" dirty="0" err="1">
                <a:latin typeface="Roboto Regular" pitchFamily="2" charset="0"/>
                <a:ea typeface="Roboto Regular" pitchFamily="2" charset="0"/>
                <a:cs typeface="Source Sans Pro ExtraLight"/>
              </a:rPr>
              <a:t>magnis</a:t>
            </a:r>
            <a:r>
              <a:rPr lang="en-US" dirty="0">
                <a:latin typeface="Roboto Regular" pitchFamily="2" charset="0"/>
                <a:ea typeface="Roboto Regular" pitchFamily="2" charset="0"/>
                <a:cs typeface="Source Sans Pro ExtraLight"/>
              </a:rPr>
              <a:t> dis parturient </a:t>
            </a:r>
            <a:r>
              <a:rPr lang="en-US" dirty="0" err="1">
                <a:latin typeface="Roboto Regular" pitchFamily="2" charset="0"/>
                <a:ea typeface="Roboto Regular" pitchFamily="2" charset="0"/>
                <a:cs typeface="Source Sans Pro ExtraLight"/>
              </a:rPr>
              <a:t>monte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nascetur</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ridiculus</a:t>
            </a:r>
            <a:r>
              <a:rPr lang="en-US" dirty="0">
                <a:latin typeface="Roboto Regular" pitchFamily="2" charset="0"/>
                <a:ea typeface="Roboto Regular" pitchFamily="2" charset="0"/>
                <a:cs typeface="Source Sans Pro ExtraLight"/>
              </a:rPr>
              <a:t> mus. </a:t>
            </a:r>
          </a:p>
        </p:txBody>
      </p:sp>
      <p:sp>
        <p:nvSpPr>
          <p:cNvPr id="5"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Tree>
    <p:extLst>
      <p:ext uri="{BB962C8B-B14F-4D97-AF65-F5344CB8AC3E}">
        <p14:creationId xmlns:p14="http://schemas.microsoft.com/office/powerpoint/2010/main" val="229840617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REE EXAMPLES</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
        <p:nvSpPr>
          <p:cNvPr id="7" name="Title 20"/>
          <p:cNvSpPr txBox="1">
            <a:spLocks/>
          </p:cNvSpPr>
          <p:nvPr/>
        </p:nvSpPr>
        <p:spPr>
          <a:xfrm>
            <a:off x="538653" y="1656567"/>
            <a:ext cx="6138231" cy="947952"/>
          </a:xfrm>
          <a:prstGeom prst="rect">
            <a:avLst/>
          </a:prstGeom>
        </p:spPr>
        <p:txBody>
          <a:bodyPr vert="horz" wrap="square" lIns="243852" tIns="0" rIns="243852"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10000"/>
              </a:lnSpc>
            </a:pPr>
            <a:r>
              <a:rPr lang="en-US" sz="2800" dirty="0" smtClean="0">
                <a:solidFill>
                  <a:srgbClr val="58595B"/>
                </a:solidFill>
                <a:latin typeface="+mj-lt"/>
                <a:cs typeface="Open Sans Light"/>
              </a:rPr>
              <a:t>Three great projects for</a:t>
            </a:r>
          </a:p>
          <a:p>
            <a:pPr algn="l">
              <a:lnSpc>
                <a:spcPct val="110000"/>
              </a:lnSpc>
            </a:pPr>
            <a:r>
              <a:rPr lang="en-US" sz="2800" dirty="0" smtClean="0">
                <a:solidFill>
                  <a:srgbClr val="58595B"/>
                </a:solidFill>
                <a:latin typeface="+mj-lt"/>
                <a:cs typeface="Open Sans Light"/>
              </a:rPr>
              <a:t>three great customers.</a:t>
            </a:r>
            <a:endParaRPr lang="en-US" sz="2800" dirty="0">
              <a:solidFill>
                <a:srgbClr val="58595B"/>
              </a:solidFill>
              <a:latin typeface="+mj-lt"/>
              <a:cs typeface="Open Sans Light"/>
            </a:endParaRPr>
          </a:p>
        </p:txBody>
      </p:sp>
      <p:sp>
        <p:nvSpPr>
          <p:cNvPr id="8" name="Title 20"/>
          <p:cNvSpPr txBox="1">
            <a:spLocks/>
          </p:cNvSpPr>
          <p:nvPr/>
        </p:nvSpPr>
        <p:spPr>
          <a:xfrm>
            <a:off x="538653" y="2730783"/>
            <a:ext cx="5498143" cy="3047000"/>
          </a:xfrm>
          <a:prstGeom prst="rect">
            <a:avLst/>
          </a:prstGeom>
        </p:spPr>
        <p:txBody>
          <a:bodyPr vert="horz" wrap="square" lIns="243852" tIns="121926" rIns="243852" bIns="121926"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30000"/>
              </a:lnSpc>
            </a:pPr>
            <a:r>
              <a:rPr lang="pt-BR" sz="1400" dirty="0">
                <a:solidFill>
                  <a:srgbClr val="58595B"/>
                </a:solidFill>
                <a:latin typeface="Roboto Regular" pitchFamily="2" charset="0"/>
                <a:ea typeface="Roboto Regular" pitchFamily="2" charset="0"/>
                <a:cs typeface="Open Sans Light"/>
              </a:rPr>
              <a:t>Lorem ipsum dolor sit amet, consectetur adipiscing elit. Aliquam tincidunt ante nec sem congue convallis. Pellentesque vel mauris quis nisl ornare rutrum in id risus. Proin vehicula ut sem et tempus. Interdum et malesuada fames ac ante ipsum primis in faucibus. Pellentesque</a:t>
            </a:r>
            <a:r>
              <a:rPr lang="pt-BR" sz="1400" dirty="0" smtClean="0">
                <a:solidFill>
                  <a:srgbClr val="58595B"/>
                </a:solidFill>
                <a:latin typeface="Roboto Regular" pitchFamily="2" charset="0"/>
                <a:ea typeface="Roboto Regular" pitchFamily="2" charset="0"/>
                <a:cs typeface="Open Sans Light"/>
              </a:rPr>
              <a:t>‹</a:t>
            </a:r>
          </a:p>
          <a:p>
            <a:pPr algn="l">
              <a:lnSpc>
                <a:spcPct val="130000"/>
              </a:lnSpc>
            </a:pPr>
            <a:endParaRPr lang="pt-BR" sz="1400" dirty="0">
              <a:solidFill>
                <a:srgbClr val="58595B"/>
              </a:solidFill>
              <a:latin typeface="Roboto Regular" pitchFamily="2" charset="0"/>
              <a:ea typeface="Roboto Regular" pitchFamily="2" charset="0"/>
              <a:cs typeface="Open Sans Light"/>
            </a:endParaRPr>
          </a:p>
          <a:p>
            <a:pPr algn="l">
              <a:lnSpc>
                <a:spcPct val="130000"/>
              </a:lnSpc>
            </a:pPr>
            <a:r>
              <a:rPr lang="pt-BR" sz="1400" dirty="0">
                <a:solidFill>
                  <a:srgbClr val="58595B"/>
                </a:solidFill>
                <a:latin typeface="Roboto Regular" pitchFamily="2" charset="0"/>
                <a:ea typeface="Roboto Regular" pitchFamily="2" charset="0"/>
                <a:cs typeface="Open Sans Light"/>
              </a:rPr>
              <a:t>Lorem ipsum dolor sit amet, consectetur adipiscing elit. Aliquam tincidunt ante nec sem congue convallis. Pellentesque vel mauris quis nisl ornare</a:t>
            </a:r>
            <a:endParaRPr lang="en-US" sz="1400" dirty="0">
              <a:solidFill>
                <a:srgbClr val="58595B"/>
              </a:solidFill>
              <a:latin typeface="Roboto Regular" pitchFamily="2" charset="0"/>
              <a:ea typeface="Roboto Regular" pitchFamily="2" charset="0"/>
              <a:cs typeface="Open Sans Light"/>
            </a:endParaRPr>
          </a:p>
          <a:p>
            <a:pPr algn="l">
              <a:lnSpc>
                <a:spcPct val="130000"/>
              </a:lnSpc>
            </a:pPr>
            <a:endParaRPr lang="en-US" sz="1400" dirty="0">
              <a:solidFill>
                <a:srgbClr val="58595B"/>
              </a:solidFill>
              <a:latin typeface="Roboto Regular" pitchFamily="2" charset="0"/>
              <a:ea typeface="Roboto Regular" pitchFamily="2" charset="0"/>
              <a:cs typeface="Open Sans Light"/>
            </a:endParaRP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43504" y="1656567"/>
            <a:ext cx="1723292" cy="4062045"/>
          </a:xfrm>
          <a:prstGeom prst="rect">
            <a:avLst/>
          </a:prstGeom>
        </p:spPr>
      </p:pic>
      <p:pic>
        <p:nvPicPr>
          <p:cNvPr id="16" name="Picture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99688" y="1648457"/>
            <a:ext cx="1723292" cy="4062045"/>
          </a:xfrm>
          <a:prstGeom prst="rect">
            <a:avLst/>
          </a:prstGeom>
        </p:spPr>
      </p:pic>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71596" y="1648457"/>
            <a:ext cx="1723292" cy="4062045"/>
          </a:xfrm>
          <a:prstGeom prst="rect">
            <a:avLst/>
          </a:prstGeom>
        </p:spPr>
      </p:pic>
    </p:spTree>
    <p:extLst>
      <p:ext uri="{BB962C8B-B14F-4D97-AF65-F5344CB8AC3E}">
        <p14:creationId xmlns:p14="http://schemas.microsoft.com/office/powerpoint/2010/main" val="134954954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icting an image</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
        <p:nvSpPr>
          <p:cNvPr id="4" name="Freeform 429"/>
          <p:cNvSpPr>
            <a:spLocks noChangeArrowheads="1"/>
          </p:cNvSpPr>
          <p:nvPr/>
        </p:nvSpPr>
        <p:spPr bwMode="auto">
          <a:xfrm>
            <a:off x="2233620" y="1352433"/>
            <a:ext cx="432172" cy="429075"/>
          </a:xfrm>
          <a:custGeom>
            <a:avLst/>
            <a:gdLst>
              <a:gd name="T0" fmla="*/ 1162 w 1230"/>
              <a:gd name="T1" fmla="*/ 383 h 1221"/>
              <a:gd name="T2" fmla="*/ 1112 w 1230"/>
              <a:gd name="T3" fmla="*/ 433 h 1221"/>
              <a:gd name="T4" fmla="*/ 794 w 1230"/>
              <a:gd name="T5" fmla="*/ 116 h 1221"/>
              <a:gd name="T6" fmla="*/ 844 w 1230"/>
              <a:gd name="T7" fmla="*/ 57 h 1221"/>
              <a:gd name="T8" fmla="*/ 1061 w 1230"/>
              <a:gd name="T9" fmla="*/ 57 h 1221"/>
              <a:gd name="T10" fmla="*/ 1162 w 1230"/>
              <a:gd name="T11" fmla="*/ 166 h 1221"/>
              <a:gd name="T12" fmla="*/ 1162 w 1230"/>
              <a:gd name="T13" fmla="*/ 383 h 1221"/>
              <a:gd name="T14" fmla="*/ 418 w 1230"/>
              <a:gd name="T15" fmla="*/ 1019 h 1221"/>
              <a:gd name="T16" fmla="*/ 418 w 1230"/>
              <a:gd name="T17" fmla="*/ 1077 h 1221"/>
              <a:gd name="T18" fmla="*/ 468 w 1230"/>
              <a:gd name="T19" fmla="*/ 1077 h 1221"/>
              <a:gd name="T20" fmla="*/ 1061 w 1230"/>
              <a:gd name="T21" fmla="*/ 484 h 1221"/>
              <a:gd name="T22" fmla="*/ 1003 w 1230"/>
              <a:gd name="T23" fmla="*/ 433 h 1221"/>
              <a:gd name="T24" fmla="*/ 418 w 1230"/>
              <a:gd name="T25" fmla="*/ 1019 h 1221"/>
              <a:gd name="T26" fmla="*/ 150 w 1230"/>
              <a:gd name="T27" fmla="*/ 751 h 1221"/>
              <a:gd name="T28" fmla="*/ 150 w 1230"/>
              <a:gd name="T29" fmla="*/ 810 h 1221"/>
              <a:gd name="T30" fmla="*/ 209 w 1230"/>
              <a:gd name="T31" fmla="*/ 810 h 1221"/>
              <a:gd name="T32" fmla="*/ 794 w 1230"/>
              <a:gd name="T33" fmla="*/ 216 h 1221"/>
              <a:gd name="T34" fmla="*/ 735 w 1230"/>
              <a:gd name="T35" fmla="*/ 166 h 1221"/>
              <a:gd name="T36" fmla="*/ 150 w 1230"/>
              <a:gd name="T37" fmla="*/ 751 h 1221"/>
              <a:gd name="T38" fmla="*/ 844 w 1230"/>
              <a:gd name="T39" fmla="*/ 275 h 1221"/>
              <a:gd name="T40" fmla="*/ 259 w 1230"/>
              <a:gd name="T41" fmla="*/ 860 h 1221"/>
              <a:gd name="T42" fmla="*/ 259 w 1230"/>
              <a:gd name="T43" fmla="*/ 969 h 1221"/>
              <a:gd name="T44" fmla="*/ 367 w 1230"/>
              <a:gd name="T45" fmla="*/ 969 h 1221"/>
              <a:gd name="T46" fmla="*/ 953 w 1230"/>
              <a:gd name="T47" fmla="*/ 383 h 1221"/>
              <a:gd name="T48" fmla="*/ 844 w 1230"/>
              <a:gd name="T49" fmla="*/ 275 h 1221"/>
              <a:gd name="T50" fmla="*/ 367 w 1230"/>
              <a:gd name="T51" fmla="*/ 1127 h 1221"/>
              <a:gd name="T52" fmla="*/ 334 w 1230"/>
              <a:gd name="T53" fmla="*/ 1061 h 1221"/>
              <a:gd name="T54" fmla="*/ 309 w 1230"/>
              <a:gd name="T55" fmla="*/ 1061 h 1221"/>
              <a:gd name="T56" fmla="*/ 209 w 1230"/>
              <a:gd name="T57" fmla="*/ 1019 h 1221"/>
              <a:gd name="T58" fmla="*/ 158 w 1230"/>
              <a:gd name="T59" fmla="*/ 910 h 1221"/>
              <a:gd name="T60" fmla="*/ 167 w 1230"/>
              <a:gd name="T61" fmla="*/ 893 h 1221"/>
              <a:gd name="T62" fmla="*/ 100 w 1230"/>
              <a:gd name="T63" fmla="*/ 860 h 1221"/>
              <a:gd name="T64" fmla="*/ 92 w 1230"/>
              <a:gd name="T65" fmla="*/ 852 h 1221"/>
              <a:gd name="T66" fmla="*/ 0 w 1230"/>
              <a:gd name="T67" fmla="*/ 1220 h 1221"/>
              <a:gd name="T68" fmla="*/ 367 w 1230"/>
              <a:gd name="T69" fmla="*/ 1127 h 1221"/>
              <a:gd name="T70" fmla="*/ 367 w 1230"/>
              <a:gd name="T71" fmla="*/ 1127 h 1221"/>
              <a:gd name="T72" fmla="*/ 367 w 1230"/>
              <a:gd name="T73" fmla="*/ 1127 h 1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30" h="1221">
                <a:moveTo>
                  <a:pt x="1162" y="383"/>
                </a:moveTo>
                <a:cubicBezTo>
                  <a:pt x="1112" y="433"/>
                  <a:pt x="1112" y="433"/>
                  <a:pt x="1112" y="433"/>
                </a:cubicBezTo>
                <a:cubicBezTo>
                  <a:pt x="794" y="116"/>
                  <a:pt x="794" y="116"/>
                  <a:pt x="794" y="116"/>
                </a:cubicBezTo>
                <a:cubicBezTo>
                  <a:pt x="844" y="57"/>
                  <a:pt x="844" y="57"/>
                  <a:pt x="844" y="57"/>
                </a:cubicBezTo>
                <a:cubicBezTo>
                  <a:pt x="903" y="0"/>
                  <a:pt x="1003" y="0"/>
                  <a:pt x="1061" y="57"/>
                </a:cubicBezTo>
                <a:cubicBezTo>
                  <a:pt x="1162" y="166"/>
                  <a:pt x="1162" y="166"/>
                  <a:pt x="1162" y="166"/>
                </a:cubicBezTo>
                <a:cubicBezTo>
                  <a:pt x="1229" y="225"/>
                  <a:pt x="1229" y="325"/>
                  <a:pt x="1162" y="383"/>
                </a:cubicBezTo>
                <a:close/>
                <a:moveTo>
                  <a:pt x="418" y="1019"/>
                </a:moveTo>
                <a:cubicBezTo>
                  <a:pt x="401" y="1035"/>
                  <a:pt x="401" y="1061"/>
                  <a:pt x="418" y="1077"/>
                </a:cubicBezTo>
                <a:cubicBezTo>
                  <a:pt x="434" y="1086"/>
                  <a:pt x="459" y="1086"/>
                  <a:pt x="468" y="1077"/>
                </a:cubicBezTo>
                <a:cubicBezTo>
                  <a:pt x="1061" y="484"/>
                  <a:pt x="1061" y="484"/>
                  <a:pt x="1061" y="484"/>
                </a:cubicBezTo>
                <a:cubicBezTo>
                  <a:pt x="1003" y="433"/>
                  <a:pt x="1003" y="433"/>
                  <a:pt x="1003" y="433"/>
                </a:cubicBezTo>
                <a:lnTo>
                  <a:pt x="418" y="1019"/>
                </a:lnTo>
                <a:close/>
                <a:moveTo>
                  <a:pt x="150" y="751"/>
                </a:moveTo>
                <a:cubicBezTo>
                  <a:pt x="133" y="768"/>
                  <a:pt x="133" y="793"/>
                  <a:pt x="150" y="810"/>
                </a:cubicBezTo>
                <a:cubicBezTo>
                  <a:pt x="167" y="818"/>
                  <a:pt x="192" y="818"/>
                  <a:pt x="209" y="810"/>
                </a:cubicBezTo>
                <a:cubicBezTo>
                  <a:pt x="794" y="216"/>
                  <a:pt x="794" y="216"/>
                  <a:pt x="794" y="216"/>
                </a:cubicBezTo>
                <a:cubicBezTo>
                  <a:pt x="735" y="166"/>
                  <a:pt x="735" y="166"/>
                  <a:pt x="735" y="166"/>
                </a:cubicBezTo>
                <a:lnTo>
                  <a:pt x="150" y="751"/>
                </a:lnTo>
                <a:close/>
                <a:moveTo>
                  <a:pt x="844" y="275"/>
                </a:moveTo>
                <a:cubicBezTo>
                  <a:pt x="259" y="860"/>
                  <a:pt x="259" y="860"/>
                  <a:pt x="259" y="860"/>
                </a:cubicBezTo>
                <a:cubicBezTo>
                  <a:pt x="225" y="893"/>
                  <a:pt x="225" y="935"/>
                  <a:pt x="259" y="969"/>
                </a:cubicBezTo>
                <a:cubicBezTo>
                  <a:pt x="284" y="994"/>
                  <a:pt x="334" y="994"/>
                  <a:pt x="367" y="969"/>
                </a:cubicBezTo>
                <a:cubicBezTo>
                  <a:pt x="953" y="383"/>
                  <a:pt x="953" y="383"/>
                  <a:pt x="953" y="383"/>
                </a:cubicBezTo>
                <a:lnTo>
                  <a:pt x="844" y="275"/>
                </a:lnTo>
                <a:close/>
                <a:moveTo>
                  <a:pt x="367" y="1127"/>
                </a:moveTo>
                <a:cubicBezTo>
                  <a:pt x="351" y="1111"/>
                  <a:pt x="343" y="1086"/>
                  <a:pt x="334" y="1061"/>
                </a:cubicBezTo>
                <a:cubicBezTo>
                  <a:pt x="326" y="1061"/>
                  <a:pt x="317" y="1061"/>
                  <a:pt x="309" y="1061"/>
                </a:cubicBezTo>
                <a:cubicBezTo>
                  <a:pt x="276" y="1061"/>
                  <a:pt x="234" y="1052"/>
                  <a:pt x="209" y="1019"/>
                </a:cubicBezTo>
                <a:cubicBezTo>
                  <a:pt x="175" y="994"/>
                  <a:pt x="158" y="952"/>
                  <a:pt x="158" y="910"/>
                </a:cubicBezTo>
                <a:cubicBezTo>
                  <a:pt x="158" y="910"/>
                  <a:pt x="158" y="902"/>
                  <a:pt x="167" y="893"/>
                </a:cubicBezTo>
                <a:cubicBezTo>
                  <a:pt x="142" y="885"/>
                  <a:pt x="117" y="877"/>
                  <a:pt x="100" y="860"/>
                </a:cubicBezTo>
                <a:lnTo>
                  <a:pt x="92" y="852"/>
                </a:lnTo>
                <a:cubicBezTo>
                  <a:pt x="0" y="1220"/>
                  <a:pt x="0" y="1220"/>
                  <a:pt x="0" y="1220"/>
                </a:cubicBezTo>
                <a:cubicBezTo>
                  <a:pt x="367" y="1127"/>
                  <a:pt x="367" y="1127"/>
                  <a:pt x="367" y="1127"/>
                </a:cubicBezTo>
                <a:close/>
                <a:moveTo>
                  <a:pt x="367" y="1127"/>
                </a:moveTo>
                <a:lnTo>
                  <a:pt x="367" y="1127"/>
                </a:lnTo>
                <a:close/>
              </a:path>
            </a:pathLst>
          </a:custGeom>
          <a:solidFill>
            <a:srgbClr val="58595B"/>
          </a:solidFill>
          <a:ln>
            <a:noFill/>
          </a:ln>
          <a:effectLst/>
          <a:extLst/>
        </p:spPr>
        <p:txBody>
          <a:bodyPr wrap="none" lIns="121917" tIns="60958" rIns="121917" bIns="60958" anchor="ctr"/>
          <a:lstStyle/>
          <a:p>
            <a:pPr>
              <a:defRPr/>
            </a:pPr>
            <a:endParaRPr lang="en-US" sz="1000" dirty="0">
              <a:solidFill>
                <a:srgbClr val="58595B"/>
              </a:solidFill>
              <a:latin typeface="+mj-lt"/>
              <a:ea typeface="SimSun" charset="0"/>
            </a:endParaRPr>
          </a:p>
        </p:txBody>
      </p:sp>
      <p:sp>
        <p:nvSpPr>
          <p:cNvPr id="6" name="TextBox 5"/>
          <p:cNvSpPr txBox="1"/>
          <p:nvPr/>
        </p:nvSpPr>
        <p:spPr>
          <a:xfrm>
            <a:off x="1260087" y="1959818"/>
            <a:ext cx="2421016" cy="307775"/>
          </a:xfrm>
          <a:prstGeom prst="rect">
            <a:avLst/>
          </a:prstGeom>
          <a:noFill/>
        </p:spPr>
        <p:txBody>
          <a:bodyPr wrap="square" rtlCol="0">
            <a:spAutoFit/>
          </a:bodyPr>
          <a:lstStyle/>
          <a:p>
            <a:pPr algn="ctr"/>
            <a:r>
              <a:rPr lang="en-US" sz="1400" dirty="0" smtClean="0">
                <a:solidFill>
                  <a:srgbClr val="58595B"/>
                </a:solidFill>
                <a:latin typeface="+mj-lt"/>
                <a:cs typeface="Open Sans Light"/>
              </a:rPr>
              <a:t>Graphic Design</a:t>
            </a:r>
            <a:endParaRPr lang="en-US" sz="1400" dirty="0">
              <a:solidFill>
                <a:srgbClr val="58595B"/>
              </a:solidFill>
              <a:latin typeface="+mj-lt"/>
              <a:cs typeface="Open Sans Light"/>
            </a:endParaRPr>
          </a:p>
        </p:txBody>
      </p:sp>
      <p:sp>
        <p:nvSpPr>
          <p:cNvPr id="7" name="TextBox 6"/>
          <p:cNvSpPr txBox="1"/>
          <p:nvPr/>
        </p:nvSpPr>
        <p:spPr>
          <a:xfrm>
            <a:off x="1260087" y="2345646"/>
            <a:ext cx="2421016" cy="1383443"/>
          </a:xfrm>
          <a:prstGeom prst="rect">
            <a:avLst/>
          </a:prstGeom>
          <a:noFill/>
        </p:spPr>
        <p:txBody>
          <a:bodyPr wrap="square" rtlCol="0">
            <a:noAutofit/>
          </a:bodyPr>
          <a:lstStyle/>
          <a:p>
            <a:pPr algn="ctr">
              <a:lnSpc>
                <a:spcPct val="120000"/>
              </a:lnSpc>
            </a:pPr>
            <a:r>
              <a:rPr lang="en-US" sz="1100" dirty="0">
                <a:solidFill>
                  <a:srgbClr val="58595B"/>
                </a:solidFill>
                <a:latin typeface="Roboto Regular" pitchFamily="2" charset="0"/>
                <a:ea typeface="Roboto Regular" pitchFamily="2" charset="0"/>
                <a:cs typeface="Open Sans Light"/>
              </a:rPr>
              <a:t>Lorem ipsum dolor sit amet, consectetur adipiscing elit. Praesent </a:t>
            </a:r>
            <a:r>
              <a:rPr lang="en-US" sz="1100" dirty="0" err="1">
                <a:solidFill>
                  <a:srgbClr val="58595B"/>
                </a:solidFill>
                <a:latin typeface="Roboto Regular" pitchFamily="2" charset="0"/>
                <a:ea typeface="Roboto Regular" pitchFamily="2" charset="0"/>
                <a:cs typeface="Open Sans Light"/>
              </a:rPr>
              <a:t>molestie</a:t>
            </a:r>
            <a:r>
              <a:rPr lang="en-US" sz="1100" dirty="0">
                <a:solidFill>
                  <a:srgbClr val="58595B"/>
                </a:solidFill>
                <a:latin typeface="Roboto Regular" pitchFamily="2" charset="0"/>
                <a:ea typeface="Roboto Regular" pitchFamily="2" charset="0"/>
                <a:cs typeface="Open Sans Light"/>
              </a:rPr>
              <a:t> </a:t>
            </a:r>
            <a:r>
              <a:rPr lang="en-US" sz="1100" dirty="0" err="1">
                <a:solidFill>
                  <a:srgbClr val="58595B"/>
                </a:solidFill>
                <a:latin typeface="Roboto Regular" pitchFamily="2" charset="0"/>
                <a:ea typeface="Roboto Regular" pitchFamily="2" charset="0"/>
                <a:cs typeface="Open Sans Light"/>
              </a:rPr>
              <a:t>efficitur</a:t>
            </a:r>
            <a:r>
              <a:rPr lang="en-US" sz="1100" dirty="0">
                <a:solidFill>
                  <a:srgbClr val="58595B"/>
                </a:solidFill>
                <a:latin typeface="Roboto Regular" pitchFamily="2" charset="0"/>
                <a:ea typeface="Roboto Regular" pitchFamily="2" charset="0"/>
                <a:cs typeface="Open Sans Light"/>
              </a:rPr>
              <a:t> </a:t>
            </a:r>
            <a:r>
              <a:rPr lang="en-US" sz="1100" dirty="0" err="1">
                <a:solidFill>
                  <a:srgbClr val="58595B"/>
                </a:solidFill>
                <a:latin typeface="Roboto Regular" pitchFamily="2" charset="0"/>
                <a:ea typeface="Roboto Regular" pitchFamily="2" charset="0"/>
                <a:cs typeface="Open Sans Light"/>
              </a:rPr>
              <a:t>est</a:t>
            </a:r>
            <a:r>
              <a:rPr lang="en-US" sz="1100" dirty="0" smtClean="0">
                <a:solidFill>
                  <a:srgbClr val="58595B"/>
                </a:solidFill>
                <a:latin typeface="Roboto Regular" pitchFamily="2" charset="0"/>
                <a:ea typeface="Roboto Regular" pitchFamily="2" charset="0"/>
                <a:cs typeface="Open Sans Light"/>
              </a:rPr>
              <a:t>,</a:t>
            </a:r>
            <a:endParaRPr lang="en-US" sz="1100" dirty="0">
              <a:solidFill>
                <a:srgbClr val="58595B"/>
              </a:solidFill>
              <a:latin typeface="Roboto Regular" pitchFamily="2" charset="0"/>
              <a:ea typeface="Roboto Regular" pitchFamily="2" charset="0"/>
              <a:cs typeface="Open Sans Light"/>
            </a:endParaRPr>
          </a:p>
        </p:txBody>
      </p:sp>
      <p:sp>
        <p:nvSpPr>
          <p:cNvPr id="9" name="TextBox 8"/>
          <p:cNvSpPr txBox="1"/>
          <p:nvPr/>
        </p:nvSpPr>
        <p:spPr>
          <a:xfrm>
            <a:off x="1260087" y="4552694"/>
            <a:ext cx="2421016" cy="307775"/>
          </a:xfrm>
          <a:prstGeom prst="rect">
            <a:avLst/>
          </a:prstGeom>
          <a:noFill/>
        </p:spPr>
        <p:txBody>
          <a:bodyPr wrap="square" rtlCol="0">
            <a:spAutoFit/>
          </a:bodyPr>
          <a:lstStyle/>
          <a:p>
            <a:pPr algn="ctr"/>
            <a:r>
              <a:rPr lang="en-US" sz="1400" dirty="0" smtClean="0">
                <a:solidFill>
                  <a:srgbClr val="58595B"/>
                </a:solidFill>
                <a:latin typeface="+mj-lt"/>
                <a:cs typeface="Open Sans Light"/>
              </a:rPr>
              <a:t>Professional Film</a:t>
            </a:r>
            <a:endParaRPr lang="en-US" sz="1400" dirty="0">
              <a:solidFill>
                <a:srgbClr val="58595B"/>
              </a:solidFill>
              <a:latin typeface="+mj-lt"/>
              <a:cs typeface="Open Sans Light"/>
            </a:endParaRPr>
          </a:p>
        </p:txBody>
      </p:sp>
      <p:sp>
        <p:nvSpPr>
          <p:cNvPr id="10" name="TextBox 9"/>
          <p:cNvSpPr txBox="1"/>
          <p:nvPr/>
        </p:nvSpPr>
        <p:spPr>
          <a:xfrm>
            <a:off x="1260087" y="4938522"/>
            <a:ext cx="2421016" cy="1383443"/>
          </a:xfrm>
          <a:prstGeom prst="rect">
            <a:avLst/>
          </a:prstGeom>
          <a:noFill/>
        </p:spPr>
        <p:txBody>
          <a:bodyPr wrap="square" rtlCol="0">
            <a:noAutofit/>
          </a:bodyPr>
          <a:lstStyle/>
          <a:p>
            <a:pPr algn="ctr">
              <a:lnSpc>
                <a:spcPct val="120000"/>
              </a:lnSpc>
            </a:pPr>
            <a:r>
              <a:rPr lang="en-US" sz="1100" dirty="0">
                <a:solidFill>
                  <a:srgbClr val="58595B"/>
                </a:solidFill>
                <a:latin typeface="Roboto Regular" pitchFamily="2" charset="0"/>
                <a:ea typeface="Roboto Regular" pitchFamily="2" charset="0"/>
                <a:cs typeface="Open Sans Light"/>
              </a:rPr>
              <a:t>Lorem ipsum dolor sit amet, consectetur adipiscing elit. Praesent </a:t>
            </a:r>
            <a:r>
              <a:rPr lang="en-US" sz="1100" dirty="0" err="1">
                <a:solidFill>
                  <a:srgbClr val="58595B"/>
                </a:solidFill>
                <a:latin typeface="Roboto Regular" pitchFamily="2" charset="0"/>
                <a:ea typeface="Roboto Regular" pitchFamily="2" charset="0"/>
                <a:cs typeface="Open Sans Light"/>
              </a:rPr>
              <a:t>molestie</a:t>
            </a:r>
            <a:r>
              <a:rPr lang="en-US" sz="1100" dirty="0">
                <a:solidFill>
                  <a:srgbClr val="58595B"/>
                </a:solidFill>
                <a:latin typeface="Roboto Regular" pitchFamily="2" charset="0"/>
                <a:ea typeface="Roboto Regular" pitchFamily="2" charset="0"/>
                <a:cs typeface="Open Sans Light"/>
              </a:rPr>
              <a:t> </a:t>
            </a:r>
            <a:r>
              <a:rPr lang="en-US" sz="1100" dirty="0" err="1">
                <a:solidFill>
                  <a:srgbClr val="58595B"/>
                </a:solidFill>
                <a:latin typeface="Roboto Regular" pitchFamily="2" charset="0"/>
                <a:ea typeface="Roboto Regular" pitchFamily="2" charset="0"/>
                <a:cs typeface="Open Sans Light"/>
              </a:rPr>
              <a:t>efficitur</a:t>
            </a:r>
            <a:r>
              <a:rPr lang="en-US" sz="1100" dirty="0">
                <a:solidFill>
                  <a:srgbClr val="58595B"/>
                </a:solidFill>
                <a:latin typeface="Roboto Regular" pitchFamily="2" charset="0"/>
                <a:ea typeface="Roboto Regular" pitchFamily="2" charset="0"/>
                <a:cs typeface="Open Sans Light"/>
              </a:rPr>
              <a:t> </a:t>
            </a:r>
            <a:r>
              <a:rPr lang="en-US" sz="1100" dirty="0" err="1">
                <a:solidFill>
                  <a:srgbClr val="58595B"/>
                </a:solidFill>
                <a:latin typeface="Roboto Regular" pitchFamily="2" charset="0"/>
                <a:ea typeface="Roboto Regular" pitchFamily="2" charset="0"/>
                <a:cs typeface="Open Sans Light"/>
              </a:rPr>
              <a:t>est</a:t>
            </a:r>
            <a:r>
              <a:rPr lang="en-US" sz="1100" dirty="0" smtClean="0">
                <a:solidFill>
                  <a:srgbClr val="58595B"/>
                </a:solidFill>
                <a:latin typeface="Roboto Regular" pitchFamily="2" charset="0"/>
                <a:ea typeface="Roboto Regular" pitchFamily="2" charset="0"/>
                <a:cs typeface="Open Sans Light"/>
              </a:rPr>
              <a:t>,</a:t>
            </a:r>
            <a:endParaRPr lang="en-US" sz="1100" dirty="0">
              <a:solidFill>
                <a:srgbClr val="58595B"/>
              </a:solidFill>
              <a:latin typeface="Roboto Regular" pitchFamily="2" charset="0"/>
              <a:ea typeface="Roboto Regular" pitchFamily="2" charset="0"/>
              <a:cs typeface="Open Sans Light"/>
            </a:endParaRPr>
          </a:p>
        </p:txBody>
      </p:sp>
      <p:sp>
        <p:nvSpPr>
          <p:cNvPr id="12" name="Freeform 18"/>
          <p:cNvSpPr>
            <a:spLocks/>
          </p:cNvSpPr>
          <p:nvPr/>
        </p:nvSpPr>
        <p:spPr bwMode="auto">
          <a:xfrm>
            <a:off x="2233620" y="4069218"/>
            <a:ext cx="296874" cy="245937"/>
          </a:xfrm>
          <a:custGeom>
            <a:avLst/>
            <a:gdLst>
              <a:gd name="T0" fmla="*/ 320 w 352"/>
              <a:gd name="T1" fmla="*/ 0 h 352"/>
              <a:gd name="T2" fmla="*/ 32 w 352"/>
              <a:gd name="T3" fmla="*/ 0 h 352"/>
              <a:gd name="T4" fmla="*/ 0 w 352"/>
              <a:gd name="T5" fmla="*/ 32 h 352"/>
              <a:gd name="T6" fmla="*/ 0 w 352"/>
              <a:gd name="T7" fmla="*/ 320 h 352"/>
              <a:gd name="T8" fmla="*/ 32 w 352"/>
              <a:gd name="T9" fmla="*/ 352 h 352"/>
              <a:gd name="T10" fmla="*/ 320 w 352"/>
              <a:gd name="T11" fmla="*/ 352 h 352"/>
              <a:gd name="T12" fmla="*/ 352 w 352"/>
              <a:gd name="T13" fmla="*/ 320 h 352"/>
              <a:gd name="T14" fmla="*/ 352 w 352"/>
              <a:gd name="T15" fmla="*/ 32 h 352"/>
              <a:gd name="T16" fmla="*/ 320 w 352"/>
              <a:gd name="T17"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2" h="352">
                <a:moveTo>
                  <a:pt x="320" y="0"/>
                </a:moveTo>
                <a:cubicBezTo>
                  <a:pt x="32" y="0"/>
                  <a:pt x="32" y="0"/>
                  <a:pt x="32" y="0"/>
                </a:cubicBezTo>
                <a:cubicBezTo>
                  <a:pt x="14" y="0"/>
                  <a:pt x="0" y="14"/>
                  <a:pt x="0" y="32"/>
                </a:cubicBezTo>
                <a:cubicBezTo>
                  <a:pt x="0" y="320"/>
                  <a:pt x="0" y="320"/>
                  <a:pt x="0" y="320"/>
                </a:cubicBezTo>
                <a:cubicBezTo>
                  <a:pt x="0" y="338"/>
                  <a:pt x="14" y="352"/>
                  <a:pt x="32" y="352"/>
                </a:cubicBezTo>
                <a:cubicBezTo>
                  <a:pt x="320" y="352"/>
                  <a:pt x="320" y="352"/>
                  <a:pt x="320" y="352"/>
                </a:cubicBezTo>
                <a:cubicBezTo>
                  <a:pt x="338" y="352"/>
                  <a:pt x="352" y="338"/>
                  <a:pt x="352" y="320"/>
                </a:cubicBezTo>
                <a:cubicBezTo>
                  <a:pt x="352" y="32"/>
                  <a:pt x="352" y="32"/>
                  <a:pt x="352" y="32"/>
                </a:cubicBezTo>
                <a:cubicBezTo>
                  <a:pt x="352" y="14"/>
                  <a:pt x="338" y="0"/>
                  <a:pt x="320" y="0"/>
                </a:cubicBezTo>
                <a:close/>
              </a:path>
            </a:pathLst>
          </a:custGeom>
          <a:solidFill>
            <a:srgbClr val="5859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00" dirty="0">
              <a:solidFill>
                <a:srgbClr val="58595B"/>
              </a:solidFill>
              <a:latin typeface="+mj-lt"/>
            </a:endParaRPr>
          </a:p>
        </p:txBody>
      </p:sp>
      <p:sp>
        <p:nvSpPr>
          <p:cNvPr id="13" name="Freeform 19"/>
          <p:cNvSpPr>
            <a:spLocks/>
          </p:cNvSpPr>
          <p:nvPr/>
        </p:nvSpPr>
        <p:spPr bwMode="auto">
          <a:xfrm>
            <a:off x="2557483" y="4101501"/>
            <a:ext cx="108309" cy="180784"/>
          </a:xfrm>
          <a:custGeom>
            <a:avLst/>
            <a:gdLst>
              <a:gd name="T0" fmla="*/ 101 w 128"/>
              <a:gd name="T1" fmla="*/ 9 h 259"/>
              <a:gd name="T2" fmla="*/ 42 w 128"/>
              <a:gd name="T3" fmla="*/ 44 h 259"/>
              <a:gd name="T4" fmla="*/ 0 w 128"/>
              <a:gd name="T5" fmla="*/ 69 h 259"/>
              <a:gd name="T6" fmla="*/ 0 w 128"/>
              <a:gd name="T7" fmla="*/ 189 h 259"/>
              <a:gd name="T8" fmla="*/ 42 w 128"/>
              <a:gd name="T9" fmla="*/ 214 h 259"/>
              <a:gd name="T10" fmla="*/ 101 w 128"/>
              <a:gd name="T11" fmla="*/ 250 h 259"/>
              <a:gd name="T12" fmla="*/ 128 w 128"/>
              <a:gd name="T13" fmla="*/ 234 h 259"/>
              <a:gd name="T14" fmla="*/ 128 w 128"/>
              <a:gd name="T15" fmla="*/ 25 h 259"/>
              <a:gd name="T16" fmla="*/ 101 w 128"/>
              <a:gd name="T17" fmla="*/ 9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259">
                <a:moveTo>
                  <a:pt x="101" y="9"/>
                </a:moveTo>
                <a:cubicBezTo>
                  <a:pt x="42" y="44"/>
                  <a:pt x="42" y="44"/>
                  <a:pt x="42" y="44"/>
                </a:cubicBezTo>
                <a:cubicBezTo>
                  <a:pt x="29" y="52"/>
                  <a:pt x="13" y="62"/>
                  <a:pt x="0" y="69"/>
                </a:cubicBezTo>
                <a:cubicBezTo>
                  <a:pt x="0" y="189"/>
                  <a:pt x="0" y="189"/>
                  <a:pt x="0" y="189"/>
                </a:cubicBezTo>
                <a:cubicBezTo>
                  <a:pt x="13" y="197"/>
                  <a:pt x="29" y="207"/>
                  <a:pt x="42" y="214"/>
                </a:cubicBezTo>
                <a:cubicBezTo>
                  <a:pt x="101" y="250"/>
                  <a:pt x="101" y="250"/>
                  <a:pt x="101" y="250"/>
                </a:cubicBezTo>
                <a:cubicBezTo>
                  <a:pt x="116" y="259"/>
                  <a:pt x="128" y="252"/>
                  <a:pt x="128" y="234"/>
                </a:cubicBezTo>
                <a:cubicBezTo>
                  <a:pt x="128" y="25"/>
                  <a:pt x="128" y="25"/>
                  <a:pt x="128" y="25"/>
                </a:cubicBezTo>
                <a:cubicBezTo>
                  <a:pt x="128" y="7"/>
                  <a:pt x="116" y="0"/>
                  <a:pt x="101" y="9"/>
                </a:cubicBezTo>
                <a:close/>
              </a:path>
            </a:pathLst>
          </a:custGeom>
          <a:solidFill>
            <a:srgbClr val="5859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00" dirty="0">
              <a:solidFill>
                <a:srgbClr val="58595B"/>
              </a:solidFill>
              <a:latin typeface="+mj-lt"/>
            </a:endParaRPr>
          </a:p>
        </p:txBody>
      </p:sp>
      <p:sp>
        <p:nvSpPr>
          <p:cNvPr id="15" name="TextBox 14"/>
          <p:cNvSpPr txBox="1"/>
          <p:nvPr/>
        </p:nvSpPr>
        <p:spPr>
          <a:xfrm>
            <a:off x="9160185" y="1889813"/>
            <a:ext cx="2421016" cy="307775"/>
          </a:xfrm>
          <a:prstGeom prst="rect">
            <a:avLst/>
          </a:prstGeom>
          <a:noFill/>
        </p:spPr>
        <p:txBody>
          <a:bodyPr wrap="square" rtlCol="0">
            <a:spAutoFit/>
          </a:bodyPr>
          <a:lstStyle/>
          <a:p>
            <a:pPr algn="ctr"/>
            <a:r>
              <a:rPr lang="en-US" sz="1400" dirty="0" smtClean="0">
                <a:solidFill>
                  <a:srgbClr val="58595B"/>
                </a:solidFill>
                <a:latin typeface="+mj-lt"/>
                <a:cs typeface="Open Sans Light"/>
              </a:rPr>
              <a:t>Cloud Service</a:t>
            </a:r>
            <a:endParaRPr lang="en-US" sz="1400" dirty="0">
              <a:solidFill>
                <a:srgbClr val="58595B"/>
              </a:solidFill>
              <a:latin typeface="+mj-lt"/>
              <a:cs typeface="Open Sans Light"/>
            </a:endParaRPr>
          </a:p>
        </p:txBody>
      </p:sp>
      <p:sp>
        <p:nvSpPr>
          <p:cNvPr id="16" name="TextBox 15"/>
          <p:cNvSpPr txBox="1"/>
          <p:nvPr/>
        </p:nvSpPr>
        <p:spPr>
          <a:xfrm>
            <a:off x="9160185" y="2275641"/>
            <a:ext cx="2421016" cy="1383443"/>
          </a:xfrm>
          <a:prstGeom prst="rect">
            <a:avLst/>
          </a:prstGeom>
          <a:noFill/>
        </p:spPr>
        <p:txBody>
          <a:bodyPr wrap="square" rtlCol="0">
            <a:noAutofit/>
          </a:bodyPr>
          <a:lstStyle/>
          <a:p>
            <a:pPr algn="ctr">
              <a:lnSpc>
                <a:spcPct val="120000"/>
              </a:lnSpc>
            </a:pPr>
            <a:r>
              <a:rPr lang="en-US" sz="1100" dirty="0">
                <a:solidFill>
                  <a:srgbClr val="58595B"/>
                </a:solidFill>
                <a:latin typeface="Roboto Regular" pitchFamily="2" charset="0"/>
                <a:ea typeface="Roboto Regular" pitchFamily="2" charset="0"/>
                <a:cs typeface="Open Sans Light"/>
              </a:rPr>
              <a:t>Lorem ipsum dolor sit amet, consectetur adipiscing elit. Praesent </a:t>
            </a:r>
            <a:r>
              <a:rPr lang="en-US" sz="1100" dirty="0" err="1">
                <a:solidFill>
                  <a:srgbClr val="58595B"/>
                </a:solidFill>
                <a:latin typeface="Roboto Regular" pitchFamily="2" charset="0"/>
                <a:ea typeface="Roboto Regular" pitchFamily="2" charset="0"/>
                <a:cs typeface="Open Sans Light"/>
              </a:rPr>
              <a:t>molestie</a:t>
            </a:r>
            <a:r>
              <a:rPr lang="en-US" sz="1100" dirty="0">
                <a:solidFill>
                  <a:srgbClr val="58595B"/>
                </a:solidFill>
                <a:latin typeface="Roboto Regular" pitchFamily="2" charset="0"/>
                <a:ea typeface="Roboto Regular" pitchFamily="2" charset="0"/>
                <a:cs typeface="Open Sans Light"/>
              </a:rPr>
              <a:t> </a:t>
            </a:r>
            <a:r>
              <a:rPr lang="en-US" sz="1100" dirty="0" err="1">
                <a:solidFill>
                  <a:srgbClr val="58595B"/>
                </a:solidFill>
                <a:latin typeface="Roboto Regular" pitchFamily="2" charset="0"/>
                <a:ea typeface="Roboto Regular" pitchFamily="2" charset="0"/>
                <a:cs typeface="Open Sans Light"/>
              </a:rPr>
              <a:t>efficitur</a:t>
            </a:r>
            <a:r>
              <a:rPr lang="en-US" sz="1100" dirty="0">
                <a:solidFill>
                  <a:srgbClr val="58595B"/>
                </a:solidFill>
                <a:latin typeface="Roboto Regular" pitchFamily="2" charset="0"/>
                <a:ea typeface="Roboto Regular" pitchFamily="2" charset="0"/>
                <a:cs typeface="Open Sans Light"/>
              </a:rPr>
              <a:t> </a:t>
            </a:r>
            <a:r>
              <a:rPr lang="en-US" sz="1100" dirty="0" err="1">
                <a:solidFill>
                  <a:srgbClr val="58595B"/>
                </a:solidFill>
                <a:latin typeface="Roboto Regular" pitchFamily="2" charset="0"/>
                <a:ea typeface="Roboto Regular" pitchFamily="2" charset="0"/>
                <a:cs typeface="Open Sans Light"/>
              </a:rPr>
              <a:t>est</a:t>
            </a:r>
            <a:r>
              <a:rPr lang="en-US" sz="1100" dirty="0" smtClean="0">
                <a:solidFill>
                  <a:srgbClr val="58595B"/>
                </a:solidFill>
                <a:latin typeface="Roboto Regular" pitchFamily="2" charset="0"/>
                <a:ea typeface="Roboto Regular" pitchFamily="2" charset="0"/>
                <a:cs typeface="Open Sans Light"/>
              </a:rPr>
              <a:t>,</a:t>
            </a:r>
            <a:endParaRPr lang="en-US" sz="1100" dirty="0">
              <a:solidFill>
                <a:srgbClr val="58595B"/>
              </a:solidFill>
              <a:latin typeface="Roboto Regular" pitchFamily="2" charset="0"/>
              <a:ea typeface="Roboto Regular" pitchFamily="2" charset="0"/>
              <a:cs typeface="Open Sans Light"/>
            </a:endParaRPr>
          </a:p>
        </p:txBody>
      </p:sp>
      <p:sp>
        <p:nvSpPr>
          <p:cNvPr id="20" name="AutoShape 68"/>
          <p:cNvSpPr>
            <a:spLocks/>
          </p:cNvSpPr>
          <p:nvPr/>
        </p:nvSpPr>
        <p:spPr bwMode="auto">
          <a:xfrm>
            <a:off x="10133005" y="1352433"/>
            <a:ext cx="435759" cy="28906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8612" y="9346"/>
                </a:moveTo>
                <a:cubicBezTo>
                  <a:pt x="19507" y="9887"/>
                  <a:pt x="20229" y="10667"/>
                  <a:pt x="20776" y="11686"/>
                </a:cubicBezTo>
                <a:cubicBezTo>
                  <a:pt x="21324" y="12708"/>
                  <a:pt x="21599" y="13846"/>
                  <a:pt x="21599" y="15107"/>
                </a:cubicBezTo>
                <a:cubicBezTo>
                  <a:pt x="21599" y="16005"/>
                  <a:pt x="21458" y="16846"/>
                  <a:pt x="21172" y="17629"/>
                </a:cubicBezTo>
                <a:cubicBezTo>
                  <a:pt x="20889" y="18409"/>
                  <a:pt x="20503" y="19097"/>
                  <a:pt x="20008" y="19691"/>
                </a:cubicBezTo>
                <a:cubicBezTo>
                  <a:pt x="19512" y="20281"/>
                  <a:pt x="18940" y="20747"/>
                  <a:pt x="18290" y="21090"/>
                </a:cubicBezTo>
                <a:cubicBezTo>
                  <a:pt x="17640" y="21427"/>
                  <a:pt x="16939" y="21599"/>
                  <a:pt x="16187" y="21599"/>
                </a:cubicBezTo>
                <a:lnTo>
                  <a:pt x="4490" y="21599"/>
                </a:lnTo>
                <a:cubicBezTo>
                  <a:pt x="3878" y="21599"/>
                  <a:pt x="3297" y="21458"/>
                  <a:pt x="2750" y="21176"/>
                </a:cubicBezTo>
                <a:cubicBezTo>
                  <a:pt x="2203" y="20900"/>
                  <a:pt x="1723" y="20511"/>
                  <a:pt x="1312" y="20022"/>
                </a:cubicBezTo>
                <a:cubicBezTo>
                  <a:pt x="904" y="19527"/>
                  <a:pt x="583" y="18954"/>
                  <a:pt x="350" y="18294"/>
                </a:cubicBezTo>
                <a:cubicBezTo>
                  <a:pt x="115" y="17641"/>
                  <a:pt x="0" y="16947"/>
                  <a:pt x="0" y="16210"/>
                </a:cubicBezTo>
                <a:cubicBezTo>
                  <a:pt x="0" y="15565"/>
                  <a:pt x="88" y="14957"/>
                  <a:pt x="268" y="14381"/>
                </a:cubicBezTo>
                <a:cubicBezTo>
                  <a:pt x="448" y="13809"/>
                  <a:pt x="696" y="13287"/>
                  <a:pt x="1010" y="12818"/>
                </a:cubicBezTo>
                <a:cubicBezTo>
                  <a:pt x="1324" y="12351"/>
                  <a:pt x="1694" y="11954"/>
                  <a:pt x="2119" y="11632"/>
                </a:cubicBezTo>
                <a:cubicBezTo>
                  <a:pt x="2544" y="11312"/>
                  <a:pt x="3004" y="11079"/>
                  <a:pt x="3504" y="10929"/>
                </a:cubicBezTo>
                <a:cubicBezTo>
                  <a:pt x="3249" y="10552"/>
                  <a:pt x="3055" y="10140"/>
                  <a:pt x="2916" y="9688"/>
                </a:cubicBezTo>
                <a:cubicBezTo>
                  <a:pt x="2779" y="9239"/>
                  <a:pt x="2712" y="8758"/>
                  <a:pt x="2712" y="8240"/>
                </a:cubicBezTo>
                <a:cubicBezTo>
                  <a:pt x="2712" y="7635"/>
                  <a:pt x="2805" y="7071"/>
                  <a:pt x="2992" y="6547"/>
                </a:cubicBezTo>
                <a:cubicBezTo>
                  <a:pt x="3180" y="6023"/>
                  <a:pt x="3434" y="5568"/>
                  <a:pt x="3756" y="5182"/>
                </a:cubicBezTo>
                <a:cubicBezTo>
                  <a:pt x="4077" y="4796"/>
                  <a:pt x="4456" y="4488"/>
                  <a:pt x="4893" y="4264"/>
                </a:cubicBezTo>
                <a:cubicBezTo>
                  <a:pt x="5330" y="4039"/>
                  <a:pt x="5800" y="3927"/>
                  <a:pt x="6307" y="3927"/>
                </a:cubicBezTo>
                <a:cubicBezTo>
                  <a:pt x="7171" y="3927"/>
                  <a:pt x="7922" y="4258"/>
                  <a:pt x="8558" y="4920"/>
                </a:cubicBezTo>
                <a:cubicBezTo>
                  <a:pt x="8697" y="4223"/>
                  <a:pt x="8932" y="3573"/>
                  <a:pt x="9264" y="2971"/>
                </a:cubicBezTo>
                <a:cubicBezTo>
                  <a:pt x="9597" y="2369"/>
                  <a:pt x="9993" y="1848"/>
                  <a:pt x="10449" y="1404"/>
                </a:cubicBezTo>
                <a:cubicBezTo>
                  <a:pt x="10905" y="964"/>
                  <a:pt x="11412" y="621"/>
                  <a:pt x="11976" y="374"/>
                </a:cubicBezTo>
                <a:cubicBezTo>
                  <a:pt x="12540" y="123"/>
                  <a:pt x="13142" y="0"/>
                  <a:pt x="13785" y="0"/>
                </a:cubicBezTo>
                <a:cubicBezTo>
                  <a:pt x="14520" y="0"/>
                  <a:pt x="15218" y="169"/>
                  <a:pt x="15876" y="509"/>
                </a:cubicBezTo>
                <a:cubicBezTo>
                  <a:pt x="16536" y="852"/>
                  <a:pt x="17109" y="1312"/>
                  <a:pt x="17594" y="1894"/>
                </a:cubicBezTo>
                <a:cubicBezTo>
                  <a:pt x="18081" y="2476"/>
                  <a:pt x="18465" y="3167"/>
                  <a:pt x="18748" y="3956"/>
                </a:cubicBezTo>
                <a:cubicBezTo>
                  <a:pt x="19032" y="4744"/>
                  <a:pt x="19173" y="5580"/>
                  <a:pt x="19173" y="6463"/>
                </a:cubicBezTo>
                <a:cubicBezTo>
                  <a:pt x="19173" y="6987"/>
                  <a:pt x="19125" y="7491"/>
                  <a:pt x="19024" y="7972"/>
                </a:cubicBezTo>
                <a:cubicBezTo>
                  <a:pt x="18924" y="8453"/>
                  <a:pt x="18784" y="8914"/>
                  <a:pt x="18612" y="9346"/>
                </a:cubicBezTo>
              </a:path>
            </a:pathLst>
          </a:custGeom>
          <a:solidFill>
            <a:srgbClr val="58595B"/>
          </a:solidFill>
          <a:ln>
            <a:noFill/>
          </a:ln>
          <a:effectLst/>
          <a:extLst/>
        </p:spPr>
        <p:txBody>
          <a:bodyPr lIns="38100" tIns="38100" rIns="38100" bIns="38100" anchor="ctr"/>
          <a:lstStyle/>
          <a:p>
            <a:pPr defTabSz="342528">
              <a:defRPr/>
            </a:pPr>
            <a:endParaRPr lang="es-ES" sz="1100">
              <a:solidFill>
                <a:srgbClr val="58595B"/>
              </a:solidFill>
              <a:effectLst>
                <a:outerShdw blurRad="38100" dist="38100" dir="2700000" algn="tl">
                  <a:srgbClr val="000000"/>
                </a:outerShdw>
              </a:effectLst>
              <a:latin typeface="+mj-lt"/>
              <a:cs typeface="Gill Sans" charset="0"/>
              <a:sym typeface="Gill Sans" charset="0"/>
            </a:endParaRPr>
          </a:p>
        </p:txBody>
      </p:sp>
      <p:sp>
        <p:nvSpPr>
          <p:cNvPr id="18" name="TextBox 17"/>
          <p:cNvSpPr txBox="1"/>
          <p:nvPr/>
        </p:nvSpPr>
        <p:spPr>
          <a:xfrm>
            <a:off x="9160184" y="4588711"/>
            <a:ext cx="2421016" cy="307775"/>
          </a:xfrm>
          <a:prstGeom prst="rect">
            <a:avLst/>
          </a:prstGeom>
          <a:noFill/>
        </p:spPr>
        <p:txBody>
          <a:bodyPr wrap="square" rtlCol="0">
            <a:spAutoFit/>
          </a:bodyPr>
          <a:lstStyle/>
          <a:p>
            <a:pPr algn="ctr"/>
            <a:r>
              <a:rPr lang="en-US" sz="1400" dirty="0" smtClean="0">
                <a:solidFill>
                  <a:srgbClr val="58595B"/>
                </a:solidFill>
                <a:latin typeface="+mj-lt"/>
                <a:cs typeface="Open Sans Light"/>
              </a:rPr>
              <a:t>Pictures</a:t>
            </a:r>
            <a:endParaRPr lang="en-US" sz="1400" dirty="0">
              <a:solidFill>
                <a:srgbClr val="58595B"/>
              </a:solidFill>
              <a:latin typeface="+mj-lt"/>
              <a:cs typeface="Open Sans Light"/>
            </a:endParaRPr>
          </a:p>
        </p:txBody>
      </p:sp>
      <p:sp>
        <p:nvSpPr>
          <p:cNvPr id="19" name="TextBox 18"/>
          <p:cNvSpPr txBox="1"/>
          <p:nvPr/>
        </p:nvSpPr>
        <p:spPr>
          <a:xfrm>
            <a:off x="9160184" y="4974539"/>
            <a:ext cx="2421016" cy="1383443"/>
          </a:xfrm>
          <a:prstGeom prst="rect">
            <a:avLst/>
          </a:prstGeom>
          <a:noFill/>
        </p:spPr>
        <p:txBody>
          <a:bodyPr wrap="square" rtlCol="0">
            <a:noAutofit/>
          </a:bodyPr>
          <a:lstStyle/>
          <a:p>
            <a:pPr algn="ctr">
              <a:lnSpc>
                <a:spcPct val="120000"/>
              </a:lnSpc>
            </a:pPr>
            <a:r>
              <a:rPr lang="en-US" sz="1100" dirty="0">
                <a:solidFill>
                  <a:srgbClr val="58595B"/>
                </a:solidFill>
                <a:latin typeface="Roboto Regular" pitchFamily="2" charset="0"/>
                <a:ea typeface="Roboto Regular" pitchFamily="2" charset="0"/>
                <a:cs typeface="Open Sans Light"/>
              </a:rPr>
              <a:t>Lorem ipsum dolor sit amet, consectetur adipiscing elit. Praesent </a:t>
            </a:r>
            <a:r>
              <a:rPr lang="en-US" sz="1100" dirty="0" err="1">
                <a:solidFill>
                  <a:srgbClr val="58595B"/>
                </a:solidFill>
                <a:latin typeface="Roboto Regular" pitchFamily="2" charset="0"/>
                <a:ea typeface="Roboto Regular" pitchFamily="2" charset="0"/>
                <a:cs typeface="Open Sans Light"/>
              </a:rPr>
              <a:t>molestie</a:t>
            </a:r>
            <a:r>
              <a:rPr lang="en-US" sz="1100" dirty="0">
                <a:solidFill>
                  <a:srgbClr val="58595B"/>
                </a:solidFill>
                <a:latin typeface="Roboto Regular" pitchFamily="2" charset="0"/>
                <a:ea typeface="Roboto Regular" pitchFamily="2" charset="0"/>
                <a:cs typeface="Open Sans Light"/>
              </a:rPr>
              <a:t> </a:t>
            </a:r>
            <a:r>
              <a:rPr lang="en-US" sz="1100" dirty="0" err="1">
                <a:solidFill>
                  <a:srgbClr val="58595B"/>
                </a:solidFill>
                <a:latin typeface="Roboto Regular" pitchFamily="2" charset="0"/>
                <a:ea typeface="Roboto Regular" pitchFamily="2" charset="0"/>
                <a:cs typeface="Open Sans Light"/>
              </a:rPr>
              <a:t>efficitur</a:t>
            </a:r>
            <a:r>
              <a:rPr lang="en-US" sz="1100" dirty="0">
                <a:solidFill>
                  <a:srgbClr val="58595B"/>
                </a:solidFill>
                <a:latin typeface="Roboto Regular" pitchFamily="2" charset="0"/>
                <a:ea typeface="Roboto Regular" pitchFamily="2" charset="0"/>
                <a:cs typeface="Open Sans Light"/>
              </a:rPr>
              <a:t> </a:t>
            </a:r>
            <a:r>
              <a:rPr lang="en-US" sz="1100" dirty="0" err="1">
                <a:solidFill>
                  <a:srgbClr val="58595B"/>
                </a:solidFill>
                <a:latin typeface="Roboto Regular" pitchFamily="2" charset="0"/>
                <a:ea typeface="Roboto Regular" pitchFamily="2" charset="0"/>
                <a:cs typeface="Open Sans Light"/>
              </a:rPr>
              <a:t>est</a:t>
            </a:r>
            <a:r>
              <a:rPr lang="en-US" sz="1100" dirty="0" smtClean="0">
                <a:solidFill>
                  <a:srgbClr val="58595B"/>
                </a:solidFill>
                <a:latin typeface="Roboto Regular" pitchFamily="2" charset="0"/>
                <a:ea typeface="Roboto Regular" pitchFamily="2" charset="0"/>
                <a:cs typeface="Open Sans Light"/>
              </a:rPr>
              <a:t>,</a:t>
            </a:r>
            <a:endParaRPr lang="en-US" sz="1100" dirty="0">
              <a:solidFill>
                <a:srgbClr val="58595B"/>
              </a:solidFill>
              <a:latin typeface="Roboto Regular" pitchFamily="2" charset="0"/>
              <a:ea typeface="Roboto Regular" pitchFamily="2" charset="0"/>
              <a:cs typeface="Open Sans Light"/>
            </a:endParaRPr>
          </a:p>
        </p:txBody>
      </p:sp>
      <p:sp>
        <p:nvSpPr>
          <p:cNvPr id="21" name="AutoShape 43"/>
          <p:cNvSpPr>
            <a:spLocks/>
          </p:cNvSpPr>
          <p:nvPr/>
        </p:nvSpPr>
        <p:spPr bwMode="auto">
          <a:xfrm>
            <a:off x="10172620" y="4069218"/>
            <a:ext cx="396145" cy="31797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63" y="0"/>
                </a:moveTo>
                <a:cubicBezTo>
                  <a:pt x="20630" y="0"/>
                  <a:pt x="20946" y="158"/>
                  <a:pt x="21208" y="478"/>
                </a:cubicBezTo>
                <a:cubicBezTo>
                  <a:pt x="21470" y="798"/>
                  <a:pt x="21599" y="1177"/>
                  <a:pt x="21599" y="1615"/>
                </a:cubicBezTo>
                <a:lnTo>
                  <a:pt x="21599" y="19984"/>
                </a:lnTo>
                <a:cubicBezTo>
                  <a:pt x="21599" y="20422"/>
                  <a:pt x="21470" y="20803"/>
                  <a:pt x="21208" y="21124"/>
                </a:cubicBezTo>
                <a:cubicBezTo>
                  <a:pt x="20948" y="21441"/>
                  <a:pt x="20632" y="21599"/>
                  <a:pt x="20263" y="21599"/>
                </a:cubicBezTo>
                <a:lnTo>
                  <a:pt x="1346" y="21599"/>
                </a:lnTo>
                <a:cubicBezTo>
                  <a:pt x="981" y="21599"/>
                  <a:pt x="663" y="21441"/>
                  <a:pt x="396" y="21124"/>
                </a:cubicBezTo>
                <a:cubicBezTo>
                  <a:pt x="132" y="20803"/>
                  <a:pt x="0" y="20422"/>
                  <a:pt x="0" y="19984"/>
                </a:cubicBezTo>
                <a:lnTo>
                  <a:pt x="0" y="1615"/>
                </a:lnTo>
                <a:cubicBezTo>
                  <a:pt x="0" y="1177"/>
                  <a:pt x="132" y="798"/>
                  <a:pt x="396" y="478"/>
                </a:cubicBezTo>
                <a:cubicBezTo>
                  <a:pt x="661" y="158"/>
                  <a:pt x="979" y="0"/>
                  <a:pt x="1346" y="0"/>
                </a:cubicBezTo>
                <a:lnTo>
                  <a:pt x="20263" y="0"/>
                </a:lnTo>
                <a:close/>
                <a:moveTo>
                  <a:pt x="19805" y="2170"/>
                </a:moveTo>
                <a:lnTo>
                  <a:pt x="1801" y="2170"/>
                </a:lnTo>
                <a:lnTo>
                  <a:pt x="1801" y="19440"/>
                </a:lnTo>
                <a:lnTo>
                  <a:pt x="19805" y="19440"/>
                </a:lnTo>
                <a:lnTo>
                  <a:pt x="19805" y="2170"/>
                </a:lnTo>
                <a:close/>
                <a:moveTo>
                  <a:pt x="5425" y="8662"/>
                </a:moveTo>
                <a:cubicBezTo>
                  <a:pt x="4910" y="8662"/>
                  <a:pt x="4475" y="8454"/>
                  <a:pt x="4125" y="8034"/>
                </a:cubicBezTo>
                <a:cubicBezTo>
                  <a:pt x="3770" y="7611"/>
                  <a:pt x="3598" y="7103"/>
                  <a:pt x="3598" y="6512"/>
                </a:cubicBezTo>
                <a:cubicBezTo>
                  <a:pt x="3598" y="5895"/>
                  <a:pt x="3770" y="5372"/>
                  <a:pt x="4125" y="4952"/>
                </a:cubicBezTo>
                <a:cubicBezTo>
                  <a:pt x="4477" y="4526"/>
                  <a:pt x="4910" y="4321"/>
                  <a:pt x="5425" y="4321"/>
                </a:cubicBezTo>
                <a:cubicBezTo>
                  <a:pt x="5914" y="4321"/>
                  <a:pt x="6340" y="4529"/>
                  <a:pt x="6693" y="4952"/>
                </a:cubicBezTo>
                <a:cubicBezTo>
                  <a:pt x="7045" y="5372"/>
                  <a:pt x="7219" y="5895"/>
                  <a:pt x="7219" y="6512"/>
                </a:cubicBezTo>
                <a:cubicBezTo>
                  <a:pt x="7219" y="7103"/>
                  <a:pt x="7045" y="7611"/>
                  <a:pt x="6693" y="8034"/>
                </a:cubicBezTo>
                <a:cubicBezTo>
                  <a:pt x="6340" y="8454"/>
                  <a:pt x="5914" y="8662"/>
                  <a:pt x="5425" y="8662"/>
                </a:cubicBezTo>
                <a:moveTo>
                  <a:pt x="18001" y="17287"/>
                </a:moveTo>
                <a:lnTo>
                  <a:pt x="3598" y="17287"/>
                </a:lnTo>
                <a:lnTo>
                  <a:pt x="3598" y="15810"/>
                </a:lnTo>
                <a:lnTo>
                  <a:pt x="6845" y="10745"/>
                </a:lnTo>
                <a:lnTo>
                  <a:pt x="9045" y="12942"/>
                </a:lnTo>
                <a:lnTo>
                  <a:pt x="13193" y="5387"/>
                </a:lnTo>
                <a:lnTo>
                  <a:pt x="17998" y="11350"/>
                </a:lnTo>
                <a:lnTo>
                  <a:pt x="17998" y="17287"/>
                </a:lnTo>
                <a:close/>
              </a:path>
            </a:pathLst>
          </a:custGeom>
          <a:solidFill>
            <a:srgbClr val="58595B"/>
          </a:solidFill>
          <a:ln>
            <a:noFill/>
          </a:ln>
          <a:effectLst/>
          <a:extLst/>
        </p:spPr>
        <p:txBody>
          <a:bodyPr lIns="38100" tIns="38100" rIns="38100" bIns="38100" anchor="ctr"/>
          <a:lstStyle/>
          <a:p>
            <a:pPr defTabSz="342528">
              <a:defRPr/>
            </a:pPr>
            <a:endParaRPr lang="es-ES" sz="1100">
              <a:solidFill>
                <a:srgbClr val="58595B"/>
              </a:solidFill>
              <a:effectLst>
                <a:outerShdw blurRad="38100" dist="38100" dir="2700000" algn="tl">
                  <a:srgbClr val="000000"/>
                </a:outerShdw>
              </a:effectLst>
              <a:latin typeface="+mj-lt"/>
              <a:cs typeface="Gill Sans" charset="0"/>
              <a:sym typeface="Gill Sans" charset="0"/>
            </a:endParaRPr>
          </a:p>
        </p:txBody>
      </p: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70718" y="1598476"/>
            <a:ext cx="3673182" cy="4121215"/>
          </a:xfrm>
          <a:prstGeom prst="rect">
            <a:avLst/>
          </a:prstGeom>
        </p:spPr>
      </p:pic>
    </p:spTree>
    <p:extLst>
      <p:ext uri="{BB962C8B-B14F-4D97-AF65-F5344CB8AC3E}">
        <p14:creationId xmlns:p14="http://schemas.microsoft.com/office/powerpoint/2010/main" val="1164397421"/>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4 key points</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dirty="0" err="1" smtClean="0">
              <a:solidFill>
                <a:srgbClr val="FFFFFF"/>
              </a:solidFill>
            </a:endParaRPr>
          </a:p>
        </p:txBody>
      </p:sp>
      <p:sp>
        <p:nvSpPr>
          <p:cNvPr id="5" name="Title 20"/>
          <p:cNvSpPr txBox="1">
            <a:spLocks/>
          </p:cNvSpPr>
          <p:nvPr/>
        </p:nvSpPr>
        <p:spPr>
          <a:xfrm>
            <a:off x="811854" y="1850162"/>
            <a:ext cx="1358843" cy="1015656"/>
          </a:xfrm>
          <a:prstGeom prst="rect">
            <a:avLst/>
          </a:prstGeom>
        </p:spPr>
        <p:txBody>
          <a:bodyPr vert="horz" lIns="91440" tIns="45720" rIns="91440" bIns="4572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en-US" sz="6000" dirty="0">
                <a:solidFill>
                  <a:srgbClr val="58595B"/>
                </a:solidFill>
                <a:latin typeface="+mj-lt"/>
                <a:cs typeface="Open Sans"/>
              </a:rPr>
              <a:t>01 </a:t>
            </a:r>
          </a:p>
        </p:txBody>
      </p:sp>
      <p:sp>
        <p:nvSpPr>
          <p:cNvPr id="6" name="Title 20"/>
          <p:cNvSpPr txBox="1">
            <a:spLocks/>
          </p:cNvSpPr>
          <p:nvPr/>
        </p:nvSpPr>
        <p:spPr>
          <a:xfrm>
            <a:off x="2053919" y="1882114"/>
            <a:ext cx="3893410" cy="415495"/>
          </a:xfrm>
          <a:prstGeom prst="rect">
            <a:avLst/>
          </a:prstGeom>
        </p:spPr>
        <p:txBody>
          <a:bodyPr vert="horz" wrap="square" lIns="91440" tIns="0" rIns="91440" bIns="45720" rtlCol="0" anchor="t" anchorCtr="0">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r>
              <a:rPr lang="en-US" sz="2400" dirty="0">
                <a:solidFill>
                  <a:srgbClr val="58595B"/>
                </a:solidFill>
                <a:latin typeface="+mj-lt"/>
                <a:cs typeface="Open Sans Light"/>
              </a:rPr>
              <a:t>Positive Attitude</a:t>
            </a:r>
          </a:p>
        </p:txBody>
      </p:sp>
      <p:sp>
        <p:nvSpPr>
          <p:cNvPr id="7" name="Title 20"/>
          <p:cNvSpPr txBox="1">
            <a:spLocks/>
          </p:cNvSpPr>
          <p:nvPr/>
        </p:nvSpPr>
        <p:spPr>
          <a:xfrm>
            <a:off x="2134887" y="2428840"/>
            <a:ext cx="3436040" cy="938719"/>
          </a:xfrm>
          <a:prstGeom prst="rect">
            <a:avLst/>
          </a:prstGeom>
        </p:spPr>
        <p:txBody>
          <a:bodyPr vert="horz" wrap="square" lIns="91440" tIns="0" rIns="0"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30000"/>
              </a:lnSpc>
            </a:pPr>
            <a:r>
              <a:rPr lang="pt-BR" sz="1200" dirty="0">
                <a:solidFill>
                  <a:srgbClr val="58595B"/>
                </a:solidFill>
                <a:latin typeface="Roboto Regular" pitchFamily="2" charset="0"/>
                <a:ea typeface="Roboto Regular" pitchFamily="2" charset="0"/>
                <a:cs typeface="Open Sans Light"/>
              </a:rPr>
              <a:t>Lorem ipsum dolor sit amet, consectetur adipiscing elit. Aliquam tincidunt ante nec sem congue convallis. Pellentesque vel mauris quis nisl ornare rutrum in id risus. </a:t>
            </a:r>
            <a:endParaRPr lang="en-US" sz="1200" dirty="0">
              <a:solidFill>
                <a:srgbClr val="58595B"/>
              </a:solidFill>
              <a:latin typeface="Roboto Regular" pitchFamily="2" charset="0"/>
              <a:ea typeface="Roboto Regular" pitchFamily="2" charset="0"/>
              <a:cs typeface="Open Sans Light"/>
            </a:endParaRPr>
          </a:p>
        </p:txBody>
      </p:sp>
      <p:sp>
        <p:nvSpPr>
          <p:cNvPr id="9" name="Title 20"/>
          <p:cNvSpPr txBox="1">
            <a:spLocks/>
          </p:cNvSpPr>
          <p:nvPr/>
        </p:nvSpPr>
        <p:spPr>
          <a:xfrm>
            <a:off x="6893960" y="1850162"/>
            <a:ext cx="1358843" cy="1015656"/>
          </a:xfrm>
          <a:prstGeom prst="rect">
            <a:avLst/>
          </a:prstGeom>
        </p:spPr>
        <p:txBody>
          <a:bodyPr vert="horz" lIns="91440" tIns="45720" rIns="91440" bIns="4572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en-US" sz="6000" dirty="0">
                <a:solidFill>
                  <a:srgbClr val="41B5E8"/>
                </a:solidFill>
                <a:latin typeface="+mj-lt"/>
                <a:cs typeface="Open Sans"/>
              </a:rPr>
              <a:t>02</a:t>
            </a:r>
            <a:r>
              <a:rPr lang="en-US" sz="6000" dirty="0">
                <a:solidFill>
                  <a:srgbClr val="58595B"/>
                </a:solidFill>
                <a:latin typeface="+mj-lt"/>
                <a:cs typeface="Open Sans"/>
              </a:rPr>
              <a:t> </a:t>
            </a:r>
          </a:p>
        </p:txBody>
      </p:sp>
      <p:sp>
        <p:nvSpPr>
          <p:cNvPr id="10" name="Title 20"/>
          <p:cNvSpPr txBox="1">
            <a:spLocks/>
          </p:cNvSpPr>
          <p:nvPr/>
        </p:nvSpPr>
        <p:spPr>
          <a:xfrm>
            <a:off x="8136025" y="1882114"/>
            <a:ext cx="3893410" cy="415496"/>
          </a:xfrm>
          <a:prstGeom prst="rect">
            <a:avLst/>
          </a:prstGeom>
        </p:spPr>
        <p:txBody>
          <a:bodyPr vert="horz" wrap="square" lIns="91440" tIns="0" rIns="91440" bIns="45720" rtlCol="0" anchor="t" anchorCtr="0">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r>
              <a:rPr lang="en-US" sz="2400" dirty="0">
                <a:solidFill>
                  <a:srgbClr val="41B5E8"/>
                </a:solidFill>
                <a:latin typeface="+mj-lt"/>
                <a:cs typeface="Open Sans Light"/>
              </a:rPr>
              <a:t>Enthusiasm</a:t>
            </a:r>
          </a:p>
        </p:txBody>
      </p:sp>
      <p:sp>
        <p:nvSpPr>
          <p:cNvPr id="11" name="Title 20"/>
          <p:cNvSpPr txBox="1">
            <a:spLocks/>
          </p:cNvSpPr>
          <p:nvPr/>
        </p:nvSpPr>
        <p:spPr>
          <a:xfrm>
            <a:off x="8252803" y="2428840"/>
            <a:ext cx="3436040" cy="938719"/>
          </a:xfrm>
          <a:prstGeom prst="rect">
            <a:avLst/>
          </a:prstGeom>
        </p:spPr>
        <p:txBody>
          <a:bodyPr vert="horz" wrap="square" lIns="91440" tIns="0" rIns="0"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30000"/>
              </a:lnSpc>
            </a:pPr>
            <a:r>
              <a:rPr lang="pt-BR" sz="1200" dirty="0">
                <a:solidFill>
                  <a:srgbClr val="58595B"/>
                </a:solidFill>
                <a:latin typeface="Roboto Regular" pitchFamily="2" charset="0"/>
                <a:ea typeface="Roboto Regular" pitchFamily="2" charset="0"/>
                <a:cs typeface="Open Sans Light"/>
              </a:rPr>
              <a:t>Lorem ipsum dolor sit amet, consectetur adipiscing elit. Aliquam tincidunt ante nec sem congue convallis. Pellentesque vel mauris quis nisl ornare rutrum in id risus. </a:t>
            </a:r>
            <a:endParaRPr lang="en-US" sz="1200" dirty="0">
              <a:solidFill>
                <a:srgbClr val="58595B"/>
              </a:solidFill>
              <a:latin typeface="Roboto Regular" pitchFamily="2" charset="0"/>
              <a:ea typeface="Roboto Regular" pitchFamily="2" charset="0"/>
              <a:cs typeface="Open Sans Light"/>
            </a:endParaRPr>
          </a:p>
        </p:txBody>
      </p:sp>
      <p:sp>
        <p:nvSpPr>
          <p:cNvPr id="13" name="Title 20"/>
          <p:cNvSpPr txBox="1">
            <a:spLocks/>
          </p:cNvSpPr>
          <p:nvPr/>
        </p:nvSpPr>
        <p:spPr>
          <a:xfrm>
            <a:off x="811854" y="4028508"/>
            <a:ext cx="1358843" cy="1015664"/>
          </a:xfrm>
          <a:prstGeom prst="rect">
            <a:avLst/>
          </a:prstGeom>
        </p:spPr>
        <p:txBody>
          <a:bodyPr vert="horz" lIns="91440" tIns="45720" rIns="91440" bIns="4572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en-US" sz="6000" dirty="0">
                <a:solidFill>
                  <a:srgbClr val="B2B2B2"/>
                </a:solidFill>
                <a:latin typeface="+mj-lt"/>
                <a:cs typeface="Open Sans"/>
              </a:rPr>
              <a:t>03</a:t>
            </a:r>
            <a:r>
              <a:rPr lang="en-US" sz="6000" dirty="0">
                <a:solidFill>
                  <a:srgbClr val="58595B"/>
                </a:solidFill>
                <a:latin typeface="+mj-lt"/>
                <a:cs typeface="Open Sans"/>
              </a:rPr>
              <a:t> </a:t>
            </a:r>
          </a:p>
        </p:txBody>
      </p:sp>
      <p:sp>
        <p:nvSpPr>
          <p:cNvPr id="14" name="Title 20"/>
          <p:cNvSpPr txBox="1">
            <a:spLocks/>
          </p:cNvSpPr>
          <p:nvPr/>
        </p:nvSpPr>
        <p:spPr>
          <a:xfrm>
            <a:off x="2053919" y="4060457"/>
            <a:ext cx="3893410" cy="415499"/>
          </a:xfrm>
          <a:prstGeom prst="rect">
            <a:avLst/>
          </a:prstGeom>
        </p:spPr>
        <p:txBody>
          <a:bodyPr vert="horz" wrap="square" lIns="91440" tIns="0" rIns="91440" bIns="45720" rtlCol="0" anchor="t" anchorCtr="0">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r>
              <a:rPr lang="en-US" sz="2400" dirty="0">
                <a:solidFill>
                  <a:srgbClr val="B2B2B2"/>
                </a:solidFill>
                <a:latin typeface="+mj-lt"/>
                <a:cs typeface="Open Sans Light"/>
              </a:rPr>
              <a:t>Determination</a:t>
            </a:r>
          </a:p>
        </p:txBody>
      </p:sp>
      <p:sp>
        <p:nvSpPr>
          <p:cNvPr id="15" name="Title 20"/>
          <p:cNvSpPr txBox="1">
            <a:spLocks/>
          </p:cNvSpPr>
          <p:nvPr/>
        </p:nvSpPr>
        <p:spPr>
          <a:xfrm>
            <a:off x="2134887" y="4638711"/>
            <a:ext cx="3436040" cy="938719"/>
          </a:xfrm>
          <a:prstGeom prst="rect">
            <a:avLst/>
          </a:prstGeom>
        </p:spPr>
        <p:txBody>
          <a:bodyPr vert="horz" wrap="square" lIns="91440" tIns="0" rIns="0"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30000"/>
              </a:lnSpc>
            </a:pPr>
            <a:r>
              <a:rPr lang="pt-BR" sz="1200" dirty="0">
                <a:solidFill>
                  <a:srgbClr val="58595B"/>
                </a:solidFill>
                <a:latin typeface="Roboto Regular" pitchFamily="2" charset="0"/>
                <a:ea typeface="Roboto Regular" pitchFamily="2" charset="0"/>
                <a:cs typeface="Open Sans Light"/>
              </a:rPr>
              <a:t>Lorem ipsum dolor sit amet, consectetur adipiscing elit. Aliquam tincidunt ante nec sem congue convallis. Pellentesque vel mauris quis nisl ornare rutrum in id risus. </a:t>
            </a:r>
            <a:endParaRPr lang="en-US" sz="1200" dirty="0">
              <a:solidFill>
                <a:srgbClr val="58595B"/>
              </a:solidFill>
              <a:latin typeface="Roboto Regular" pitchFamily="2" charset="0"/>
              <a:ea typeface="Roboto Regular" pitchFamily="2" charset="0"/>
              <a:cs typeface="Open Sans Light"/>
            </a:endParaRPr>
          </a:p>
        </p:txBody>
      </p:sp>
      <p:sp>
        <p:nvSpPr>
          <p:cNvPr id="17" name="Title 20"/>
          <p:cNvSpPr txBox="1">
            <a:spLocks/>
          </p:cNvSpPr>
          <p:nvPr/>
        </p:nvSpPr>
        <p:spPr>
          <a:xfrm>
            <a:off x="6893960" y="4028508"/>
            <a:ext cx="1358843" cy="1015664"/>
          </a:xfrm>
          <a:prstGeom prst="rect">
            <a:avLst/>
          </a:prstGeom>
        </p:spPr>
        <p:txBody>
          <a:bodyPr vert="horz" lIns="91440" tIns="45720" rIns="91440" bIns="4572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r>
              <a:rPr lang="en-US" sz="6000" dirty="0">
                <a:solidFill>
                  <a:srgbClr val="0070C0"/>
                </a:solidFill>
                <a:latin typeface="+mj-lt"/>
                <a:cs typeface="Open Sans"/>
              </a:rPr>
              <a:t>04</a:t>
            </a:r>
            <a:r>
              <a:rPr lang="en-US" sz="6000" dirty="0">
                <a:solidFill>
                  <a:srgbClr val="58595B"/>
                </a:solidFill>
                <a:latin typeface="+mj-lt"/>
                <a:cs typeface="Open Sans"/>
              </a:rPr>
              <a:t> </a:t>
            </a:r>
          </a:p>
        </p:txBody>
      </p:sp>
      <p:sp>
        <p:nvSpPr>
          <p:cNvPr id="18" name="Title 20"/>
          <p:cNvSpPr txBox="1">
            <a:spLocks/>
          </p:cNvSpPr>
          <p:nvPr/>
        </p:nvSpPr>
        <p:spPr>
          <a:xfrm>
            <a:off x="8136025" y="4060457"/>
            <a:ext cx="3893410" cy="415499"/>
          </a:xfrm>
          <a:prstGeom prst="rect">
            <a:avLst/>
          </a:prstGeom>
        </p:spPr>
        <p:txBody>
          <a:bodyPr vert="horz" wrap="square" lIns="91440" tIns="0" rIns="91440" bIns="45720" rtlCol="0" anchor="t" anchorCtr="0">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r>
              <a:rPr lang="en-US" sz="2400" dirty="0">
                <a:solidFill>
                  <a:srgbClr val="0070C0"/>
                </a:solidFill>
                <a:latin typeface="+mj-lt"/>
                <a:cs typeface="Open Sans Light"/>
              </a:rPr>
              <a:t>Business Vision</a:t>
            </a:r>
          </a:p>
        </p:txBody>
      </p:sp>
      <p:sp>
        <p:nvSpPr>
          <p:cNvPr id="19" name="Title 20"/>
          <p:cNvSpPr txBox="1">
            <a:spLocks/>
          </p:cNvSpPr>
          <p:nvPr/>
        </p:nvSpPr>
        <p:spPr>
          <a:xfrm>
            <a:off x="8252803" y="4638711"/>
            <a:ext cx="3436040" cy="938719"/>
          </a:xfrm>
          <a:prstGeom prst="rect">
            <a:avLst/>
          </a:prstGeom>
        </p:spPr>
        <p:txBody>
          <a:bodyPr vert="horz" wrap="square" lIns="91440" tIns="0" rIns="0"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30000"/>
              </a:lnSpc>
            </a:pPr>
            <a:r>
              <a:rPr lang="pt-BR" sz="1200" dirty="0">
                <a:solidFill>
                  <a:srgbClr val="58595B"/>
                </a:solidFill>
                <a:latin typeface="Roboto Regular" pitchFamily="2" charset="0"/>
                <a:ea typeface="Roboto Regular" pitchFamily="2" charset="0"/>
                <a:cs typeface="Open Sans Light"/>
              </a:rPr>
              <a:t>Lorem ipsum dolor sit amet, consectetur adipiscing elit. Aliquam tincidunt ante nec sem congue convallis. Pellentesque vel mauris quis nisl ornare rutrum in id risus. </a:t>
            </a:r>
            <a:endParaRPr lang="en-US" sz="1200" dirty="0">
              <a:solidFill>
                <a:srgbClr val="58595B"/>
              </a:solidFill>
              <a:latin typeface="Roboto Regular" pitchFamily="2" charset="0"/>
              <a:ea typeface="Roboto Regular" pitchFamily="2" charset="0"/>
              <a:cs typeface="Open Sans Light"/>
            </a:endParaRPr>
          </a:p>
        </p:txBody>
      </p:sp>
    </p:spTree>
    <p:extLst>
      <p:ext uri="{BB962C8B-B14F-4D97-AF65-F5344CB8AC3E}">
        <p14:creationId xmlns:p14="http://schemas.microsoft.com/office/powerpoint/2010/main" val="265779312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loyee qualities</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5_84 23_84 11_84 17_84</a:t>
            </a:r>
            <a:endParaRPr lang="en-US" sz="100" dirty="0" err="1" smtClean="0">
              <a:solidFill>
                <a:srgbClr val="FFFFFF"/>
              </a:solidFill>
            </a:endParaRPr>
          </a:p>
        </p:txBody>
      </p:sp>
      <p:sp>
        <p:nvSpPr>
          <p:cNvPr id="4" name="Freeform 3"/>
          <p:cNvSpPr>
            <a:spLocks noEditPoints="1"/>
          </p:cNvSpPr>
          <p:nvPr/>
        </p:nvSpPr>
        <p:spPr bwMode="auto">
          <a:xfrm>
            <a:off x="5437336" y="1370705"/>
            <a:ext cx="2003734" cy="4734245"/>
          </a:xfrm>
          <a:custGeom>
            <a:avLst/>
            <a:gdLst>
              <a:gd name="T0" fmla="*/ 625 w 693"/>
              <a:gd name="T1" fmla="*/ 1522 h 1641"/>
              <a:gd name="T2" fmla="*/ 520 w 693"/>
              <a:gd name="T3" fmla="*/ 985 h 1641"/>
              <a:gd name="T4" fmla="*/ 498 w 693"/>
              <a:gd name="T5" fmla="*/ 789 h 1641"/>
              <a:gd name="T6" fmla="*/ 532 w 693"/>
              <a:gd name="T7" fmla="*/ 760 h 1641"/>
              <a:gd name="T8" fmla="*/ 571 w 693"/>
              <a:gd name="T9" fmla="*/ 506 h 1641"/>
              <a:gd name="T10" fmla="*/ 505 w 693"/>
              <a:gd name="T11" fmla="*/ 282 h 1641"/>
              <a:gd name="T12" fmla="*/ 394 w 693"/>
              <a:gd name="T13" fmla="*/ 243 h 1641"/>
              <a:gd name="T14" fmla="*/ 344 w 693"/>
              <a:gd name="T15" fmla="*/ 214 h 1641"/>
              <a:gd name="T16" fmla="*/ 341 w 693"/>
              <a:gd name="T17" fmla="*/ 204 h 1641"/>
              <a:gd name="T18" fmla="*/ 354 w 693"/>
              <a:gd name="T19" fmla="*/ 65 h 1641"/>
              <a:gd name="T20" fmla="*/ 313 w 693"/>
              <a:gd name="T21" fmla="*/ 0 h 1641"/>
              <a:gd name="T22" fmla="*/ 228 w 693"/>
              <a:gd name="T23" fmla="*/ 24 h 1641"/>
              <a:gd name="T24" fmla="*/ 214 w 693"/>
              <a:gd name="T25" fmla="*/ 121 h 1641"/>
              <a:gd name="T26" fmla="*/ 240 w 693"/>
              <a:gd name="T27" fmla="*/ 200 h 1641"/>
              <a:gd name="T28" fmla="*/ 240 w 693"/>
              <a:gd name="T29" fmla="*/ 215 h 1641"/>
              <a:gd name="T30" fmla="*/ 147 w 693"/>
              <a:gd name="T31" fmla="*/ 272 h 1641"/>
              <a:gd name="T32" fmla="*/ 22 w 693"/>
              <a:gd name="T33" fmla="*/ 531 h 1641"/>
              <a:gd name="T34" fmla="*/ 113 w 693"/>
              <a:gd name="T35" fmla="*/ 777 h 1641"/>
              <a:gd name="T36" fmla="*/ 143 w 693"/>
              <a:gd name="T37" fmla="*/ 802 h 1641"/>
              <a:gd name="T38" fmla="*/ 220 w 693"/>
              <a:gd name="T39" fmla="*/ 1183 h 1641"/>
              <a:gd name="T40" fmla="*/ 267 w 693"/>
              <a:gd name="T41" fmla="*/ 1470 h 1641"/>
              <a:gd name="T42" fmla="*/ 231 w 693"/>
              <a:gd name="T43" fmla="*/ 1602 h 1641"/>
              <a:gd name="T44" fmla="*/ 343 w 693"/>
              <a:gd name="T45" fmla="*/ 1595 h 1641"/>
              <a:gd name="T46" fmla="*/ 351 w 693"/>
              <a:gd name="T47" fmla="*/ 1504 h 1641"/>
              <a:gd name="T48" fmla="*/ 342 w 693"/>
              <a:gd name="T49" fmla="*/ 1327 h 1641"/>
              <a:gd name="T50" fmla="*/ 334 w 693"/>
              <a:gd name="T51" fmla="*/ 1168 h 1641"/>
              <a:gd name="T52" fmla="*/ 372 w 693"/>
              <a:gd name="T53" fmla="*/ 991 h 1641"/>
              <a:gd name="T54" fmla="*/ 495 w 693"/>
              <a:gd name="T55" fmla="*/ 1455 h 1641"/>
              <a:gd name="T56" fmla="*/ 553 w 693"/>
              <a:gd name="T57" fmla="*/ 1595 h 1641"/>
              <a:gd name="T58" fmla="*/ 693 w 693"/>
              <a:gd name="T59" fmla="*/ 1628 h 1641"/>
              <a:gd name="T60" fmla="*/ 115 w 693"/>
              <a:gd name="T61" fmla="*/ 608 h 1641"/>
              <a:gd name="T62" fmla="*/ 125 w 693"/>
              <a:gd name="T63" fmla="*/ 524 h 1641"/>
              <a:gd name="T64" fmla="*/ 395 w 693"/>
              <a:gd name="T65" fmla="*/ 690 h 1641"/>
              <a:gd name="T66" fmla="*/ 314 w 693"/>
              <a:gd name="T67" fmla="*/ 307 h 1641"/>
              <a:gd name="T68" fmla="*/ 280 w 693"/>
              <a:gd name="T69" fmla="*/ 291 h 1641"/>
              <a:gd name="T70" fmla="*/ 295 w 693"/>
              <a:gd name="T71" fmla="*/ 485 h 1641"/>
              <a:gd name="T72" fmla="*/ 274 w 693"/>
              <a:gd name="T73" fmla="*/ 687 h 1641"/>
              <a:gd name="T74" fmla="*/ 235 w 693"/>
              <a:gd name="T75" fmla="*/ 542 h 1641"/>
              <a:gd name="T76" fmla="*/ 248 w 693"/>
              <a:gd name="T77" fmla="*/ 225 h 1641"/>
              <a:gd name="T78" fmla="*/ 334 w 693"/>
              <a:gd name="T79" fmla="*/ 227 h 1641"/>
              <a:gd name="T80" fmla="*/ 381 w 693"/>
              <a:gd name="T81" fmla="*/ 413 h 1641"/>
              <a:gd name="T82" fmla="*/ 411 w 693"/>
              <a:gd name="T83" fmla="*/ 689 h 1641"/>
              <a:gd name="T84" fmla="*/ 473 w 693"/>
              <a:gd name="T85" fmla="*/ 485 h 1641"/>
              <a:gd name="T86" fmla="*/ 501 w 693"/>
              <a:gd name="T87" fmla="*/ 576 h 1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93" h="1641">
                <a:moveTo>
                  <a:pt x="669" y="1590"/>
                </a:moveTo>
                <a:cubicBezTo>
                  <a:pt x="650" y="1579"/>
                  <a:pt x="636" y="1550"/>
                  <a:pt x="629" y="1542"/>
                </a:cubicBezTo>
                <a:cubicBezTo>
                  <a:pt x="622" y="1535"/>
                  <a:pt x="631" y="1537"/>
                  <a:pt x="625" y="1522"/>
                </a:cubicBezTo>
                <a:cubicBezTo>
                  <a:pt x="619" y="1507"/>
                  <a:pt x="600" y="1419"/>
                  <a:pt x="597" y="1391"/>
                </a:cubicBezTo>
                <a:cubicBezTo>
                  <a:pt x="593" y="1362"/>
                  <a:pt x="595" y="1265"/>
                  <a:pt x="582" y="1219"/>
                </a:cubicBezTo>
                <a:cubicBezTo>
                  <a:pt x="568" y="1173"/>
                  <a:pt x="526" y="1025"/>
                  <a:pt x="520" y="985"/>
                </a:cubicBezTo>
                <a:cubicBezTo>
                  <a:pt x="514" y="944"/>
                  <a:pt x="505" y="903"/>
                  <a:pt x="505" y="881"/>
                </a:cubicBezTo>
                <a:cubicBezTo>
                  <a:pt x="505" y="858"/>
                  <a:pt x="503" y="843"/>
                  <a:pt x="496" y="827"/>
                </a:cubicBezTo>
                <a:cubicBezTo>
                  <a:pt x="490" y="811"/>
                  <a:pt x="498" y="789"/>
                  <a:pt x="498" y="789"/>
                </a:cubicBezTo>
                <a:cubicBezTo>
                  <a:pt x="498" y="789"/>
                  <a:pt x="514" y="801"/>
                  <a:pt x="524" y="810"/>
                </a:cubicBezTo>
                <a:cubicBezTo>
                  <a:pt x="534" y="819"/>
                  <a:pt x="534" y="805"/>
                  <a:pt x="529" y="785"/>
                </a:cubicBezTo>
                <a:cubicBezTo>
                  <a:pt x="524" y="765"/>
                  <a:pt x="527" y="754"/>
                  <a:pt x="532" y="760"/>
                </a:cubicBezTo>
                <a:cubicBezTo>
                  <a:pt x="537" y="767"/>
                  <a:pt x="541" y="728"/>
                  <a:pt x="553" y="705"/>
                </a:cubicBezTo>
                <a:cubicBezTo>
                  <a:pt x="566" y="681"/>
                  <a:pt x="593" y="633"/>
                  <a:pt x="587" y="606"/>
                </a:cubicBezTo>
                <a:cubicBezTo>
                  <a:pt x="581" y="578"/>
                  <a:pt x="578" y="530"/>
                  <a:pt x="571" y="506"/>
                </a:cubicBezTo>
                <a:cubicBezTo>
                  <a:pt x="563" y="483"/>
                  <a:pt x="556" y="441"/>
                  <a:pt x="547" y="415"/>
                </a:cubicBezTo>
                <a:cubicBezTo>
                  <a:pt x="538" y="389"/>
                  <a:pt x="540" y="376"/>
                  <a:pt x="529" y="350"/>
                </a:cubicBezTo>
                <a:cubicBezTo>
                  <a:pt x="517" y="324"/>
                  <a:pt x="505" y="295"/>
                  <a:pt x="505" y="282"/>
                </a:cubicBezTo>
                <a:cubicBezTo>
                  <a:pt x="505" y="275"/>
                  <a:pt x="502" y="269"/>
                  <a:pt x="491" y="265"/>
                </a:cubicBezTo>
                <a:cubicBezTo>
                  <a:pt x="483" y="261"/>
                  <a:pt x="469" y="258"/>
                  <a:pt x="449" y="255"/>
                </a:cubicBezTo>
                <a:cubicBezTo>
                  <a:pt x="428" y="252"/>
                  <a:pt x="409" y="248"/>
                  <a:pt x="394" y="243"/>
                </a:cubicBezTo>
                <a:cubicBezTo>
                  <a:pt x="393" y="243"/>
                  <a:pt x="392" y="242"/>
                  <a:pt x="391" y="242"/>
                </a:cubicBezTo>
                <a:cubicBezTo>
                  <a:pt x="391" y="242"/>
                  <a:pt x="390" y="242"/>
                  <a:pt x="390" y="242"/>
                </a:cubicBezTo>
                <a:cubicBezTo>
                  <a:pt x="370" y="235"/>
                  <a:pt x="344" y="214"/>
                  <a:pt x="344" y="214"/>
                </a:cubicBezTo>
                <a:cubicBezTo>
                  <a:pt x="336" y="225"/>
                  <a:pt x="336" y="225"/>
                  <a:pt x="336" y="225"/>
                </a:cubicBezTo>
                <a:cubicBezTo>
                  <a:pt x="339" y="221"/>
                  <a:pt x="341" y="218"/>
                  <a:pt x="344" y="214"/>
                </a:cubicBezTo>
                <a:cubicBezTo>
                  <a:pt x="341" y="211"/>
                  <a:pt x="336" y="204"/>
                  <a:pt x="341" y="204"/>
                </a:cubicBezTo>
                <a:cubicBezTo>
                  <a:pt x="352" y="203"/>
                  <a:pt x="354" y="159"/>
                  <a:pt x="360" y="146"/>
                </a:cubicBezTo>
                <a:cubicBezTo>
                  <a:pt x="366" y="133"/>
                  <a:pt x="364" y="124"/>
                  <a:pt x="360" y="112"/>
                </a:cubicBezTo>
                <a:cubicBezTo>
                  <a:pt x="356" y="101"/>
                  <a:pt x="364" y="84"/>
                  <a:pt x="354" y="65"/>
                </a:cubicBezTo>
                <a:cubicBezTo>
                  <a:pt x="344" y="47"/>
                  <a:pt x="358" y="24"/>
                  <a:pt x="344" y="22"/>
                </a:cubicBezTo>
                <a:cubicBezTo>
                  <a:pt x="330" y="20"/>
                  <a:pt x="335" y="3"/>
                  <a:pt x="322" y="3"/>
                </a:cubicBezTo>
                <a:cubicBezTo>
                  <a:pt x="318" y="3"/>
                  <a:pt x="315" y="2"/>
                  <a:pt x="313" y="0"/>
                </a:cubicBezTo>
                <a:cubicBezTo>
                  <a:pt x="302" y="21"/>
                  <a:pt x="285" y="14"/>
                  <a:pt x="285" y="14"/>
                </a:cubicBezTo>
                <a:cubicBezTo>
                  <a:pt x="259" y="8"/>
                  <a:pt x="242" y="14"/>
                  <a:pt x="230" y="23"/>
                </a:cubicBezTo>
                <a:cubicBezTo>
                  <a:pt x="230" y="23"/>
                  <a:pt x="229" y="24"/>
                  <a:pt x="228" y="24"/>
                </a:cubicBezTo>
                <a:cubicBezTo>
                  <a:pt x="213" y="38"/>
                  <a:pt x="208" y="57"/>
                  <a:pt x="208" y="58"/>
                </a:cubicBezTo>
                <a:cubicBezTo>
                  <a:pt x="207" y="65"/>
                  <a:pt x="206" y="72"/>
                  <a:pt x="206" y="77"/>
                </a:cubicBezTo>
                <a:cubicBezTo>
                  <a:pt x="208" y="95"/>
                  <a:pt x="213" y="113"/>
                  <a:pt x="214" y="121"/>
                </a:cubicBezTo>
                <a:cubicBezTo>
                  <a:pt x="215" y="128"/>
                  <a:pt x="219" y="158"/>
                  <a:pt x="225" y="158"/>
                </a:cubicBezTo>
                <a:cubicBezTo>
                  <a:pt x="231" y="158"/>
                  <a:pt x="233" y="159"/>
                  <a:pt x="233" y="159"/>
                </a:cubicBezTo>
                <a:cubicBezTo>
                  <a:pt x="233" y="159"/>
                  <a:pt x="240" y="182"/>
                  <a:pt x="240" y="200"/>
                </a:cubicBezTo>
                <a:cubicBezTo>
                  <a:pt x="240" y="208"/>
                  <a:pt x="240" y="212"/>
                  <a:pt x="240" y="215"/>
                </a:cubicBezTo>
                <a:cubicBezTo>
                  <a:pt x="240" y="215"/>
                  <a:pt x="240" y="215"/>
                  <a:pt x="240" y="215"/>
                </a:cubicBezTo>
                <a:cubicBezTo>
                  <a:pt x="240" y="215"/>
                  <a:pt x="240" y="215"/>
                  <a:pt x="240" y="215"/>
                </a:cubicBezTo>
                <a:cubicBezTo>
                  <a:pt x="240" y="215"/>
                  <a:pt x="240" y="215"/>
                  <a:pt x="240" y="215"/>
                </a:cubicBezTo>
                <a:cubicBezTo>
                  <a:pt x="240" y="215"/>
                  <a:pt x="224" y="238"/>
                  <a:pt x="206" y="246"/>
                </a:cubicBezTo>
                <a:cubicBezTo>
                  <a:pt x="188" y="255"/>
                  <a:pt x="162" y="268"/>
                  <a:pt x="147" y="272"/>
                </a:cubicBezTo>
                <a:cubicBezTo>
                  <a:pt x="136" y="275"/>
                  <a:pt x="124" y="279"/>
                  <a:pt x="115" y="285"/>
                </a:cubicBezTo>
                <a:cubicBezTo>
                  <a:pt x="103" y="293"/>
                  <a:pt x="93" y="305"/>
                  <a:pt x="89" y="326"/>
                </a:cubicBezTo>
                <a:cubicBezTo>
                  <a:pt x="82" y="365"/>
                  <a:pt x="42" y="495"/>
                  <a:pt x="22" y="531"/>
                </a:cubicBezTo>
                <a:cubicBezTo>
                  <a:pt x="3" y="567"/>
                  <a:pt x="0" y="616"/>
                  <a:pt x="20" y="646"/>
                </a:cubicBezTo>
                <a:cubicBezTo>
                  <a:pt x="39" y="676"/>
                  <a:pt x="86" y="750"/>
                  <a:pt x="93" y="760"/>
                </a:cubicBezTo>
                <a:cubicBezTo>
                  <a:pt x="100" y="770"/>
                  <a:pt x="102" y="778"/>
                  <a:pt x="113" y="777"/>
                </a:cubicBezTo>
                <a:cubicBezTo>
                  <a:pt x="113" y="777"/>
                  <a:pt x="114" y="776"/>
                  <a:pt x="115" y="776"/>
                </a:cubicBezTo>
                <a:cubicBezTo>
                  <a:pt x="124" y="776"/>
                  <a:pt x="130" y="777"/>
                  <a:pt x="130" y="777"/>
                </a:cubicBezTo>
                <a:cubicBezTo>
                  <a:pt x="130" y="777"/>
                  <a:pt x="135" y="796"/>
                  <a:pt x="143" y="802"/>
                </a:cubicBezTo>
                <a:cubicBezTo>
                  <a:pt x="151" y="808"/>
                  <a:pt x="161" y="828"/>
                  <a:pt x="163" y="821"/>
                </a:cubicBezTo>
                <a:cubicBezTo>
                  <a:pt x="166" y="814"/>
                  <a:pt x="173" y="872"/>
                  <a:pt x="180" y="903"/>
                </a:cubicBezTo>
                <a:cubicBezTo>
                  <a:pt x="187" y="934"/>
                  <a:pt x="220" y="1152"/>
                  <a:pt x="220" y="1183"/>
                </a:cubicBezTo>
                <a:cubicBezTo>
                  <a:pt x="220" y="1214"/>
                  <a:pt x="232" y="1246"/>
                  <a:pt x="231" y="1268"/>
                </a:cubicBezTo>
                <a:cubicBezTo>
                  <a:pt x="230" y="1291"/>
                  <a:pt x="235" y="1349"/>
                  <a:pt x="236" y="1381"/>
                </a:cubicBezTo>
                <a:cubicBezTo>
                  <a:pt x="237" y="1413"/>
                  <a:pt x="267" y="1447"/>
                  <a:pt x="267" y="1470"/>
                </a:cubicBezTo>
                <a:cubicBezTo>
                  <a:pt x="267" y="1494"/>
                  <a:pt x="260" y="1505"/>
                  <a:pt x="263" y="1519"/>
                </a:cubicBezTo>
                <a:cubicBezTo>
                  <a:pt x="267" y="1532"/>
                  <a:pt x="266" y="1542"/>
                  <a:pt x="251" y="1558"/>
                </a:cubicBezTo>
                <a:cubicBezTo>
                  <a:pt x="236" y="1574"/>
                  <a:pt x="230" y="1589"/>
                  <a:pt x="231" y="1602"/>
                </a:cubicBezTo>
                <a:cubicBezTo>
                  <a:pt x="232" y="1614"/>
                  <a:pt x="236" y="1619"/>
                  <a:pt x="266" y="1620"/>
                </a:cubicBezTo>
                <a:cubicBezTo>
                  <a:pt x="296" y="1621"/>
                  <a:pt x="324" y="1613"/>
                  <a:pt x="324" y="1605"/>
                </a:cubicBezTo>
                <a:cubicBezTo>
                  <a:pt x="324" y="1598"/>
                  <a:pt x="334" y="1595"/>
                  <a:pt x="343" y="1595"/>
                </a:cubicBezTo>
                <a:cubicBezTo>
                  <a:pt x="351" y="1595"/>
                  <a:pt x="350" y="1587"/>
                  <a:pt x="346" y="1569"/>
                </a:cubicBezTo>
                <a:cubicBezTo>
                  <a:pt x="343" y="1552"/>
                  <a:pt x="330" y="1528"/>
                  <a:pt x="338" y="1531"/>
                </a:cubicBezTo>
                <a:cubicBezTo>
                  <a:pt x="345" y="1533"/>
                  <a:pt x="351" y="1528"/>
                  <a:pt x="351" y="1504"/>
                </a:cubicBezTo>
                <a:cubicBezTo>
                  <a:pt x="351" y="1479"/>
                  <a:pt x="355" y="1471"/>
                  <a:pt x="344" y="1457"/>
                </a:cubicBezTo>
                <a:cubicBezTo>
                  <a:pt x="333" y="1442"/>
                  <a:pt x="335" y="1415"/>
                  <a:pt x="338" y="1392"/>
                </a:cubicBezTo>
                <a:cubicBezTo>
                  <a:pt x="340" y="1370"/>
                  <a:pt x="348" y="1354"/>
                  <a:pt x="342" y="1327"/>
                </a:cubicBezTo>
                <a:cubicBezTo>
                  <a:pt x="335" y="1299"/>
                  <a:pt x="334" y="1266"/>
                  <a:pt x="338" y="1252"/>
                </a:cubicBezTo>
                <a:cubicBezTo>
                  <a:pt x="342" y="1239"/>
                  <a:pt x="339" y="1222"/>
                  <a:pt x="329" y="1211"/>
                </a:cubicBezTo>
                <a:cubicBezTo>
                  <a:pt x="319" y="1200"/>
                  <a:pt x="334" y="1180"/>
                  <a:pt x="334" y="1168"/>
                </a:cubicBezTo>
                <a:cubicBezTo>
                  <a:pt x="334" y="1156"/>
                  <a:pt x="330" y="1104"/>
                  <a:pt x="337" y="1052"/>
                </a:cubicBezTo>
                <a:cubicBezTo>
                  <a:pt x="343" y="999"/>
                  <a:pt x="344" y="960"/>
                  <a:pt x="345" y="946"/>
                </a:cubicBezTo>
                <a:cubicBezTo>
                  <a:pt x="346" y="933"/>
                  <a:pt x="354" y="939"/>
                  <a:pt x="372" y="991"/>
                </a:cubicBezTo>
                <a:cubicBezTo>
                  <a:pt x="391" y="1043"/>
                  <a:pt x="438" y="1205"/>
                  <a:pt x="447" y="1241"/>
                </a:cubicBezTo>
                <a:cubicBezTo>
                  <a:pt x="454" y="1272"/>
                  <a:pt x="480" y="1385"/>
                  <a:pt x="491" y="1436"/>
                </a:cubicBezTo>
                <a:cubicBezTo>
                  <a:pt x="493" y="1444"/>
                  <a:pt x="494" y="1451"/>
                  <a:pt x="495" y="1455"/>
                </a:cubicBezTo>
                <a:cubicBezTo>
                  <a:pt x="501" y="1486"/>
                  <a:pt x="509" y="1548"/>
                  <a:pt x="517" y="1548"/>
                </a:cubicBezTo>
                <a:cubicBezTo>
                  <a:pt x="526" y="1548"/>
                  <a:pt x="524" y="1554"/>
                  <a:pt x="525" y="1572"/>
                </a:cubicBezTo>
                <a:cubicBezTo>
                  <a:pt x="526" y="1589"/>
                  <a:pt x="543" y="1592"/>
                  <a:pt x="553" y="1595"/>
                </a:cubicBezTo>
                <a:cubicBezTo>
                  <a:pt x="563" y="1599"/>
                  <a:pt x="566" y="1589"/>
                  <a:pt x="566" y="1589"/>
                </a:cubicBezTo>
                <a:cubicBezTo>
                  <a:pt x="566" y="1589"/>
                  <a:pt x="582" y="1623"/>
                  <a:pt x="610" y="1626"/>
                </a:cubicBezTo>
                <a:cubicBezTo>
                  <a:pt x="639" y="1630"/>
                  <a:pt x="693" y="1641"/>
                  <a:pt x="693" y="1628"/>
                </a:cubicBezTo>
                <a:cubicBezTo>
                  <a:pt x="693" y="1614"/>
                  <a:pt x="687" y="1602"/>
                  <a:pt x="669" y="1590"/>
                </a:cubicBezTo>
                <a:close/>
                <a:moveTo>
                  <a:pt x="128" y="644"/>
                </a:moveTo>
                <a:cubicBezTo>
                  <a:pt x="128" y="632"/>
                  <a:pt x="122" y="619"/>
                  <a:pt x="115" y="608"/>
                </a:cubicBezTo>
                <a:cubicBezTo>
                  <a:pt x="105" y="594"/>
                  <a:pt x="95" y="582"/>
                  <a:pt x="99" y="575"/>
                </a:cubicBezTo>
                <a:cubicBezTo>
                  <a:pt x="105" y="563"/>
                  <a:pt x="110" y="563"/>
                  <a:pt x="115" y="554"/>
                </a:cubicBezTo>
                <a:cubicBezTo>
                  <a:pt x="118" y="549"/>
                  <a:pt x="121" y="541"/>
                  <a:pt x="125" y="524"/>
                </a:cubicBezTo>
                <a:cubicBezTo>
                  <a:pt x="124" y="559"/>
                  <a:pt x="136" y="611"/>
                  <a:pt x="128" y="644"/>
                </a:cubicBezTo>
                <a:close/>
                <a:moveTo>
                  <a:pt x="411" y="689"/>
                </a:moveTo>
                <a:cubicBezTo>
                  <a:pt x="407" y="690"/>
                  <a:pt x="402" y="690"/>
                  <a:pt x="395" y="690"/>
                </a:cubicBezTo>
                <a:cubicBezTo>
                  <a:pt x="395" y="685"/>
                  <a:pt x="395" y="680"/>
                  <a:pt x="393" y="674"/>
                </a:cubicBezTo>
                <a:cubicBezTo>
                  <a:pt x="389" y="655"/>
                  <a:pt x="367" y="523"/>
                  <a:pt x="351" y="448"/>
                </a:cubicBezTo>
                <a:cubicBezTo>
                  <a:pt x="335" y="373"/>
                  <a:pt x="318" y="317"/>
                  <a:pt x="314" y="307"/>
                </a:cubicBezTo>
                <a:cubicBezTo>
                  <a:pt x="310" y="297"/>
                  <a:pt x="323" y="293"/>
                  <a:pt x="323" y="293"/>
                </a:cubicBezTo>
                <a:cubicBezTo>
                  <a:pt x="299" y="269"/>
                  <a:pt x="299" y="269"/>
                  <a:pt x="299" y="269"/>
                </a:cubicBezTo>
                <a:cubicBezTo>
                  <a:pt x="288" y="274"/>
                  <a:pt x="280" y="291"/>
                  <a:pt x="280" y="291"/>
                </a:cubicBezTo>
                <a:cubicBezTo>
                  <a:pt x="280" y="291"/>
                  <a:pt x="292" y="299"/>
                  <a:pt x="294" y="307"/>
                </a:cubicBezTo>
                <a:cubicBezTo>
                  <a:pt x="296" y="315"/>
                  <a:pt x="292" y="325"/>
                  <a:pt x="286" y="343"/>
                </a:cubicBezTo>
                <a:cubicBezTo>
                  <a:pt x="281" y="362"/>
                  <a:pt x="288" y="443"/>
                  <a:pt x="295" y="485"/>
                </a:cubicBezTo>
                <a:cubicBezTo>
                  <a:pt x="302" y="527"/>
                  <a:pt x="315" y="621"/>
                  <a:pt x="323" y="669"/>
                </a:cubicBezTo>
                <a:cubicBezTo>
                  <a:pt x="324" y="677"/>
                  <a:pt x="326" y="683"/>
                  <a:pt x="327" y="689"/>
                </a:cubicBezTo>
                <a:cubicBezTo>
                  <a:pt x="308" y="688"/>
                  <a:pt x="289" y="687"/>
                  <a:pt x="274" y="687"/>
                </a:cubicBezTo>
                <a:cubicBezTo>
                  <a:pt x="232" y="687"/>
                  <a:pt x="191" y="692"/>
                  <a:pt x="191" y="692"/>
                </a:cubicBezTo>
                <a:cubicBezTo>
                  <a:pt x="191" y="692"/>
                  <a:pt x="199" y="672"/>
                  <a:pt x="212" y="643"/>
                </a:cubicBezTo>
                <a:cubicBezTo>
                  <a:pt x="224" y="615"/>
                  <a:pt x="226" y="589"/>
                  <a:pt x="235" y="542"/>
                </a:cubicBezTo>
                <a:cubicBezTo>
                  <a:pt x="245" y="495"/>
                  <a:pt x="237" y="463"/>
                  <a:pt x="237" y="406"/>
                </a:cubicBezTo>
                <a:cubicBezTo>
                  <a:pt x="237" y="361"/>
                  <a:pt x="234" y="300"/>
                  <a:pt x="231" y="263"/>
                </a:cubicBezTo>
                <a:cubicBezTo>
                  <a:pt x="231" y="257"/>
                  <a:pt x="231" y="235"/>
                  <a:pt x="248" y="225"/>
                </a:cubicBezTo>
                <a:cubicBezTo>
                  <a:pt x="257" y="236"/>
                  <a:pt x="268" y="248"/>
                  <a:pt x="281" y="257"/>
                </a:cubicBezTo>
                <a:cubicBezTo>
                  <a:pt x="304" y="273"/>
                  <a:pt x="306" y="261"/>
                  <a:pt x="320" y="244"/>
                </a:cubicBezTo>
                <a:cubicBezTo>
                  <a:pt x="326" y="237"/>
                  <a:pt x="330" y="232"/>
                  <a:pt x="334" y="227"/>
                </a:cubicBezTo>
                <a:cubicBezTo>
                  <a:pt x="334" y="227"/>
                  <a:pt x="334" y="227"/>
                  <a:pt x="334" y="227"/>
                </a:cubicBezTo>
                <a:cubicBezTo>
                  <a:pt x="353" y="218"/>
                  <a:pt x="370" y="255"/>
                  <a:pt x="370" y="255"/>
                </a:cubicBezTo>
                <a:cubicBezTo>
                  <a:pt x="382" y="288"/>
                  <a:pt x="381" y="349"/>
                  <a:pt x="381" y="413"/>
                </a:cubicBezTo>
                <a:cubicBezTo>
                  <a:pt x="381" y="478"/>
                  <a:pt x="393" y="542"/>
                  <a:pt x="406" y="589"/>
                </a:cubicBezTo>
                <a:cubicBezTo>
                  <a:pt x="418" y="636"/>
                  <a:pt x="437" y="678"/>
                  <a:pt x="437" y="678"/>
                </a:cubicBezTo>
                <a:cubicBezTo>
                  <a:pt x="437" y="678"/>
                  <a:pt x="426" y="684"/>
                  <a:pt x="411" y="689"/>
                </a:cubicBezTo>
                <a:close/>
                <a:moveTo>
                  <a:pt x="491" y="631"/>
                </a:moveTo>
                <a:cubicBezTo>
                  <a:pt x="489" y="627"/>
                  <a:pt x="490" y="600"/>
                  <a:pt x="484" y="579"/>
                </a:cubicBezTo>
                <a:cubicBezTo>
                  <a:pt x="477" y="556"/>
                  <a:pt x="474" y="524"/>
                  <a:pt x="473" y="485"/>
                </a:cubicBezTo>
                <a:cubicBezTo>
                  <a:pt x="473" y="485"/>
                  <a:pt x="482" y="518"/>
                  <a:pt x="491" y="538"/>
                </a:cubicBezTo>
                <a:cubicBezTo>
                  <a:pt x="495" y="547"/>
                  <a:pt x="498" y="553"/>
                  <a:pt x="501" y="553"/>
                </a:cubicBezTo>
                <a:cubicBezTo>
                  <a:pt x="511" y="556"/>
                  <a:pt x="512" y="570"/>
                  <a:pt x="501" y="576"/>
                </a:cubicBezTo>
                <a:cubicBezTo>
                  <a:pt x="490" y="582"/>
                  <a:pt x="498" y="624"/>
                  <a:pt x="493" y="630"/>
                </a:cubicBezTo>
                <a:cubicBezTo>
                  <a:pt x="492" y="631"/>
                  <a:pt x="491" y="631"/>
                  <a:pt x="491" y="631"/>
                </a:cubicBezTo>
                <a:close/>
              </a:path>
            </a:pathLst>
          </a:custGeom>
          <a:solidFill>
            <a:schemeClr val="tx1">
              <a:lumMod val="65000"/>
              <a:lumOff val="35000"/>
            </a:schemeClr>
          </a:solidFill>
          <a:ln>
            <a:noFill/>
          </a:ln>
          <a:effectLst>
            <a:outerShdw blurRad="76200" dir="13500000" sy="23000" kx="1200000" algn="br" rotWithShape="0">
              <a:prstClr val="black">
                <a:alpha val="6000"/>
              </a:prstClr>
            </a:outerShdw>
          </a:effectLst>
        </p:spPr>
        <p:txBody>
          <a:bodyPr vert="horz" wrap="square" lIns="121920" tIns="60960" rIns="121920" bIns="60960" numCol="1" anchor="t" anchorCtr="0" compatLnSpc="1">
            <a:prstTxWarp prst="textNoShape">
              <a:avLst/>
            </a:prstTxWarp>
          </a:bodyPr>
          <a:lstStyle>
            <a:defPPr>
              <a:defRPr lang="id-ID"/>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a:lstStyle>
          <a:p>
            <a:endParaRPr lang="id-ID" sz="1400" dirty="0">
              <a:solidFill>
                <a:srgbClr val="58595B"/>
              </a:solidFill>
              <a:latin typeface="+mj-lt"/>
            </a:endParaRPr>
          </a:p>
        </p:txBody>
      </p:sp>
      <p:grpSp>
        <p:nvGrpSpPr>
          <p:cNvPr id="5" name="Group 4"/>
          <p:cNvGrpSpPr/>
          <p:nvPr>
            <p:custDataLst>
              <p:tags r:id="rId1"/>
            </p:custDataLst>
          </p:nvPr>
        </p:nvGrpSpPr>
        <p:grpSpPr>
          <a:xfrm>
            <a:off x="1299760" y="2132009"/>
            <a:ext cx="3607597" cy="407893"/>
            <a:chOff x="1848067" y="2697524"/>
            <a:chExt cx="2311184" cy="316190"/>
          </a:xfrm>
        </p:grpSpPr>
        <p:cxnSp>
          <p:nvCxnSpPr>
            <p:cNvPr id="6" name="Straight Connector 5"/>
            <p:cNvCxnSpPr/>
            <p:nvPr/>
          </p:nvCxnSpPr>
          <p:spPr>
            <a:xfrm flipH="1" flipV="1">
              <a:off x="3661285" y="2697524"/>
              <a:ext cx="497966" cy="3161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flipH="1">
              <a:off x="1848067" y="2697524"/>
              <a:ext cx="1813219"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sp>
        <p:nvSpPr>
          <p:cNvPr id="9" name="TextBox 8"/>
          <p:cNvSpPr txBox="1"/>
          <p:nvPr/>
        </p:nvSpPr>
        <p:spPr>
          <a:xfrm>
            <a:off x="1311385" y="1660477"/>
            <a:ext cx="2666039" cy="230720"/>
          </a:xfrm>
          <a:prstGeom prst="rect">
            <a:avLst/>
          </a:prstGeom>
          <a:noFill/>
        </p:spPr>
        <p:txBody>
          <a:bodyPr wrap="square" rtlCol="0">
            <a:spAutoFit/>
          </a:bodyPr>
          <a:lstStyle/>
          <a:p>
            <a:r>
              <a:rPr lang="en-US" dirty="0" smtClean="0">
                <a:solidFill>
                  <a:srgbClr val="58595B"/>
                </a:solidFill>
                <a:latin typeface="+mj-lt"/>
                <a:cs typeface="Open Sans Light"/>
              </a:rPr>
              <a:t>First Factor</a:t>
            </a:r>
            <a:endParaRPr lang="en-US" dirty="0">
              <a:solidFill>
                <a:srgbClr val="58595B"/>
              </a:solidFill>
              <a:latin typeface="+mj-lt"/>
              <a:cs typeface="Open Sans Light"/>
            </a:endParaRPr>
          </a:p>
        </p:txBody>
      </p:sp>
      <p:sp>
        <p:nvSpPr>
          <p:cNvPr id="10" name="TextBox 9"/>
          <p:cNvSpPr txBox="1"/>
          <p:nvPr/>
        </p:nvSpPr>
        <p:spPr>
          <a:xfrm>
            <a:off x="1311385" y="2216995"/>
            <a:ext cx="2666039" cy="864230"/>
          </a:xfrm>
          <a:prstGeom prst="rect">
            <a:avLst/>
          </a:prstGeom>
          <a:noFill/>
        </p:spPr>
        <p:txBody>
          <a:bodyPr wrap="square" rtlCol="0">
            <a:noAutofit/>
          </a:bodyPr>
          <a:lstStyle/>
          <a:p>
            <a:pPr>
              <a:lnSpc>
                <a:spcPct val="120000"/>
              </a:lnSpc>
            </a:pPr>
            <a:r>
              <a:rPr lang="en-US" sz="1400" dirty="0">
                <a:solidFill>
                  <a:srgbClr val="58595B"/>
                </a:solidFill>
                <a:latin typeface="Roboto Regular" pitchFamily="2" charset="0"/>
                <a:ea typeface="Roboto Regular" pitchFamily="2" charset="0"/>
                <a:cs typeface="Open Sans Light"/>
              </a:rPr>
              <a:t>Lorem ipsum dolor sit amet, consectetur adipiscing elit. Praesent </a:t>
            </a:r>
            <a:r>
              <a:rPr lang="en-US" sz="1400" dirty="0" err="1">
                <a:solidFill>
                  <a:srgbClr val="58595B"/>
                </a:solidFill>
                <a:latin typeface="Roboto Regular" pitchFamily="2" charset="0"/>
                <a:ea typeface="Roboto Regular" pitchFamily="2" charset="0"/>
                <a:cs typeface="Open Sans Light"/>
              </a:rPr>
              <a:t>molestie</a:t>
            </a:r>
            <a:r>
              <a:rPr lang="en-US" sz="1400" dirty="0">
                <a:solidFill>
                  <a:srgbClr val="58595B"/>
                </a:solidFill>
                <a:latin typeface="Roboto Regular" pitchFamily="2" charset="0"/>
                <a:ea typeface="Roboto Regular" pitchFamily="2" charset="0"/>
                <a:cs typeface="Open Sans Light"/>
              </a:rPr>
              <a:t> </a:t>
            </a:r>
            <a:r>
              <a:rPr lang="en-US" sz="1400" dirty="0" err="1">
                <a:solidFill>
                  <a:srgbClr val="58595B"/>
                </a:solidFill>
                <a:latin typeface="Roboto Regular" pitchFamily="2" charset="0"/>
                <a:ea typeface="Roboto Regular" pitchFamily="2" charset="0"/>
                <a:cs typeface="Open Sans Light"/>
              </a:rPr>
              <a:t>efficitur</a:t>
            </a:r>
            <a:r>
              <a:rPr lang="en-US" sz="1400" dirty="0">
                <a:solidFill>
                  <a:srgbClr val="58595B"/>
                </a:solidFill>
                <a:latin typeface="Roboto Regular" pitchFamily="2" charset="0"/>
                <a:ea typeface="Roboto Regular" pitchFamily="2" charset="0"/>
                <a:cs typeface="Open Sans Light"/>
              </a:rPr>
              <a:t> </a:t>
            </a:r>
            <a:r>
              <a:rPr lang="en-US" sz="1400" dirty="0" err="1">
                <a:solidFill>
                  <a:srgbClr val="58595B"/>
                </a:solidFill>
                <a:latin typeface="Roboto Regular" pitchFamily="2" charset="0"/>
                <a:ea typeface="Roboto Regular" pitchFamily="2" charset="0"/>
                <a:cs typeface="Open Sans Light"/>
              </a:rPr>
              <a:t>est</a:t>
            </a:r>
            <a:r>
              <a:rPr lang="en-US" sz="1400" dirty="0" smtClean="0">
                <a:solidFill>
                  <a:srgbClr val="58595B"/>
                </a:solidFill>
                <a:latin typeface="Roboto Regular" pitchFamily="2" charset="0"/>
                <a:ea typeface="Roboto Regular" pitchFamily="2" charset="0"/>
                <a:cs typeface="Open Sans Light"/>
              </a:rPr>
              <a:t>,</a:t>
            </a:r>
            <a:endParaRPr lang="en-US" sz="1400" dirty="0">
              <a:solidFill>
                <a:srgbClr val="58595B"/>
              </a:solidFill>
              <a:latin typeface="Roboto Regular" pitchFamily="2" charset="0"/>
              <a:ea typeface="Roboto Regular" pitchFamily="2" charset="0"/>
              <a:cs typeface="Open Sans Light"/>
            </a:endParaRPr>
          </a:p>
        </p:txBody>
      </p:sp>
      <p:grpSp>
        <p:nvGrpSpPr>
          <p:cNvPr id="23" name="Group 22"/>
          <p:cNvGrpSpPr/>
          <p:nvPr>
            <p:custDataLst>
              <p:tags r:id="rId2"/>
            </p:custDataLst>
          </p:nvPr>
        </p:nvGrpSpPr>
        <p:grpSpPr>
          <a:xfrm flipV="1">
            <a:off x="1299760" y="3772197"/>
            <a:ext cx="3607597" cy="534987"/>
            <a:chOff x="1848067" y="2697524"/>
            <a:chExt cx="2311184" cy="316190"/>
          </a:xfrm>
        </p:grpSpPr>
        <p:cxnSp>
          <p:nvCxnSpPr>
            <p:cNvPr id="24" name="Straight Connector 23"/>
            <p:cNvCxnSpPr/>
            <p:nvPr/>
          </p:nvCxnSpPr>
          <p:spPr>
            <a:xfrm flipH="1" flipV="1">
              <a:off x="3661285" y="2697524"/>
              <a:ext cx="497966" cy="3161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1848067" y="2697524"/>
              <a:ext cx="1813219"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sp>
        <p:nvSpPr>
          <p:cNvPr id="27" name="TextBox 26"/>
          <p:cNvSpPr txBox="1"/>
          <p:nvPr/>
        </p:nvSpPr>
        <p:spPr>
          <a:xfrm>
            <a:off x="1311385" y="3821129"/>
            <a:ext cx="2666039" cy="230720"/>
          </a:xfrm>
          <a:prstGeom prst="rect">
            <a:avLst/>
          </a:prstGeom>
          <a:noFill/>
        </p:spPr>
        <p:txBody>
          <a:bodyPr wrap="square" rtlCol="0">
            <a:spAutoFit/>
          </a:bodyPr>
          <a:lstStyle/>
          <a:p>
            <a:r>
              <a:rPr lang="en-US" dirty="0" smtClean="0">
                <a:solidFill>
                  <a:srgbClr val="58595B"/>
                </a:solidFill>
                <a:latin typeface="+mj-lt"/>
                <a:cs typeface="Open Sans Light"/>
              </a:rPr>
              <a:t>Third Factor</a:t>
            </a:r>
            <a:endParaRPr lang="en-US" dirty="0">
              <a:solidFill>
                <a:srgbClr val="58595B"/>
              </a:solidFill>
              <a:latin typeface="+mj-lt"/>
              <a:cs typeface="Open Sans Light"/>
            </a:endParaRPr>
          </a:p>
        </p:txBody>
      </p:sp>
      <p:sp>
        <p:nvSpPr>
          <p:cNvPr id="28" name="TextBox 27"/>
          <p:cNvSpPr txBox="1"/>
          <p:nvPr/>
        </p:nvSpPr>
        <p:spPr>
          <a:xfrm>
            <a:off x="1311385" y="4377647"/>
            <a:ext cx="2666039" cy="864230"/>
          </a:xfrm>
          <a:prstGeom prst="rect">
            <a:avLst/>
          </a:prstGeom>
          <a:noFill/>
        </p:spPr>
        <p:txBody>
          <a:bodyPr wrap="square" rtlCol="0">
            <a:noAutofit/>
          </a:bodyPr>
          <a:lstStyle/>
          <a:p>
            <a:pPr>
              <a:lnSpc>
                <a:spcPct val="120000"/>
              </a:lnSpc>
            </a:pPr>
            <a:r>
              <a:rPr lang="en-US" sz="1400" dirty="0">
                <a:solidFill>
                  <a:srgbClr val="58595B"/>
                </a:solidFill>
                <a:latin typeface="Roboto Regular" pitchFamily="2" charset="0"/>
                <a:ea typeface="Roboto Regular" pitchFamily="2" charset="0"/>
                <a:cs typeface="Open Sans Light"/>
              </a:rPr>
              <a:t>Lorem ipsum dolor sit amet, consectetur adipiscing elit. Praesent </a:t>
            </a:r>
            <a:r>
              <a:rPr lang="en-US" sz="1400" dirty="0" err="1">
                <a:solidFill>
                  <a:srgbClr val="58595B"/>
                </a:solidFill>
                <a:latin typeface="Roboto Regular" pitchFamily="2" charset="0"/>
                <a:ea typeface="Roboto Regular" pitchFamily="2" charset="0"/>
                <a:cs typeface="Open Sans Light"/>
              </a:rPr>
              <a:t>molestie</a:t>
            </a:r>
            <a:r>
              <a:rPr lang="en-US" sz="1400" dirty="0">
                <a:solidFill>
                  <a:srgbClr val="58595B"/>
                </a:solidFill>
                <a:latin typeface="Roboto Regular" pitchFamily="2" charset="0"/>
                <a:ea typeface="Roboto Regular" pitchFamily="2" charset="0"/>
                <a:cs typeface="Open Sans Light"/>
              </a:rPr>
              <a:t> </a:t>
            </a:r>
            <a:r>
              <a:rPr lang="en-US" sz="1400" dirty="0" err="1">
                <a:solidFill>
                  <a:srgbClr val="58595B"/>
                </a:solidFill>
                <a:latin typeface="Roboto Regular" pitchFamily="2" charset="0"/>
                <a:ea typeface="Roboto Regular" pitchFamily="2" charset="0"/>
                <a:cs typeface="Open Sans Light"/>
              </a:rPr>
              <a:t>efficitur</a:t>
            </a:r>
            <a:r>
              <a:rPr lang="en-US" sz="1400" dirty="0">
                <a:solidFill>
                  <a:srgbClr val="58595B"/>
                </a:solidFill>
                <a:latin typeface="Roboto Regular" pitchFamily="2" charset="0"/>
                <a:ea typeface="Roboto Regular" pitchFamily="2" charset="0"/>
                <a:cs typeface="Open Sans Light"/>
              </a:rPr>
              <a:t> </a:t>
            </a:r>
            <a:r>
              <a:rPr lang="en-US" sz="1400" dirty="0" err="1">
                <a:solidFill>
                  <a:srgbClr val="58595B"/>
                </a:solidFill>
                <a:latin typeface="Roboto Regular" pitchFamily="2" charset="0"/>
                <a:ea typeface="Roboto Regular" pitchFamily="2" charset="0"/>
                <a:cs typeface="Open Sans Light"/>
              </a:rPr>
              <a:t>est</a:t>
            </a:r>
            <a:r>
              <a:rPr lang="en-US" sz="1400" dirty="0" smtClean="0">
                <a:solidFill>
                  <a:srgbClr val="58595B"/>
                </a:solidFill>
                <a:latin typeface="Roboto Regular" pitchFamily="2" charset="0"/>
                <a:ea typeface="Roboto Regular" pitchFamily="2" charset="0"/>
                <a:cs typeface="Open Sans Light"/>
              </a:rPr>
              <a:t>,</a:t>
            </a:r>
            <a:endParaRPr lang="en-US" sz="1400" dirty="0">
              <a:solidFill>
                <a:srgbClr val="58595B"/>
              </a:solidFill>
              <a:latin typeface="Roboto Regular" pitchFamily="2" charset="0"/>
              <a:ea typeface="Roboto Regular" pitchFamily="2" charset="0"/>
              <a:cs typeface="Open Sans Light"/>
            </a:endParaRPr>
          </a:p>
        </p:txBody>
      </p:sp>
      <p:sp>
        <p:nvSpPr>
          <p:cNvPr id="29" name="AutoShape 34"/>
          <p:cNvSpPr>
            <a:spLocks/>
          </p:cNvSpPr>
          <p:nvPr/>
        </p:nvSpPr>
        <p:spPr bwMode="auto">
          <a:xfrm>
            <a:off x="507496" y="1722432"/>
            <a:ext cx="491168" cy="48087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4" y="0"/>
                </a:moveTo>
                <a:cubicBezTo>
                  <a:pt x="12264" y="0"/>
                  <a:pt x="13649" y="287"/>
                  <a:pt x="14957" y="861"/>
                </a:cubicBezTo>
                <a:cubicBezTo>
                  <a:pt x="16265" y="1434"/>
                  <a:pt x="17412" y="2210"/>
                  <a:pt x="18398" y="3198"/>
                </a:cubicBezTo>
                <a:cubicBezTo>
                  <a:pt x="19387" y="4186"/>
                  <a:pt x="20167" y="5332"/>
                  <a:pt x="20738" y="6645"/>
                </a:cubicBezTo>
                <a:cubicBezTo>
                  <a:pt x="21311" y="7958"/>
                  <a:pt x="21599" y="9341"/>
                  <a:pt x="21599" y="10801"/>
                </a:cubicBezTo>
                <a:cubicBezTo>
                  <a:pt x="21599" y="12280"/>
                  <a:pt x="21311" y="13669"/>
                  <a:pt x="20738" y="14971"/>
                </a:cubicBezTo>
                <a:cubicBezTo>
                  <a:pt x="20167" y="16272"/>
                  <a:pt x="19387" y="17413"/>
                  <a:pt x="18398" y="18401"/>
                </a:cubicBezTo>
                <a:cubicBezTo>
                  <a:pt x="17412" y="19386"/>
                  <a:pt x="16265" y="20171"/>
                  <a:pt x="14957" y="20738"/>
                </a:cubicBezTo>
                <a:cubicBezTo>
                  <a:pt x="13649" y="21312"/>
                  <a:pt x="12264" y="21599"/>
                  <a:pt x="10804" y="21599"/>
                </a:cubicBezTo>
                <a:cubicBezTo>
                  <a:pt x="9326" y="21599"/>
                  <a:pt x="7936" y="21312"/>
                  <a:pt x="6633" y="20738"/>
                </a:cubicBezTo>
                <a:cubicBezTo>
                  <a:pt x="5328" y="20171"/>
                  <a:pt x="4184" y="19386"/>
                  <a:pt x="3195" y="18401"/>
                </a:cubicBezTo>
                <a:cubicBezTo>
                  <a:pt x="2209" y="17413"/>
                  <a:pt x="1429" y="16272"/>
                  <a:pt x="856" y="14971"/>
                </a:cubicBezTo>
                <a:cubicBezTo>
                  <a:pt x="285" y="13669"/>
                  <a:pt x="0" y="12280"/>
                  <a:pt x="0" y="10801"/>
                </a:cubicBezTo>
                <a:cubicBezTo>
                  <a:pt x="0" y="9341"/>
                  <a:pt x="285" y="7958"/>
                  <a:pt x="856" y="6645"/>
                </a:cubicBezTo>
                <a:cubicBezTo>
                  <a:pt x="1429" y="5332"/>
                  <a:pt x="2209" y="4186"/>
                  <a:pt x="3195" y="3198"/>
                </a:cubicBezTo>
                <a:cubicBezTo>
                  <a:pt x="4184" y="2210"/>
                  <a:pt x="5328" y="1434"/>
                  <a:pt x="6633" y="861"/>
                </a:cubicBezTo>
                <a:cubicBezTo>
                  <a:pt x="7936" y="285"/>
                  <a:pt x="9326" y="0"/>
                  <a:pt x="10804" y="0"/>
                </a:cubicBezTo>
                <a:moveTo>
                  <a:pt x="6450" y="2241"/>
                </a:moveTo>
                <a:cubicBezTo>
                  <a:pt x="6133" y="2258"/>
                  <a:pt x="5783" y="2408"/>
                  <a:pt x="5393" y="2687"/>
                </a:cubicBezTo>
                <a:cubicBezTo>
                  <a:pt x="5006" y="2969"/>
                  <a:pt x="4627" y="3294"/>
                  <a:pt x="4257" y="3658"/>
                </a:cubicBezTo>
                <a:cubicBezTo>
                  <a:pt x="3890" y="4028"/>
                  <a:pt x="3548" y="4409"/>
                  <a:pt x="3237" y="4793"/>
                </a:cubicBezTo>
                <a:cubicBezTo>
                  <a:pt x="2927" y="5186"/>
                  <a:pt x="2684" y="5505"/>
                  <a:pt x="2514" y="5753"/>
                </a:cubicBezTo>
                <a:lnTo>
                  <a:pt x="2568" y="5753"/>
                </a:lnTo>
                <a:cubicBezTo>
                  <a:pt x="2604" y="5753"/>
                  <a:pt x="2661" y="5742"/>
                  <a:pt x="2737" y="5716"/>
                </a:cubicBezTo>
                <a:cubicBezTo>
                  <a:pt x="2814" y="5688"/>
                  <a:pt x="2850" y="5728"/>
                  <a:pt x="2850" y="5838"/>
                </a:cubicBezTo>
                <a:cubicBezTo>
                  <a:pt x="2850" y="5875"/>
                  <a:pt x="2839" y="5920"/>
                  <a:pt x="2811" y="5979"/>
                </a:cubicBezTo>
                <a:cubicBezTo>
                  <a:pt x="2783" y="6035"/>
                  <a:pt x="2833" y="6069"/>
                  <a:pt x="2961" y="6069"/>
                </a:cubicBezTo>
                <a:cubicBezTo>
                  <a:pt x="2997" y="6069"/>
                  <a:pt x="3020" y="6041"/>
                  <a:pt x="3028" y="5985"/>
                </a:cubicBezTo>
                <a:cubicBezTo>
                  <a:pt x="3037" y="5931"/>
                  <a:pt x="3051" y="5931"/>
                  <a:pt x="3068" y="5985"/>
                </a:cubicBezTo>
                <a:lnTo>
                  <a:pt x="3122" y="6199"/>
                </a:lnTo>
                <a:lnTo>
                  <a:pt x="3122" y="6227"/>
                </a:lnTo>
                <a:cubicBezTo>
                  <a:pt x="3122" y="6267"/>
                  <a:pt x="3099" y="6295"/>
                  <a:pt x="3054" y="6312"/>
                </a:cubicBezTo>
                <a:cubicBezTo>
                  <a:pt x="3011" y="6326"/>
                  <a:pt x="2997" y="6354"/>
                  <a:pt x="3014" y="6394"/>
                </a:cubicBezTo>
                <a:cubicBezTo>
                  <a:pt x="3051" y="6428"/>
                  <a:pt x="3093" y="6442"/>
                  <a:pt x="3141" y="6442"/>
                </a:cubicBezTo>
                <a:lnTo>
                  <a:pt x="3271" y="6442"/>
                </a:lnTo>
                <a:lnTo>
                  <a:pt x="3325" y="6417"/>
                </a:lnTo>
                <a:lnTo>
                  <a:pt x="3353" y="6394"/>
                </a:lnTo>
                <a:cubicBezTo>
                  <a:pt x="3353" y="6442"/>
                  <a:pt x="3379" y="6481"/>
                  <a:pt x="3432" y="6504"/>
                </a:cubicBezTo>
                <a:cubicBezTo>
                  <a:pt x="3489" y="6532"/>
                  <a:pt x="3534" y="6544"/>
                  <a:pt x="3568" y="6544"/>
                </a:cubicBezTo>
                <a:lnTo>
                  <a:pt x="3596" y="6544"/>
                </a:lnTo>
                <a:cubicBezTo>
                  <a:pt x="3596" y="6558"/>
                  <a:pt x="3576" y="6575"/>
                  <a:pt x="3543" y="6592"/>
                </a:cubicBezTo>
                <a:cubicBezTo>
                  <a:pt x="3506" y="6614"/>
                  <a:pt x="3506" y="6642"/>
                  <a:pt x="3543" y="6673"/>
                </a:cubicBezTo>
                <a:lnTo>
                  <a:pt x="3853" y="6730"/>
                </a:lnTo>
                <a:lnTo>
                  <a:pt x="3853" y="6758"/>
                </a:lnTo>
                <a:lnTo>
                  <a:pt x="4043" y="7148"/>
                </a:lnTo>
                <a:cubicBezTo>
                  <a:pt x="4043" y="7182"/>
                  <a:pt x="4028" y="7232"/>
                  <a:pt x="4003" y="7280"/>
                </a:cubicBezTo>
                <a:cubicBezTo>
                  <a:pt x="3975" y="7337"/>
                  <a:pt x="3944" y="7365"/>
                  <a:pt x="3907" y="7365"/>
                </a:cubicBezTo>
                <a:cubicBezTo>
                  <a:pt x="3870" y="7365"/>
                  <a:pt x="3856" y="7354"/>
                  <a:pt x="3867" y="7326"/>
                </a:cubicBezTo>
                <a:cubicBezTo>
                  <a:pt x="3876" y="7297"/>
                  <a:pt x="3879" y="7263"/>
                  <a:pt x="3879" y="7232"/>
                </a:cubicBezTo>
                <a:cubicBezTo>
                  <a:pt x="3879" y="7193"/>
                  <a:pt x="3870" y="7159"/>
                  <a:pt x="3853" y="7134"/>
                </a:cubicBezTo>
                <a:cubicBezTo>
                  <a:pt x="3836" y="7105"/>
                  <a:pt x="3769" y="7094"/>
                  <a:pt x="3650" y="7094"/>
                </a:cubicBezTo>
                <a:cubicBezTo>
                  <a:pt x="3633" y="7094"/>
                  <a:pt x="3608" y="7100"/>
                  <a:pt x="3582" y="7105"/>
                </a:cubicBezTo>
                <a:cubicBezTo>
                  <a:pt x="3554" y="7117"/>
                  <a:pt x="3551" y="7139"/>
                  <a:pt x="3568" y="7176"/>
                </a:cubicBezTo>
                <a:lnTo>
                  <a:pt x="3732" y="7523"/>
                </a:lnTo>
                <a:lnTo>
                  <a:pt x="3771" y="7551"/>
                </a:lnTo>
                <a:lnTo>
                  <a:pt x="3800" y="7580"/>
                </a:lnTo>
                <a:cubicBezTo>
                  <a:pt x="3709" y="7580"/>
                  <a:pt x="3647" y="7690"/>
                  <a:pt x="3616" y="7904"/>
                </a:cubicBezTo>
                <a:cubicBezTo>
                  <a:pt x="3585" y="8119"/>
                  <a:pt x="3568" y="8274"/>
                  <a:pt x="3568" y="8362"/>
                </a:cubicBezTo>
                <a:lnTo>
                  <a:pt x="3622" y="8610"/>
                </a:lnTo>
                <a:lnTo>
                  <a:pt x="3650" y="8686"/>
                </a:lnTo>
                <a:lnTo>
                  <a:pt x="3650" y="8743"/>
                </a:lnTo>
                <a:lnTo>
                  <a:pt x="3596" y="9002"/>
                </a:lnTo>
                <a:lnTo>
                  <a:pt x="3989" y="9581"/>
                </a:lnTo>
                <a:lnTo>
                  <a:pt x="4071" y="9581"/>
                </a:lnTo>
                <a:cubicBezTo>
                  <a:pt x="4088" y="9618"/>
                  <a:pt x="4079" y="9652"/>
                  <a:pt x="4043" y="9691"/>
                </a:cubicBezTo>
                <a:cubicBezTo>
                  <a:pt x="4006" y="9725"/>
                  <a:pt x="3997" y="9762"/>
                  <a:pt x="4014" y="9796"/>
                </a:cubicBezTo>
                <a:lnTo>
                  <a:pt x="4125" y="9906"/>
                </a:lnTo>
                <a:cubicBezTo>
                  <a:pt x="4125" y="9993"/>
                  <a:pt x="4142" y="10061"/>
                  <a:pt x="4178" y="10098"/>
                </a:cubicBezTo>
                <a:cubicBezTo>
                  <a:pt x="4212" y="10143"/>
                  <a:pt x="4272" y="10197"/>
                  <a:pt x="4353" y="10270"/>
                </a:cubicBezTo>
                <a:cubicBezTo>
                  <a:pt x="4334" y="10380"/>
                  <a:pt x="4427" y="10479"/>
                  <a:pt x="4630" y="10572"/>
                </a:cubicBezTo>
                <a:cubicBezTo>
                  <a:pt x="4834" y="10668"/>
                  <a:pt x="4961" y="10733"/>
                  <a:pt x="5017" y="10773"/>
                </a:cubicBezTo>
                <a:cubicBezTo>
                  <a:pt x="5088" y="10976"/>
                  <a:pt x="5178" y="11179"/>
                  <a:pt x="5286" y="11382"/>
                </a:cubicBezTo>
                <a:cubicBezTo>
                  <a:pt x="5393" y="11588"/>
                  <a:pt x="5526" y="11758"/>
                  <a:pt x="5679" y="11908"/>
                </a:cubicBezTo>
                <a:lnTo>
                  <a:pt x="5707" y="12094"/>
                </a:lnTo>
                <a:cubicBezTo>
                  <a:pt x="5707" y="12111"/>
                  <a:pt x="5684" y="12133"/>
                  <a:pt x="5639" y="12150"/>
                </a:cubicBezTo>
                <a:cubicBezTo>
                  <a:pt x="5594" y="12167"/>
                  <a:pt x="5588" y="12195"/>
                  <a:pt x="5625" y="12227"/>
                </a:cubicBezTo>
                <a:lnTo>
                  <a:pt x="5842" y="12325"/>
                </a:lnTo>
                <a:cubicBezTo>
                  <a:pt x="5876" y="12289"/>
                  <a:pt x="5924" y="12325"/>
                  <a:pt x="5984" y="12433"/>
                </a:cubicBezTo>
                <a:cubicBezTo>
                  <a:pt x="6040" y="12543"/>
                  <a:pt x="6088" y="12613"/>
                  <a:pt x="6125" y="12647"/>
                </a:cubicBezTo>
                <a:lnTo>
                  <a:pt x="6097" y="12729"/>
                </a:lnTo>
                <a:lnTo>
                  <a:pt x="6261" y="12961"/>
                </a:lnTo>
                <a:lnTo>
                  <a:pt x="6342" y="12989"/>
                </a:lnTo>
                <a:lnTo>
                  <a:pt x="6396" y="12879"/>
                </a:lnTo>
                <a:cubicBezTo>
                  <a:pt x="6359" y="12788"/>
                  <a:pt x="6297" y="12667"/>
                  <a:pt x="6207" y="12520"/>
                </a:cubicBezTo>
                <a:cubicBezTo>
                  <a:pt x="6116" y="12370"/>
                  <a:pt x="6023" y="12226"/>
                  <a:pt x="5930" y="12088"/>
                </a:cubicBezTo>
                <a:cubicBezTo>
                  <a:pt x="5834" y="11947"/>
                  <a:pt x="5755" y="11826"/>
                  <a:pt x="5693" y="11710"/>
                </a:cubicBezTo>
                <a:cubicBezTo>
                  <a:pt x="5628" y="11600"/>
                  <a:pt x="5597" y="11532"/>
                  <a:pt x="5597" y="11515"/>
                </a:cubicBezTo>
                <a:cubicBezTo>
                  <a:pt x="5597" y="11492"/>
                  <a:pt x="5588" y="11422"/>
                  <a:pt x="5571" y="11295"/>
                </a:cubicBezTo>
                <a:cubicBezTo>
                  <a:pt x="5551" y="11168"/>
                  <a:pt x="5534" y="11097"/>
                  <a:pt x="5517" y="11069"/>
                </a:cubicBezTo>
                <a:cubicBezTo>
                  <a:pt x="5571" y="11103"/>
                  <a:pt x="5639" y="11137"/>
                  <a:pt x="5721" y="11168"/>
                </a:cubicBezTo>
                <a:cubicBezTo>
                  <a:pt x="5800" y="11202"/>
                  <a:pt x="5868" y="11235"/>
                  <a:pt x="5922" y="11267"/>
                </a:cubicBezTo>
                <a:cubicBezTo>
                  <a:pt x="5958" y="11492"/>
                  <a:pt x="6046" y="11676"/>
                  <a:pt x="6187" y="11809"/>
                </a:cubicBezTo>
                <a:cubicBezTo>
                  <a:pt x="6326" y="11947"/>
                  <a:pt x="6450" y="12099"/>
                  <a:pt x="6557" y="12272"/>
                </a:cubicBezTo>
                <a:cubicBezTo>
                  <a:pt x="6520" y="12305"/>
                  <a:pt x="6520" y="12325"/>
                  <a:pt x="6557" y="12337"/>
                </a:cubicBezTo>
                <a:cubicBezTo>
                  <a:pt x="6594" y="12348"/>
                  <a:pt x="6625" y="12354"/>
                  <a:pt x="6653" y="12354"/>
                </a:cubicBezTo>
                <a:cubicBezTo>
                  <a:pt x="6687" y="12387"/>
                  <a:pt x="6707" y="12452"/>
                  <a:pt x="6707" y="12543"/>
                </a:cubicBezTo>
                <a:cubicBezTo>
                  <a:pt x="6834" y="12684"/>
                  <a:pt x="6998" y="12884"/>
                  <a:pt x="7199" y="13138"/>
                </a:cubicBezTo>
                <a:cubicBezTo>
                  <a:pt x="7402" y="13384"/>
                  <a:pt x="7504" y="13584"/>
                  <a:pt x="7504" y="13731"/>
                </a:cubicBezTo>
                <a:lnTo>
                  <a:pt x="7504" y="13754"/>
                </a:lnTo>
                <a:lnTo>
                  <a:pt x="7450" y="13949"/>
                </a:lnTo>
                <a:cubicBezTo>
                  <a:pt x="7504" y="14090"/>
                  <a:pt x="7597" y="14205"/>
                  <a:pt x="7727" y="14290"/>
                </a:cubicBezTo>
                <a:cubicBezTo>
                  <a:pt x="7857" y="14378"/>
                  <a:pt x="7987" y="14443"/>
                  <a:pt x="8114" y="14499"/>
                </a:cubicBezTo>
                <a:lnTo>
                  <a:pt x="8168" y="14499"/>
                </a:lnTo>
                <a:cubicBezTo>
                  <a:pt x="8349" y="14592"/>
                  <a:pt x="8532" y="14685"/>
                  <a:pt x="8721" y="14790"/>
                </a:cubicBezTo>
                <a:cubicBezTo>
                  <a:pt x="8911" y="14897"/>
                  <a:pt x="9106" y="14985"/>
                  <a:pt x="9304" y="15055"/>
                </a:cubicBezTo>
                <a:lnTo>
                  <a:pt x="9614" y="14863"/>
                </a:lnTo>
                <a:cubicBezTo>
                  <a:pt x="9688" y="14886"/>
                  <a:pt x="9764" y="14928"/>
                  <a:pt x="9846" y="15002"/>
                </a:cubicBezTo>
                <a:cubicBezTo>
                  <a:pt x="9925" y="15072"/>
                  <a:pt x="10018" y="15154"/>
                  <a:pt x="10123" y="15250"/>
                </a:cubicBezTo>
                <a:cubicBezTo>
                  <a:pt x="10225" y="15343"/>
                  <a:pt x="10346" y="15431"/>
                  <a:pt x="10487" y="15513"/>
                </a:cubicBezTo>
                <a:cubicBezTo>
                  <a:pt x="10626" y="15597"/>
                  <a:pt x="10787" y="15645"/>
                  <a:pt x="10968" y="15662"/>
                </a:cubicBezTo>
                <a:cubicBezTo>
                  <a:pt x="11092" y="15575"/>
                  <a:pt x="11157" y="15597"/>
                  <a:pt x="11157" y="15727"/>
                </a:cubicBezTo>
                <a:lnTo>
                  <a:pt x="11157" y="15784"/>
                </a:lnTo>
                <a:lnTo>
                  <a:pt x="11496" y="16193"/>
                </a:lnTo>
                <a:lnTo>
                  <a:pt x="11550" y="16391"/>
                </a:lnTo>
                <a:cubicBezTo>
                  <a:pt x="11640" y="16444"/>
                  <a:pt x="11731" y="16512"/>
                  <a:pt x="11827" y="16594"/>
                </a:cubicBezTo>
                <a:cubicBezTo>
                  <a:pt x="11920" y="16676"/>
                  <a:pt x="11996" y="16766"/>
                  <a:pt x="12050" y="16865"/>
                </a:cubicBezTo>
                <a:lnTo>
                  <a:pt x="12103" y="16865"/>
                </a:lnTo>
                <a:cubicBezTo>
                  <a:pt x="12194" y="16865"/>
                  <a:pt x="12267" y="16907"/>
                  <a:pt x="12327" y="16986"/>
                </a:cubicBezTo>
                <a:cubicBezTo>
                  <a:pt x="12386" y="17068"/>
                  <a:pt x="12459" y="17108"/>
                  <a:pt x="12550" y="17108"/>
                </a:cubicBezTo>
                <a:cubicBezTo>
                  <a:pt x="12604" y="17108"/>
                  <a:pt x="12632" y="17079"/>
                  <a:pt x="12632" y="17029"/>
                </a:cubicBezTo>
                <a:cubicBezTo>
                  <a:pt x="12632" y="16902"/>
                  <a:pt x="12640" y="16820"/>
                  <a:pt x="12657" y="16777"/>
                </a:cubicBezTo>
                <a:cubicBezTo>
                  <a:pt x="12674" y="16738"/>
                  <a:pt x="12700" y="16710"/>
                  <a:pt x="12725" y="16704"/>
                </a:cubicBezTo>
                <a:cubicBezTo>
                  <a:pt x="12753" y="16693"/>
                  <a:pt x="12782" y="16687"/>
                  <a:pt x="12807" y="16687"/>
                </a:cubicBezTo>
                <a:cubicBezTo>
                  <a:pt x="12835" y="16687"/>
                  <a:pt x="12849" y="16670"/>
                  <a:pt x="12849" y="16633"/>
                </a:cubicBezTo>
                <a:lnTo>
                  <a:pt x="12793" y="16554"/>
                </a:lnTo>
                <a:cubicBezTo>
                  <a:pt x="12756" y="16554"/>
                  <a:pt x="12731" y="16577"/>
                  <a:pt x="12714" y="16622"/>
                </a:cubicBezTo>
                <a:cubicBezTo>
                  <a:pt x="12694" y="16667"/>
                  <a:pt x="12669" y="16670"/>
                  <a:pt x="12632" y="16633"/>
                </a:cubicBezTo>
                <a:lnTo>
                  <a:pt x="12440" y="16743"/>
                </a:lnTo>
                <a:lnTo>
                  <a:pt x="12211" y="16687"/>
                </a:lnTo>
                <a:lnTo>
                  <a:pt x="11889" y="16136"/>
                </a:lnTo>
                <a:lnTo>
                  <a:pt x="11996" y="15366"/>
                </a:lnTo>
                <a:cubicBezTo>
                  <a:pt x="12013" y="15332"/>
                  <a:pt x="11979" y="15287"/>
                  <a:pt x="11894" y="15244"/>
                </a:cubicBezTo>
                <a:cubicBezTo>
                  <a:pt x="11807" y="15199"/>
                  <a:pt x="11784" y="15154"/>
                  <a:pt x="11818" y="15112"/>
                </a:cubicBezTo>
                <a:cubicBezTo>
                  <a:pt x="11694" y="15032"/>
                  <a:pt x="11541" y="15001"/>
                  <a:pt x="11360" y="15001"/>
                </a:cubicBezTo>
                <a:cubicBezTo>
                  <a:pt x="11324" y="15001"/>
                  <a:pt x="11230" y="15013"/>
                  <a:pt x="11083" y="15038"/>
                </a:cubicBezTo>
                <a:cubicBezTo>
                  <a:pt x="10934" y="15066"/>
                  <a:pt x="10857" y="15055"/>
                  <a:pt x="10857" y="15001"/>
                </a:cubicBezTo>
                <a:cubicBezTo>
                  <a:pt x="10857" y="14945"/>
                  <a:pt x="10872" y="14874"/>
                  <a:pt x="10900" y="14784"/>
                </a:cubicBezTo>
                <a:cubicBezTo>
                  <a:pt x="10925" y="14691"/>
                  <a:pt x="10959" y="14598"/>
                  <a:pt x="10993" y="14493"/>
                </a:cubicBezTo>
                <a:cubicBezTo>
                  <a:pt x="11030" y="14389"/>
                  <a:pt x="11058" y="14301"/>
                  <a:pt x="11075" y="14228"/>
                </a:cubicBezTo>
                <a:cubicBezTo>
                  <a:pt x="11092" y="14157"/>
                  <a:pt x="11103" y="14112"/>
                  <a:pt x="11103" y="14095"/>
                </a:cubicBezTo>
                <a:lnTo>
                  <a:pt x="11278" y="13731"/>
                </a:lnTo>
                <a:lnTo>
                  <a:pt x="11239" y="13677"/>
                </a:lnTo>
                <a:lnTo>
                  <a:pt x="11021" y="13621"/>
                </a:lnTo>
                <a:cubicBezTo>
                  <a:pt x="10985" y="13621"/>
                  <a:pt x="10925" y="13649"/>
                  <a:pt x="10846" y="13706"/>
                </a:cubicBezTo>
                <a:cubicBezTo>
                  <a:pt x="10764" y="13754"/>
                  <a:pt x="10685" y="13821"/>
                  <a:pt x="10609" y="13898"/>
                </a:cubicBezTo>
                <a:cubicBezTo>
                  <a:pt x="10533" y="13974"/>
                  <a:pt x="10468" y="14053"/>
                  <a:pt x="10414" y="14123"/>
                </a:cubicBezTo>
                <a:cubicBezTo>
                  <a:pt x="10360" y="14197"/>
                  <a:pt x="10332" y="14256"/>
                  <a:pt x="10332" y="14313"/>
                </a:cubicBezTo>
                <a:lnTo>
                  <a:pt x="9724" y="14442"/>
                </a:lnTo>
                <a:cubicBezTo>
                  <a:pt x="9597" y="14442"/>
                  <a:pt x="9493" y="14394"/>
                  <a:pt x="9411" y="14284"/>
                </a:cubicBezTo>
                <a:cubicBezTo>
                  <a:pt x="9377" y="14140"/>
                  <a:pt x="9301" y="13979"/>
                  <a:pt x="9182" y="13804"/>
                </a:cubicBezTo>
                <a:cubicBezTo>
                  <a:pt x="9066" y="13627"/>
                  <a:pt x="9007" y="13474"/>
                  <a:pt x="9007" y="13336"/>
                </a:cubicBezTo>
                <a:cubicBezTo>
                  <a:pt x="9007" y="13132"/>
                  <a:pt x="9041" y="12938"/>
                  <a:pt x="9114" y="12757"/>
                </a:cubicBezTo>
                <a:cubicBezTo>
                  <a:pt x="9188" y="12576"/>
                  <a:pt x="9159" y="12382"/>
                  <a:pt x="9032" y="12178"/>
                </a:cubicBezTo>
                <a:cubicBezTo>
                  <a:pt x="9052" y="12178"/>
                  <a:pt x="9075" y="12167"/>
                  <a:pt x="9100" y="12150"/>
                </a:cubicBezTo>
                <a:cubicBezTo>
                  <a:pt x="9128" y="12133"/>
                  <a:pt x="9134" y="12105"/>
                  <a:pt x="9114" y="12068"/>
                </a:cubicBezTo>
                <a:lnTo>
                  <a:pt x="9275" y="11879"/>
                </a:lnTo>
                <a:lnTo>
                  <a:pt x="9303" y="11851"/>
                </a:lnTo>
                <a:lnTo>
                  <a:pt x="9329" y="11879"/>
                </a:lnTo>
                <a:cubicBezTo>
                  <a:pt x="9456" y="11786"/>
                  <a:pt x="9623" y="11758"/>
                  <a:pt x="9832" y="11786"/>
                </a:cubicBezTo>
                <a:cubicBezTo>
                  <a:pt x="10038" y="11809"/>
                  <a:pt x="10168" y="11746"/>
                  <a:pt x="10225" y="11594"/>
                </a:cubicBezTo>
                <a:lnTo>
                  <a:pt x="10439" y="11769"/>
                </a:lnTo>
                <a:cubicBezTo>
                  <a:pt x="10476" y="11786"/>
                  <a:pt x="10516" y="11769"/>
                  <a:pt x="10561" y="11710"/>
                </a:cubicBezTo>
                <a:cubicBezTo>
                  <a:pt x="10606" y="11653"/>
                  <a:pt x="10629" y="11605"/>
                  <a:pt x="10629" y="11566"/>
                </a:cubicBezTo>
                <a:lnTo>
                  <a:pt x="10521" y="11515"/>
                </a:lnTo>
                <a:lnTo>
                  <a:pt x="11050" y="11377"/>
                </a:lnTo>
                <a:lnTo>
                  <a:pt x="11075" y="11461"/>
                </a:lnTo>
                <a:lnTo>
                  <a:pt x="11332" y="11433"/>
                </a:lnTo>
                <a:lnTo>
                  <a:pt x="11629" y="11619"/>
                </a:lnTo>
                <a:cubicBezTo>
                  <a:pt x="11665" y="11619"/>
                  <a:pt x="11702" y="11600"/>
                  <a:pt x="11739" y="11554"/>
                </a:cubicBezTo>
                <a:cubicBezTo>
                  <a:pt x="11776" y="11509"/>
                  <a:pt x="11815" y="11504"/>
                  <a:pt x="11860" y="11537"/>
                </a:cubicBezTo>
                <a:lnTo>
                  <a:pt x="12132" y="11825"/>
                </a:lnTo>
                <a:cubicBezTo>
                  <a:pt x="12095" y="11896"/>
                  <a:pt x="12089" y="11952"/>
                  <a:pt x="12118" y="11984"/>
                </a:cubicBezTo>
                <a:cubicBezTo>
                  <a:pt x="12143" y="12023"/>
                  <a:pt x="12157" y="12057"/>
                  <a:pt x="12157" y="12094"/>
                </a:cubicBezTo>
                <a:cubicBezTo>
                  <a:pt x="12157" y="12150"/>
                  <a:pt x="12205" y="12271"/>
                  <a:pt x="12298" y="12463"/>
                </a:cubicBezTo>
                <a:cubicBezTo>
                  <a:pt x="12394" y="12658"/>
                  <a:pt x="12479" y="12757"/>
                  <a:pt x="12550" y="12757"/>
                </a:cubicBezTo>
                <a:cubicBezTo>
                  <a:pt x="12640" y="12757"/>
                  <a:pt x="12680" y="12698"/>
                  <a:pt x="12671" y="12582"/>
                </a:cubicBezTo>
                <a:cubicBezTo>
                  <a:pt x="12663" y="12466"/>
                  <a:pt x="12657" y="12390"/>
                  <a:pt x="12657" y="12356"/>
                </a:cubicBezTo>
                <a:cubicBezTo>
                  <a:pt x="12657" y="12176"/>
                  <a:pt x="12620" y="11998"/>
                  <a:pt x="12550" y="11828"/>
                </a:cubicBezTo>
                <a:cubicBezTo>
                  <a:pt x="12479" y="11656"/>
                  <a:pt x="12409" y="11481"/>
                  <a:pt x="12346" y="11298"/>
                </a:cubicBezTo>
                <a:lnTo>
                  <a:pt x="12346" y="11221"/>
                </a:lnTo>
                <a:cubicBezTo>
                  <a:pt x="12346" y="11128"/>
                  <a:pt x="12403" y="11049"/>
                  <a:pt x="12516" y="10984"/>
                </a:cubicBezTo>
                <a:cubicBezTo>
                  <a:pt x="12629" y="10911"/>
                  <a:pt x="12685" y="10874"/>
                  <a:pt x="12685" y="10851"/>
                </a:cubicBezTo>
                <a:cubicBezTo>
                  <a:pt x="12776" y="10781"/>
                  <a:pt x="12878" y="10707"/>
                  <a:pt x="12991" y="10637"/>
                </a:cubicBezTo>
                <a:cubicBezTo>
                  <a:pt x="13101" y="10563"/>
                  <a:pt x="13186" y="10482"/>
                  <a:pt x="13239" y="10383"/>
                </a:cubicBezTo>
                <a:lnTo>
                  <a:pt x="13347" y="10163"/>
                </a:lnTo>
                <a:lnTo>
                  <a:pt x="13347" y="10030"/>
                </a:lnTo>
                <a:lnTo>
                  <a:pt x="13429" y="10030"/>
                </a:lnTo>
                <a:cubicBezTo>
                  <a:pt x="13465" y="10030"/>
                  <a:pt x="13482" y="10002"/>
                  <a:pt x="13482" y="9948"/>
                </a:cubicBezTo>
                <a:cubicBezTo>
                  <a:pt x="13482" y="9931"/>
                  <a:pt x="13471" y="9914"/>
                  <a:pt x="13443" y="9903"/>
                </a:cubicBezTo>
                <a:cubicBezTo>
                  <a:pt x="13414" y="9886"/>
                  <a:pt x="13383" y="9863"/>
                  <a:pt x="13347" y="9827"/>
                </a:cubicBezTo>
                <a:cubicBezTo>
                  <a:pt x="13313" y="9810"/>
                  <a:pt x="13276" y="9782"/>
                  <a:pt x="13239" y="9742"/>
                </a:cubicBezTo>
                <a:lnTo>
                  <a:pt x="13321" y="9694"/>
                </a:lnTo>
                <a:cubicBezTo>
                  <a:pt x="13358" y="9638"/>
                  <a:pt x="13383" y="9573"/>
                  <a:pt x="13403" y="9491"/>
                </a:cubicBezTo>
                <a:cubicBezTo>
                  <a:pt x="13420" y="9406"/>
                  <a:pt x="13412" y="9335"/>
                  <a:pt x="13375" y="9273"/>
                </a:cubicBezTo>
                <a:lnTo>
                  <a:pt x="13578" y="9163"/>
                </a:lnTo>
                <a:cubicBezTo>
                  <a:pt x="13558" y="9220"/>
                  <a:pt x="13578" y="9254"/>
                  <a:pt x="13632" y="9273"/>
                </a:cubicBezTo>
                <a:cubicBezTo>
                  <a:pt x="13686" y="9290"/>
                  <a:pt x="13731" y="9290"/>
                  <a:pt x="13768" y="9273"/>
                </a:cubicBezTo>
                <a:lnTo>
                  <a:pt x="13903" y="9053"/>
                </a:lnTo>
                <a:cubicBezTo>
                  <a:pt x="13866" y="8966"/>
                  <a:pt x="13844" y="8932"/>
                  <a:pt x="13835" y="8960"/>
                </a:cubicBezTo>
                <a:cubicBezTo>
                  <a:pt x="13827" y="8988"/>
                  <a:pt x="13850" y="8960"/>
                  <a:pt x="13903" y="8867"/>
                </a:cubicBezTo>
                <a:cubicBezTo>
                  <a:pt x="13994" y="8833"/>
                  <a:pt x="14081" y="8788"/>
                  <a:pt x="14166" y="8740"/>
                </a:cubicBezTo>
                <a:cubicBezTo>
                  <a:pt x="14254" y="8689"/>
                  <a:pt x="14338" y="8664"/>
                  <a:pt x="14432" y="8664"/>
                </a:cubicBezTo>
                <a:cubicBezTo>
                  <a:pt x="14448" y="8683"/>
                  <a:pt x="14465" y="8689"/>
                  <a:pt x="14485" y="8689"/>
                </a:cubicBezTo>
                <a:cubicBezTo>
                  <a:pt x="14539" y="8689"/>
                  <a:pt x="14564" y="8683"/>
                  <a:pt x="14564" y="8664"/>
                </a:cubicBezTo>
                <a:cubicBezTo>
                  <a:pt x="14564" y="8573"/>
                  <a:pt x="14547" y="8520"/>
                  <a:pt x="14511" y="8503"/>
                </a:cubicBezTo>
                <a:lnTo>
                  <a:pt x="14675" y="8167"/>
                </a:lnTo>
                <a:cubicBezTo>
                  <a:pt x="14799" y="8167"/>
                  <a:pt x="14895" y="8110"/>
                  <a:pt x="14957" y="8000"/>
                </a:cubicBezTo>
                <a:lnTo>
                  <a:pt x="15203" y="7972"/>
                </a:lnTo>
                <a:cubicBezTo>
                  <a:pt x="15257" y="7958"/>
                  <a:pt x="15282" y="7924"/>
                  <a:pt x="15282" y="7867"/>
                </a:cubicBezTo>
                <a:lnTo>
                  <a:pt x="15282" y="7842"/>
                </a:lnTo>
                <a:lnTo>
                  <a:pt x="15757" y="7704"/>
                </a:lnTo>
                <a:lnTo>
                  <a:pt x="15810" y="7554"/>
                </a:lnTo>
                <a:lnTo>
                  <a:pt x="15675" y="7368"/>
                </a:lnTo>
                <a:cubicBezTo>
                  <a:pt x="15692" y="7368"/>
                  <a:pt x="15700" y="7351"/>
                  <a:pt x="15700" y="7311"/>
                </a:cubicBezTo>
                <a:cubicBezTo>
                  <a:pt x="15700" y="7277"/>
                  <a:pt x="15683" y="7252"/>
                  <a:pt x="15646" y="7235"/>
                </a:cubicBezTo>
                <a:cubicBezTo>
                  <a:pt x="15613" y="7212"/>
                  <a:pt x="15579" y="7195"/>
                  <a:pt x="15553" y="7179"/>
                </a:cubicBezTo>
                <a:cubicBezTo>
                  <a:pt x="15525" y="7162"/>
                  <a:pt x="15494" y="7142"/>
                  <a:pt x="15457" y="7125"/>
                </a:cubicBezTo>
                <a:lnTo>
                  <a:pt x="15403" y="7150"/>
                </a:lnTo>
                <a:lnTo>
                  <a:pt x="15457" y="7125"/>
                </a:lnTo>
                <a:lnTo>
                  <a:pt x="15539" y="7125"/>
                </a:lnTo>
                <a:lnTo>
                  <a:pt x="15714" y="7125"/>
                </a:lnTo>
                <a:cubicBezTo>
                  <a:pt x="15796" y="7125"/>
                  <a:pt x="15836" y="7085"/>
                  <a:pt x="15836" y="7003"/>
                </a:cubicBezTo>
                <a:cubicBezTo>
                  <a:pt x="15836" y="6893"/>
                  <a:pt x="15774" y="6837"/>
                  <a:pt x="15646" y="6837"/>
                </a:cubicBezTo>
                <a:cubicBezTo>
                  <a:pt x="15485" y="6837"/>
                  <a:pt x="15299" y="6877"/>
                  <a:pt x="15087" y="6953"/>
                </a:cubicBezTo>
                <a:cubicBezTo>
                  <a:pt x="14875" y="7029"/>
                  <a:pt x="14728" y="7162"/>
                  <a:pt x="14646" y="7339"/>
                </a:cubicBezTo>
                <a:lnTo>
                  <a:pt x="14457" y="7450"/>
                </a:lnTo>
                <a:lnTo>
                  <a:pt x="14700" y="7207"/>
                </a:lnTo>
                <a:lnTo>
                  <a:pt x="14739" y="7125"/>
                </a:lnTo>
                <a:cubicBezTo>
                  <a:pt x="14739" y="7085"/>
                  <a:pt x="14697" y="7063"/>
                  <a:pt x="14612" y="7046"/>
                </a:cubicBezTo>
                <a:cubicBezTo>
                  <a:pt x="14528" y="7035"/>
                  <a:pt x="14502" y="7029"/>
                  <a:pt x="14539" y="7029"/>
                </a:cubicBezTo>
                <a:cubicBezTo>
                  <a:pt x="14700" y="7029"/>
                  <a:pt x="14824" y="7015"/>
                  <a:pt x="14909" y="6975"/>
                </a:cubicBezTo>
                <a:cubicBezTo>
                  <a:pt x="14997" y="6936"/>
                  <a:pt x="15067" y="6899"/>
                  <a:pt x="15121" y="6854"/>
                </a:cubicBezTo>
                <a:cubicBezTo>
                  <a:pt x="15175" y="6809"/>
                  <a:pt x="15231" y="6766"/>
                  <a:pt x="15288" y="6715"/>
                </a:cubicBezTo>
                <a:cubicBezTo>
                  <a:pt x="15347" y="6670"/>
                  <a:pt x="15432" y="6634"/>
                  <a:pt x="15539" y="6594"/>
                </a:cubicBezTo>
                <a:cubicBezTo>
                  <a:pt x="15745" y="6634"/>
                  <a:pt x="15946" y="6645"/>
                  <a:pt x="16135" y="6622"/>
                </a:cubicBezTo>
                <a:cubicBezTo>
                  <a:pt x="16322" y="6605"/>
                  <a:pt x="16522" y="6594"/>
                  <a:pt x="16729" y="6594"/>
                </a:cubicBezTo>
                <a:cubicBezTo>
                  <a:pt x="16785" y="6560"/>
                  <a:pt x="16839" y="6523"/>
                  <a:pt x="16892" y="6484"/>
                </a:cubicBezTo>
                <a:cubicBezTo>
                  <a:pt x="16946" y="6439"/>
                  <a:pt x="16980" y="6396"/>
                  <a:pt x="17000" y="6340"/>
                </a:cubicBezTo>
                <a:lnTo>
                  <a:pt x="17311" y="6286"/>
                </a:lnTo>
                <a:cubicBezTo>
                  <a:pt x="17347" y="6323"/>
                  <a:pt x="17401" y="6315"/>
                  <a:pt x="17474" y="6258"/>
                </a:cubicBezTo>
                <a:cubicBezTo>
                  <a:pt x="17545" y="6202"/>
                  <a:pt x="17582" y="6159"/>
                  <a:pt x="17582" y="6125"/>
                </a:cubicBezTo>
                <a:cubicBezTo>
                  <a:pt x="17582" y="6032"/>
                  <a:pt x="17531" y="5976"/>
                  <a:pt x="17432" y="5950"/>
                </a:cubicBezTo>
                <a:cubicBezTo>
                  <a:pt x="17333" y="5922"/>
                  <a:pt x="17282" y="5854"/>
                  <a:pt x="17282" y="5755"/>
                </a:cubicBezTo>
                <a:cubicBezTo>
                  <a:pt x="17282" y="5738"/>
                  <a:pt x="17288" y="5713"/>
                  <a:pt x="17296" y="5679"/>
                </a:cubicBezTo>
                <a:cubicBezTo>
                  <a:pt x="17308" y="5640"/>
                  <a:pt x="17294" y="5623"/>
                  <a:pt x="17257" y="5623"/>
                </a:cubicBezTo>
                <a:cubicBezTo>
                  <a:pt x="17203" y="5623"/>
                  <a:pt x="17116" y="5651"/>
                  <a:pt x="16994" y="5707"/>
                </a:cubicBezTo>
                <a:cubicBezTo>
                  <a:pt x="16870" y="5758"/>
                  <a:pt x="16785" y="5806"/>
                  <a:pt x="16729" y="5840"/>
                </a:cubicBezTo>
                <a:cubicBezTo>
                  <a:pt x="16692" y="5854"/>
                  <a:pt x="16672" y="5854"/>
                  <a:pt x="16661" y="5829"/>
                </a:cubicBezTo>
                <a:cubicBezTo>
                  <a:pt x="16652" y="5801"/>
                  <a:pt x="16649" y="5767"/>
                  <a:pt x="16649" y="5730"/>
                </a:cubicBezTo>
                <a:lnTo>
                  <a:pt x="16675" y="5755"/>
                </a:lnTo>
                <a:lnTo>
                  <a:pt x="16785" y="5705"/>
                </a:lnTo>
                <a:lnTo>
                  <a:pt x="17093" y="5594"/>
                </a:lnTo>
                <a:lnTo>
                  <a:pt x="17147" y="5538"/>
                </a:lnTo>
                <a:cubicBezTo>
                  <a:pt x="17147" y="5484"/>
                  <a:pt x="17116" y="5451"/>
                  <a:pt x="17048" y="5434"/>
                </a:cubicBezTo>
                <a:cubicBezTo>
                  <a:pt x="16980" y="5411"/>
                  <a:pt x="16926" y="5405"/>
                  <a:pt x="16892" y="5405"/>
                </a:cubicBezTo>
                <a:cubicBezTo>
                  <a:pt x="16856" y="5405"/>
                  <a:pt x="16802" y="5417"/>
                  <a:pt x="16729" y="5445"/>
                </a:cubicBezTo>
                <a:cubicBezTo>
                  <a:pt x="16658" y="5473"/>
                  <a:pt x="16621" y="5456"/>
                  <a:pt x="16621" y="5405"/>
                </a:cubicBezTo>
                <a:lnTo>
                  <a:pt x="16649" y="5349"/>
                </a:lnTo>
                <a:cubicBezTo>
                  <a:pt x="16539" y="5259"/>
                  <a:pt x="16443" y="5154"/>
                  <a:pt x="16358" y="5047"/>
                </a:cubicBezTo>
                <a:cubicBezTo>
                  <a:pt x="16271" y="4931"/>
                  <a:pt x="16228" y="4861"/>
                  <a:pt x="16228" y="4821"/>
                </a:cubicBezTo>
                <a:cubicBezTo>
                  <a:pt x="16228" y="4787"/>
                  <a:pt x="16234" y="4751"/>
                  <a:pt x="16243" y="4705"/>
                </a:cubicBezTo>
                <a:cubicBezTo>
                  <a:pt x="16251" y="4669"/>
                  <a:pt x="16228" y="4646"/>
                  <a:pt x="16175" y="4646"/>
                </a:cubicBezTo>
                <a:cubicBezTo>
                  <a:pt x="16138" y="4646"/>
                  <a:pt x="16107" y="4652"/>
                  <a:pt x="16082" y="4663"/>
                </a:cubicBezTo>
                <a:cubicBezTo>
                  <a:pt x="16053" y="4672"/>
                  <a:pt x="16039" y="4646"/>
                  <a:pt x="16039" y="4595"/>
                </a:cubicBezTo>
                <a:cubicBezTo>
                  <a:pt x="16039" y="4556"/>
                  <a:pt x="16017" y="4480"/>
                  <a:pt x="15971" y="4364"/>
                </a:cubicBezTo>
                <a:cubicBezTo>
                  <a:pt x="15926" y="4248"/>
                  <a:pt x="15864" y="4189"/>
                  <a:pt x="15782" y="4189"/>
                </a:cubicBezTo>
                <a:lnTo>
                  <a:pt x="15675" y="4299"/>
                </a:lnTo>
                <a:cubicBezTo>
                  <a:pt x="15675" y="4347"/>
                  <a:pt x="15646" y="4392"/>
                  <a:pt x="15593" y="4420"/>
                </a:cubicBezTo>
                <a:cubicBezTo>
                  <a:pt x="15539" y="4446"/>
                  <a:pt x="15511" y="4474"/>
                  <a:pt x="15511" y="4513"/>
                </a:cubicBezTo>
                <a:lnTo>
                  <a:pt x="15457" y="4513"/>
                </a:lnTo>
                <a:lnTo>
                  <a:pt x="15175" y="4672"/>
                </a:lnTo>
                <a:cubicBezTo>
                  <a:pt x="15155" y="4640"/>
                  <a:pt x="15132" y="4629"/>
                  <a:pt x="15107" y="4646"/>
                </a:cubicBezTo>
                <a:cubicBezTo>
                  <a:pt x="15079" y="4669"/>
                  <a:pt x="15047" y="4672"/>
                  <a:pt x="15011" y="4672"/>
                </a:cubicBezTo>
                <a:lnTo>
                  <a:pt x="14985" y="4672"/>
                </a:lnTo>
                <a:lnTo>
                  <a:pt x="14957" y="4700"/>
                </a:lnTo>
                <a:cubicBezTo>
                  <a:pt x="15028" y="4700"/>
                  <a:pt x="15062" y="4663"/>
                  <a:pt x="15053" y="4578"/>
                </a:cubicBezTo>
                <a:cubicBezTo>
                  <a:pt x="15042" y="4497"/>
                  <a:pt x="15011" y="4457"/>
                  <a:pt x="14957" y="4457"/>
                </a:cubicBezTo>
                <a:lnTo>
                  <a:pt x="14739" y="4513"/>
                </a:lnTo>
                <a:cubicBezTo>
                  <a:pt x="14706" y="4513"/>
                  <a:pt x="14683" y="4508"/>
                  <a:pt x="14680" y="4496"/>
                </a:cubicBezTo>
                <a:cubicBezTo>
                  <a:pt x="14675" y="4491"/>
                  <a:pt x="14683" y="4474"/>
                  <a:pt x="14708" y="4446"/>
                </a:cubicBezTo>
                <a:cubicBezTo>
                  <a:pt x="14731" y="4420"/>
                  <a:pt x="14751" y="4386"/>
                  <a:pt x="14768" y="4347"/>
                </a:cubicBezTo>
                <a:cubicBezTo>
                  <a:pt x="14788" y="4316"/>
                  <a:pt x="14788" y="4276"/>
                  <a:pt x="14768" y="4242"/>
                </a:cubicBezTo>
                <a:cubicBezTo>
                  <a:pt x="14751" y="4203"/>
                  <a:pt x="14720" y="4203"/>
                  <a:pt x="14680" y="4225"/>
                </a:cubicBezTo>
                <a:cubicBezTo>
                  <a:pt x="14641" y="4254"/>
                  <a:pt x="14618" y="4254"/>
                  <a:pt x="14618" y="4214"/>
                </a:cubicBezTo>
                <a:lnTo>
                  <a:pt x="14700" y="4214"/>
                </a:lnTo>
                <a:lnTo>
                  <a:pt x="14768" y="4149"/>
                </a:lnTo>
                <a:cubicBezTo>
                  <a:pt x="14788" y="4127"/>
                  <a:pt x="14779" y="4098"/>
                  <a:pt x="14748" y="4056"/>
                </a:cubicBezTo>
                <a:cubicBezTo>
                  <a:pt x="14717" y="4005"/>
                  <a:pt x="14691" y="3977"/>
                  <a:pt x="14674" y="3957"/>
                </a:cubicBezTo>
                <a:lnTo>
                  <a:pt x="14375" y="3906"/>
                </a:lnTo>
                <a:lnTo>
                  <a:pt x="14186" y="3740"/>
                </a:lnTo>
                <a:cubicBezTo>
                  <a:pt x="14169" y="3757"/>
                  <a:pt x="14135" y="3745"/>
                  <a:pt x="14087" y="3703"/>
                </a:cubicBezTo>
                <a:cubicBezTo>
                  <a:pt x="14036" y="3658"/>
                  <a:pt x="13994" y="3624"/>
                  <a:pt x="13957" y="3610"/>
                </a:cubicBezTo>
                <a:lnTo>
                  <a:pt x="13739" y="3686"/>
                </a:lnTo>
                <a:lnTo>
                  <a:pt x="13211" y="3565"/>
                </a:lnTo>
                <a:cubicBezTo>
                  <a:pt x="13177" y="3565"/>
                  <a:pt x="13140" y="3576"/>
                  <a:pt x="13104" y="3599"/>
                </a:cubicBezTo>
                <a:cubicBezTo>
                  <a:pt x="13070" y="3624"/>
                  <a:pt x="13050" y="3652"/>
                  <a:pt x="13050" y="3686"/>
                </a:cubicBezTo>
                <a:cubicBezTo>
                  <a:pt x="13050" y="3726"/>
                  <a:pt x="13070" y="3751"/>
                  <a:pt x="13104" y="3768"/>
                </a:cubicBezTo>
                <a:cubicBezTo>
                  <a:pt x="13140" y="3785"/>
                  <a:pt x="13157" y="3813"/>
                  <a:pt x="13157" y="3850"/>
                </a:cubicBezTo>
                <a:cubicBezTo>
                  <a:pt x="13157" y="3884"/>
                  <a:pt x="13171" y="3983"/>
                  <a:pt x="13200" y="4138"/>
                </a:cubicBezTo>
                <a:cubicBezTo>
                  <a:pt x="13225" y="4299"/>
                  <a:pt x="13202" y="4358"/>
                  <a:pt x="13132" y="4324"/>
                </a:cubicBezTo>
                <a:lnTo>
                  <a:pt x="12996" y="4513"/>
                </a:lnTo>
                <a:cubicBezTo>
                  <a:pt x="13013" y="4547"/>
                  <a:pt x="13044" y="4578"/>
                  <a:pt x="13089" y="4606"/>
                </a:cubicBezTo>
                <a:cubicBezTo>
                  <a:pt x="13137" y="4635"/>
                  <a:pt x="13180" y="4669"/>
                  <a:pt x="13225" y="4705"/>
                </a:cubicBezTo>
                <a:cubicBezTo>
                  <a:pt x="13270" y="4750"/>
                  <a:pt x="13313" y="4793"/>
                  <a:pt x="13347" y="4849"/>
                </a:cubicBezTo>
                <a:cubicBezTo>
                  <a:pt x="13383" y="4903"/>
                  <a:pt x="13392" y="4988"/>
                  <a:pt x="13375" y="5092"/>
                </a:cubicBezTo>
                <a:lnTo>
                  <a:pt x="12767" y="5510"/>
                </a:lnTo>
                <a:lnTo>
                  <a:pt x="12767" y="5566"/>
                </a:lnTo>
                <a:cubicBezTo>
                  <a:pt x="12767" y="5637"/>
                  <a:pt x="12784" y="5705"/>
                  <a:pt x="12821" y="5770"/>
                </a:cubicBezTo>
                <a:cubicBezTo>
                  <a:pt x="12855" y="5832"/>
                  <a:pt x="12892" y="5914"/>
                  <a:pt x="12928" y="6012"/>
                </a:cubicBezTo>
                <a:cubicBezTo>
                  <a:pt x="13019" y="6052"/>
                  <a:pt x="13061" y="6080"/>
                  <a:pt x="13058" y="6105"/>
                </a:cubicBezTo>
                <a:cubicBezTo>
                  <a:pt x="13053" y="6134"/>
                  <a:pt x="13022" y="6162"/>
                  <a:pt x="12962" y="6190"/>
                </a:cubicBezTo>
                <a:cubicBezTo>
                  <a:pt x="12903" y="6216"/>
                  <a:pt x="12849" y="6244"/>
                  <a:pt x="12793" y="6272"/>
                </a:cubicBezTo>
                <a:cubicBezTo>
                  <a:pt x="12739" y="6295"/>
                  <a:pt x="12714" y="6320"/>
                  <a:pt x="12714" y="6337"/>
                </a:cubicBezTo>
                <a:cubicBezTo>
                  <a:pt x="12714" y="6354"/>
                  <a:pt x="12694" y="6365"/>
                  <a:pt x="12657" y="6365"/>
                </a:cubicBezTo>
                <a:lnTo>
                  <a:pt x="12550" y="6365"/>
                </a:lnTo>
                <a:lnTo>
                  <a:pt x="12496" y="6365"/>
                </a:lnTo>
                <a:cubicBezTo>
                  <a:pt x="12496" y="6343"/>
                  <a:pt x="12505" y="6331"/>
                  <a:pt x="12522" y="6320"/>
                </a:cubicBezTo>
                <a:cubicBezTo>
                  <a:pt x="12541" y="6314"/>
                  <a:pt x="12550" y="6295"/>
                  <a:pt x="12550" y="6255"/>
                </a:cubicBezTo>
                <a:lnTo>
                  <a:pt x="12293" y="6094"/>
                </a:lnTo>
                <a:lnTo>
                  <a:pt x="12293" y="6122"/>
                </a:lnTo>
                <a:lnTo>
                  <a:pt x="12185" y="5902"/>
                </a:lnTo>
                <a:cubicBezTo>
                  <a:pt x="12219" y="5815"/>
                  <a:pt x="12225" y="5747"/>
                  <a:pt x="12199" y="5710"/>
                </a:cubicBezTo>
                <a:cubicBezTo>
                  <a:pt x="12171" y="5665"/>
                  <a:pt x="12157" y="5620"/>
                  <a:pt x="12157" y="5566"/>
                </a:cubicBezTo>
                <a:cubicBezTo>
                  <a:pt x="12157" y="5422"/>
                  <a:pt x="12092" y="5352"/>
                  <a:pt x="11962" y="5352"/>
                </a:cubicBezTo>
                <a:cubicBezTo>
                  <a:pt x="11832" y="5352"/>
                  <a:pt x="11694" y="5369"/>
                  <a:pt x="11550" y="5408"/>
                </a:cubicBezTo>
                <a:cubicBezTo>
                  <a:pt x="11584" y="5386"/>
                  <a:pt x="11581" y="5360"/>
                  <a:pt x="11536" y="5321"/>
                </a:cubicBezTo>
                <a:cubicBezTo>
                  <a:pt x="11490" y="5276"/>
                  <a:pt x="11459" y="5259"/>
                  <a:pt x="11439" y="5259"/>
                </a:cubicBezTo>
                <a:cubicBezTo>
                  <a:pt x="11295" y="5259"/>
                  <a:pt x="11126" y="5194"/>
                  <a:pt x="10925" y="5067"/>
                </a:cubicBezTo>
                <a:cubicBezTo>
                  <a:pt x="10730" y="4945"/>
                  <a:pt x="10566" y="4880"/>
                  <a:pt x="10439" y="4880"/>
                </a:cubicBezTo>
                <a:cubicBezTo>
                  <a:pt x="10386" y="4880"/>
                  <a:pt x="10321" y="4892"/>
                  <a:pt x="10250" y="4906"/>
                </a:cubicBezTo>
                <a:cubicBezTo>
                  <a:pt x="10179" y="4923"/>
                  <a:pt x="10112" y="4945"/>
                  <a:pt x="10047" y="4962"/>
                </a:cubicBezTo>
                <a:cubicBezTo>
                  <a:pt x="10083" y="4945"/>
                  <a:pt x="10106" y="4897"/>
                  <a:pt x="10114" y="4824"/>
                </a:cubicBezTo>
                <a:lnTo>
                  <a:pt x="9939" y="4516"/>
                </a:lnTo>
                <a:lnTo>
                  <a:pt x="9911" y="4488"/>
                </a:lnTo>
                <a:cubicBezTo>
                  <a:pt x="9857" y="4488"/>
                  <a:pt x="9795" y="4510"/>
                  <a:pt x="9724" y="4553"/>
                </a:cubicBezTo>
                <a:cubicBezTo>
                  <a:pt x="9651" y="4598"/>
                  <a:pt x="9614" y="4558"/>
                  <a:pt x="9614" y="4434"/>
                </a:cubicBezTo>
                <a:cubicBezTo>
                  <a:pt x="9614" y="4417"/>
                  <a:pt x="9623" y="4400"/>
                  <a:pt x="9642" y="4378"/>
                </a:cubicBezTo>
                <a:cubicBezTo>
                  <a:pt x="9659" y="4361"/>
                  <a:pt x="9659" y="4344"/>
                  <a:pt x="9642" y="4327"/>
                </a:cubicBezTo>
                <a:cubicBezTo>
                  <a:pt x="9623" y="4217"/>
                  <a:pt x="9645" y="4124"/>
                  <a:pt x="9710" y="4047"/>
                </a:cubicBezTo>
                <a:cubicBezTo>
                  <a:pt x="9772" y="3968"/>
                  <a:pt x="9823" y="3886"/>
                  <a:pt x="9857" y="3799"/>
                </a:cubicBezTo>
                <a:cubicBezTo>
                  <a:pt x="9894" y="3759"/>
                  <a:pt x="9911" y="3728"/>
                  <a:pt x="9911" y="3689"/>
                </a:cubicBezTo>
                <a:cubicBezTo>
                  <a:pt x="9911" y="3655"/>
                  <a:pt x="9931" y="3638"/>
                  <a:pt x="9965" y="3638"/>
                </a:cubicBezTo>
                <a:cubicBezTo>
                  <a:pt x="10038" y="3638"/>
                  <a:pt x="10109" y="3615"/>
                  <a:pt x="10176" y="3579"/>
                </a:cubicBezTo>
                <a:cubicBezTo>
                  <a:pt x="10244" y="3534"/>
                  <a:pt x="10321" y="3505"/>
                  <a:pt x="10414" y="3491"/>
                </a:cubicBezTo>
                <a:lnTo>
                  <a:pt x="10439" y="3406"/>
                </a:lnTo>
                <a:cubicBezTo>
                  <a:pt x="10439" y="3370"/>
                  <a:pt x="10343" y="3342"/>
                  <a:pt x="10148" y="3313"/>
                </a:cubicBezTo>
                <a:cubicBezTo>
                  <a:pt x="9956" y="3285"/>
                  <a:pt x="9857" y="3254"/>
                  <a:pt x="9857" y="3220"/>
                </a:cubicBezTo>
                <a:lnTo>
                  <a:pt x="9885" y="3192"/>
                </a:lnTo>
                <a:cubicBezTo>
                  <a:pt x="10066" y="3243"/>
                  <a:pt x="10202" y="3274"/>
                  <a:pt x="10298" y="3285"/>
                </a:cubicBezTo>
                <a:cubicBezTo>
                  <a:pt x="10391" y="3296"/>
                  <a:pt x="10470" y="3285"/>
                  <a:pt x="10535" y="3260"/>
                </a:cubicBezTo>
                <a:cubicBezTo>
                  <a:pt x="10597" y="3231"/>
                  <a:pt x="10671" y="3198"/>
                  <a:pt x="10758" y="3147"/>
                </a:cubicBezTo>
                <a:cubicBezTo>
                  <a:pt x="10843" y="3104"/>
                  <a:pt x="10976" y="3042"/>
                  <a:pt x="11157" y="2960"/>
                </a:cubicBezTo>
                <a:cubicBezTo>
                  <a:pt x="11157" y="2926"/>
                  <a:pt x="11061" y="2890"/>
                  <a:pt x="10866" y="2850"/>
                </a:cubicBezTo>
                <a:cubicBezTo>
                  <a:pt x="10671" y="2816"/>
                  <a:pt x="10549" y="2780"/>
                  <a:pt x="10496" y="2746"/>
                </a:cubicBezTo>
                <a:lnTo>
                  <a:pt x="10657" y="2746"/>
                </a:lnTo>
                <a:cubicBezTo>
                  <a:pt x="10691" y="2746"/>
                  <a:pt x="10739" y="2752"/>
                  <a:pt x="10798" y="2774"/>
                </a:cubicBezTo>
                <a:cubicBezTo>
                  <a:pt x="10857" y="2788"/>
                  <a:pt x="10905" y="2805"/>
                  <a:pt x="10939" y="2828"/>
                </a:cubicBezTo>
                <a:cubicBezTo>
                  <a:pt x="10939" y="2862"/>
                  <a:pt x="10968" y="2884"/>
                  <a:pt x="11021" y="2895"/>
                </a:cubicBezTo>
                <a:cubicBezTo>
                  <a:pt x="11075" y="2901"/>
                  <a:pt x="11120" y="2907"/>
                  <a:pt x="11157" y="2907"/>
                </a:cubicBezTo>
                <a:lnTo>
                  <a:pt x="11360" y="2774"/>
                </a:lnTo>
                <a:lnTo>
                  <a:pt x="11360" y="2689"/>
                </a:lnTo>
                <a:lnTo>
                  <a:pt x="11307" y="2608"/>
                </a:lnTo>
                <a:lnTo>
                  <a:pt x="11603" y="2554"/>
                </a:lnTo>
                <a:cubicBezTo>
                  <a:pt x="11583" y="2537"/>
                  <a:pt x="11589" y="2520"/>
                  <a:pt x="11615" y="2503"/>
                </a:cubicBezTo>
                <a:cubicBezTo>
                  <a:pt x="11643" y="2480"/>
                  <a:pt x="11665" y="2475"/>
                  <a:pt x="11682" y="2475"/>
                </a:cubicBezTo>
                <a:cubicBezTo>
                  <a:pt x="11739" y="2475"/>
                  <a:pt x="11793" y="2503"/>
                  <a:pt x="11852" y="2554"/>
                </a:cubicBezTo>
                <a:cubicBezTo>
                  <a:pt x="11911" y="2608"/>
                  <a:pt x="11951" y="2636"/>
                  <a:pt x="11968" y="2636"/>
                </a:cubicBezTo>
                <a:lnTo>
                  <a:pt x="12239" y="2531"/>
                </a:lnTo>
                <a:cubicBezTo>
                  <a:pt x="12219" y="2509"/>
                  <a:pt x="12245" y="2497"/>
                  <a:pt x="12312" y="2486"/>
                </a:cubicBezTo>
                <a:cubicBezTo>
                  <a:pt x="12380" y="2480"/>
                  <a:pt x="12400" y="2452"/>
                  <a:pt x="12375" y="2410"/>
                </a:cubicBezTo>
                <a:lnTo>
                  <a:pt x="12185" y="2190"/>
                </a:lnTo>
                <a:cubicBezTo>
                  <a:pt x="12166" y="2190"/>
                  <a:pt x="12151" y="2178"/>
                  <a:pt x="12143" y="2150"/>
                </a:cubicBezTo>
                <a:cubicBezTo>
                  <a:pt x="12134" y="2122"/>
                  <a:pt x="12140" y="2111"/>
                  <a:pt x="12157" y="2111"/>
                </a:cubicBezTo>
                <a:cubicBezTo>
                  <a:pt x="12247" y="2111"/>
                  <a:pt x="12273" y="2063"/>
                  <a:pt x="12239" y="1972"/>
                </a:cubicBezTo>
                <a:cubicBezTo>
                  <a:pt x="12166" y="1941"/>
                  <a:pt x="12089" y="1896"/>
                  <a:pt x="12010" y="1848"/>
                </a:cubicBezTo>
                <a:cubicBezTo>
                  <a:pt x="11928" y="1797"/>
                  <a:pt x="11838" y="1769"/>
                  <a:pt x="11739" y="1769"/>
                </a:cubicBezTo>
                <a:cubicBezTo>
                  <a:pt x="11702" y="1769"/>
                  <a:pt x="11663" y="1780"/>
                  <a:pt x="11615" y="1797"/>
                </a:cubicBezTo>
                <a:cubicBezTo>
                  <a:pt x="11572" y="1820"/>
                  <a:pt x="11550" y="1848"/>
                  <a:pt x="11550" y="1890"/>
                </a:cubicBezTo>
                <a:cubicBezTo>
                  <a:pt x="11550" y="1930"/>
                  <a:pt x="11572" y="1947"/>
                  <a:pt x="11615" y="1947"/>
                </a:cubicBezTo>
                <a:cubicBezTo>
                  <a:pt x="11663" y="1947"/>
                  <a:pt x="11694" y="1964"/>
                  <a:pt x="11711" y="2000"/>
                </a:cubicBezTo>
                <a:cubicBezTo>
                  <a:pt x="11747" y="2040"/>
                  <a:pt x="11739" y="2057"/>
                  <a:pt x="11682" y="2057"/>
                </a:cubicBezTo>
                <a:cubicBezTo>
                  <a:pt x="11629" y="2057"/>
                  <a:pt x="11603" y="2063"/>
                  <a:pt x="11603" y="2082"/>
                </a:cubicBezTo>
                <a:cubicBezTo>
                  <a:pt x="11530" y="2082"/>
                  <a:pt x="11462" y="2133"/>
                  <a:pt x="11400" y="2243"/>
                </a:cubicBezTo>
                <a:cubicBezTo>
                  <a:pt x="11338" y="2353"/>
                  <a:pt x="11256" y="2432"/>
                  <a:pt x="11157" y="2475"/>
                </a:cubicBezTo>
                <a:cubicBezTo>
                  <a:pt x="11120" y="2475"/>
                  <a:pt x="11106" y="2463"/>
                  <a:pt x="11117" y="2441"/>
                </a:cubicBezTo>
                <a:cubicBezTo>
                  <a:pt x="11126" y="2421"/>
                  <a:pt x="11120" y="2398"/>
                  <a:pt x="11103" y="2382"/>
                </a:cubicBezTo>
                <a:cubicBezTo>
                  <a:pt x="11083" y="2342"/>
                  <a:pt x="11052" y="2319"/>
                  <a:pt x="11007" y="2311"/>
                </a:cubicBezTo>
                <a:cubicBezTo>
                  <a:pt x="10962" y="2305"/>
                  <a:pt x="10939" y="2283"/>
                  <a:pt x="10939" y="2243"/>
                </a:cubicBezTo>
                <a:cubicBezTo>
                  <a:pt x="10939" y="2209"/>
                  <a:pt x="10962" y="2150"/>
                  <a:pt x="11007" y="2068"/>
                </a:cubicBezTo>
                <a:cubicBezTo>
                  <a:pt x="11052" y="1989"/>
                  <a:pt x="10993" y="1947"/>
                  <a:pt x="10832" y="1947"/>
                </a:cubicBezTo>
                <a:cubicBezTo>
                  <a:pt x="10758" y="1947"/>
                  <a:pt x="10708" y="1972"/>
                  <a:pt x="10677" y="2029"/>
                </a:cubicBezTo>
                <a:cubicBezTo>
                  <a:pt x="10645" y="2082"/>
                  <a:pt x="10612" y="2133"/>
                  <a:pt x="10575" y="2190"/>
                </a:cubicBezTo>
                <a:lnTo>
                  <a:pt x="10278" y="1851"/>
                </a:lnTo>
                <a:lnTo>
                  <a:pt x="10046" y="1825"/>
                </a:lnTo>
                <a:cubicBezTo>
                  <a:pt x="10046" y="1752"/>
                  <a:pt x="10063" y="1693"/>
                  <a:pt x="10095" y="1639"/>
                </a:cubicBezTo>
                <a:cubicBezTo>
                  <a:pt x="10126" y="1583"/>
                  <a:pt x="10083" y="1512"/>
                  <a:pt x="9965" y="1425"/>
                </a:cubicBezTo>
                <a:cubicBezTo>
                  <a:pt x="9911" y="1385"/>
                  <a:pt x="9863" y="1354"/>
                  <a:pt x="9818" y="1320"/>
                </a:cubicBezTo>
                <a:cubicBezTo>
                  <a:pt x="9772" y="1292"/>
                  <a:pt x="9724" y="1275"/>
                  <a:pt x="9671" y="1275"/>
                </a:cubicBezTo>
                <a:cubicBezTo>
                  <a:pt x="9651" y="1275"/>
                  <a:pt x="9609" y="1292"/>
                  <a:pt x="9541" y="1337"/>
                </a:cubicBezTo>
                <a:cubicBezTo>
                  <a:pt x="9473" y="1377"/>
                  <a:pt x="9411" y="1413"/>
                  <a:pt x="9357" y="1447"/>
                </a:cubicBezTo>
                <a:cubicBezTo>
                  <a:pt x="9303" y="1487"/>
                  <a:pt x="9275" y="1523"/>
                  <a:pt x="9275" y="1557"/>
                </a:cubicBezTo>
                <a:cubicBezTo>
                  <a:pt x="9275" y="1597"/>
                  <a:pt x="9320" y="1614"/>
                  <a:pt x="9411" y="1614"/>
                </a:cubicBezTo>
                <a:lnTo>
                  <a:pt x="9385" y="1614"/>
                </a:lnTo>
                <a:cubicBezTo>
                  <a:pt x="9329" y="1614"/>
                  <a:pt x="9303" y="1645"/>
                  <a:pt x="9303" y="1724"/>
                </a:cubicBezTo>
                <a:cubicBezTo>
                  <a:pt x="9303" y="1738"/>
                  <a:pt x="9346" y="1761"/>
                  <a:pt x="9433" y="1789"/>
                </a:cubicBezTo>
                <a:cubicBezTo>
                  <a:pt x="9518" y="1817"/>
                  <a:pt x="9577" y="1828"/>
                  <a:pt x="9614" y="1828"/>
                </a:cubicBezTo>
                <a:cubicBezTo>
                  <a:pt x="9651" y="1811"/>
                  <a:pt x="9676" y="1817"/>
                  <a:pt x="9696" y="1851"/>
                </a:cubicBezTo>
                <a:cubicBezTo>
                  <a:pt x="9713" y="1882"/>
                  <a:pt x="9741" y="1893"/>
                  <a:pt x="9778" y="1893"/>
                </a:cubicBezTo>
                <a:lnTo>
                  <a:pt x="9885" y="1854"/>
                </a:lnTo>
                <a:lnTo>
                  <a:pt x="9885" y="1921"/>
                </a:lnTo>
                <a:cubicBezTo>
                  <a:pt x="9866" y="1944"/>
                  <a:pt x="9857" y="1961"/>
                  <a:pt x="9857" y="1975"/>
                </a:cubicBezTo>
                <a:lnTo>
                  <a:pt x="9885" y="2085"/>
                </a:lnTo>
                <a:lnTo>
                  <a:pt x="9614" y="2218"/>
                </a:lnTo>
                <a:cubicBezTo>
                  <a:pt x="9597" y="2235"/>
                  <a:pt x="9577" y="2246"/>
                  <a:pt x="9561" y="2246"/>
                </a:cubicBezTo>
                <a:cubicBezTo>
                  <a:pt x="9544" y="2246"/>
                  <a:pt x="9521" y="2257"/>
                  <a:pt x="9493" y="2274"/>
                </a:cubicBezTo>
                <a:cubicBezTo>
                  <a:pt x="9493" y="2328"/>
                  <a:pt x="9518" y="2385"/>
                  <a:pt x="9566" y="2444"/>
                </a:cubicBezTo>
                <a:cubicBezTo>
                  <a:pt x="9617" y="2500"/>
                  <a:pt x="9563" y="2534"/>
                  <a:pt x="9411" y="2534"/>
                </a:cubicBezTo>
                <a:lnTo>
                  <a:pt x="9329" y="2478"/>
                </a:lnTo>
                <a:cubicBezTo>
                  <a:pt x="9329" y="2407"/>
                  <a:pt x="9258" y="2345"/>
                  <a:pt x="9108" y="2297"/>
                </a:cubicBezTo>
                <a:cubicBezTo>
                  <a:pt x="8959" y="2246"/>
                  <a:pt x="8778" y="2212"/>
                  <a:pt x="8566" y="2193"/>
                </a:cubicBezTo>
                <a:cubicBezTo>
                  <a:pt x="8354" y="2176"/>
                  <a:pt x="8142" y="2164"/>
                  <a:pt x="7930" y="2153"/>
                </a:cubicBezTo>
                <a:cubicBezTo>
                  <a:pt x="7718" y="2142"/>
                  <a:pt x="7557" y="2136"/>
                  <a:pt x="7450" y="2136"/>
                </a:cubicBezTo>
                <a:lnTo>
                  <a:pt x="7004" y="2275"/>
                </a:lnTo>
                <a:lnTo>
                  <a:pt x="7114" y="2534"/>
                </a:lnTo>
                <a:cubicBezTo>
                  <a:pt x="7077" y="2534"/>
                  <a:pt x="7054" y="2546"/>
                  <a:pt x="7046" y="2571"/>
                </a:cubicBezTo>
                <a:cubicBezTo>
                  <a:pt x="7035" y="2599"/>
                  <a:pt x="7049" y="2622"/>
                  <a:pt x="7086" y="2639"/>
                </a:cubicBezTo>
                <a:cubicBezTo>
                  <a:pt x="7049" y="2605"/>
                  <a:pt x="6981" y="2540"/>
                  <a:pt x="6882" y="2444"/>
                </a:cubicBezTo>
                <a:cubicBezTo>
                  <a:pt x="6783" y="2345"/>
                  <a:pt x="6715" y="2303"/>
                  <a:pt x="6679" y="2303"/>
                </a:cubicBezTo>
                <a:lnTo>
                  <a:pt x="6450" y="2241"/>
                </a:lnTo>
                <a:close/>
                <a:moveTo>
                  <a:pt x="8114" y="1662"/>
                </a:moveTo>
                <a:cubicBezTo>
                  <a:pt x="8077" y="1640"/>
                  <a:pt x="8032" y="1623"/>
                  <a:pt x="7978" y="1609"/>
                </a:cubicBezTo>
                <a:cubicBezTo>
                  <a:pt x="7925" y="1592"/>
                  <a:pt x="7879" y="1580"/>
                  <a:pt x="7843" y="1580"/>
                </a:cubicBezTo>
                <a:cubicBezTo>
                  <a:pt x="7806" y="1580"/>
                  <a:pt x="7733" y="1603"/>
                  <a:pt x="7620" y="1645"/>
                </a:cubicBezTo>
                <a:cubicBezTo>
                  <a:pt x="7507" y="1691"/>
                  <a:pt x="7379" y="1744"/>
                  <a:pt x="7241" y="1801"/>
                </a:cubicBezTo>
                <a:cubicBezTo>
                  <a:pt x="7100" y="1860"/>
                  <a:pt x="6967" y="1916"/>
                  <a:pt x="6843" y="1970"/>
                </a:cubicBezTo>
                <a:cubicBezTo>
                  <a:pt x="6715" y="2027"/>
                  <a:pt x="6631" y="2060"/>
                  <a:pt x="6585" y="2080"/>
                </a:cubicBezTo>
                <a:cubicBezTo>
                  <a:pt x="6713" y="2060"/>
                  <a:pt x="6826" y="2027"/>
                  <a:pt x="6930" y="1970"/>
                </a:cubicBezTo>
                <a:cubicBezTo>
                  <a:pt x="7032" y="1916"/>
                  <a:pt x="7142" y="1888"/>
                  <a:pt x="7261" y="1888"/>
                </a:cubicBezTo>
                <a:lnTo>
                  <a:pt x="7343" y="1945"/>
                </a:lnTo>
                <a:cubicBezTo>
                  <a:pt x="7396" y="1962"/>
                  <a:pt x="7444" y="1970"/>
                  <a:pt x="7492" y="1970"/>
                </a:cubicBezTo>
                <a:cubicBezTo>
                  <a:pt x="7538" y="1970"/>
                  <a:pt x="7577" y="1987"/>
                  <a:pt x="7611" y="2027"/>
                </a:cubicBezTo>
                <a:cubicBezTo>
                  <a:pt x="7685" y="2010"/>
                  <a:pt x="7761" y="2015"/>
                  <a:pt x="7843" y="2055"/>
                </a:cubicBezTo>
                <a:lnTo>
                  <a:pt x="7925" y="1998"/>
                </a:lnTo>
                <a:lnTo>
                  <a:pt x="7925" y="1888"/>
                </a:lnTo>
                <a:lnTo>
                  <a:pt x="7896" y="1823"/>
                </a:lnTo>
                <a:lnTo>
                  <a:pt x="7978" y="1849"/>
                </a:lnTo>
                <a:cubicBezTo>
                  <a:pt x="8032" y="1849"/>
                  <a:pt x="8086" y="1806"/>
                  <a:pt x="8139" y="1719"/>
                </a:cubicBezTo>
                <a:lnTo>
                  <a:pt x="8114" y="1662"/>
                </a:lnTo>
                <a:close/>
                <a:moveTo>
                  <a:pt x="12496" y="20256"/>
                </a:moveTo>
                <a:cubicBezTo>
                  <a:pt x="12496" y="20307"/>
                  <a:pt x="12488" y="20332"/>
                  <a:pt x="12468" y="20355"/>
                </a:cubicBezTo>
                <a:cubicBezTo>
                  <a:pt x="13505" y="20174"/>
                  <a:pt x="14485" y="19838"/>
                  <a:pt x="15403" y="19347"/>
                </a:cubicBezTo>
                <a:cubicBezTo>
                  <a:pt x="16322" y="18856"/>
                  <a:pt x="17144" y="18223"/>
                  <a:pt x="17864" y="17450"/>
                </a:cubicBezTo>
                <a:lnTo>
                  <a:pt x="17839" y="17450"/>
                </a:lnTo>
                <a:cubicBezTo>
                  <a:pt x="17765" y="17483"/>
                  <a:pt x="17703" y="17483"/>
                  <a:pt x="17650" y="17450"/>
                </a:cubicBezTo>
                <a:lnTo>
                  <a:pt x="17582" y="17498"/>
                </a:lnTo>
                <a:lnTo>
                  <a:pt x="17418" y="17450"/>
                </a:lnTo>
                <a:lnTo>
                  <a:pt x="17364" y="17450"/>
                </a:lnTo>
                <a:lnTo>
                  <a:pt x="17311" y="17554"/>
                </a:lnTo>
                <a:lnTo>
                  <a:pt x="17339" y="17450"/>
                </a:lnTo>
                <a:cubicBezTo>
                  <a:pt x="17282" y="17376"/>
                  <a:pt x="17220" y="17306"/>
                  <a:pt x="17147" y="17246"/>
                </a:cubicBezTo>
                <a:lnTo>
                  <a:pt x="17093" y="17218"/>
                </a:lnTo>
                <a:cubicBezTo>
                  <a:pt x="17059" y="17218"/>
                  <a:pt x="17039" y="17252"/>
                  <a:pt x="17039" y="17323"/>
                </a:cubicBezTo>
                <a:cubicBezTo>
                  <a:pt x="17059" y="17179"/>
                  <a:pt x="17020" y="17057"/>
                  <a:pt x="16926" y="16953"/>
                </a:cubicBezTo>
                <a:cubicBezTo>
                  <a:pt x="16830" y="16848"/>
                  <a:pt x="16712" y="16797"/>
                  <a:pt x="16567" y="16797"/>
                </a:cubicBezTo>
                <a:cubicBezTo>
                  <a:pt x="16567" y="16814"/>
                  <a:pt x="16559" y="16826"/>
                  <a:pt x="16539" y="16826"/>
                </a:cubicBezTo>
                <a:lnTo>
                  <a:pt x="16486" y="16826"/>
                </a:lnTo>
                <a:lnTo>
                  <a:pt x="16418" y="16772"/>
                </a:lnTo>
                <a:lnTo>
                  <a:pt x="16514" y="16772"/>
                </a:lnTo>
                <a:lnTo>
                  <a:pt x="16568" y="16611"/>
                </a:lnTo>
                <a:lnTo>
                  <a:pt x="16418" y="16501"/>
                </a:lnTo>
                <a:lnTo>
                  <a:pt x="16390" y="16529"/>
                </a:lnTo>
                <a:cubicBezTo>
                  <a:pt x="16265" y="16512"/>
                  <a:pt x="16175" y="16439"/>
                  <a:pt x="16121" y="16315"/>
                </a:cubicBezTo>
                <a:lnTo>
                  <a:pt x="16067" y="16286"/>
                </a:lnTo>
                <a:lnTo>
                  <a:pt x="16039" y="16315"/>
                </a:lnTo>
                <a:lnTo>
                  <a:pt x="15985" y="16340"/>
                </a:lnTo>
                <a:cubicBezTo>
                  <a:pt x="15878" y="16374"/>
                  <a:pt x="15782" y="16413"/>
                  <a:pt x="15700" y="16445"/>
                </a:cubicBezTo>
                <a:cubicBezTo>
                  <a:pt x="15593" y="16413"/>
                  <a:pt x="15511" y="16363"/>
                  <a:pt x="15457" y="16315"/>
                </a:cubicBezTo>
                <a:lnTo>
                  <a:pt x="15093" y="16340"/>
                </a:lnTo>
                <a:cubicBezTo>
                  <a:pt x="15093" y="16284"/>
                  <a:pt x="15076" y="16230"/>
                  <a:pt x="15039" y="16168"/>
                </a:cubicBezTo>
                <a:cubicBezTo>
                  <a:pt x="15002" y="16109"/>
                  <a:pt x="14949" y="16077"/>
                  <a:pt x="14875" y="16077"/>
                </a:cubicBezTo>
                <a:cubicBezTo>
                  <a:pt x="14788" y="16077"/>
                  <a:pt x="14694" y="16089"/>
                  <a:pt x="14598" y="16106"/>
                </a:cubicBezTo>
                <a:cubicBezTo>
                  <a:pt x="14505" y="16123"/>
                  <a:pt x="14440" y="16185"/>
                  <a:pt x="14403" y="16281"/>
                </a:cubicBezTo>
                <a:cubicBezTo>
                  <a:pt x="14403" y="16312"/>
                  <a:pt x="14412" y="16351"/>
                  <a:pt x="14432" y="16385"/>
                </a:cubicBezTo>
                <a:cubicBezTo>
                  <a:pt x="14448" y="16425"/>
                  <a:pt x="14465" y="16450"/>
                  <a:pt x="14485" y="16467"/>
                </a:cubicBezTo>
                <a:lnTo>
                  <a:pt x="14485" y="16577"/>
                </a:lnTo>
                <a:lnTo>
                  <a:pt x="14457" y="16656"/>
                </a:lnTo>
                <a:lnTo>
                  <a:pt x="14403" y="16682"/>
                </a:lnTo>
                <a:lnTo>
                  <a:pt x="14375" y="16682"/>
                </a:lnTo>
                <a:lnTo>
                  <a:pt x="14296" y="16467"/>
                </a:lnTo>
                <a:lnTo>
                  <a:pt x="14375" y="16334"/>
                </a:lnTo>
                <a:cubicBezTo>
                  <a:pt x="14358" y="16298"/>
                  <a:pt x="14350" y="16247"/>
                  <a:pt x="14350" y="16191"/>
                </a:cubicBezTo>
                <a:cubicBezTo>
                  <a:pt x="14350" y="16131"/>
                  <a:pt x="14338" y="16086"/>
                  <a:pt x="14321" y="16049"/>
                </a:cubicBezTo>
                <a:lnTo>
                  <a:pt x="14296" y="15993"/>
                </a:lnTo>
                <a:lnTo>
                  <a:pt x="14214" y="15993"/>
                </a:lnTo>
                <a:lnTo>
                  <a:pt x="14011" y="16131"/>
                </a:lnTo>
                <a:lnTo>
                  <a:pt x="13903" y="16131"/>
                </a:lnTo>
                <a:lnTo>
                  <a:pt x="13850" y="16188"/>
                </a:lnTo>
                <a:cubicBezTo>
                  <a:pt x="13830" y="16202"/>
                  <a:pt x="13821" y="16219"/>
                  <a:pt x="13821" y="16236"/>
                </a:cubicBezTo>
                <a:cubicBezTo>
                  <a:pt x="13821" y="16258"/>
                  <a:pt x="13813" y="16270"/>
                  <a:pt x="13793" y="16281"/>
                </a:cubicBezTo>
                <a:lnTo>
                  <a:pt x="13768" y="16236"/>
                </a:lnTo>
                <a:lnTo>
                  <a:pt x="13660" y="16236"/>
                </a:lnTo>
                <a:cubicBezTo>
                  <a:pt x="13587" y="16312"/>
                  <a:pt x="13547" y="16397"/>
                  <a:pt x="13539" y="16496"/>
                </a:cubicBezTo>
                <a:lnTo>
                  <a:pt x="13578" y="16549"/>
                </a:lnTo>
                <a:lnTo>
                  <a:pt x="13457" y="16628"/>
                </a:lnTo>
                <a:lnTo>
                  <a:pt x="13429" y="16682"/>
                </a:lnTo>
                <a:lnTo>
                  <a:pt x="13347" y="16738"/>
                </a:lnTo>
                <a:cubicBezTo>
                  <a:pt x="13347" y="16755"/>
                  <a:pt x="13344" y="16767"/>
                  <a:pt x="13335" y="16767"/>
                </a:cubicBezTo>
                <a:cubicBezTo>
                  <a:pt x="13324" y="16767"/>
                  <a:pt x="13321" y="16778"/>
                  <a:pt x="13321" y="16792"/>
                </a:cubicBezTo>
                <a:lnTo>
                  <a:pt x="13321" y="16820"/>
                </a:lnTo>
                <a:lnTo>
                  <a:pt x="13321" y="16942"/>
                </a:lnTo>
                <a:lnTo>
                  <a:pt x="13293" y="16970"/>
                </a:lnTo>
                <a:lnTo>
                  <a:pt x="13293" y="16914"/>
                </a:lnTo>
                <a:lnTo>
                  <a:pt x="13268" y="16888"/>
                </a:lnTo>
                <a:cubicBezTo>
                  <a:pt x="13248" y="16778"/>
                  <a:pt x="13143" y="16682"/>
                  <a:pt x="12957" y="16606"/>
                </a:cubicBezTo>
                <a:lnTo>
                  <a:pt x="12875" y="16606"/>
                </a:lnTo>
                <a:lnTo>
                  <a:pt x="12875" y="16657"/>
                </a:lnTo>
                <a:cubicBezTo>
                  <a:pt x="12892" y="16710"/>
                  <a:pt x="12931" y="16761"/>
                  <a:pt x="12991" y="16798"/>
                </a:cubicBezTo>
                <a:cubicBezTo>
                  <a:pt x="13047" y="16837"/>
                  <a:pt x="13095" y="16877"/>
                  <a:pt x="13132" y="16913"/>
                </a:cubicBezTo>
                <a:cubicBezTo>
                  <a:pt x="13112" y="16896"/>
                  <a:pt x="13090" y="16894"/>
                  <a:pt x="13064" y="16902"/>
                </a:cubicBezTo>
                <a:cubicBezTo>
                  <a:pt x="13036" y="16908"/>
                  <a:pt x="13025" y="16925"/>
                  <a:pt x="13025" y="16942"/>
                </a:cubicBezTo>
                <a:lnTo>
                  <a:pt x="13025" y="16998"/>
                </a:lnTo>
                <a:lnTo>
                  <a:pt x="13211" y="17266"/>
                </a:lnTo>
                <a:lnTo>
                  <a:pt x="13211" y="17791"/>
                </a:lnTo>
                <a:lnTo>
                  <a:pt x="13268" y="17930"/>
                </a:lnTo>
                <a:cubicBezTo>
                  <a:pt x="13231" y="18074"/>
                  <a:pt x="13157" y="18192"/>
                  <a:pt x="13050" y="18294"/>
                </a:cubicBezTo>
                <a:lnTo>
                  <a:pt x="13050" y="18266"/>
                </a:lnTo>
                <a:lnTo>
                  <a:pt x="12996" y="18294"/>
                </a:lnTo>
                <a:lnTo>
                  <a:pt x="12957" y="18319"/>
                </a:lnTo>
                <a:lnTo>
                  <a:pt x="12928" y="18452"/>
                </a:lnTo>
                <a:lnTo>
                  <a:pt x="12957" y="18480"/>
                </a:lnTo>
                <a:lnTo>
                  <a:pt x="12957" y="18509"/>
                </a:lnTo>
                <a:lnTo>
                  <a:pt x="12903" y="18452"/>
                </a:lnTo>
                <a:lnTo>
                  <a:pt x="12875" y="18627"/>
                </a:lnTo>
                <a:lnTo>
                  <a:pt x="12714" y="18681"/>
                </a:lnTo>
                <a:cubicBezTo>
                  <a:pt x="12657" y="18720"/>
                  <a:pt x="12635" y="18771"/>
                  <a:pt x="12646" y="18831"/>
                </a:cubicBezTo>
                <a:cubicBezTo>
                  <a:pt x="12654" y="18896"/>
                  <a:pt x="12632" y="18941"/>
                  <a:pt x="12578" y="18980"/>
                </a:cubicBezTo>
                <a:lnTo>
                  <a:pt x="12604" y="19034"/>
                </a:lnTo>
                <a:lnTo>
                  <a:pt x="12522" y="19113"/>
                </a:lnTo>
                <a:cubicBezTo>
                  <a:pt x="12522" y="19150"/>
                  <a:pt x="12519" y="19178"/>
                  <a:pt x="12508" y="19201"/>
                </a:cubicBezTo>
                <a:cubicBezTo>
                  <a:pt x="12499" y="19229"/>
                  <a:pt x="12496" y="19254"/>
                  <a:pt x="12496" y="19288"/>
                </a:cubicBezTo>
                <a:lnTo>
                  <a:pt x="12522" y="19483"/>
                </a:lnTo>
                <a:lnTo>
                  <a:pt x="12604" y="19531"/>
                </a:lnTo>
                <a:lnTo>
                  <a:pt x="12657" y="19483"/>
                </a:lnTo>
                <a:lnTo>
                  <a:pt x="12685" y="19398"/>
                </a:lnTo>
                <a:lnTo>
                  <a:pt x="12714" y="19559"/>
                </a:lnTo>
                <a:cubicBezTo>
                  <a:pt x="12714" y="19599"/>
                  <a:pt x="12694" y="19630"/>
                  <a:pt x="12657" y="19669"/>
                </a:cubicBezTo>
                <a:cubicBezTo>
                  <a:pt x="12604" y="19709"/>
                  <a:pt x="12550" y="19746"/>
                  <a:pt x="12496" y="19796"/>
                </a:cubicBezTo>
                <a:cubicBezTo>
                  <a:pt x="12440" y="19844"/>
                  <a:pt x="12414" y="19918"/>
                  <a:pt x="12414" y="20005"/>
                </a:cubicBezTo>
                <a:cubicBezTo>
                  <a:pt x="12414" y="20045"/>
                  <a:pt x="12428" y="20082"/>
                  <a:pt x="12454" y="20127"/>
                </a:cubicBezTo>
                <a:cubicBezTo>
                  <a:pt x="12482" y="20185"/>
                  <a:pt x="12496" y="20225"/>
                  <a:pt x="12496" y="20256"/>
                </a:cubicBezTo>
              </a:path>
            </a:pathLst>
          </a:custGeom>
          <a:solidFill>
            <a:srgbClr val="0070C0"/>
          </a:solidFill>
          <a:ln>
            <a:noFill/>
          </a:ln>
          <a:effectLst/>
          <a:extLst/>
        </p:spPr>
        <p:txBody>
          <a:bodyPr lIns="38100" tIns="38100" rIns="38100" bIns="38100" anchor="ctr"/>
          <a:lstStyle/>
          <a:p>
            <a:pPr defTabSz="342528">
              <a:defRPr/>
            </a:pPr>
            <a:endParaRPr lang="es-ES" sz="1400">
              <a:solidFill>
                <a:srgbClr val="58595B"/>
              </a:solidFill>
              <a:effectLst>
                <a:outerShdw blurRad="38100" dist="38100" dir="2700000" algn="tl">
                  <a:srgbClr val="000000"/>
                </a:outerShdw>
              </a:effectLst>
              <a:latin typeface="+mj-lt"/>
              <a:cs typeface="Gill Sans" charset="0"/>
              <a:sym typeface="Gill Sans" charset="0"/>
            </a:endParaRPr>
          </a:p>
        </p:txBody>
      </p:sp>
      <p:sp>
        <p:nvSpPr>
          <p:cNvPr id="31" name="AutoShape 81"/>
          <p:cNvSpPr>
            <a:spLocks/>
          </p:cNvSpPr>
          <p:nvPr/>
        </p:nvSpPr>
        <p:spPr bwMode="auto">
          <a:xfrm>
            <a:off x="542706" y="3919969"/>
            <a:ext cx="453160" cy="36519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782" y="15633"/>
                </a:moveTo>
                <a:cubicBezTo>
                  <a:pt x="11211" y="15633"/>
                  <a:pt x="11622" y="15565"/>
                  <a:pt x="12011" y="15416"/>
                </a:cubicBezTo>
                <a:cubicBezTo>
                  <a:pt x="12403" y="15272"/>
                  <a:pt x="12778" y="15084"/>
                  <a:pt x="13138" y="14855"/>
                </a:cubicBezTo>
                <a:cubicBezTo>
                  <a:pt x="13498" y="14626"/>
                  <a:pt x="13845" y="14361"/>
                  <a:pt x="14181" y="14073"/>
                </a:cubicBezTo>
                <a:cubicBezTo>
                  <a:pt x="14516" y="13774"/>
                  <a:pt x="14844" y="13471"/>
                  <a:pt x="15168" y="13160"/>
                </a:cubicBezTo>
                <a:cubicBezTo>
                  <a:pt x="16142" y="12226"/>
                  <a:pt x="17126" y="11306"/>
                  <a:pt x="18120" y="10410"/>
                </a:cubicBezTo>
                <a:cubicBezTo>
                  <a:pt x="19112" y="9515"/>
                  <a:pt x="20113" y="8616"/>
                  <a:pt x="21120" y="7714"/>
                </a:cubicBezTo>
                <a:cubicBezTo>
                  <a:pt x="21198" y="7640"/>
                  <a:pt x="21279" y="7570"/>
                  <a:pt x="21360" y="7496"/>
                </a:cubicBezTo>
                <a:cubicBezTo>
                  <a:pt x="21443" y="7429"/>
                  <a:pt x="21524" y="7347"/>
                  <a:pt x="21599" y="7250"/>
                </a:cubicBezTo>
                <a:lnTo>
                  <a:pt x="21599" y="19981"/>
                </a:lnTo>
                <a:cubicBezTo>
                  <a:pt x="21599" y="20416"/>
                  <a:pt x="21470" y="20800"/>
                  <a:pt x="21208" y="21118"/>
                </a:cubicBezTo>
                <a:cubicBezTo>
                  <a:pt x="20946" y="21438"/>
                  <a:pt x="20632" y="21599"/>
                  <a:pt x="20265" y="21599"/>
                </a:cubicBezTo>
                <a:lnTo>
                  <a:pt x="1346" y="21599"/>
                </a:lnTo>
                <a:cubicBezTo>
                  <a:pt x="979" y="21599"/>
                  <a:pt x="663" y="21438"/>
                  <a:pt x="396" y="21118"/>
                </a:cubicBezTo>
                <a:cubicBezTo>
                  <a:pt x="132" y="20803"/>
                  <a:pt x="0" y="20419"/>
                  <a:pt x="0" y="19981"/>
                </a:cubicBezTo>
                <a:lnTo>
                  <a:pt x="0" y="7250"/>
                </a:lnTo>
                <a:cubicBezTo>
                  <a:pt x="75" y="7347"/>
                  <a:pt x="156" y="7429"/>
                  <a:pt x="239" y="7496"/>
                </a:cubicBezTo>
                <a:cubicBezTo>
                  <a:pt x="320" y="7570"/>
                  <a:pt x="401" y="7640"/>
                  <a:pt x="479" y="7714"/>
                </a:cubicBezTo>
                <a:cubicBezTo>
                  <a:pt x="1488" y="8616"/>
                  <a:pt x="2487" y="9514"/>
                  <a:pt x="3481" y="10410"/>
                </a:cubicBezTo>
                <a:cubicBezTo>
                  <a:pt x="4473" y="11306"/>
                  <a:pt x="5457" y="12223"/>
                  <a:pt x="6434" y="13160"/>
                </a:cubicBezTo>
                <a:cubicBezTo>
                  <a:pt x="6738" y="13454"/>
                  <a:pt x="7058" y="13744"/>
                  <a:pt x="7394" y="14038"/>
                </a:cubicBezTo>
                <a:cubicBezTo>
                  <a:pt x="7729" y="14338"/>
                  <a:pt x="8079" y="14599"/>
                  <a:pt x="8437" y="14840"/>
                </a:cubicBezTo>
                <a:cubicBezTo>
                  <a:pt x="8797" y="15075"/>
                  <a:pt x="9174" y="15269"/>
                  <a:pt x="9568" y="15413"/>
                </a:cubicBezTo>
                <a:cubicBezTo>
                  <a:pt x="9965" y="15563"/>
                  <a:pt x="10371" y="15633"/>
                  <a:pt x="10782" y="15633"/>
                </a:cubicBezTo>
                <a:moveTo>
                  <a:pt x="10782" y="12413"/>
                </a:moveTo>
                <a:cubicBezTo>
                  <a:pt x="10540" y="12413"/>
                  <a:pt x="10278" y="12334"/>
                  <a:pt x="9996" y="12167"/>
                </a:cubicBezTo>
                <a:cubicBezTo>
                  <a:pt x="9715" y="12005"/>
                  <a:pt x="9441" y="11806"/>
                  <a:pt x="9171" y="11576"/>
                </a:cubicBezTo>
                <a:cubicBezTo>
                  <a:pt x="8900" y="11347"/>
                  <a:pt x="8638" y="11106"/>
                  <a:pt x="8380" y="10854"/>
                </a:cubicBezTo>
                <a:cubicBezTo>
                  <a:pt x="8121" y="10601"/>
                  <a:pt x="7896" y="10390"/>
                  <a:pt x="7700" y="10222"/>
                </a:cubicBezTo>
                <a:cubicBezTo>
                  <a:pt x="6752" y="9356"/>
                  <a:pt x="5819" y="8507"/>
                  <a:pt x="4891" y="7664"/>
                </a:cubicBezTo>
                <a:cubicBezTo>
                  <a:pt x="3966" y="6815"/>
                  <a:pt x="3023" y="5960"/>
                  <a:pt x="2061" y="5087"/>
                </a:cubicBezTo>
                <a:cubicBezTo>
                  <a:pt x="1882" y="4920"/>
                  <a:pt x="1672" y="4691"/>
                  <a:pt x="1434" y="4406"/>
                </a:cubicBezTo>
                <a:cubicBezTo>
                  <a:pt x="1194" y="4118"/>
                  <a:pt x="974" y="3804"/>
                  <a:pt x="766" y="3460"/>
                </a:cubicBezTo>
                <a:cubicBezTo>
                  <a:pt x="560" y="3110"/>
                  <a:pt x="384" y="2761"/>
                  <a:pt x="239" y="2405"/>
                </a:cubicBezTo>
                <a:cubicBezTo>
                  <a:pt x="95" y="2050"/>
                  <a:pt x="22" y="1724"/>
                  <a:pt x="22" y="1436"/>
                </a:cubicBezTo>
                <a:cubicBezTo>
                  <a:pt x="22" y="1051"/>
                  <a:pt x="164" y="713"/>
                  <a:pt x="443" y="425"/>
                </a:cubicBezTo>
                <a:cubicBezTo>
                  <a:pt x="727" y="143"/>
                  <a:pt x="1025" y="0"/>
                  <a:pt x="1346" y="0"/>
                </a:cubicBezTo>
                <a:lnTo>
                  <a:pt x="20265" y="0"/>
                </a:lnTo>
                <a:cubicBezTo>
                  <a:pt x="20583" y="0"/>
                  <a:pt x="20882" y="143"/>
                  <a:pt x="21161" y="425"/>
                </a:cubicBezTo>
                <a:cubicBezTo>
                  <a:pt x="21438" y="713"/>
                  <a:pt x="21577" y="1051"/>
                  <a:pt x="21577" y="1436"/>
                </a:cubicBezTo>
                <a:cubicBezTo>
                  <a:pt x="21577" y="1724"/>
                  <a:pt x="21504" y="2050"/>
                  <a:pt x="21360" y="2405"/>
                </a:cubicBezTo>
                <a:cubicBezTo>
                  <a:pt x="21215" y="2761"/>
                  <a:pt x="21039" y="3110"/>
                  <a:pt x="20833" y="3460"/>
                </a:cubicBezTo>
                <a:cubicBezTo>
                  <a:pt x="20627" y="3804"/>
                  <a:pt x="20402" y="4121"/>
                  <a:pt x="20165" y="4406"/>
                </a:cubicBezTo>
                <a:cubicBezTo>
                  <a:pt x="19927" y="4691"/>
                  <a:pt x="19717" y="4923"/>
                  <a:pt x="19538" y="5087"/>
                </a:cubicBezTo>
                <a:cubicBezTo>
                  <a:pt x="18578" y="5948"/>
                  <a:pt x="17633" y="6803"/>
                  <a:pt x="16708" y="7652"/>
                </a:cubicBezTo>
                <a:cubicBezTo>
                  <a:pt x="15782" y="8501"/>
                  <a:pt x="14844" y="9356"/>
                  <a:pt x="13899" y="10222"/>
                </a:cubicBezTo>
                <a:cubicBezTo>
                  <a:pt x="13703" y="10390"/>
                  <a:pt x="13481" y="10601"/>
                  <a:pt x="13226" y="10854"/>
                </a:cubicBezTo>
                <a:cubicBezTo>
                  <a:pt x="12971" y="11106"/>
                  <a:pt x="12709" y="11347"/>
                  <a:pt x="12435" y="11576"/>
                </a:cubicBezTo>
                <a:cubicBezTo>
                  <a:pt x="12161" y="11806"/>
                  <a:pt x="11884" y="12005"/>
                  <a:pt x="11603" y="12167"/>
                </a:cubicBezTo>
                <a:cubicBezTo>
                  <a:pt x="11321" y="12334"/>
                  <a:pt x="11064" y="12413"/>
                  <a:pt x="10829" y="12413"/>
                </a:cubicBezTo>
                <a:lnTo>
                  <a:pt x="10804" y="12413"/>
                </a:lnTo>
                <a:lnTo>
                  <a:pt x="10782" y="12413"/>
                </a:lnTo>
                <a:close/>
              </a:path>
            </a:pathLst>
          </a:custGeom>
          <a:solidFill>
            <a:schemeClr val="accent4"/>
          </a:solidFill>
          <a:ln>
            <a:noFill/>
          </a:ln>
          <a:effectLst/>
          <a:extLst/>
        </p:spPr>
        <p:txBody>
          <a:bodyPr lIns="38100" tIns="38100" rIns="38100" bIns="38100" anchor="ctr"/>
          <a:lstStyle/>
          <a:p>
            <a:pPr defTabSz="342528">
              <a:defRPr/>
            </a:pPr>
            <a:endParaRPr lang="es-ES" sz="1400">
              <a:solidFill>
                <a:srgbClr val="58595B"/>
              </a:solidFill>
              <a:effectLst>
                <a:outerShdw blurRad="38100" dist="38100" dir="2700000" algn="tl">
                  <a:srgbClr val="000000"/>
                </a:outerShdw>
              </a:effectLst>
              <a:latin typeface="+mj-lt"/>
              <a:cs typeface="Gill Sans" charset="0"/>
              <a:sym typeface="Gill Sans" charset="0"/>
            </a:endParaRPr>
          </a:p>
        </p:txBody>
      </p:sp>
      <p:grpSp>
        <p:nvGrpSpPr>
          <p:cNvPr id="11" name="Group 10"/>
          <p:cNvGrpSpPr/>
          <p:nvPr>
            <p:custDataLst>
              <p:tags r:id="rId3"/>
            </p:custDataLst>
          </p:nvPr>
        </p:nvGrpSpPr>
        <p:grpSpPr>
          <a:xfrm>
            <a:off x="7824745" y="2211006"/>
            <a:ext cx="3687889" cy="351145"/>
            <a:chOff x="7528087" y="2680840"/>
            <a:chExt cx="2061939" cy="316190"/>
          </a:xfrm>
        </p:grpSpPr>
        <p:cxnSp>
          <p:nvCxnSpPr>
            <p:cNvPr id="12" name="Straight Connector 11"/>
            <p:cNvCxnSpPr/>
            <p:nvPr/>
          </p:nvCxnSpPr>
          <p:spPr>
            <a:xfrm flipV="1">
              <a:off x="7528087" y="2680840"/>
              <a:ext cx="497966" cy="3161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8026053" y="2680840"/>
              <a:ext cx="1563973"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sp>
        <p:nvSpPr>
          <p:cNvPr id="15" name="TextBox 14"/>
          <p:cNvSpPr txBox="1"/>
          <p:nvPr/>
        </p:nvSpPr>
        <p:spPr>
          <a:xfrm>
            <a:off x="8551106" y="1660477"/>
            <a:ext cx="2942895" cy="254679"/>
          </a:xfrm>
          <a:prstGeom prst="rect">
            <a:avLst/>
          </a:prstGeom>
          <a:noFill/>
        </p:spPr>
        <p:txBody>
          <a:bodyPr wrap="square" rtlCol="0">
            <a:spAutoFit/>
          </a:bodyPr>
          <a:lstStyle/>
          <a:p>
            <a:pPr algn="r"/>
            <a:r>
              <a:rPr lang="en-US" dirty="0" smtClean="0">
                <a:solidFill>
                  <a:srgbClr val="58595B"/>
                </a:solidFill>
                <a:latin typeface="+mj-lt"/>
                <a:cs typeface="Open Sans Light"/>
              </a:rPr>
              <a:t>Second Factor</a:t>
            </a:r>
            <a:endParaRPr lang="en-US" dirty="0">
              <a:solidFill>
                <a:srgbClr val="58595B"/>
              </a:solidFill>
              <a:latin typeface="+mj-lt"/>
              <a:cs typeface="Open Sans Light"/>
            </a:endParaRPr>
          </a:p>
        </p:txBody>
      </p:sp>
      <p:sp>
        <p:nvSpPr>
          <p:cNvPr id="16" name="TextBox 15"/>
          <p:cNvSpPr txBox="1"/>
          <p:nvPr/>
        </p:nvSpPr>
        <p:spPr>
          <a:xfrm>
            <a:off x="8551106" y="2274787"/>
            <a:ext cx="2942895" cy="953976"/>
          </a:xfrm>
          <a:prstGeom prst="rect">
            <a:avLst/>
          </a:prstGeom>
          <a:noFill/>
        </p:spPr>
        <p:txBody>
          <a:bodyPr wrap="square" rtlCol="0">
            <a:noAutofit/>
          </a:bodyPr>
          <a:lstStyle/>
          <a:p>
            <a:pPr algn="r">
              <a:lnSpc>
                <a:spcPct val="120000"/>
              </a:lnSpc>
            </a:pPr>
            <a:r>
              <a:rPr lang="en-US" sz="1400" dirty="0">
                <a:solidFill>
                  <a:srgbClr val="58595B"/>
                </a:solidFill>
                <a:latin typeface="Roboto Regular" pitchFamily="2" charset="0"/>
                <a:ea typeface="Roboto Regular" pitchFamily="2" charset="0"/>
                <a:cs typeface="Open Sans Light"/>
              </a:rPr>
              <a:t>Lorem ipsum dolor sit amet, consectetur adipiscing elit. Praesent </a:t>
            </a:r>
            <a:r>
              <a:rPr lang="en-US" sz="1400" dirty="0" err="1">
                <a:solidFill>
                  <a:srgbClr val="58595B"/>
                </a:solidFill>
                <a:latin typeface="Roboto Regular" pitchFamily="2" charset="0"/>
                <a:ea typeface="Roboto Regular" pitchFamily="2" charset="0"/>
                <a:cs typeface="Open Sans Light"/>
              </a:rPr>
              <a:t>molestie</a:t>
            </a:r>
            <a:r>
              <a:rPr lang="en-US" sz="1400" dirty="0">
                <a:solidFill>
                  <a:srgbClr val="58595B"/>
                </a:solidFill>
                <a:latin typeface="Roboto Regular" pitchFamily="2" charset="0"/>
                <a:ea typeface="Roboto Regular" pitchFamily="2" charset="0"/>
                <a:cs typeface="Open Sans Light"/>
              </a:rPr>
              <a:t> </a:t>
            </a:r>
            <a:r>
              <a:rPr lang="en-US" sz="1400" dirty="0" err="1">
                <a:solidFill>
                  <a:srgbClr val="58595B"/>
                </a:solidFill>
                <a:latin typeface="Roboto Regular" pitchFamily="2" charset="0"/>
                <a:ea typeface="Roboto Regular" pitchFamily="2" charset="0"/>
                <a:cs typeface="Open Sans Light"/>
              </a:rPr>
              <a:t>efficitur</a:t>
            </a:r>
            <a:r>
              <a:rPr lang="en-US" sz="1400" dirty="0">
                <a:solidFill>
                  <a:srgbClr val="58595B"/>
                </a:solidFill>
                <a:latin typeface="Roboto Regular" pitchFamily="2" charset="0"/>
                <a:ea typeface="Roboto Regular" pitchFamily="2" charset="0"/>
                <a:cs typeface="Open Sans Light"/>
              </a:rPr>
              <a:t> </a:t>
            </a:r>
            <a:r>
              <a:rPr lang="en-US" sz="1400" dirty="0" err="1">
                <a:solidFill>
                  <a:srgbClr val="58595B"/>
                </a:solidFill>
                <a:latin typeface="Roboto Regular" pitchFamily="2" charset="0"/>
                <a:ea typeface="Roboto Regular" pitchFamily="2" charset="0"/>
                <a:cs typeface="Open Sans Light"/>
              </a:rPr>
              <a:t>est</a:t>
            </a:r>
            <a:r>
              <a:rPr lang="en-US" sz="1400" dirty="0" smtClean="0">
                <a:solidFill>
                  <a:srgbClr val="58595B"/>
                </a:solidFill>
                <a:latin typeface="Roboto Regular" pitchFamily="2" charset="0"/>
                <a:ea typeface="Roboto Regular" pitchFamily="2" charset="0"/>
                <a:cs typeface="Open Sans Light"/>
              </a:rPr>
              <a:t>,</a:t>
            </a:r>
            <a:endParaRPr lang="en-US" sz="1400" dirty="0">
              <a:solidFill>
                <a:srgbClr val="58595B"/>
              </a:solidFill>
              <a:latin typeface="Roboto Regular" pitchFamily="2" charset="0"/>
              <a:ea typeface="Roboto Regular" pitchFamily="2" charset="0"/>
              <a:cs typeface="Open Sans Light"/>
            </a:endParaRPr>
          </a:p>
        </p:txBody>
      </p:sp>
      <p:grpSp>
        <p:nvGrpSpPr>
          <p:cNvPr id="17" name="Group 16"/>
          <p:cNvGrpSpPr/>
          <p:nvPr>
            <p:custDataLst>
              <p:tags r:id="rId4"/>
            </p:custDataLst>
          </p:nvPr>
        </p:nvGrpSpPr>
        <p:grpSpPr>
          <a:xfrm flipV="1">
            <a:off x="7824745" y="3952567"/>
            <a:ext cx="3687889" cy="597549"/>
            <a:chOff x="7528087" y="2680840"/>
            <a:chExt cx="2061939" cy="316190"/>
          </a:xfrm>
        </p:grpSpPr>
        <p:cxnSp>
          <p:nvCxnSpPr>
            <p:cNvPr id="18" name="Straight Connector 17"/>
            <p:cNvCxnSpPr/>
            <p:nvPr/>
          </p:nvCxnSpPr>
          <p:spPr>
            <a:xfrm flipV="1">
              <a:off x="7528087" y="2680840"/>
              <a:ext cx="497966" cy="31619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8026053" y="2680840"/>
              <a:ext cx="1563973" cy="0"/>
            </a:xfrm>
            <a:prstGeom prst="line">
              <a:avLst/>
            </a:prstGeom>
            <a:ln>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grpSp>
      <p:sp>
        <p:nvSpPr>
          <p:cNvPr id="21" name="TextBox 20"/>
          <p:cNvSpPr txBox="1"/>
          <p:nvPr/>
        </p:nvSpPr>
        <p:spPr>
          <a:xfrm>
            <a:off x="8551106" y="3999587"/>
            <a:ext cx="2942895" cy="254679"/>
          </a:xfrm>
          <a:prstGeom prst="rect">
            <a:avLst/>
          </a:prstGeom>
          <a:noFill/>
        </p:spPr>
        <p:txBody>
          <a:bodyPr wrap="square" rtlCol="0">
            <a:spAutoFit/>
          </a:bodyPr>
          <a:lstStyle/>
          <a:p>
            <a:pPr algn="r"/>
            <a:r>
              <a:rPr lang="en-US" dirty="0" smtClean="0">
                <a:solidFill>
                  <a:srgbClr val="58595B"/>
                </a:solidFill>
                <a:latin typeface="+mj-lt"/>
                <a:cs typeface="Open Sans Light"/>
              </a:rPr>
              <a:t>Fourth Factor</a:t>
            </a:r>
            <a:endParaRPr lang="en-US" dirty="0">
              <a:solidFill>
                <a:srgbClr val="58595B"/>
              </a:solidFill>
              <a:latin typeface="+mj-lt"/>
              <a:cs typeface="Open Sans Light"/>
            </a:endParaRPr>
          </a:p>
        </p:txBody>
      </p:sp>
      <p:sp>
        <p:nvSpPr>
          <p:cNvPr id="22" name="TextBox 21"/>
          <p:cNvSpPr txBox="1"/>
          <p:nvPr/>
        </p:nvSpPr>
        <p:spPr>
          <a:xfrm>
            <a:off x="8551106" y="4613897"/>
            <a:ext cx="2942895" cy="953976"/>
          </a:xfrm>
          <a:prstGeom prst="rect">
            <a:avLst/>
          </a:prstGeom>
          <a:noFill/>
        </p:spPr>
        <p:txBody>
          <a:bodyPr wrap="square" rtlCol="0">
            <a:noAutofit/>
          </a:bodyPr>
          <a:lstStyle/>
          <a:p>
            <a:pPr algn="r">
              <a:lnSpc>
                <a:spcPct val="120000"/>
              </a:lnSpc>
            </a:pPr>
            <a:r>
              <a:rPr lang="en-US" sz="1400" dirty="0">
                <a:solidFill>
                  <a:srgbClr val="58595B"/>
                </a:solidFill>
                <a:latin typeface="Roboto Regular" pitchFamily="2" charset="0"/>
                <a:ea typeface="Roboto Regular" pitchFamily="2" charset="0"/>
                <a:cs typeface="Open Sans Light"/>
              </a:rPr>
              <a:t>Lorem ipsum dolor sit amet, consectetur adipiscing elit. Praesent </a:t>
            </a:r>
            <a:r>
              <a:rPr lang="en-US" sz="1400" dirty="0" err="1">
                <a:solidFill>
                  <a:srgbClr val="58595B"/>
                </a:solidFill>
                <a:latin typeface="Roboto Regular" pitchFamily="2" charset="0"/>
                <a:ea typeface="Roboto Regular" pitchFamily="2" charset="0"/>
                <a:cs typeface="Open Sans Light"/>
              </a:rPr>
              <a:t>molestie</a:t>
            </a:r>
            <a:r>
              <a:rPr lang="en-US" sz="1400" dirty="0">
                <a:solidFill>
                  <a:srgbClr val="58595B"/>
                </a:solidFill>
                <a:latin typeface="Roboto Regular" pitchFamily="2" charset="0"/>
                <a:ea typeface="Roboto Regular" pitchFamily="2" charset="0"/>
                <a:cs typeface="Open Sans Light"/>
              </a:rPr>
              <a:t> </a:t>
            </a:r>
            <a:r>
              <a:rPr lang="en-US" sz="1400" dirty="0" err="1">
                <a:solidFill>
                  <a:srgbClr val="58595B"/>
                </a:solidFill>
                <a:latin typeface="Roboto Regular" pitchFamily="2" charset="0"/>
                <a:ea typeface="Roboto Regular" pitchFamily="2" charset="0"/>
                <a:cs typeface="Open Sans Light"/>
              </a:rPr>
              <a:t>efficitur</a:t>
            </a:r>
            <a:r>
              <a:rPr lang="en-US" sz="1400" dirty="0">
                <a:solidFill>
                  <a:srgbClr val="58595B"/>
                </a:solidFill>
                <a:latin typeface="Roboto Regular" pitchFamily="2" charset="0"/>
                <a:ea typeface="Roboto Regular" pitchFamily="2" charset="0"/>
                <a:cs typeface="Open Sans Light"/>
              </a:rPr>
              <a:t> </a:t>
            </a:r>
            <a:r>
              <a:rPr lang="en-US" sz="1400" dirty="0" err="1">
                <a:solidFill>
                  <a:srgbClr val="58595B"/>
                </a:solidFill>
                <a:latin typeface="Roboto Regular" pitchFamily="2" charset="0"/>
                <a:ea typeface="Roboto Regular" pitchFamily="2" charset="0"/>
                <a:cs typeface="Open Sans Light"/>
              </a:rPr>
              <a:t>est</a:t>
            </a:r>
            <a:r>
              <a:rPr lang="en-US" sz="1400" dirty="0" smtClean="0">
                <a:solidFill>
                  <a:srgbClr val="58595B"/>
                </a:solidFill>
                <a:latin typeface="Roboto Regular" pitchFamily="2" charset="0"/>
                <a:ea typeface="Roboto Regular" pitchFamily="2" charset="0"/>
                <a:cs typeface="Open Sans Light"/>
              </a:rPr>
              <a:t>,</a:t>
            </a:r>
            <a:endParaRPr lang="en-US" sz="1400" dirty="0">
              <a:solidFill>
                <a:srgbClr val="58595B"/>
              </a:solidFill>
              <a:latin typeface="Roboto Regular" pitchFamily="2" charset="0"/>
              <a:ea typeface="Roboto Regular" pitchFamily="2" charset="0"/>
              <a:cs typeface="Open Sans Light"/>
            </a:endParaRPr>
          </a:p>
        </p:txBody>
      </p:sp>
      <p:sp>
        <p:nvSpPr>
          <p:cNvPr id="30" name="AutoShape 14"/>
          <p:cNvSpPr>
            <a:spLocks/>
          </p:cNvSpPr>
          <p:nvPr/>
        </p:nvSpPr>
        <p:spPr bwMode="auto">
          <a:xfrm>
            <a:off x="11799078" y="1727187"/>
            <a:ext cx="382356" cy="65787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561" y="5503"/>
                </a:moveTo>
                <a:cubicBezTo>
                  <a:pt x="20836" y="5503"/>
                  <a:pt x="21078" y="5553"/>
                  <a:pt x="21285" y="5656"/>
                </a:cubicBezTo>
                <a:cubicBezTo>
                  <a:pt x="21498" y="5760"/>
                  <a:pt x="21599" y="5889"/>
                  <a:pt x="21599" y="6045"/>
                </a:cubicBezTo>
                <a:cubicBezTo>
                  <a:pt x="21599" y="6136"/>
                  <a:pt x="21585" y="6208"/>
                  <a:pt x="21556" y="6261"/>
                </a:cubicBezTo>
                <a:lnTo>
                  <a:pt x="8488" y="21266"/>
                </a:lnTo>
                <a:cubicBezTo>
                  <a:pt x="8333" y="21489"/>
                  <a:pt x="8000" y="21599"/>
                  <a:pt x="7493" y="21599"/>
                </a:cubicBezTo>
                <a:cubicBezTo>
                  <a:pt x="7217" y="21599"/>
                  <a:pt x="6961" y="21549"/>
                  <a:pt x="6729" y="21446"/>
                </a:cubicBezTo>
                <a:cubicBezTo>
                  <a:pt x="6497" y="21343"/>
                  <a:pt x="6381" y="21213"/>
                  <a:pt x="6381" y="21057"/>
                </a:cubicBezTo>
                <a:cubicBezTo>
                  <a:pt x="6381" y="21014"/>
                  <a:pt x="6406" y="20973"/>
                  <a:pt x="6454" y="20947"/>
                </a:cubicBezTo>
                <a:lnTo>
                  <a:pt x="11169" y="10444"/>
                </a:lnTo>
                <a:cubicBezTo>
                  <a:pt x="10985" y="10473"/>
                  <a:pt x="10613" y="10531"/>
                  <a:pt x="10058" y="10610"/>
                </a:cubicBezTo>
                <a:cubicBezTo>
                  <a:pt x="9502" y="10689"/>
                  <a:pt x="8874" y="10776"/>
                  <a:pt x="8164" y="10867"/>
                </a:cubicBezTo>
                <a:cubicBezTo>
                  <a:pt x="7454" y="10960"/>
                  <a:pt x="6705" y="11061"/>
                  <a:pt x="5922" y="11171"/>
                </a:cubicBezTo>
                <a:cubicBezTo>
                  <a:pt x="5135" y="11284"/>
                  <a:pt x="4401" y="11387"/>
                  <a:pt x="3724" y="11483"/>
                </a:cubicBezTo>
                <a:cubicBezTo>
                  <a:pt x="3043" y="11579"/>
                  <a:pt x="2459" y="11654"/>
                  <a:pt x="1966" y="11707"/>
                </a:cubicBezTo>
                <a:cubicBezTo>
                  <a:pt x="1473" y="11760"/>
                  <a:pt x="1178" y="11786"/>
                  <a:pt x="1087" y="11786"/>
                </a:cubicBezTo>
                <a:cubicBezTo>
                  <a:pt x="777" y="11786"/>
                  <a:pt x="521" y="11733"/>
                  <a:pt x="314" y="11623"/>
                </a:cubicBezTo>
                <a:cubicBezTo>
                  <a:pt x="106" y="11510"/>
                  <a:pt x="0" y="11385"/>
                  <a:pt x="0" y="11248"/>
                </a:cubicBezTo>
                <a:cubicBezTo>
                  <a:pt x="0" y="11186"/>
                  <a:pt x="14" y="11150"/>
                  <a:pt x="43" y="11133"/>
                </a:cubicBezTo>
                <a:lnTo>
                  <a:pt x="4879" y="424"/>
                </a:lnTo>
                <a:cubicBezTo>
                  <a:pt x="4942" y="302"/>
                  <a:pt x="5067" y="201"/>
                  <a:pt x="5261" y="120"/>
                </a:cubicBezTo>
                <a:cubicBezTo>
                  <a:pt x="5454" y="40"/>
                  <a:pt x="5671" y="0"/>
                  <a:pt x="5922" y="0"/>
                </a:cubicBezTo>
                <a:lnTo>
                  <a:pt x="13874" y="0"/>
                </a:lnTo>
                <a:cubicBezTo>
                  <a:pt x="14155" y="0"/>
                  <a:pt x="14396" y="52"/>
                  <a:pt x="14604" y="153"/>
                </a:cubicBezTo>
                <a:cubicBezTo>
                  <a:pt x="14812" y="256"/>
                  <a:pt x="14918" y="386"/>
                  <a:pt x="14918" y="539"/>
                </a:cubicBezTo>
                <a:cubicBezTo>
                  <a:pt x="14918" y="585"/>
                  <a:pt x="14908" y="623"/>
                  <a:pt x="14894" y="652"/>
                </a:cubicBezTo>
                <a:cubicBezTo>
                  <a:pt x="14879" y="686"/>
                  <a:pt x="14855" y="729"/>
                  <a:pt x="14821" y="779"/>
                </a:cubicBezTo>
                <a:lnTo>
                  <a:pt x="10662" y="6801"/>
                </a:lnTo>
                <a:cubicBezTo>
                  <a:pt x="10845" y="6770"/>
                  <a:pt x="11208" y="6719"/>
                  <a:pt x="11749" y="6647"/>
                </a:cubicBezTo>
                <a:cubicBezTo>
                  <a:pt x="12290" y="6573"/>
                  <a:pt x="12913" y="6491"/>
                  <a:pt x="13618" y="6398"/>
                </a:cubicBezTo>
                <a:cubicBezTo>
                  <a:pt x="14329" y="6307"/>
                  <a:pt x="15063" y="6206"/>
                  <a:pt x="15821" y="6095"/>
                </a:cubicBezTo>
                <a:cubicBezTo>
                  <a:pt x="16575" y="5983"/>
                  <a:pt x="17290" y="5884"/>
                  <a:pt x="17971" y="5800"/>
                </a:cubicBezTo>
                <a:cubicBezTo>
                  <a:pt x="18648" y="5719"/>
                  <a:pt x="19227" y="5647"/>
                  <a:pt x="19706" y="5589"/>
                </a:cubicBezTo>
                <a:cubicBezTo>
                  <a:pt x="20179" y="5534"/>
                  <a:pt x="20464" y="5503"/>
                  <a:pt x="20561" y="5503"/>
                </a:cubicBezTo>
              </a:path>
            </a:pathLst>
          </a:custGeom>
          <a:solidFill>
            <a:srgbClr val="41B5E8"/>
          </a:solidFill>
          <a:ln>
            <a:noFill/>
          </a:ln>
          <a:effectLst/>
          <a:extLst/>
        </p:spPr>
        <p:txBody>
          <a:bodyPr lIns="38100" tIns="38100" rIns="38100" bIns="38100" anchor="ctr"/>
          <a:lstStyle/>
          <a:p>
            <a:pPr defTabSz="342528">
              <a:defRPr/>
            </a:pPr>
            <a:endParaRPr lang="es-ES" sz="1400">
              <a:solidFill>
                <a:srgbClr val="58595B"/>
              </a:solidFill>
              <a:effectLst>
                <a:outerShdw blurRad="38100" dist="38100" dir="2700000" algn="tl">
                  <a:srgbClr val="000000"/>
                </a:outerShdw>
              </a:effectLst>
              <a:latin typeface="+mj-lt"/>
              <a:cs typeface="Gill Sans" charset="0"/>
              <a:sym typeface="Gill Sans" charset="0"/>
            </a:endParaRPr>
          </a:p>
        </p:txBody>
      </p:sp>
      <p:sp>
        <p:nvSpPr>
          <p:cNvPr id="32" name="AutoShape 92"/>
          <p:cNvSpPr>
            <a:spLocks/>
          </p:cNvSpPr>
          <p:nvPr/>
        </p:nvSpPr>
        <p:spPr bwMode="auto">
          <a:xfrm>
            <a:off x="11800465" y="4026329"/>
            <a:ext cx="531411" cy="44521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287" y="12517"/>
                </a:moveTo>
                <a:cubicBezTo>
                  <a:pt x="14687" y="12517"/>
                  <a:pt x="15037" y="12647"/>
                  <a:pt x="15346" y="12910"/>
                </a:cubicBezTo>
                <a:lnTo>
                  <a:pt x="20700" y="17164"/>
                </a:lnTo>
                <a:cubicBezTo>
                  <a:pt x="20976" y="17407"/>
                  <a:pt x="21197" y="17703"/>
                  <a:pt x="21357" y="18051"/>
                </a:cubicBezTo>
                <a:cubicBezTo>
                  <a:pt x="21517" y="18398"/>
                  <a:pt x="21599" y="18779"/>
                  <a:pt x="21599" y="19191"/>
                </a:cubicBezTo>
                <a:cubicBezTo>
                  <a:pt x="21599" y="19860"/>
                  <a:pt x="21402" y="20428"/>
                  <a:pt x="21006" y="20896"/>
                </a:cubicBezTo>
                <a:cubicBezTo>
                  <a:pt x="20613" y="21365"/>
                  <a:pt x="20143" y="21599"/>
                  <a:pt x="19594" y="21599"/>
                </a:cubicBezTo>
                <a:cubicBezTo>
                  <a:pt x="19182" y="21599"/>
                  <a:pt x="18810" y="21458"/>
                  <a:pt x="18478" y="21179"/>
                </a:cubicBezTo>
                <a:lnTo>
                  <a:pt x="13128" y="16924"/>
                </a:lnTo>
                <a:cubicBezTo>
                  <a:pt x="12599" y="16498"/>
                  <a:pt x="12319" y="15908"/>
                  <a:pt x="12281" y="15154"/>
                </a:cubicBezTo>
                <a:lnTo>
                  <a:pt x="9713" y="13096"/>
                </a:lnTo>
                <a:lnTo>
                  <a:pt x="8518" y="15233"/>
                </a:lnTo>
                <a:cubicBezTo>
                  <a:pt x="8412" y="15411"/>
                  <a:pt x="8273" y="15504"/>
                  <a:pt x="8101" y="15504"/>
                </a:cubicBezTo>
                <a:cubicBezTo>
                  <a:pt x="7995" y="15504"/>
                  <a:pt x="7901" y="15468"/>
                  <a:pt x="7819" y="15397"/>
                </a:cubicBezTo>
                <a:cubicBezTo>
                  <a:pt x="8233" y="15747"/>
                  <a:pt x="8445" y="16199"/>
                  <a:pt x="8452" y="16746"/>
                </a:cubicBezTo>
                <a:cubicBezTo>
                  <a:pt x="8452" y="16972"/>
                  <a:pt x="8412" y="17187"/>
                  <a:pt x="8334" y="17390"/>
                </a:cubicBezTo>
                <a:cubicBezTo>
                  <a:pt x="8254" y="17591"/>
                  <a:pt x="8150" y="17777"/>
                  <a:pt x="8016" y="17944"/>
                </a:cubicBezTo>
                <a:cubicBezTo>
                  <a:pt x="7884" y="18107"/>
                  <a:pt x="7736" y="18240"/>
                  <a:pt x="7567" y="18342"/>
                </a:cubicBezTo>
                <a:cubicBezTo>
                  <a:pt x="7395" y="18440"/>
                  <a:pt x="7221" y="18488"/>
                  <a:pt x="7042" y="18488"/>
                </a:cubicBezTo>
                <a:cubicBezTo>
                  <a:pt x="6781" y="18488"/>
                  <a:pt x="6545" y="18409"/>
                  <a:pt x="6343" y="18246"/>
                </a:cubicBezTo>
                <a:lnTo>
                  <a:pt x="550" y="13627"/>
                </a:lnTo>
                <a:cubicBezTo>
                  <a:pt x="183" y="13328"/>
                  <a:pt x="0" y="12915"/>
                  <a:pt x="0" y="12379"/>
                </a:cubicBezTo>
                <a:cubicBezTo>
                  <a:pt x="0" y="11939"/>
                  <a:pt x="136" y="11529"/>
                  <a:pt x="416" y="11151"/>
                </a:cubicBezTo>
                <a:cubicBezTo>
                  <a:pt x="694" y="10773"/>
                  <a:pt x="1023" y="10581"/>
                  <a:pt x="1407" y="10581"/>
                </a:cubicBezTo>
                <a:cubicBezTo>
                  <a:pt x="1673" y="10581"/>
                  <a:pt x="1925" y="10682"/>
                  <a:pt x="2174" y="10880"/>
                </a:cubicBezTo>
                <a:cubicBezTo>
                  <a:pt x="2024" y="10756"/>
                  <a:pt x="1944" y="10586"/>
                  <a:pt x="1939" y="10380"/>
                </a:cubicBezTo>
                <a:cubicBezTo>
                  <a:pt x="1939" y="10310"/>
                  <a:pt x="1967" y="10202"/>
                  <a:pt x="2026" y="10058"/>
                </a:cubicBezTo>
                <a:lnTo>
                  <a:pt x="5792" y="3271"/>
                </a:lnTo>
                <a:cubicBezTo>
                  <a:pt x="5898" y="3094"/>
                  <a:pt x="6034" y="2998"/>
                  <a:pt x="6209" y="2989"/>
                </a:cubicBezTo>
                <a:cubicBezTo>
                  <a:pt x="6329" y="2989"/>
                  <a:pt x="6418" y="3029"/>
                  <a:pt x="6479" y="3111"/>
                </a:cubicBezTo>
                <a:cubicBezTo>
                  <a:pt x="6293" y="2947"/>
                  <a:pt x="6140" y="2755"/>
                  <a:pt x="6027" y="2529"/>
                </a:cubicBezTo>
                <a:cubicBezTo>
                  <a:pt x="5914" y="2303"/>
                  <a:pt x="5860" y="2052"/>
                  <a:pt x="5860" y="1770"/>
                </a:cubicBezTo>
                <a:cubicBezTo>
                  <a:pt x="5860" y="1329"/>
                  <a:pt x="6001" y="926"/>
                  <a:pt x="6289" y="556"/>
                </a:cubicBezTo>
                <a:cubicBezTo>
                  <a:pt x="6573" y="189"/>
                  <a:pt x="6898" y="0"/>
                  <a:pt x="7268" y="0"/>
                </a:cubicBezTo>
                <a:cubicBezTo>
                  <a:pt x="7515" y="0"/>
                  <a:pt x="7750" y="90"/>
                  <a:pt x="7964" y="259"/>
                </a:cubicBezTo>
                <a:lnTo>
                  <a:pt x="13757" y="4881"/>
                </a:lnTo>
                <a:cubicBezTo>
                  <a:pt x="13931" y="5025"/>
                  <a:pt x="14065" y="5205"/>
                  <a:pt x="14162" y="5426"/>
                </a:cubicBezTo>
                <a:cubicBezTo>
                  <a:pt x="14258" y="5646"/>
                  <a:pt x="14310" y="5889"/>
                  <a:pt x="14310" y="6151"/>
                </a:cubicBezTo>
                <a:cubicBezTo>
                  <a:pt x="14310" y="6374"/>
                  <a:pt x="14270" y="6594"/>
                  <a:pt x="14190" y="6806"/>
                </a:cubicBezTo>
                <a:cubicBezTo>
                  <a:pt x="14112" y="7021"/>
                  <a:pt x="14014" y="7204"/>
                  <a:pt x="13891" y="7368"/>
                </a:cubicBezTo>
                <a:cubicBezTo>
                  <a:pt x="13771" y="7529"/>
                  <a:pt x="13623" y="7662"/>
                  <a:pt x="13442" y="7763"/>
                </a:cubicBezTo>
                <a:cubicBezTo>
                  <a:pt x="13260" y="7871"/>
                  <a:pt x="13081" y="7921"/>
                  <a:pt x="12900" y="7921"/>
                </a:cubicBezTo>
                <a:cubicBezTo>
                  <a:pt x="12655" y="7921"/>
                  <a:pt x="12397" y="7820"/>
                  <a:pt x="12135" y="7611"/>
                </a:cubicBezTo>
                <a:cubicBezTo>
                  <a:pt x="12284" y="7738"/>
                  <a:pt x="12366" y="7902"/>
                  <a:pt x="12373" y="8111"/>
                </a:cubicBezTo>
                <a:cubicBezTo>
                  <a:pt x="12373" y="8238"/>
                  <a:pt x="12342" y="8348"/>
                  <a:pt x="12281" y="8449"/>
                </a:cubicBezTo>
                <a:lnTo>
                  <a:pt x="11100" y="10581"/>
                </a:lnTo>
                <a:lnTo>
                  <a:pt x="13656" y="12625"/>
                </a:lnTo>
                <a:cubicBezTo>
                  <a:pt x="13762" y="12588"/>
                  <a:pt x="13865" y="12563"/>
                  <a:pt x="13971" y="12546"/>
                </a:cubicBezTo>
                <a:cubicBezTo>
                  <a:pt x="14077" y="12526"/>
                  <a:pt x="14183" y="12517"/>
                  <a:pt x="14287" y="12517"/>
                </a:cubicBezTo>
              </a:path>
            </a:pathLst>
          </a:custGeom>
          <a:solidFill>
            <a:schemeClr val="accent5"/>
          </a:solidFill>
          <a:ln>
            <a:noFill/>
          </a:ln>
          <a:effectLst/>
          <a:extLst/>
        </p:spPr>
        <p:txBody>
          <a:bodyPr lIns="38100" tIns="38100" rIns="38100" bIns="38100" anchor="ctr"/>
          <a:lstStyle/>
          <a:p>
            <a:pPr defTabSz="342528">
              <a:defRPr/>
            </a:pPr>
            <a:endParaRPr lang="es-ES" sz="1400" dirty="0">
              <a:solidFill>
                <a:srgbClr val="58595B"/>
              </a:solidFill>
              <a:effectLst>
                <a:outerShdw blurRad="38100" dist="38100" dir="2700000" algn="tl">
                  <a:srgbClr val="000000"/>
                </a:outerShdw>
              </a:effectLst>
              <a:latin typeface="+mj-lt"/>
              <a:cs typeface="Gill Sans" charset="0"/>
              <a:sym typeface="Gill Sans" charset="0"/>
            </a:endParaRPr>
          </a:p>
        </p:txBody>
      </p:sp>
    </p:spTree>
    <p:extLst>
      <p:ext uri="{BB962C8B-B14F-4D97-AF65-F5344CB8AC3E}">
        <p14:creationId xmlns:p14="http://schemas.microsoft.com/office/powerpoint/2010/main" val="3207081815"/>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rt to end process</a:t>
            </a:r>
            <a:endParaRPr lang="en-US" dirty="0"/>
          </a:p>
        </p:txBody>
      </p:sp>
      <p:sp>
        <p:nvSpPr>
          <p:cNvPr id="57" name="Title 20"/>
          <p:cNvSpPr txBox="1">
            <a:spLocks/>
          </p:cNvSpPr>
          <p:nvPr/>
        </p:nvSpPr>
        <p:spPr>
          <a:xfrm>
            <a:off x="559444" y="1380038"/>
            <a:ext cx="5274087" cy="430887"/>
          </a:xfrm>
          <a:prstGeom prst="rect">
            <a:avLst/>
          </a:prstGeom>
        </p:spPr>
        <p:txBody>
          <a:bodyPr vert="horz" wrap="square" lIns="243852" tIns="0" rIns="243852"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r>
              <a:rPr lang="en-US" sz="2800" dirty="0" smtClean="0">
                <a:solidFill>
                  <a:srgbClr val="58595B"/>
                </a:solidFill>
                <a:latin typeface="+mj-lt"/>
                <a:cs typeface="Open Sans Light"/>
              </a:rPr>
              <a:t>Start</a:t>
            </a:r>
            <a:endParaRPr lang="en-US" sz="2800" dirty="0">
              <a:solidFill>
                <a:srgbClr val="58595B"/>
              </a:solidFill>
              <a:latin typeface="+mj-lt"/>
              <a:cs typeface="Open Sans Light"/>
            </a:endParaRPr>
          </a:p>
        </p:txBody>
      </p:sp>
      <p:sp>
        <p:nvSpPr>
          <p:cNvPr id="58" name="Title 20"/>
          <p:cNvSpPr txBox="1">
            <a:spLocks/>
          </p:cNvSpPr>
          <p:nvPr/>
        </p:nvSpPr>
        <p:spPr>
          <a:xfrm>
            <a:off x="559439" y="1797846"/>
            <a:ext cx="5274091" cy="1646617"/>
          </a:xfrm>
          <a:prstGeom prst="rect">
            <a:avLst/>
          </a:prstGeom>
        </p:spPr>
        <p:txBody>
          <a:bodyPr vert="horz" wrap="square" lIns="243852" tIns="121926" rIns="243852" bIns="121926"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30000"/>
              </a:lnSpc>
            </a:pPr>
            <a:r>
              <a:rPr lang="pt-BR" sz="1400" dirty="0">
                <a:solidFill>
                  <a:srgbClr val="58595B"/>
                </a:solidFill>
                <a:latin typeface="Roboto Regular" pitchFamily="2" charset="0"/>
                <a:ea typeface="Roboto Regular" pitchFamily="2" charset="0"/>
                <a:cs typeface="Open Sans Light"/>
              </a:rPr>
              <a:t>Lorem ipsum dolor sit amet, </a:t>
            </a:r>
            <a:r>
              <a:rPr lang="pt-BR" sz="1400" dirty="0" smtClean="0">
                <a:solidFill>
                  <a:srgbClr val="58595B"/>
                </a:solidFill>
                <a:latin typeface="Roboto Regular" pitchFamily="2" charset="0"/>
                <a:ea typeface="Roboto Regular" pitchFamily="2" charset="0"/>
                <a:cs typeface="Open Sans Light"/>
              </a:rPr>
              <a:t>consectetur </a:t>
            </a:r>
            <a:r>
              <a:rPr lang="pt-BR" sz="1400" dirty="0">
                <a:solidFill>
                  <a:srgbClr val="58595B"/>
                </a:solidFill>
                <a:latin typeface="Roboto Regular" pitchFamily="2" charset="0"/>
                <a:ea typeface="Roboto Regular" pitchFamily="2" charset="0"/>
                <a:cs typeface="Open Sans Light"/>
              </a:rPr>
              <a:t>adipiscing elit. Aliquam tincidunt ante nec sem congue convallis. Pellentesque vel mauris quis nisl ornare rutrum in id risus. Proin vehicula ut sem et tempus. Interdum et malesuada fames ac ante ipsum primis in faucibus. Pellentesque‹</a:t>
            </a:r>
            <a:endParaRPr lang="en-US" sz="1400" dirty="0">
              <a:solidFill>
                <a:srgbClr val="58595B"/>
              </a:solidFill>
              <a:latin typeface="Roboto Regular" pitchFamily="2" charset="0"/>
              <a:ea typeface="Roboto Regular" pitchFamily="2" charset="0"/>
              <a:cs typeface="Open Sans Light"/>
            </a:endParaRPr>
          </a:p>
        </p:txBody>
      </p:sp>
      <p:cxnSp>
        <p:nvCxnSpPr>
          <p:cNvPr id="61" name="Straight Connector 60"/>
          <p:cNvCxnSpPr/>
          <p:nvPr/>
        </p:nvCxnSpPr>
        <p:spPr>
          <a:xfrm>
            <a:off x="1343626" y="7563247"/>
            <a:ext cx="10551971" cy="0"/>
          </a:xfrm>
          <a:prstGeom prst="line">
            <a:avLst/>
          </a:prstGeom>
          <a:ln w="12700" cmpd="sng">
            <a:solidFill>
              <a:srgbClr val="E5E5E5"/>
            </a:solidFill>
          </a:ln>
          <a:effectLst/>
        </p:spPr>
        <p:style>
          <a:lnRef idx="2">
            <a:schemeClr val="accent1"/>
          </a:lnRef>
          <a:fillRef idx="0">
            <a:schemeClr val="accent1"/>
          </a:fillRef>
          <a:effectRef idx="1">
            <a:schemeClr val="accent1"/>
          </a:effectRef>
          <a:fontRef idx="minor">
            <a:schemeClr val="tx1"/>
          </a:fontRef>
        </p:style>
      </p:cxnSp>
      <p:grpSp>
        <p:nvGrpSpPr>
          <p:cNvPr id="85" name="Group 84"/>
          <p:cNvGrpSpPr/>
          <p:nvPr>
            <p:custDataLst>
              <p:tags r:id="rId1"/>
            </p:custDataLst>
          </p:nvPr>
        </p:nvGrpSpPr>
        <p:grpSpPr>
          <a:xfrm>
            <a:off x="6619611" y="1921309"/>
            <a:ext cx="5275986" cy="3380506"/>
            <a:chOff x="12870295" y="4325336"/>
            <a:chExt cx="9627480" cy="6168658"/>
          </a:xfrm>
        </p:grpSpPr>
        <p:grpSp>
          <p:nvGrpSpPr>
            <p:cNvPr id="3" name="Group 2"/>
            <p:cNvGrpSpPr/>
            <p:nvPr>
              <p:custDataLst>
                <p:tags r:id="rId2"/>
              </p:custDataLst>
            </p:nvPr>
          </p:nvGrpSpPr>
          <p:grpSpPr>
            <a:xfrm>
              <a:off x="12870295" y="4448393"/>
              <a:ext cx="9627480" cy="5987495"/>
              <a:chOff x="1208088" y="3363913"/>
              <a:chExt cx="5354637" cy="3330575"/>
            </a:xfrm>
            <a:solidFill>
              <a:schemeClr val="bg1">
                <a:lumMod val="85000"/>
              </a:schemeClr>
            </a:solidFill>
          </p:grpSpPr>
          <p:sp>
            <p:nvSpPr>
              <p:cNvPr id="4" name="Freeform 1"/>
              <p:cNvSpPr>
                <a:spLocks noChangeArrowheads="1"/>
              </p:cNvSpPr>
              <p:nvPr/>
            </p:nvSpPr>
            <p:spPr bwMode="auto">
              <a:xfrm>
                <a:off x="2503488" y="3363913"/>
                <a:ext cx="461962" cy="731837"/>
              </a:xfrm>
              <a:custGeom>
                <a:avLst/>
                <a:gdLst>
                  <a:gd name="T0" fmla="*/ 93 w 1282"/>
                  <a:gd name="T1" fmla="*/ 344 h 2032"/>
                  <a:gd name="T2" fmla="*/ 93 w 1282"/>
                  <a:gd name="T3" fmla="*/ 344 h 2032"/>
                  <a:gd name="T4" fmla="*/ 750 w 1282"/>
                  <a:gd name="T5" fmla="*/ 1000 h 2032"/>
                  <a:gd name="T6" fmla="*/ 93 w 1282"/>
                  <a:gd name="T7" fmla="*/ 1656 h 2032"/>
                  <a:gd name="T8" fmla="*/ 93 w 1282"/>
                  <a:gd name="T9" fmla="*/ 1937 h 2032"/>
                  <a:gd name="T10" fmla="*/ 375 w 1282"/>
                  <a:gd name="T11" fmla="*/ 1937 h 2032"/>
                  <a:gd name="T12" fmla="*/ 1281 w 1282"/>
                  <a:gd name="T13" fmla="*/ 1000 h 2032"/>
                  <a:gd name="T14" fmla="*/ 375 w 1282"/>
                  <a:gd name="T15" fmla="*/ 94 h 2032"/>
                  <a:gd name="T16" fmla="*/ 93 w 1282"/>
                  <a:gd name="T17" fmla="*/ 94 h 2032"/>
                  <a:gd name="T18" fmla="*/ 31 w 1282"/>
                  <a:gd name="T19" fmla="*/ 219 h 2032"/>
                  <a:gd name="T20" fmla="*/ 93 w 1282"/>
                  <a:gd name="T21" fmla="*/ 344 h 2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2" h="2032">
                    <a:moveTo>
                      <a:pt x="93" y="344"/>
                    </a:moveTo>
                    <a:lnTo>
                      <a:pt x="93" y="344"/>
                    </a:lnTo>
                    <a:cubicBezTo>
                      <a:pt x="750" y="1000"/>
                      <a:pt x="750" y="1000"/>
                      <a:pt x="750" y="1000"/>
                    </a:cubicBezTo>
                    <a:cubicBezTo>
                      <a:pt x="93" y="1656"/>
                      <a:pt x="93" y="1656"/>
                      <a:pt x="93" y="1656"/>
                    </a:cubicBezTo>
                    <a:cubicBezTo>
                      <a:pt x="0" y="1750"/>
                      <a:pt x="0" y="1875"/>
                      <a:pt x="93" y="1937"/>
                    </a:cubicBezTo>
                    <a:cubicBezTo>
                      <a:pt x="156" y="2031"/>
                      <a:pt x="281" y="2031"/>
                      <a:pt x="375" y="1937"/>
                    </a:cubicBezTo>
                    <a:cubicBezTo>
                      <a:pt x="1281" y="1000"/>
                      <a:pt x="1281" y="1000"/>
                      <a:pt x="1281" y="1000"/>
                    </a:cubicBezTo>
                    <a:cubicBezTo>
                      <a:pt x="375" y="94"/>
                      <a:pt x="375" y="94"/>
                      <a:pt x="375" y="94"/>
                    </a:cubicBezTo>
                    <a:cubicBezTo>
                      <a:pt x="281" y="0"/>
                      <a:pt x="156" y="0"/>
                      <a:pt x="93" y="94"/>
                    </a:cubicBezTo>
                    <a:cubicBezTo>
                      <a:pt x="62" y="125"/>
                      <a:pt x="31" y="156"/>
                      <a:pt x="31" y="219"/>
                    </a:cubicBezTo>
                    <a:cubicBezTo>
                      <a:pt x="31" y="281"/>
                      <a:pt x="62" y="313"/>
                      <a:pt x="93" y="34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5" name="Freeform 2"/>
              <p:cNvSpPr>
                <a:spLocks noChangeArrowheads="1"/>
              </p:cNvSpPr>
              <p:nvPr/>
            </p:nvSpPr>
            <p:spPr bwMode="auto">
              <a:xfrm>
                <a:off x="2514600" y="3657600"/>
                <a:ext cx="146050" cy="146050"/>
              </a:xfrm>
              <a:custGeom>
                <a:avLst/>
                <a:gdLst>
                  <a:gd name="T0" fmla="*/ 187 w 407"/>
                  <a:gd name="T1" fmla="*/ 406 h 407"/>
                  <a:gd name="T2" fmla="*/ 187 w 407"/>
                  <a:gd name="T3" fmla="*/ 406 h 407"/>
                  <a:gd name="T4" fmla="*/ 0 w 407"/>
                  <a:gd name="T5" fmla="*/ 187 h 407"/>
                  <a:gd name="T6" fmla="*/ 187 w 407"/>
                  <a:gd name="T7" fmla="*/ 0 h 407"/>
                  <a:gd name="T8" fmla="*/ 406 w 407"/>
                  <a:gd name="T9" fmla="*/ 187 h 407"/>
                  <a:gd name="T10" fmla="*/ 187 w 407"/>
                  <a:gd name="T11" fmla="*/ 406 h 407"/>
                </a:gdLst>
                <a:ahLst/>
                <a:cxnLst>
                  <a:cxn ang="0">
                    <a:pos x="T0" y="T1"/>
                  </a:cxn>
                  <a:cxn ang="0">
                    <a:pos x="T2" y="T3"/>
                  </a:cxn>
                  <a:cxn ang="0">
                    <a:pos x="T4" y="T5"/>
                  </a:cxn>
                  <a:cxn ang="0">
                    <a:pos x="T6" y="T7"/>
                  </a:cxn>
                  <a:cxn ang="0">
                    <a:pos x="T8" y="T9"/>
                  </a:cxn>
                  <a:cxn ang="0">
                    <a:pos x="T10" y="T11"/>
                  </a:cxn>
                </a:cxnLst>
                <a:rect l="0" t="0" r="r" b="b"/>
                <a:pathLst>
                  <a:path w="407" h="407">
                    <a:moveTo>
                      <a:pt x="187" y="406"/>
                    </a:moveTo>
                    <a:lnTo>
                      <a:pt x="187" y="406"/>
                    </a:lnTo>
                    <a:cubicBezTo>
                      <a:pt x="94" y="406"/>
                      <a:pt x="0" y="312"/>
                      <a:pt x="0" y="187"/>
                    </a:cubicBezTo>
                    <a:cubicBezTo>
                      <a:pt x="0" y="93"/>
                      <a:pt x="94" y="0"/>
                      <a:pt x="187" y="0"/>
                    </a:cubicBezTo>
                    <a:cubicBezTo>
                      <a:pt x="312" y="0"/>
                      <a:pt x="406" y="93"/>
                      <a:pt x="406" y="187"/>
                    </a:cubicBezTo>
                    <a:cubicBezTo>
                      <a:pt x="406" y="312"/>
                      <a:pt x="312" y="406"/>
                      <a:pt x="187" y="40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6" name="Freeform 3"/>
              <p:cNvSpPr>
                <a:spLocks noChangeArrowheads="1"/>
              </p:cNvSpPr>
              <p:nvPr/>
            </p:nvSpPr>
            <p:spPr bwMode="auto">
              <a:xfrm>
                <a:off x="2514600" y="6254750"/>
                <a:ext cx="146050" cy="147638"/>
              </a:xfrm>
              <a:custGeom>
                <a:avLst/>
                <a:gdLst>
                  <a:gd name="T0" fmla="*/ 187 w 407"/>
                  <a:gd name="T1" fmla="*/ 407 h 408"/>
                  <a:gd name="T2" fmla="*/ 187 w 407"/>
                  <a:gd name="T3" fmla="*/ 407 h 408"/>
                  <a:gd name="T4" fmla="*/ 0 w 407"/>
                  <a:gd name="T5" fmla="*/ 219 h 408"/>
                  <a:gd name="T6" fmla="*/ 187 w 407"/>
                  <a:gd name="T7" fmla="*/ 0 h 408"/>
                  <a:gd name="T8" fmla="*/ 406 w 407"/>
                  <a:gd name="T9" fmla="*/ 219 h 408"/>
                  <a:gd name="T10" fmla="*/ 187 w 407"/>
                  <a:gd name="T11" fmla="*/ 407 h 408"/>
                </a:gdLst>
                <a:ahLst/>
                <a:cxnLst>
                  <a:cxn ang="0">
                    <a:pos x="T0" y="T1"/>
                  </a:cxn>
                  <a:cxn ang="0">
                    <a:pos x="T2" y="T3"/>
                  </a:cxn>
                  <a:cxn ang="0">
                    <a:pos x="T4" y="T5"/>
                  </a:cxn>
                  <a:cxn ang="0">
                    <a:pos x="T6" y="T7"/>
                  </a:cxn>
                  <a:cxn ang="0">
                    <a:pos x="T8" y="T9"/>
                  </a:cxn>
                  <a:cxn ang="0">
                    <a:pos x="T10" y="T11"/>
                  </a:cxn>
                </a:cxnLst>
                <a:rect l="0" t="0" r="r" b="b"/>
                <a:pathLst>
                  <a:path w="407" h="408">
                    <a:moveTo>
                      <a:pt x="187" y="407"/>
                    </a:moveTo>
                    <a:lnTo>
                      <a:pt x="187" y="407"/>
                    </a:lnTo>
                    <a:cubicBezTo>
                      <a:pt x="94" y="407"/>
                      <a:pt x="0" y="313"/>
                      <a:pt x="0" y="219"/>
                    </a:cubicBezTo>
                    <a:cubicBezTo>
                      <a:pt x="0" y="94"/>
                      <a:pt x="94" y="0"/>
                      <a:pt x="187" y="0"/>
                    </a:cubicBezTo>
                    <a:cubicBezTo>
                      <a:pt x="312" y="0"/>
                      <a:pt x="406" y="94"/>
                      <a:pt x="406" y="219"/>
                    </a:cubicBezTo>
                    <a:cubicBezTo>
                      <a:pt x="406" y="313"/>
                      <a:pt x="312" y="407"/>
                      <a:pt x="187" y="4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7" name="Freeform 4"/>
              <p:cNvSpPr>
                <a:spLocks noChangeArrowheads="1"/>
              </p:cNvSpPr>
              <p:nvPr/>
            </p:nvSpPr>
            <p:spPr bwMode="auto">
              <a:xfrm>
                <a:off x="3808413" y="4962525"/>
                <a:ext cx="146050" cy="134938"/>
              </a:xfrm>
              <a:custGeom>
                <a:avLst/>
                <a:gdLst>
                  <a:gd name="T0" fmla="*/ 0 w 406"/>
                  <a:gd name="T1" fmla="*/ 187 h 375"/>
                  <a:gd name="T2" fmla="*/ 0 w 406"/>
                  <a:gd name="T3" fmla="*/ 187 h 375"/>
                  <a:gd name="T4" fmla="*/ 218 w 406"/>
                  <a:gd name="T5" fmla="*/ 0 h 375"/>
                  <a:gd name="T6" fmla="*/ 405 w 406"/>
                  <a:gd name="T7" fmla="*/ 187 h 375"/>
                  <a:gd name="T8" fmla="*/ 218 w 406"/>
                  <a:gd name="T9" fmla="*/ 374 h 375"/>
                  <a:gd name="T10" fmla="*/ 0 w 406"/>
                  <a:gd name="T11" fmla="*/ 187 h 375"/>
                </a:gdLst>
                <a:ahLst/>
                <a:cxnLst>
                  <a:cxn ang="0">
                    <a:pos x="T0" y="T1"/>
                  </a:cxn>
                  <a:cxn ang="0">
                    <a:pos x="T2" y="T3"/>
                  </a:cxn>
                  <a:cxn ang="0">
                    <a:pos x="T4" y="T5"/>
                  </a:cxn>
                  <a:cxn ang="0">
                    <a:pos x="T6" y="T7"/>
                  </a:cxn>
                  <a:cxn ang="0">
                    <a:pos x="T8" y="T9"/>
                  </a:cxn>
                  <a:cxn ang="0">
                    <a:pos x="T10" y="T11"/>
                  </a:cxn>
                </a:cxnLst>
                <a:rect l="0" t="0" r="r" b="b"/>
                <a:pathLst>
                  <a:path w="406" h="375">
                    <a:moveTo>
                      <a:pt x="0" y="187"/>
                    </a:moveTo>
                    <a:lnTo>
                      <a:pt x="0" y="187"/>
                    </a:lnTo>
                    <a:cubicBezTo>
                      <a:pt x="0" y="62"/>
                      <a:pt x="93" y="0"/>
                      <a:pt x="218" y="0"/>
                    </a:cubicBezTo>
                    <a:cubicBezTo>
                      <a:pt x="311" y="0"/>
                      <a:pt x="405" y="62"/>
                      <a:pt x="405" y="187"/>
                    </a:cubicBezTo>
                    <a:cubicBezTo>
                      <a:pt x="405" y="280"/>
                      <a:pt x="311" y="374"/>
                      <a:pt x="218" y="374"/>
                    </a:cubicBezTo>
                    <a:cubicBezTo>
                      <a:pt x="93" y="374"/>
                      <a:pt x="0" y="280"/>
                      <a:pt x="0" y="18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8" name="Freeform 5"/>
              <p:cNvSpPr>
                <a:spLocks noChangeArrowheads="1"/>
              </p:cNvSpPr>
              <p:nvPr/>
            </p:nvSpPr>
            <p:spPr bwMode="auto">
              <a:xfrm>
                <a:off x="1208088" y="4962525"/>
                <a:ext cx="146050" cy="134938"/>
              </a:xfrm>
              <a:custGeom>
                <a:avLst/>
                <a:gdLst>
                  <a:gd name="T0" fmla="*/ 0 w 407"/>
                  <a:gd name="T1" fmla="*/ 187 h 375"/>
                  <a:gd name="T2" fmla="*/ 0 w 407"/>
                  <a:gd name="T3" fmla="*/ 187 h 375"/>
                  <a:gd name="T4" fmla="*/ 219 w 407"/>
                  <a:gd name="T5" fmla="*/ 0 h 375"/>
                  <a:gd name="T6" fmla="*/ 406 w 407"/>
                  <a:gd name="T7" fmla="*/ 187 h 375"/>
                  <a:gd name="T8" fmla="*/ 219 w 407"/>
                  <a:gd name="T9" fmla="*/ 374 h 375"/>
                  <a:gd name="T10" fmla="*/ 0 w 407"/>
                  <a:gd name="T11" fmla="*/ 187 h 375"/>
                </a:gdLst>
                <a:ahLst/>
                <a:cxnLst>
                  <a:cxn ang="0">
                    <a:pos x="T0" y="T1"/>
                  </a:cxn>
                  <a:cxn ang="0">
                    <a:pos x="T2" y="T3"/>
                  </a:cxn>
                  <a:cxn ang="0">
                    <a:pos x="T4" y="T5"/>
                  </a:cxn>
                  <a:cxn ang="0">
                    <a:pos x="T6" y="T7"/>
                  </a:cxn>
                  <a:cxn ang="0">
                    <a:pos x="T8" y="T9"/>
                  </a:cxn>
                  <a:cxn ang="0">
                    <a:pos x="T10" y="T11"/>
                  </a:cxn>
                </a:cxnLst>
                <a:rect l="0" t="0" r="r" b="b"/>
                <a:pathLst>
                  <a:path w="407" h="375">
                    <a:moveTo>
                      <a:pt x="0" y="187"/>
                    </a:moveTo>
                    <a:lnTo>
                      <a:pt x="0" y="187"/>
                    </a:lnTo>
                    <a:cubicBezTo>
                      <a:pt x="0" y="62"/>
                      <a:pt x="94" y="0"/>
                      <a:pt x="219" y="0"/>
                    </a:cubicBezTo>
                    <a:cubicBezTo>
                      <a:pt x="312" y="0"/>
                      <a:pt x="406" y="62"/>
                      <a:pt x="406" y="187"/>
                    </a:cubicBezTo>
                    <a:cubicBezTo>
                      <a:pt x="406" y="280"/>
                      <a:pt x="312" y="374"/>
                      <a:pt x="219" y="374"/>
                    </a:cubicBezTo>
                    <a:cubicBezTo>
                      <a:pt x="94" y="374"/>
                      <a:pt x="0" y="280"/>
                      <a:pt x="0" y="18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9" name="Freeform 6"/>
              <p:cNvSpPr>
                <a:spLocks noChangeArrowheads="1"/>
              </p:cNvSpPr>
              <p:nvPr/>
            </p:nvSpPr>
            <p:spPr bwMode="auto">
              <a:xfrm>
                <a:off x="1579563" y="5872163"/>
                <a:ext cx="158750" cy="157162"/>
              </a:xfrm>
              <a:custGeom>
                <a:avLst/>
                <a:gdLst>
                  <a:gd name="T0" fmla="*/ 94 w 439"/>
                  <a:gd name="T1" fmla="*/ 344 h 438"/>
                  <a:gd name="T2" fmla="*/ 94 w 439"/>
                  <a:gd name="T3" fmla="*/ 344 h 438"/>
                  <a:gd name="T4" fmla="*/ 94 w 439"/>
                  <a:gd name="T5" fmla="*/ 62 h 438"/>
                  <a:gd name="T6" fmla="*/ 375 w 439"/>
                  <a:gd name="T7" fmla="*/ 62 h 438"/>
                  <a:gd name="T8" fmla="*/ 375 w 439"/>
                  <a:gd name="T9" fmla="*/ 344 h 438"/>
                  <a:gd name="T10" fmla="*/ 94 w 439"/>
                  <a:gd name="T11" fmla="*/ 344 h 438"/>
                </a:gdLst>
                <a:ahLst/>
                <a:cxnLst>
                  <a:cxn ang="0">
                    <a:pos x="T0" y="T1"/>
                  </a:cxn>
                  <a:cxn ang="0">
                    <a:pos x="T2" y="T3"/>
                  </a:cxn>
                  <a:cxn ang="0">
                    <a:pos x="T4" y="T5"/>
                  </a:cxn>
                  <a:cxn ang="0">
                    <a:pos x="T6" y="T7"/>
                  </a:cxn>
                  <a:cxn ang="0">
                    <a:pos x="T8" y="T9"/>
                  </a:cxn>
                  <a:cxn ang="0">
                    <a:pos x="T10" y="T11"/>
                  </a:cxn>
                </a:cxnLst>
                <a:rect l="0" t="0" r="r" b="b"/>
                <a:pathLst>
                  <a:path w="439" h="438">
                    <a:moveTo>
                      <a:pt x="94" y="344"/>
                    </a:moveTo>
                    <a:lnTo>
                      <a:pt x="94" y="344"/>
                    </a:lnTo>
                    <a:cubicBezTo>
                      <a:pt x="0" y="281"/>
                      <a:pt x="0" y="156"/>
                      <a:pt x="94" y="62"/>
                    </a:cubicBezTo>
                    <a:cubicBezTo>
                      <a:pt x="156" y="0"/>
                      <a:pt x="281" y="0"/>
                      <a:pt x="375" y="62"/>
                    </a:cubicBezTo>
                    <a:cubicBezTo>
                      <a:pt x="438" y="156"/>
                      <a:pt x="438" y="281"/>
                      <a:pt x="375" y="344"/>
                    </a:cubicBezTo>
                    <a:cubicBezTo>
                      <a:pt x="281" y="437"/>
                      <a:pt x="156" y="437"/>
                      <a:pt x="94" y="34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10" name="Freeform 7"/>
              <p:cNvSpPr>
                <a:spLocks noChangeArrowheads="1"/>
              </p:cNvSpPr>
              <p:nvPr/>
            </p:nvSpPr>
            <p:spPr bwMode="auto">
              <a:xfrm>
                <a:off x="3425825" y="5872163"/>
                <a:ext cx="158750" cy="157162"/>
              </a:xfrm>
              <a:custGeom>
                <a:avLst/>
                <a:gdLst>
                  <a:gd name="T0" fmla="*/ 63 w 439"/>
                  <a:gd name="T1" fmla="*/ 62 h 438"/>
                  <a:gd name="T2" fmla="*/ 63 w 439"/>
                  <a:gd name="T3" fmla="*/ 62 h 438"/>
                  <a:gd name="T4" fmla="*/ 344 w 439"/>
                  <a:gd name="T5" fmla="*/ 62 h 438"/>
                  <a:gd name="T6" fmla="*/ 344 w 439"/>
                  <a:gd name="T7" fmla="*/ 344 h 438"/>
                  <a:gd name="T8" fmla="*/ 63 w 439"/>
                  <a:gd name="T9" fmla="*/ 344 h 438"/>
                  <a:gd name="T10" fmla="*/ 63 w 439"/>
                  <a:gd name="T11" fmla="*/ 62 h 438"/>
                </a:gdLst>
                <a:ahLst/>
                <a:cxnLst>
                  <a:cxn ang="0">
                    <a:pos x="T0" y="T1"/>
                  </a:cxn>
                  <a:cxn ang="0">
                    <a:pos x="T2" y="T3"/>
                  </a:cxn>
                  <a:cxn ang="0">
                    <a:pos x="T4" y="T5"/>
                  </a:cxn>
                  <a:cxn ang="0">
                    <a:pos x="T6" y="T7"/>
                  </a:cxn>
                  <a:cxn ang="0">
                    <a:pos x="T8" y="T9"/>
                  </a:cxn>
                  <a:cxn ang="0">
                    <a:pos x="T10" y="T11"/>
                  </a:cxn>
                </a:cxnLst>
                <a:rect l="0" t="0" r="r" b="b"/>
                <a:pathLst>
                  <a:path w="439" h="438">
                    <a:moveTo>
                      <a:pt x="63" y="62"/>
                    </a:moveTo>
                    <a:lnTo>
                      <a:pt x="63" y="62"/>
                    </a:lnTo>
                    <a:cubicBezTo>
                      <a:pt x="156" y="0"/>
                      <a:pt x="281" y="0"/>
                      <a:pt x="344" y="62"/>
                    </a:cubicBezTo>
                    <a:cubicBezTo>
                      <a:pt x="438" y="156"/>
                      <a:pt x="438" y="281"/>
                      <a:pt x="344" y="344"/>
                    </a:cubicBezTo>
                    <a:cubicBezTo>
                      <a:pt x="281" y="437"/>
                      <a:pt x="156" y="437"/>
                      <a:pt x="63" y="344"/>
                    </a:cubicBezTo>
                    <a:cubicBezTo>
                      <a:pt x="0" y="281"/>
                      <a:pt x="0" y="156"/>
                      <a:pt x="63"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11" name="Freeform 8"/>
              <p:cNvSpPr>
                <a:spLocks noChangeArrowheads="1"/>
              </p:cNvSpPr>
              <p:nvPr/>
            </p:nvSpPr>
            <p:spPr bwMode="auto">
              <a:xfrm>
                <a:off x="1579563" y="4027488"/>
                <a:ext cx="158750" cy="157162"/>
              </a:xfrm>
              <a:custGeom>
                <a:avLst/>
                <a:gdLst>
                  <a:gd name="T0" fmla="*/ 94 w 439"/>
                  <a:gd name="T1" fmla="*/ 93 h 438"/>
                  <a:gd name="T2" fmla="*/ 94 w 439"/>
                  <a:gd name="T3" fmla="*/ 93 h 438"/>
                  <a:gd name="T4" fmla="*/ 375 w 439"/>
                  <a:gd name="T5" fmla="*/ 93 h 438"/>
                  <a:gd name="T6" fmla="*/ 375 w 439"/>
                  <a:gd name="T7" fmla="*/ 375 h 438"/>
                  <a:gd name="T8" fmla="*/ 94 w 439"/>
                  <a:gd name="T9" fmla="*/ 375 h 438"/>
                  <a:gd name="T10" fmla="*/ 94 w 439"/>
                  <a:gd name="T11" fmla="*/ 93 h 438"/>
                </a:gdLst>
                <a:ahLst/>
                <a:cxnLst>
                  <a:cxn ang="0">
                    <a:pos x="T0" y="T1"/>
                  </a:cxn>
                  <a:cxn ang="0">
                    <a:pos x="T2" y="T3"/>
                  </a:cxn>
                  <a:cxn ang="0">
                    <a:pos x="T4" y="T5"/>
                  </a:cxn>
                  <a:cxn ang="0">
                    <a:pos x="T6" y="T7"/>
                  </a:cxn>
                  <a:cxn ang="0">
                    <a:pos x="T8" y="T9"/>
                  </a:cxn>
                  <a:cxn ang="0">
                    <a:pos x="T10" y="T11"/>
                  </a:cxn>
                </a:cxnLst>
                <a:rect l="0" t="0" r="r" b="b"/>
                <a:pathLst>
                  <a:path w="439" h="438">
                    <a:moveTo>
                      <a:pt x="94" y="93"/>
                    </a:moveTo>
                    <a:lnTo>
                      <a:pt x="94" y="93"/>
                    </a:lnTo>
                    <a:cubicBezTo>
                      <a:pt x="156" y="0"/>
                      <a:pt x="281" y="0"/>
                      <a:pt x="375" y="93"/>
                    </a:cubicBezTo>
                    <a:cubicBezTo>
                      <a:pt x="438" y="156"/>
                      <a:pt x="438" y="281"/>
                      <a:pt x="375" y="375"/>
                    </a:cubicBezTo>
                    <a:cubicBezTo>
                      <a:pt x="281" y="437"/>
                      <a:pt x="156" y="437"/>
                      <a:pt x="94" y="375"/>
                    </a:cubicBezTo>
                    <a:cubicBezTo>
                      <a:pt x="0" y="281"/>
                      <a:pt x="0" y="156"/>
                      <a:pt x="94" y="9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12" name="Freeform 9"/>
              <p:cNvSpPr>
                <a:spLocks noChangeArrowheads="1"/>
              </p:cNvSpPr>
              <p:nvPr/>
            </p:nvSpPr>
            <p:spPr bwMode="auto">
              <a:xfrm>
                <a:off x="2008188" y="6153150"/>
                <a:ext cx="157162" cy="158750"/>
              </a:xfrm>
              <a:custGeom>
                <a:avLst/>
                <a:gdLst>
                  <a:gd name="T0" fmla="*/ 156 w 438"/>
                  <a:gd name="T1" fmla="*/ 406 h 439"/>
                  <a:gd name="T2" fmla="*/ 156 w 438"/>
                  <a:gd name="T3" fmla="*/ 406 h 439"/>
                  <a:gd name="T4" fmla="*/ 31 w 438"/>
                  <a:gd name="T5" fmla="*/ 125 h 439"/>
                  <a:gd name="T6" fmla="*/ 281 w 438"/>
                  <a:gd name="T7" fmla="*/ 31 h 439"/>
                  <a:gd name="T8" fmla="*/ 406 w 438"/>
                  <a:gd name="T9" fmla="*/ 281 h 439"/>
                  <a:gd name="T10" fmla="*/ 156 w 438"/>
                  <a:gd name="T11" fmla="*/ 406 h 439"/>
                </a:gdLst>
                <a:ahLst/>
                <a:cxnLst>
                  <a:cxn ang="0">
                    <a:pos x="T0" y="T1"/>
                  </a:cxn>
                  <a:cxn ang="0">
                    <a:pos x="T2" y="T3"/>
                  </a:cxn>
                  <a:cxn ang="0">
                    <a:pos x="T4" y="T5"/>
                  </a:cxn>
                  <a:cxn ang="0">
                    <a:pos x="T6" y="T7"/>
                  </a:cxn>
                  <a:cxn ang="0">
                    <a:pos x="T8" y="T9"/>
                  </a:cxn>
                  <a:cxn ang="0">
                    <a:pos x="T10" y="T11"/>
                  </a:cxn>
                </a:cxnLst>
                <a:rect l="0" t="0" r="r" b="b"/>
                <a:pathLst>
                  <a:path w="438" h="439">
                    <a:moveTo>
                      <a:pt x="156" y="406"/>
                    </a:moveTo>
                    <a:lnTo>
                      <a:pt x="156" y="406"/>
                    </a:lnTo>
                    <a:cubicBezTo>
                      <a:pt x="31" y="344"/>
                      <a:pt x="0" y="250"/>
                      <a:pt x="31" y="125"/>
                    </a:cubicBezTo>
                    <a:cubicBezTo>
                      <a:pt x="62" y="31"/>
                      <a:pt x="187" y="0"/>
                      <a:pt x="281" y="31"/>
                    </a:cubicBezTo>
                    <a:cubicBezTo>
                      <a:pt x="406" y="63"/>
                      <a:pt x="437" y="188"/>
                      <a:pt x="406" y="281"/>
                    </a:cubicBezTo>
                    <a:cubicBezTo>
                      <a:pt x="343" y="406"/>
                      <a:pt x="250" y="438"/>
                      <a:pt x="156" y="40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13" name="Freeform 10"/>
              <p:cNvSpPr>
                <a:spLocks noChangeArrowheads="1"/>
              </p:cNvSpPr>
              <p:nvPr/>
            </p:nvSpPr>
            <p:spPr bwMode="auto">
              <a:xfrm>
                <a:off x="3706813" y="5445125"/>
                <a:ext cx="158750" cy="158750"/>
              </a:xfrm>
              <a:custGeom>
                <a:avLst/>
                <a:gdLst>
                  <a:gd name="T0" fmla="*/ 32 w 439"/>
                  <a:gd name="T1" fmla="*/ 157 h 439"/>
                  <a:gd name="T2" fmla="*/ 32 w 439"/>
                  <a:gd name="T3" fmla="*/ 157 h 439"/>
                  <a:gd name="T4" fmla="*/ 282 w 439"/>
                  <a:gd name="T5" fmla="*/ 32 h 439"/>
                  <a:gd name="T6" fmla="*/ 407 w 439"/>
                  <a:gd name="T7" fmla="*/ 313 h 439"/>
                  <a:gd name="T8" fmla="*/ 157 w 439"/>
                  <a:gd name="T9" fmla="*/ 407 h 439"/>
                  <a:gd name="T10" fmla="*/ 32 w 439"/>
                  <a:gd name="T11" fmla="*/ 157 h 439"/>
                </a:gdLst>
                <a:ahLst/>
                <a:cxnLst>
                  <a:cxn ang="0">
                    <a:pos x="T0" y="T1"/>
                  </a:cxn>
                  <a:cxn ang="0">
                    <a:pos x="T2" y="T3"/>
                  </a:cxn>
                  <a:cxn ang="0">
                    <a:pos x="T4" y="T5"/>
                  </a:cxn>
                  <a:cxn ang="0">
                    <a:pos x="T6" y="T7"/>
                  </a:cxn>
                  <a:cxn ang="0">
                    <a:pos x="T8" y="T9"/>
                  </a:cxn>
                  <a:cxn ang="0">
                    <a:pos x="T10" y="T11"/>
                  </a:cxn>
                </a:cxnLst>
                <a:rect l="0" t="0" r="r" b="b"/>
                <a:pathLst>
                  <a:path w="439" h="439">
                    <a:moveTo>
                      <a:pt x="32" y="157"/>
                    </a:moveTo>
                    <a:lnTo>
                      <a:pt x="32" y="157"/>
                    </a:lnTo>
                    <a:cubicBezTo>
                      <a:pt x="94" y="63"/>
                      <a:pt x="188" y="0"/>
                      <a:pt x="282" y="32"/>
                    </a:cubicBezTo>
                    <a:cubicBezTo>
                      <a:pt x="407" y="94"/>
                      <a:pt x="438" y="188"/>
                      <a:pt x="407" y="313"/>
                    </a:cubicBezTo>
                    <a:cubicBezTo>
                      <a:pt x="375" y="407"/>
                      <a:pt x="250" y="438"/>
                      <a:pt x="157" y="407"/>
                    </a:cubicBezTo>
                    <a:cubicBezTo>
                      <a:pt x="32" y="375"/>
                      <a:pt x="0" y="250"/>
                      <a:pt x="32" y="15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14" name="Freeform 11"/>
              <p:cNvSpPr>
                <a:spLocks noChangeArrowheads="1"/>
              </p:cNvSpPr>
              <p:nvPr/>
            </p:nvSpPr>
            <p:spPr bwMode="auto">
              <a:xfrm>
                <a:off x="1298575" y="4443413"/>
                <a:ext cx="169863" cy="169862"/>
              </a:xfrm>
              <a:custGeom>
                <a:avLst/>
                <a:gdLst>
                  <a:gd name="T0" fmla="*/ 31 w 470"/>
                  <a:gd name="T1" fmla="*/ 156 h 470"/>
                  <a:gd name="T2" fmla="*/ 31 w 470"/>
                  <a:gd name="T3" fmla="*/ 156 h 470"/>
                  <a:gd name="T4" fmla="*/ 312 w 470"/>
                  <a:gd name="T5" fmla="*/ 63 h 470"/>
                  <a:gd name="T6" fmla="*/ 406 w 470"/>
                  <a:gd name="T7" fmla="*/ 313 h 470"/>
                  <a:gd name="T8" fmla="*/ 156 w 470"/>
                  <a:gd name="T9" fmla="*/ 438 h 470"/>
                  <a:gd name="T10" fmla="*/ 31 w 470"/>
                  <a:gd name="T11" fmla="*/ 156 h 470"/>
                </a:gdLst>
                <a:ahLst/>
                <a:cxnLst>
                  <a:cxn ang="0">
                    <a:pos x="T0" y="T1"/>
                  </a:cxn>
                  <a:cxn ang="0">
                    <a:pos x="T2" y="T3"/>
                  </a:cxn>
                  <a:cxn ang="0">
                    <a:pos x="T4" y="T5"/>
                  </a:cxn>
                  <a:cxn ang="0">
                    <a:pos x="T6" y="T7"/>
                  </a:cxn>
                  <a:cxn ang="0">
                    <a:pos x="T8" y="T9"/>
                  </a:cxn>
                  <a:cxn ang="0">
                    <a:pos x="T10" y="T11"/>
                  </a:cxn>
                </a:cxnLst>
                <a:rect l="0" t="0" r="r" b="b"/>
                <a:pathLst>
                  <a:path w="470" h="470">
                    <a:moveTo>
                      <a:pt x="31" y="156"/>
                    </a:moveTo>
                    <a:lnTo>
                      <a:pt x="31" y="156"/>
                    </a:lnTo>
                    <a:cubicBezTo>
                      <a:pt x="94" y="63"/>
                      <a:pt x="219" y="0"/>
                      <a:pt x="312" y="63"/>
                    </a:cubicBezTo>
                    <a:cubicBezTo>
                      <a:pt x="406" y="94"/>
                      <a:pt x="469" y="219"/>
                      <a:pt x="406" y="313"/>
                    </a:cubicBezTo>
                    <a:cubicBezTo>
                      <a:pt x="375" y="406"/>
                      <a:pt x="250" y="469"/>
                      <a:pt x="156" y="438"/>
                    </a:cubicBezTo>
                    <a:cubicBezTo>
                      <a:pt x="62" y="375"/>
                      <a:pt x="0" y="281"/>
                      <a:pt x="31" y="15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15" name="Freeform 12"/>
              <p:cNvSpPr>
                <a:spLocks noChangeArrowheads="1"/>
              </p:cNvSpPr>
              <p:nvPr/>
            </p:nvSpPr>
            <p:spPr bwMode="auto">
              <a:xfrm>
                <a:off x="1298575" y="5445125"/>
                <a:ext cx="169863" cy="158750"/>
              </a:xfrm>
              <a:custGeom>
                <a:avLst/>
                <a:gdLst>
                  <a:gd name="T0" fmla="*/ 31 w 470"/>
                  <a:gd name="T1" fmla="*/ 313 h 439"/>
                  <a:gd name="T2" fmla="*/ 31 w 470"/>
                  <a:gd name="T3" fmla="*/ 313 h 439"/>
                  <a:gd name="T4" fmla="*/ 156 w 470"/>
                  <a:gd name="T5" fmla="*/ 32 h 439"/>
                  <a:gd name="T6" fmla="*/ 406 w 470"/>
                  <a:gd name="T7" fmla="*/ 157 h 439"/>
                  <a:gd name="T8" fmla="*/ 312 w 470"/>
                  <a:gd name="T9" fmla="*/ 407 h 439"/>
                  <a:gd name="T10" fmla="*/ 31 w 470"/>
                  <a:gd name="T11" fmla="*/ 313 h 439"/>
                </a:gdLst>
                <a:ahLst/>
                <a:cxnLst>
                  <a:cxn ang="0">
                    <a:pos x="T0" y="T1"/>
                  </a:cxn>
                  <a:cxn ang="0">
                    <a:pos x="T2" y="T3"/>
                  </a:cxn>
                  <a:cxn ang="0">
                    <a:pos x="T4" y="T5"/>
                  </a:cxn>
                  <a:cxn ang="0">
                    <a:pos x="T6" y="T7"/>
                  </a:cxn>
                  <a:cxn ang="0">
                    <a:pos x="T8" y="T9"/>
                  </a:cxn>
                  <a:cxn ang="0">
                    <a:pos x="T10" y="T11"/>
                  </a:cxn>
                </a:cxnLst>
                <a:rect l="0" t="0" r="r" b="b"/>
                <a:pathLst>
                  <a:path w="470" h="439">
                    <a:moveTo>
                      <a:pt x="31" y="313"/>
                    </a:moveTo>
                    <a:lnTo>
                      <a:pt x="31" y="313"/>
                    </a:lnTo>
                    <a:cubicBezTo>
                      <a:pt x="0" y="188"/>
                      <a:pt x="62" y="94"/>
                      <a:pt x="156" y="32"/>
                    </a:cubicBezTo>
                    <a:cubicBezTo>
                      <a:pt x="250" y="0"/>
                      <a:pt x="375" y="63"/>
                      <a:pt x="406" y="157"/>
                    </a:cubicBezTo>
                    <a:cubicBezTo>
                      <a:pt x="469" y="250"/>
                      <a:pt x="406" y="375"/>
                      <a:pt x="312" y="407"/>
                    </a:cubicBezTo>
                    <a:cubicBezTo>
                      <a:pt x="219" y="438"/>
                      <a:pt x="94" y="407"/>
                      <a:pt x="31" y="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16" name="Freeform 13"/>
              <p:cNvSpPr>
                <a:spLocks noChangeArrowheads="1"/>
              </p:cNvSpPr>
              <p:nvPr/>
            </p:nvSpPr>
            <p:spPr bwMode="auto">
              <a:xfrm>
                <a:off x="2997200" y="6153150"/>
                <a:ext cx="168275" cy="158750"/>
              </a:xfrm>
              <a:custGeom>
                <a:avLst/>
                <a:gdLst>
                  <a:gd name="T0" fmla="*/ 156 w 469"/>
                  <a:gd name="T1" fmla="*/ 31 h 439"/>
                  <a:gd name="T2" fmla="*/ 156 w 469"/>
                  <a:gd name="T3" fmla="*/ 31 h 439"/>
                  <a:gd name="T4" fmla="*/ 406 w 469"/>
                  <a:gd name="T5" fmla="*/ 125 h 439"/>
                  <a:gd name="T6" fmla="*/ 312 w 469"/>
                  <a:gd name="T7" fmla="*/ 406 h 439"/>
                  <a:gd name="T8" fmla="*/ 62 w 469"/>
                  <a:gd name="T9" fmla="*/ 281 h 439"/>
                  <a:gd name="T10" fmla="*/ 156 w 469"/>
                  <a:gd name="T11" fmla="*/ 31 h 439"/>
                </a:gdLst>
                <a:ahLst/>
                <a:cxnLst>
                  <a:cxn ang="0">
                    <a:pos x="T0" y="T1"/>
                  </a:cxn>
                  <a:cxn ang="0">
                    <a:pos x="T2" y="T3"/>
                  </a:cxn>
                  <a:cxn ang="0">
                    <a:pos x="T4" y="T5"/>
                  </a:cxn>
                  <a:cxn ang="0">
                    <a:pos x="T6" y="T7"/>
                  </a:cxn>
                  <a:cxn ang="0">
                    <a:pos x="T8" y="T9"/>
                  </a:cxn>
                  <a:cxn ang="0">
                    <a:pos x="T10" y="T11"/>
                  </a:cxn>
                </a:cxnLst>
                <a:rect l="0" t="0" r="r" b="b"/>
                <a:pathLst>
                  <a:path w="469" h="439">
                    <a:moveTo>
                      <a:pt x="156" y="31"/>
                    </a:moveTo>
                    <a:lnTo>
                      <a:pt x="156" y="31"/>
                    </a:lnTo>
                    <a:cubicBezTo>
                      <a:pt x="250" y="0"/>
                      <a:pt x="375" y="31"/>
                      <a:pt x="406" y="125"/>
                    </a:cubicBezTo>
                    <a:cubicBezTo>
                      <a:pt x="468" y="250"/>
                      <a:pt x="406" y="344"/>
                      <a:pt x="312" y="406"/>
                    </a:cubicBezTo>
                    <a:cubicBezTo>
                      <a:pt x="218" y="438"/>
                      <a:pt x="93" y="406"/>
                      <a:pt x="62" y="281"/>
                    </a:cubicBezTo>
                    <a:cubicBezTo>
                      <a:pt x="0" y="188"/>
                      <a:pt x="62" y="63"/>
                      <a:pt x="156"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17" name="Freeform 14"/>
              <p:cNvSpPr>
                <a:spLocks noChangeArrowheads="1"/>
              </p:cNvSpPr>
              <p:nvPr/>
            </p:nvSpPr>
            <p:spPr bwMode="auto">
              <a:xfrm>
                <a:off x="2008188" y="3746500"/>
                <a:ext cx="157162" cy="157163"/>
              </a:xfrm>
              <a:custGeom>
                <a:avLst/>
                <a:gdLst>
                  <a:gd name="T0" fmla="*/ 156 w 438"/>
                  <a:gd name="T1" fmla="*/ 31 h 438"/>
                  <a:gd name="T2" fmla="*/ 156 w 438"/>
                  <a:gd name="T3" fmla="*/ 31 h 438"/>
                  <a:gd name="T4" fmla="*/ 406 w 438"/>
                  <a:gd name="T5" fmla="*/ 156 h 438"/>
                  <a:gd name="T6" fmla="*/ 281 w 438"/>
                  <a:gd name="T7" fmla="*/ 406 h 438"/>
                  <a:gd name="T8" fmla="*/ 31 w 438"/>
                  <a:gd name="T9" fmla="*/ 312 h 438"/>
                  <a:gd name="T10" fmla="*/ 156 w 438"/>
                  <a:gd name="T11" fmla="*/ 31 h 438"/>
                </a:gdLst>
                <a:ahLst/>
                <a:cxnLst>
                  <a:cxn ang="0">
                    <a:pos x="T0" y="T1"/>
                  </a:cxn>
                  <a:cxn ang="0">
                    <a:pos x="T2" y="T3"/>
                  </a:cxn>
                  <a:cxn ang="0">
                    <a:pos x="T4" y="T5"/>
                  </a:cxn>
                  <a:cxn ang="0">
                    <a:pos x="T6" y="T7"/>
                  </a:cxn>
                  <a:cxn ang="0">
                    <a:pos x="T8" y="T9"/>
                  </a:cxn>
                  <a:cxn ang="0">
                    <a:pos x="T10" y="T11"/>
                  </a:cxn>
                </a:cxnLst>
                <a:rect l="0" t="0" r="r" b="b"/>
                <a:pathLst>
                  <a:path w="438" h="438">
                    <a:moveTo>
                      <a:pt x="156" y="31"/>
                    </a:moveTo>
                    <a:lnTo>
                      <a:pt x="156" y="31"/>
                    </a:lnTo>
                    <a:cubicBezTo>
                      <a:pt x="250" y="0"/>
                      <a:pt x="343" y="31"/>
                      <a:pt x="406" y="156"/>
                    </a:cubicBezTo>
                    <a:cubicBezTo>
                      <a:pt x="437" y="250"/>
                      <a:pt x="406" y="375"/>
                      <a:pt x="281" y="406"/>
                    </a:cubicBezTo>
                    <a:cubicBezTo>
                      <a:pt x="187" y="437"/>
                      <a:pt x="62" y="406"/>
                      <a:pt x="31" y="312"/>
                    </a:cubicBezTo>
                    <a:cubicBezTo>
                      <a:pt x="0" y="187"/>
                      <a:pt x="31" y="93"/>
                      <a:pt x="156"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18" name="Freeform 15"/>
              <p:cNvSpPr>
                <a:spLocks noChangeArrowheads="1"/>
              </p:cNvSpPr>
              <p:nvPr/>
            </p:nvSpPr>
            <p:spPr bwMode="auto">
              <a:xfrm>
                <a:off x="2254250" y="3679825"/>
                <a:ext cx="158750" cy="146050"/>
              </a:xfrm>
              <a:custGeom>
                <a:avLst/>
                <a:gdLst>
                  <a:gd name="T0" fmla="*/ 250 w 439"/>
                  <a:gd name="T1" fmla="*/ 406 h 407"/>
                  <a:gd name="T2" fmla="*/ 250 w 439"/>
                  <a:gd name="T3" fmla="*/ 406 h 407"/>
                  <a:gd name="T4" fmla="*/ 0 w 439"/>
                  <a:gd name="T5" fmla="*/ 250 h 407"/>
                  <a:gd name="T6" fmla="*/ 156 w 439"/>
                  <a:gd name="T7" fmla="*/ 0 h 407"/>
                  <a:gd name="T8" fmla="*/ 406 w 439"/>
                  <a:gd name="T9" fmla="*/ 156 h 407"/>
                  <a:gd name="T10" fmla="*/ 250 w 439"/>
                  <a:gd name="T11" fmla="*/ 406 h 407"/>
                </a:gdLst>
                <a:ahLst/>
                <a:cxnLst>
                  <a:cxn ang="0">
                    <a:pos x="T0" y="T1"/>
                  </a:cxn>
                  <a:cxn ang="0">
                    <a:pos x="T2" y="T3"/>
                  </a:cxn>
                  <a:cxn ang="0">
                    <a:pos x="T4" y="T5"/>
                  </a:cxn>
                  <a:cxn ang="0">
                    <a:pos x="T6" y="T7"/>
                  </a:cxn>
                  <a:cxn ang="0">
                    <a:pos x="T8" y="T9"/>
                  </a:cxn>
                  <a:cxn ang="0">
                    <a:pos x="T10" y="T11"/>
                  </a:cxn>
                </a:cxnLst>
                <a:rect l="0" t="0" r="r" b="b"/>
                <a:pathLst>
                  <a:path w="439" h="407">
                    <a:moveTo>
                      <a:pt x="250" y="406"/>
                    </a:moveTo>
                    <a:lnTo>
                      <a:pt x="250" y="406"/>
                    </a:lnTo>
                    <a:cubicBezTo>
                      <a:pt x="125" y="406"/>
                      <a:pt x="31" y="344"/>
                      <a:pt x="0" y="250"/>
                    </a:cubicBezTo>
                    <a:cubicBezTo>
                      <a:pt x="0" y="125"/>
                      <a:pt x="63" y="31"/>
                      <a:pt x="156" y="0"/>
                    </a:cubicBezTo>
                    <a:cubicBezTo>
                      <a:pt x="281" y="0"/>
                      <a:pt x="375" y="63"/>
                      <a:pt x="406" y="156"/>
                    </a:cubicBezTo>
                    <a:cubicBezTo>
                      <a:pt x="438" y="281"/>
                      <a:pt x="344" y="375"/>
                      <a:pt x="250" y="40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19" name="Freeform 16"/>
              <p:cNvSpPr>
                <a:spLocks noChangeArrowheads="1"/>
              </p:cNvSpPr>
              <p:nvPr/>
            </p:nvSpPr>
            <p:spPr bwMode="auto">
              <a:xfrm>
                <a:off x="2760663" y="6221413"/>
                <a:ext cx="158750" cy="157162"/>
              </a:xfrm>
              <a:custGeom>
                <a:avLst/>
                <a:gdLst>
                  <a:gd name="T0" fmla="*/ 250 w 439"/>
                  <a:gd name="T1" fmla="*/ 437 h 438"/>
                  <a:gd name="T2" fmla="*/ 250 w 439"/>
                  <a:gd name="T3" fmla="*/ 437 h 438"/>
                  <a:gd name="T4" fmla="*/ 32 w 439"/>
                  <a:gd name="T5" fmla="*/ 281 h 438"/>
                  <a:gd name="T6" fmla="*/ 188 w 439"/>
                  <a:gd name="T7" fmla="*/ 31 h 438"/>
                  <a:gd name="T8" fmla="*/ 407 w 439"/>
                  <a:gd name="T9" fmla="*/ 187 h 438"/>
                  <a:gd name="T10" fmla="*/ 250 w 439"/>
                  <a:gd name="T11" fmla="*/ 437 h 438"/>
                </a:gdLst>
                <a:ahLst/>
                <a:cxnLst>
                  <a:cxn ang="0">
                    <a:pos x="T0" y="T1"/>
                  </a:cxn>
                  <a:cxn ang="0">
                    <a:pos x="T2" y="T3"/>
                  </a:cxn>
                  <a:cxn ang="0">
                    <a:pos x="T4" y="T5"/>
                  </a:cxn>
                  <a:cxn ang="0">
                    <a:pos x="T6" y="T7"/>
                  </a:cxn>
                  <a:cxn ang="0">
                    <a:pos x="T8" y="T9"/>
                  </a:cxn>
                  <a:cxn ang="0">
                    <a:pos x="T10" y="T11"/>
                  </a:cxn>
                </a:cxnLst>
                <a:rect l="0" t="0" r="r" b="b"/>
                <a:pathLst>
                  <a:path w="439" h="438">
                    <a:moveTo>
                      <a:pt x="250" y="437"/>
                    </a:moveTo>
                    <a:lnTo>
                      <a:pt x="250" y="437"/>
                    </a:lnTo>
                    <a:cubicBezTo>
                      <a:pt x="157" y="437"/>
                      <a:pt x="32" y="375"/>
                      <a:pt x="32" y="281"/>
                    </a:cubicBezTo>
                    <a:cubicBezTo>
                      <a:pt x="0" y="156"/>
                      <a:pt x="63" y="62"/>
                      <a:pt x="188" y="31"/>
                    </a:cubicBezTo>
                    <a:cubicBezTo>
                      <a:pt x="282" y="0"/>
                      <a:pt x="375" y="93"/>
                      <a:pt x="407" y="187"/>
                    </a:cubicBezTo>
                    <a:cubicBezTo>
                      <a:pt x="438" y="312"/>
                      <a:pt x="344" y="406"/>
                      <a:pt x="250" y="43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20" name="Freeform 17"/>
              <p:cNvSpPr>
                <a:spLocks noChangeArrowheads="1"/>
              </p:cNvSpPr>
              <p:nvPr/>
            </p:nvSpPr>
            <p:spPr bwMode="auto">
              <a:xfrm>
                <a:off x="1231900" y="5208588"/>
                <a:ext cx="158750" cy="146050"/>
              </a:xfrm>
              <a:custGeom>
                <a:avLst/>
                <a:gdLst>
                  <a:gd name="T0" fmla="*/ 32 w 439"/>
                  <a:gd name="T1" fmla="*/ 250 h 407"/>
                  <a:gd name="T2" fmla="*/ 32 w 439"/>
                  <a:gd name="T3" fmla="*/ 250 h 407"/>
                  <a:gd name="T4" fmla="*/ 188 w 439"/>
                  <a:gd name="T5" fmla="*/ 0 h 407"/>
                  <a:gd name="T6" fmla="*/ 407 w 439"/>
                  <a:gd name="T7" fmla="*/ 156 h 407"/>
                  <a:gd name="T8" fmla="*/ 250 w 439"/>
                  <a:gd name="T9" fmla="*/ 406 h 407"/>
                  <a:gd name="T10" fmla="*/ 32 w 439"/>
                  <a:gd name="T11" fmla="*/ 250 h 407"/>
                </a:gdLst>
                <a:ahLst/>
                <a:cxnLst>
                  <a:cxn ang="0">
                    <a:pos x="T0" y="T1"/>
                  </a:cxn>
                  <a:cxn ang="0">
                    <a:pos x="T2" y="T3"/>
                  </a:cxn>
                  <a:cxn ang="0">
                    <a:pos x="T4" y="T5"/>
                  </a:cxn>
                  <a:cxn ang="0">
                    <a:pos x="T6" y="T7"/>
                  </a:cxn>
                  <a:cxn ang="0">
                    <a:pos x="T8" y="T9"/>
                  </a:cxn>
                  <a:cxn ang="0">
                    <a:pos x="T10" y="T11"/>
                  </a:cxn>
                </a:cxnLst>
                <a:rect l="0" t="0" r="r" b="b"/>
                <a:pathLst>
                  <a:path w="439" h="407">
                    <a:moveTo>
                      <a:pt x="32" y="250"/>
                    </a:moveTo>
                    <a:lnTo>
                      <a:pt x="32" y="250"/>
                    </a:lnTo>
                    <a:cubicBezTo>
                      <a:pt x="0" y="125"/>
                      <a:pt x="63" y="31"/>
                      <a:pt x="188" y="0"/>
                    </a:cubicBezTo>
                    <a:cubicBezTo>
                      <a:pt x="282" y="0"/>
                      <a:pt x="375" y="63"/>
                      <a:pt x="407" y="156"/>
                    </a:cubicBezTo>
                    <a:cubicBezTo>
                      <a:pt x="438" y="281"/>
                      <a:pt x="344" y="375"/>
                      <a:pt x="250" y="406"/>
                    </a:cubicBezTo>
                    <a:cubicBezTo>
                      <a:pt x="157" y="406"/>
                      <a:pt x="32" y="344"/>
                      <a:pt x="32" y="25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21" name="Freeform 18"/>
              <p:cNvSpPr>
                <a:spLocks noChangeArrowheads="1"/>
              </p:cNvSpPr>
              <p:nvPr/>
            </p:nvSpPr>
            <p:spPr bwMode="auto">
              <a:xfrm>
                <a:off x="1782763" y="6029325"/>
                <a:ext cx="157162" cy="158750"/>
              </a:xfrm>
              <a:custGeom>
                <a:avLst/>
                <a:gdLst>
                  <a:gd name="T0" fmla="*/ 93 w 438"/>
                  <a:gd name="T1" fmla="*/ 375 h 439"/>
                  <a:gd name="T2" fmla="*/ 93 w 438"/>
                  <a:gd name="T3" fmla="*/ 375 h 439"/>
                  <a:gd name="T4" fmla="*/ 62 w 438"/>
                  <a:gd name="T5" fmla="*/ 125 h 439"/>
                  <a:gd name="T6" fmla="*/ 312 w 438"/>
                  <a:gd name="T7" fmla="*/ 63 h 439"/>
                  <a:gd name="T8" fmla="*/ 375 w 438"/>
                  <a:gd name="T9" fmla="*/ 344 h 439"/>
                  <a:gd name="T10" fmla="*/ 93 w 438"/>
                  <a:gd name="T11" fmla="*/ 375 h 439"/>
                </a:gdLst>
                <a:ahLst/>
                <a:cxnLst>
                  <a:cxn ang="0">
                    <a:pos x="T0" y="T1"/>
                  </a:cxn>
                  <a:cxn ang="0">
                    <a:pos x="T2" y="T3"/>
                  </a:cxn>
                  <a:cxn ang="0">
                    <a:pos x="T4" y="T5"/>
                  </a:cxn>
                  <a:cxn ang="0">
                    <a:pos x="T6" y="T7"/>
                  </a:cxn>
                  <a:cxn ang="0">
                    <a:pos x="T8" y="T9"/>
                  </a:cxn>
                  <a:cxn ang="0">
                    <a:pos x="T10" y="T11"/>
                  </a:cxn>
                </a:cxnLst>
                <a:rect l="0" t="0" r="r" b="b"/>
                <a:pathLst>
                  <a:path w="438" h="439">
                    <a:moveTo>
                      <a:pt x="93" y="375"/>
                    </a:moveTo>
                    <a:lnTo>
                      <a:pt x="93" y="375"/>
                    </a:lnTo>
                    <a:cubicBezTo>
                      <a:pt x="0" y="313"/>
                      <a:pt x="0" y="219"/>
                      <a:pt x="62" y="125"/>
                    </a:cubicBezTo>
                    <a:cubicBezTo>
                      <a:pt x="125" y="32"/>
                      <a:pt x="250" y="0"/>
                      <a:pt x="312" y="63"/>
                    </a:cubicBezTo>
                    <a:cubicBezTo>
                      <a:pt x="406" y="125"/>
                      <a:pt x="437" y="250"/>
                      <a:pt x="375" y="344"/>
                    </a:cubicBezTo>
                    <a:cubicBezTo>
                      <a:pt x="312" y="438"/>
                      <a:pt x="187" y="438"/>
                      <a:pt x="93"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22" name="Freeform 19"/>
              <p:cNvSpPr>
                <a:spLocks noChangeArrowheads="1"/>
              </p:cNvSpPr>
              <p:nvPr/>
            </p:nvSpPr>
            <p:spPr bwMode="auto">
              <a:xfrm>
                <a:off x="3582988" y="5670550"/>
                <a:ext cx="168275" cy="158750"/>
              </a:xfrm>
              <a:custGeom>
                <a:avLst/>
                <a:gdLst>
                  <a:gd name="T0" fmla="*/ 62 w 469"/>
                  <a:gd name="T1" fmla="*/ 125 h 439"/>
                  <a:gd name="T2" fmla="*/ 62 w 469"/>
                  <a:gd name="T3" fmla="*/ 125 h 439"/>
                  <a:gd name="T4" fmla="*/ 343 w 469"/>
                  <a:gd name="T5" fmla="*/ 63 h 439"/>
                  <a:gd name="T6" fmla="*/ 406 w 469"/>
                  <a:gd name="T7" fmla="*/ 344 h 439"/>
                  <a:gd name="T8" fmla="*/ 125 w 469"/>
                  <a:gd name="T9" fmla="*/ 407 h 439"/>
                  <a:gd name="T10" fmla="*/ 62 w 469"/>
                  <a:gd name="T11" fmla="*/ 125 h 439"/>
                </a:gdLst>
                <a:ahLst/>
                <a:cxnLst>
                  <a:cxn ang="0">
                    <a:pos x="T0" y="T1"/>
                  </a:cxn>
                  <a:cxn ang="0">
                    <a:pos x="T2" y="T3"/>
                  </a:cxn>
                  <a:cxn ang="0">
                    <a:pos x="T4" y="T5"/>
                  </a:cxn>
                  <a:cxn ang="0">
                    <a:pos x="T6" y="T7"/>
                  </a:cxn>
                  <a:cxn ang="0">
                    <a:pos x="T8" y="T9"/>
                  </a:cxn>
                  <a:cxn ang="0">
                    <a:pos x="T10" y="T11"/>
                  </a:cxn>
                </a:cxnLst>
                <a:rect l="0" t="0" r="r" b="b"/>
                <a:pathLst>
                  <a:path w="469" h="439">
                    <a:moveTo>
                      <a:pt x="62" y="125"/>
                    </a:moveTo>
                    <a:lnTo>
                      <a:pt x="62" y="125"/>
                    </a:lnTo>
                    <a:cubicBezTo>
                      <a:pt x="125" y="32"/>
                      <a:pt x="250" y="0"/>
                      <a:pt x="343" y="63"/>
                    </a:cubicBezTo>
                    <a:cubicBezTo>
                      <a:pt x="437" y="125"/>
                      <a:pt x="468" y="250"/>
                      <a:pt x="406" y="344"/>
                    </a:cubicBezTo>
                    <a:cubicBezTo>
                      <a:pt x="343" y="438"/>
                      <a:pt x="218" y="438"/>
                      <a:pt x="125" y="407"/>
                    </a:cubicBezTo>
                    <a:cubicBezTo>
                      <a:pt x="31" y="344"/>
                      <a:pt x="0" y="219"/>
                      <a:pt x="62" y="12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23" name="Freeform 20"/>
              <p:cNvSpPr>
                <a:spLocks noChangeArrowheads="1"/>
              </p:cNvSpPr>
              <p:nvPr/>
            </p:nvSpPr>
            <p:spPr bwMode="auto">
              <a:xfrm>
                <a:off x="1422400" y="4219575"/>
                <a:ext cx="157163" cy="169863"/>
              </a:xfrm>
              <a:custGeom>
                <a:avLst/>
                <a:gdLst>
                  <a:gd name="T0" fmla="*/ 62 w 438"/>
                  <a:gd name="T1" fmla="*/ 125 h 470"/>
                  <a:gd name="T2" fmla="*/ 62 w 438"/>
                  <a:gd name="T3" fmla="*/ 125 h 470"/>
                  <a:gd name="T4" fmla="*/ 343 w 438"/>
                  <a:gd name="T5" fmla="*/ 63 h 470"/>
                  <a:gd name="T6" fmla="*/ 375 w 438"/>
                  <a:gd name="T7" fmla="*/ 344 h 470"/>
                  <a:gd name="T8" fmla="*/ 125 w 438"/>
                  <a:gd name="T9" fmla="*/ 406 h 470"/>
                  <a:gd name="T10" fmla="*/ 62 w 438"/>
                  <a:gd name="T11" fmla="*/ 125 h 470"/>
                </a:gdLst>
                <a:ahLst/>
                <a:cxnLst>
                  <a:cxn ang="0">
                    <a:pos x="T0" y="T1"/>
                  </a:cxn>
                  <a:cxn ang="0">
                    <a:pos x="T2" y="T3"/>
                  </a:cxn>
                  <a:cxn ang="0">
                    <a:pos x="T4" y="T5"/>
                  </a:cxn>
                  <a:cxn ang="0">
                    <a:pos x="T6" y="T7"/>
                  </a:cxn>
                  <a:cxn ang="0">
                    <a:pos x="T8" y="T9"/>
                  </a:cxn>
                  <a:cxn ang="0">
                    <a:pos x="T10" y="T11"/>
                  </a:cxn>
                </a:cxnLst>
                <a:rect l="0" t="0" r="r" b="b"/>
                <a:pathLst>
                  <a:path w="438" h="470">
                    <a:moveTo>
                      <a:pt x="62" y="125"/>
                    </a:moveTo>
                    <a:lnTo>
                      <a:pt x="62" y="125"/>
                    </a:lnTo>
                    <a:cubicBezTo>
                      <a:pt x="125" y="31"/>
                      <a:pt x="250" y="0"/>
                      <a:pt x="343" y="63"/>
                    </a:cubicBezTo>
                    <a:cubicBezTo>
                      <a:pt x="437" y="125"/>
                      <a:pt x="437" y="250"/>
                      <a:pt x="375" y="344"/>
                    </a:cubicBezTo>
                    <a:cubicBezTo>
                      <a:pt x="312" y="438"/>
                      <a:pt x="187" y="469"/>
                      <a:pt x="125" y="406"/>
                    </a:cubicBezTo>
                    <a:cubicBezTo>
                      <a:pt x="31" y="344"/>
                      <a:pt x="0" y="219"/>
                      <a:pt x="62" y="12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24" name="Freeform 21"/>
              <p:cNvSpPr>
                <a:spLocks noChangeArrowheads="1"/>
              </p:cNvSpPr>
              <p:nvPr/>
            </p:nvSpPr>
            <p:spPr bwMode="auto">
              <a:xfrm>
                <a:off x="2254250" y="6221413"/>
                <a:ext cx="158750" cy="157162"/>
              </a:xfrm>
              <a:custGeom>
                <a:avLst/>
                <a:gdLst>
                  <a:gd name="T0" fmla="*/ 156 w 439"/>
                  <a:gd name="T1" fmla="*/ 437 h 438"/>
                  <a:gd name="T2" fmla="*/ 156 w 439"/>
                  <a:gd name="T3" fmla="*/ 437 h 438"/>
                  <a:gd name="T4" fmla="*/ 0 w 439"/>
                  <a:gd name="T5" fmla="*/ 187 h 438"/>
                  <a:gd name="T6" fmla="*/ 250 w 439"/>
                  <a:gd name="T7" fmla="*/ 31 h 438"/>
                  <a:gd name="T8" fmla="*/ 406 w 439"/>
                  <a:gd name="T9" fmla="*/ 281 h 438"/>
                  <a:gd name="T10" fmla="*/ 156 w 439"/>
                  <a:gd name="T11" fmla="*/ 437 h 438"/>
                </a:gdLst>
                <a:ahLst/>
                <a:cxnLst>
                  <a:cxn ang="0">
                    <a:pos x="T0" y="T1"/>
                  </a:cxn>
                  <a:cxn ang="0">
                    <a:pos x="T2" y="T3"/>
                  </a:cxn>
                  <a:cxn ang="0">
                    <a:pos x="T4" y="T5"/>
                  </a:cxn>
                  <a:cxn ang="0">
                    <a:pos x="T6" y="T7"/>
                  </a:cxn>
                  <a:cxn ang="0">
                    <a:pos x="T8" y="T9"/>
                  </a:cxn>
                  <a:cxn ang="0">
                    <a:pos x="T10" y="T11"/>
                  </a:cxn>
                </a:cxnLst>
                <a:rect l="0" t="0" r="r" b="b"/>
                <a:pathLst>
                  <a:path w="439" h="438">
                    <a:moveTo>
                      <a:pt x="156" y="437"/>
                    </a:moveTo>
                    <a:lnTo>
                      <a:pt x="156" y="437"/>
                    </a:lnTo>
                    <a:cubicBezTo>
                      <a:pt x="63" y="406"/>
                      <a:pt x="0" y="312"/>
                      <a:pt x="0" y="187"/>
                    </a:cubicBezTo>
                    <a:cubicBezTo>
                      <a:pt x="31" y="93"/>
                      <a:pt x="125" y="0"/>
                      <a:pt x="250" y="31"/>
                    </a:cubicBezTo>
                    <a:cubicBezTo>
                      <a:pt x="344" y="62"/>
                      <a:pt x="438" y="156"/>
                      <a:pt x="406" y="281"/>
                    </a:cubicBezTo>
                    <a:cubicBezTo>
                      <a:pt x="375" y="375"/>
                      <a:pt x="281" y="437"/>
                      <a:pt x="156" y="43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25" name="Freeform 22"/>
              <p:cNvSpPr>
                <a:spLocks noChangeArrowheads="1"/>
              </p:cNvSpPr>
              <p:nvPr/>
            </p:nvSpPr>
            <p:spPr bwMode="auto">
              <a:xfrm>
                <a:off x="3784600" y="5208588"/>
                <a:ext cx="157163" cy="146050"/>
              </a:xfrm>
              <a:custGeom>
                <a:avLst/>
                <a:gdLst>
                  <a:gd name="T0" fmla="*/ 0 w 438"/>
                  <a:gd name="T1" fmla="*/ 156 h 407"/>
                  <a:gd name="T2" fmla="*/ 0 w 438"/>
                  <a:gd name="T3" fmla="*/ 156 h 407"/>
                  <a:gd name="T4" fmla="*/ 250 w 438"/>
                  <a:gd name="T5" fmla="*/ 0 h 407"/>
                  <a:gd name="T6" fmla="*/ 405 w 438"/>
                  <a:gd name="T7" fmla="*/ 250 h 407"/>
                  <a:gd name="T8" fmla="*/ 156 w 438"/>
                  <a:gd name="T9" fmla="*/ 406 h 407"/>
                  <a:gd name="T10" fmla="*/ 0 w 438"/>
                  <a:gd name="T11" fmla="*/ 156 h 407"/>
                </a:gdLst>
                <a:ahLst/>
                <a:cxnLst>
                  <a:cxn ang="0">
                    <a:pos x="T0" y="T1"/>
                  </a:cxn>
                  <a:cxn ang="0">
                    <a:pos x="T2" y="T3"/>
                  </a:cxn>
                  <a:cxn ang="0">
                    <a:pos x="T4" y="T5"/>
                  </a:cxn>
                  <a:cxn ang="0">
                    <a:pos x="T6" y="T7"/>
                  </a:cxn>
                  <a:cxn ang="0">
                    <a:pos x="T8" y="T9"/>
                  </a:cxn>
                  <a:cxn ang="0">
                    <a:pos x="T10" y="T11"/>
                  </a:cxn>
                </a:cxnLst>
                <a:rect l="0" t="0" r="r" b="b"/>
                <a:pathLst>
                  <a:path w="438" h="407">
                    <a:moveTo>
                      <a:pt x="0" y="156"/>
                    </a:moveTo>
                    <a:lnTo>
                      <a:pt x="0" y="156"/>
                    </a:lnTo>
                    <a:cubicBezTo>
                      <a:pt x="31" y="63"/>
                      <a:pt x="125" y="0"/>
                      <a:pt x="250" y="0"/>
                    </a:cubicBezTo>
                    <a:cubicBezTo>
                      <a:pt x="343" y="31"/>
                      <a:pt x="437" y="125"/>
                      <a:pt x="405" y="250"/>
                    </a:cubicBezTo>
                    <a:cubicBezTo>
                      <a:pt x="374" y="344"/>
                      <a:pt x="281" y="406"/>
                      <a:pt x="156" y="406"/>
                    </a:cubicBezTo>
                    <a:cubicBezTo>
                      <a:pt x="63" y="375"/>
                      <a:pt x="0" y="281"/>
                      <a:pt x="0" y="15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26" name="Freeform 23"/>
              <p:cNvSpPr>
                <a:spLocks noChangeArrowheads="1"/>
              </p:cNvSpPr>
              <p:nvPr/>
            </p:nvSpPr>
            <p:spPr bwMode="auto">
              <a:xfrm>
                <a:off x="1231900" y="4692650"/>
                <a:ext cx="158750" cy="157163"/>
              </a:xfrm>
              <a:custGeom>
                <a:avLst/>
                <a:gdLst>
                  <a:gd name="T0" fmla="*/ 32 w 439"/>
                  <a:gd name="T1" fmla="*/ 187 h 438"/>
                  <a:gd name="T2" fmla="*/ 32 w 439"/>
                  <a:gd name="T3" fmla="*/ 187 h 438"/>
                  <a:gd name="T4" fmla="*/ 250 w 439"/>
                  <a:gd name="T5" fmla="*/ 31 h 438"/>
                  <a:gd name="T6" fmla="*/ 407 w 439"/>
                  <a:gd name="T7" fmla="*/ 281 h 438"/>
                  <a:gd name="T8" fmla="*/ 188 w 439"/>
                  <a:gd name="T9" fmla="*/ 437 h 438"/>
                  <a:gd name="T10" fmla="*/ 32 w 439"/>
                  <a:gd name="T11" fmla="*/ 187 h 438"/>
                </a:gdLst>
                <a:ahLst/>
                <a:cxnLst>
                  <a:cxn ang="0">
                    <a:pos x="T0" y="T1"/>
                  </a:cxn>
                  <a:cxn ang="0">
                    <a:pos x="T2" y="T3"/>
                  </a:cxn>
                  <a:cxn ang="0">
                    <a:pos x="T4" y="T5"/>
                  </a:cxn>
                  <a:cxn ang="0">
                    <a:pos x="T6" y="T7"/>
                  </a:cxn>
                  <a:cxn ang="0">
                    <a:pos x="T8" y="T9"/>
                  </a:cxn>
                  <a:cxn ang="0">
                    <a:pos x="T10" y="T11"/>
                  </a:cxn>
                </a:cxnLst>
                <a:rect l="0" t="0" r="r" b="b"/>
                <a:pathLst>
                  <a:path w="439" h="438">
                    <a:moveTo>
                      <a:pt x="32" y="187"/>
                    </a:moveTo>
                    <a:lnTo>
                      <a:pt x="32" y="187"/>
                    </a:lnTo>
                    <a:cubicBezTo>
                      <a:pt x="32" y="93"/>
                      <a:pt x="157" y="0"/>
                      <a:pt x="250" y="31"/>
                    </a:cubicBezTo>
                    <a:cubicBezTo>
                      <a:pt x="344" y="62"/>
                      <a:pt x="438" y="156"/>
                      <a:pt x="407" y="281"/>
                    </a:cubicBezTo>
                    <a:cubicBezTo>
                      <a:pt x="375" y="375"/>
                      <a:pt x="282" y="437"/>
                      <a:pt x="188" y="437"/>
                    </a:cubicBezTo>
                    <a:cubicBezTo>
                      <a:pt x="63" y="406"/>
                      <a:pt x="0" y="312"/>
                      <a:pt x="32" y="18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27" name="Freeform 24"/>
              <p:cNvSpPr>
                <a:spLocks noChangeArrowheads="1"/>
              </p:cNvSpPr>
              <p:nvPr/>
            </p:nvSpPr>
            <p:spPr bwMode="auto">
              <a:xfrm>
                <a:off x="1422400" y="5670550"/>
                <a:ext cx="157163" cy="158750"/>
              </a:xfrm>
              <a:custGeom>
                <a:avLst/>
                <a:gdLst>
                  <a:gd name="T0" fmla="*/ 62 w 438"/>
                  <a:gd name="T1" fmla="*/ 344 h 439"/>
                  <a:gd name="T2" fmla="*/ 62 w 438"/>
                  <a:gd name="T3" fmla="*/ 344 h 439"/>
                  <a:gd name="T4" fmla="*/ 125 w 438"/>
                  <a:gd name="T5" fmla="*/ 63 h 439"/>
                  <a:gd name="T6" fmla="*/ 375 w 438"/>
                  <a:gd name="T7" fmla="*/ 125 h 439"/>
                  <a:gd name="T8" fmla="*/ 343 w 438"/>
                  <a:gd name="T9" fmla="*/ 407 h 439"/>
                  <a:gd name="T10" fmla="*/ 62 w 438"/>
                  <a:gd name="T11" fmla="*/ 344 h 439"/>
                </a:gdLst>
                <a:ahLst/>
                <a:cxnLst>
                  <a:cxn ang="0">
                    <a:pos x="T0" y="T1"/>
                  </a:cxn>
                  <a:cxn ang="0">
                    <a:pos x="T2" y="T3"/>
                  </a:cxn>
                  <a:cxn ang="0">
                    <a:pos x="T4" y="T5"/>
                  </a:cxn>
                  <a:cxn ang="0">
                    <a:pos x="T6" y="T7"/>
                  </a:cxn>
                  <a:cxn ang="0">
                    <a:pos x="T8" y="T9"/>
                  </a:cxn>
                  <a:cxn ang="0">
                    <a:pos x="T10" y="T11"/>
                  </a:cxn>
                </a:cxnLst>
                <a:rect l="0" t="0" r="r" b="b"/>
                <a:pathLst>
                  <a:path w="438" h="439">
                    <a:moveTo>
                      <a:pt x="62" y="344"/>
                    </a:moveTo>
                    <a:lnTo>
                      <a:pt x="62" y="344"/>
                    </a:lnTo>
                    <a:cubicBezTo>
                      <a:pt x="0" y="250"/>
                      <a:pt x="31" y="125"/>
                      <a:pt x="125" y="63"/>
                    </a:cubicBezTo>
                    <a:cubicBezTo>
                      <a:pt x="187" y="0"/>
                      <a:pt x="312" y="32"/>
                      <a:pt x="375" y="125"/>
                    </a:cubicBezTo>
                    <a:cubicBezTo>
                      <a:pt x="437" y="219"/>
                      <a:pt x="437" y="344"/>
                      <a:pt x="343" y="407"/>
                    </a:cubicBezTo>
                    <a:cubicBezTo>
                      <a:pt x="250" y="438"/>
                      <a:pt x="125" y="438"/>
                      <a:pt x="62" y="34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28" name="Freeform 25"/>
              <p:cNvSpPr>
                <a:spLocks noChangeArrowheads="1"/>
              </p:cNvSpPr>
              <p:nvPr/>
            </p:nvSpPr>
            <p:spPr bwMode="auto">
              <a:xfrm>
                <a:off x="3222625" y="6029325"/>
                <a:ext cx="168275" cy="158750"/>
              </a:xfrm>
              <a:custGeom>
                <a:avLst/>
                <a:gdLst>
                  <a:gd name="T0" fmla="*/ 125 w 469"/>
                  <a:gd name="T1" fmla="*/ 63 h 439"/>
                  <a:gd name="T2" fmla="*/ 125 w 469"/>
                  <a:gd name="T3" fmla="*/ 63 h 439"/>
                  <a:gd name="T4" fmla="*/ 406 w 469"/>
                  <a:gd name="T5" fmla="*/ 125 h 439"/>
                  <a:gd name="T6" fmla="*/ 343 w 469"/>
                  <a:gd name="T7" fmla="*/ 375 h 439"/>
                  <a:gd name="T8" fmla="*/ 62 w 469"/>
                  <a:gd name="T9" fmla="*/ 344 h 439"/>
                  <a:gd name="T10" fmla="*/ 125 w 469"/>
                  <a:gd name="T11" fmla="*/ 63 h 439"/>
                </a:gdLst>
                <a:ahLst/>
                <a:cxnLst>
                  <a:cxn ang="0">
                    <a:pos x="T0" y="T1"/>
                  </a:cxn>
                  <a:cxn ang="0">
                    <a:pos x="T2" y="T3"/>
                  </a:cxn>
                  <a:cxn ang="0">
                    <a:pos x="T4" y="T5"/>
                  </a:cxn>
                  <a:cxn ang="0">
                    <a:pos x="T6" y="T7"/>
                  </a:cxn>
                  <a:cxn ang="0">
                    <a:pos x="T8" y="T9"/>
                  </a:cxn>
                  <a:cxn ang="0">
                    <a:pos x="T10" y="T11"/>
                  </a:cxn>
                </a:cxnLst>
                <a:rect l="0" t="0" r="r" b="b"/>
                <a:pathLst>
                  <a:path w="469" h="439">
                    <a:moveTo>
                      <a:pt x="125" y="63"/>
                    </a:moveTo>
                    <a:lnTo>
                      <a:pt x="125" y="63"/>
                    </a:lnTo>
                    <a:cubicBezTo>
                      <a:pt x="218" y="0"/>
                      <a:pt x="343" y="32"/>
                      <a:pt x="406" y="125"/>
                    </a:cubicBezTo>
                    <a:cubicBezTo>
                      <a:pt x="468" y="219"/>
                      <a:pt x="437" y="313"/>
                      <a:pt x="343" y="375"/>
                    </a:cubicBezTo>
                    <a:cubicBezTo>
                      <a:pt x="250" y="438"/>
                      <a:pt x="125" y="438"/>
                      <a:pt x="62" y="344"/>
                    </a:cubicBezTo>
                    <a:cubicBezTo>
                      <a:pt x="0" y="250"/>
                      <a:pt x="31" y="125"/>
                      <a:pt x="125" y="6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29" name="Freeform 26"/>
              <p:cNvSpPr>
                <a:spLocks noChangeArrowheads="1"/>
              </p:cNvSpPr>
              <p:nvPr/>
            </p:nvSpPr>
            <p:spPr bwMode="auto">
              <a:xfrm>
                <a:off x="1782763" y="3870325"/>
                <a:ext cx="157162" cy="158750"/>
              </a:xfrm>
              <a:custGeom>
                <a:avLst/>
                <a:gdLst>
                  <a:gd name="T0" fmla="*/ 93 w 438"/>
                  <a:gd name="T1" fmla="*/ 63 h 439"/>
                  <a:gd name="T2" fmla="*/ 93 w 438"/>
                  <a:gd name="T3" fmla="*/ 63 h 439"/>
                  <a:gd name="T4" fmla="*/ 375 w 438"/>
                  <a:gd name="T5" fmla="*/ 94 h 439"/>
                  <a:gd name="T6" fmla="*/ 312 w 438"/>
                  <a:gd name="T7" fmla="*/ 375 h 439"/>
                  <a:gd name="T8" fmla="*/ 62 w 438"/>
                  <a:gd name="T9" fmla="*/ 313 h 439"/>
                  <a:gd name="T10" fmla="*/ 93 w 438"/>
                  <a:gd name="T11" fmla="*/ 63 h 439"/>
                </a:gdLst>
                <a:ahLst/>
                <a:cxnLst>
                  <a:cxn ang="0">
                    <a:pos x="T0" y="T1"/>
                  </a:cxn>
                  <a:cxn ang="0">
                    <a:pos x="T2" y="T3"/>
                  </a:cxn>
                  <a:cxn ang="0">
                    <a:pos x="T4" y="T5"/>
                  </a:cxn>
                  <a:cxn ang="0">
                    <a:pos x="T6" y="T7"/>
                  </a:cxn>
                  <a:cxn ang="0">
                    <a:pos x="T8" y="T9"/>
                  </a:cxn>
                  <a:cxn ang="0">
                    <a:pos x="T10" y="T11"/>
                  </a:cxn>
                </a:cxnLst>
                <a:rect l="0" t="0" r="r" b="b"/>
                <a:pathLst>
                  <a:path w="438" h="439">
                    <a:moveTo>
                      <a:pt x="93" y="63"/>
                    </a:moveTo>
                    <a:lnTo>
                      <a:pt x="93" y="63"/>
                    </a:lnTo>
                    <a:cubicBezTo>
                      <a:pt x="187" y="0"/>
                      <a:pt x="312" y="0"/>
                      <a:pt x="375" y="94"/>
                    </a:cubicBezTo>
                    <a:cubicBezTo>
                      <a:pt x="437" y="188"/>
                      <a:pt x="406" y="313"/>
                      <a:pt x="312" y="375"/>
                    </a:cubicBezTo>
                    <a:cubicBezTo>
                      <a:pt x="250" y="438"/>
                      <a:pt x="125" y="407"/>
                      <a:pt x="62" y="313"/>
                    </a:cubicBezTo>
                    <a:cubicBezTo>
                      <a:pt x="0" y="219"/>
                      <a:pt x="0" y="94"/>
                      <a:pt x="93" y="6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30" name="Freeform 27"/>
              <p:cNvSpPr>
                <a:spLocks noChangeArrowheads="1"/>
              </p:cNvSpPr>
              <p:nvPr/>
            </p:nvSpPr>
            <p:spPr bwMode="auto">
              <a:xfrm>
                <a:off x="4797425" y="5973763"/>
                <a:ext cx="461963" cy="720725"/>
              </a:xfrm>
              <a:custGeom>
                <a:avLst/>
                <a:gdLst>
                  <a:gd name="T0" fmla="*/ 1219 w 1283"/>
                  <a:gd name="T1" fmla="*/ 1656 h 2001"/>
                  <a:gd name="T2" fmla="*/ 1219 w 1283"/>
                  <a:gd name="T3" fmla="*/ 1656 h 2001"/>
                  <a:gd name="T4" fmla="*/ 563 w 1283"/>
                  <a:gd name="T5" fmla="*/ 1000 h 2001"/>
                  <a:gd name="T6" fmla="*/ 1219 w 1283"/>
                  <a:gd name="T7" fmla="*/ 344 h 2001"/>
                  <a:gd name="T8" fmla="*/ 1219 w 1283"/>
                  <a:gd name="T9" fmla="*/ 63 h 2001"/>
                  <a:gd name="T10" fmla="*/ 938 w 1283"/>
                  <a:gd name="T11" fmla="*/ 63 h 2001"/>
                  <a:gd name="T12" fmla="*/ 0 w 1283"/>
                  <a:gd name="T13" fmla="*/ 1000 h 2001"/>
                  <a:gd name="T14" fmla="*/ 938 w 1283"/>
                  <a:gd name="T15" fmla="*/ 1938 h 2001"/>
                  <a:gd name="T16" fmla="*/ 1219 w 1283"/>
                  <a:gd name="T17" fmla="*/ 1938 h 2001"/>
                  <a:gd name="T18" fmla="*/ 1282 w 1283"/>
                  <a:gd name="T19" fmla="*/ 1781 h 2001"/>
                  <a:gd name="T20" fmla="*/ 1219 w 1283"/>
                  <a:gd name="T21" fmla="*/ 1656 h 2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3" h="2001">
                    <a:moveTo>
                      <a:pt x="1219" y="1656"/>
                    </a:moveTo>
                    <a:lnTo>
                      <a:pt x="1219" y="1656"/>
                    </a:lnTo>
                    <a:cubicBezTo>
                      <a:pt x="563" y="1000"/>
                      <a:pt x="563" y="1000"/>
                      <a:pt x="563" y="1000"/>
                    </a:cubicBezTo>
                    <a:cubicBezTo>
                      <a:pt x="1219" y="344"/>
                      <a:pt x="1219" y="344"/>
                      <a:pt x="1219" y="344"/>
                    </a:cubicBezTo>
                    <a:cubicBezTo>
                      <a:pt x="1282" y="250"/>
                      <a:pt x="1282" y="125"/>
                      <a:pt x="1219" y="63"/>
                    </a:cubicBezTo>
                    <a:cubicBezTo>
                      <a:pt x="1157" y="0"/>
                      <a:pt x="1032" y="0"/>
                      <a:pt x="938" y="63"/>
                    </a:cubicBezTo>
                    <a:cubicBezTo>
                      <a:pt x="0" y="1000"/>
                      <a:pt x="0" y="1000"/>
                      <a:pt x="0" y="1000"/>
                    </a:cubicBezTo>
                    <a:cubicBezTo>
                      <a:pt x="938" y="1938"/>
                      <a:pt x="938" y="1938"/>
                      <a:pt x="938" y="1938"/>
                    </a:cubicBezTo>
                    <a:cubicBezTo>
                      <a:pt x="1032" y="2000"/>
                      <a:pt x="1157" y="2000"/>
                      <a:pt x="1219" y="1938"/>
                    </a:cubicBezTo>
                    <a:cubicBezTo>
                      <a:pt x="1251" y="1875"/>
                      <a:pt x="1282" y="1844"/>
                      <a:pt x="1282" y="1781"/>
                    </a:cubicBezTo>
                    <a:cubicBezTo>
                      <a:pt x="1282" y="1719"/>
                      <a:pt x="1251" y="1688"/>
                      <a:pt x="1219" y="165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31" name="Freeform 28"/>
              <p:cNvSpPr>
                <a:spLocks noChangeArrowheads="1"/>
              </p:cNvSpPr>
              <p:nvPr/>
            </p:nvSpPr>
            <p:spPr bwMode="auto">
              <a:xfrm>
                <a:off x="5111750" y="6254750"/>
                <a:ext cx="146050" cy="147638"/>
              </a:xfrm>
              <a:custGeom>
                <a:avLst/>
                <a:gdLst>
                  <a:gd name="T0" fmla="*/ 187 w 407"/>
                  <a:gd name="T1" fmla="*/ 0 h 408"/>
                  <a:gd name="T2" fmla="*/ 187 w 407"/>
                  <a:gd name="T3" fmla="*/ 0 h 408"/>
                  <a:gd name="T4" fmla="*/ 406 w 407"/>
                  <a:gd name="T5" fmla="*/ 219 h 408"/>
                  <a:gd name="T6" fmla="*/ 187 w 407"/>
                  <a:gd name="T7" fmla="*/ 407 h 408"/>
                  <a:gd name="T8" fmla="*/ 0 w 407"/>
                  <a:gd name="T9" fmla="*/ 219 h 408"/>
                  <a:gd name="T10" fmla="*/ 187 w 407"/>
                  <a:gd name="T11" fmla="*/ 0 h 408"/>
                </a:gdLst>
                <a:ahLst/>
                <a:cxnLst>
                  <a:cxn ang="0">
                    <a:pos x="T0" y="T1"/>
                  </a:cxn>
                  <a:cxn ang="0">
                    <a:pos x="T2" y="T3"/>
                  </a:cxn>
                  <a:cxn ang="0">
                    <a:pos x="T4" y="T5"/>
                  </a:cxn>
                  <a:cxn ang="0">
                    <a:pos x="T6" y="T7"/>
                  </a:cxn>
                  <a:cxn ang="0">
                    <a:pos x="T8" y="T9"/>
                  </a:cxn>
                  <a:cxn ang="0">
                    <a:pos x="T10" y="T11"/>
                  </a:cxn>
                </a:cxnLst>
                <a:rect l="0" t="0" r="r" b="b"/>
                <a:pathLst>
                  <a:path w="407" h="408">
                    <a:moveTo>
                      <a:pt x="187" y="0"/>
                    </a:moveTo>
                    <a:lnTo>
                      <a:pt x="187" y="0"/>
                    </a:lnTo>
                    <a:cubicBezTo>
                      <a:pt x="312" y="0"/>
                      <a:pt x="406" y="94"/>
                      <a:pt x="406" y="219"/>
                    </a:cubicBezTo>
                    <a:cubicBezTo>
                      <a:pt x="406" y="313"/>
                      <a:pt x="312" y="407"/>
                      <a:pt x="187" y="407"/>
                    </a:cubicBezTo>
                    <a:cubicBezTo>
                      <a:pt x="93" y="407"/>
                      <a:pt x="0" y="313"/>
                      <a:pt x="0" y="219"/>
                    </a:cubicBezTo>
                    <a:cubicBezTo>
                      <a:pt x="0" y="94"/>
                      <a:pt x="93" y="0"/>
                      <a:pt x="187"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32" name="Freeform 29"/>
              <p:cNvSpPr>
                <a:spLocks noChangeArrowheads="1"/>
              </p:cNvSpPr>
              <p:nvPr/>
            </p:nvSpPr>
            <p:spPr bwMode="auto">
              <a:xfrm>
                <a:off x="5111750" y="3657600"/>
                <a:ext cx="146050" cy="146050"/>
              </a:xfrm>
              <a:custGeom>
                <a:avLst/>
                <a:gdLst>
                  <a:gd name="T0" fmla="*/ 187 w 407"/>
                  <a:gd name="T1" fmla="*/ 0 h 407"/>
                  <a:gd name="T2" fmla="*/ 187 w 407"/>
                  <a:gd name="T3" fmla="*/ 0 h 407"/>
                  <a:gd name="T4" fmla="*/ 406 w 407"/>
                  <a:gd name="T5" fmla="*/ 187 h 407"/>
                  <a:gd name="T6" fmla="*/ 187 w 407"/>
                  <a:gd name="T7" fmla="*/ 406 h 407"/>
                  <a:gd name="T8" fmla="*/ 0 w 407"/>
                  <a:gd name="T9" fmla="*/ 187 h 407"/>
                  <a:gd name="T10" fmla="*/ 187 w 407"/>
                  <a:gd name="T11" fmla="*/ 0 h 407"/>
                </a:gdLst>
                <a:ahLst/>
                <a:cxnLst>
                  <a:cxn ang="0">
                    <a:pos x="T0" y="T1"/>
                  </a:cxn>
                  <a:cxn ang="0">
                    <a:pos x="T2" y="T3"/>
                  </a:cxn>
                  <a:cxn ang="0">
                    <a:pos x="T4" y="T5"/>
                  </a:cxn>
                  <a:cxn ang="0">
                    <a:pos x="T6" y="T7"/>
                  </a:cxn>
                  <a:cxn ang="0">
                    <a:pos x="T8" y="T9"/>
                  </a:cxn>
                  <a:cxn ang="0">
                    <a:pos x="T10" y="T11"/>
                  </a:cxn>
                </a:cxnLst>
                <a:rect l="0" t="0" r="r" b="b"/>
                <a:pathLst>
                  <a:path w="407" h="407">
                    <a:moveTo>
                      <a:pt x="187" y="0"/>
                    </a:moveTo>
                    <a:lnTo>
                      <a:pt x="187" y="0"/>
                    </a:lnTo>
                    <a:cubicBezTo>
                      <a:pt x="312" y="0"/>
                      <a:pt x="406" y="93"/>
                      <a:pt x="406" y="187"/>
                    </a:cubicBezTo>
                    <a:cubicBezTo>
                      <a:pt x="406" y="312"/>
                      <a:pt x="312" y="406"/>
                      <a:pt x="187" y="406"/>
                    </a:cubicBezTo>
                    <a:cubicBezTo>
                      <a:pt x="93" y="406"/>
                      <a:pt x="0" y="312"/>
                      <a:pt x="0" y="187"/>
                    </a:cubicBezTo>
                    <a:cubicBezTo>
                      <a:pt x="0" y="93"/>
                      <a:pt x="93" y="0"/>
                      <a:pt x="187"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33" name="Freeform 30"/>
              <p:cNvSpPr>
                <a:spLocks noChangeArrowheads="1"/>
              </p:cNvSpPr>
              <p:nvPr/>
            </p:nvSpPr>
            <p:spPr bwMode="auto">
              <a:xfrm>
                <a:off x="6416675" y="4962525"/>
                <a:ext cx="146050" cy="134938"/>
              </a:xfrm>
              <a:custGeom>
                <a:avLst/>
                <a:gdLst>
                  <a:gd name="T0" fmla="*/ 406 w 407"/>
                  <a:gd name="T1" fmla="*/ 187 h 375"/>
                  <a:gd name="T2" fmla="*/ 406 w 407"/>
                  <a:gd name="T3" fmla="*/ 187 h 375"/>
                  <a:gd name="T4" fmla="*/ 187 w 407"/>
                  <a:gd name="T5" fmla="*/ 374 h 375"/>
                  <a:gd name="T6" fmla="*/ 0 w 407"/>
                  <a:gd name="T7" fmla="*/ 187 h 375"/>
                  <a:gd name="T8" fmla="*/ 187 w 407"/>
                  <a:gd name="T9" fmla="*/ 0 h 375"/>
                  <a:gd name="T10" fmla="*/ 406 w 407"/>
                  <a:gd name="T11" fmla="*/ 187 h 375"/>
                </a:gdLst>
                <a:ahLst/>
                <a:cxnLst>
                  <a:cxn ang="0">
                    <a:pos x="T0" y="T1"/>
                  </a:cxn>
                  <a:cxn ang="0">
                    <a:pos x="T2" y="T3"/>
                  </a:cxn>
                  <a:cxn ang="0">
                    <a:pos x="T4" y="T5"/>
                  </a:cxn>
                  <a:cxn ang="0">
                    <a:pos x="T6" y="T7"/>
                  </a:cxn>
                  <a:cxn ang="0">
                    <a:pos x="T8" y="T9"/>
                  </a:cxn>
                  <a:cxn ang="0">
                    <a:pos x="T10" y="T11"/>
                  </a:cxn>
                </a:cxnLst>
                <a:rect l="0" t="0" r="r" b="b"/>
                <a:pathLst>
                  <a:path w="407" h="375">
                    <a:moveTo>
                      <a:pt x="406" y="187"/>
                    </a:moveTo>
                    <a:lnTo>
                      <a:pt x="406" y="187"/>
                    </a:lnTo>
                    <a:cubicBezTo>
                      <a:pt x="406" y="311"/>
                      <a:pt x="312" y="374"/>
                      <a:pt x="187" y="374"/>
                    </a:cubicBezTo>
                    <a:cubicBezTo>
                      <a:pt x="93" y="374"/>
                      <a:pt x="0" y="311"/>
                      <a:pt x="0" y="187"/>
                    </a:cubicBezTo>
                    <a:cubicBezTo>
                      <a:pt x="0" y="93"/>
                      <a:pt x="93" y="0"/>
                      <a:pt x="187" y="0"/>
                    </a:cubicBezTo>
                    <a:cubicBezTo>
                      <a:pt x="312" y="0"/>
                      <a:pt x="406" y="93"/>
                      <a:pt x="406" y="18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34" name="Freeform 31"/>
              <p:cNvSpPr>
                <a:spLocks noChangeArrowheads="1"/>
              </p:cNvSpPr>
              <p:nvPr/>
            </p:nvSpPr>
            <p:spPr bwMode="auto">
              <a:xfrm>
                <a:off x="6022975" y="4027488"/>
                <a:ext cx="157163" cy="157162"/>
              </a:xfrm>
              <a:custGeom>
                <a:avLst/>
                <a:gdLst>
                  <a:gd name="T0" fmla="*/ 375 w 438"/>
                  <a:gd name="T1" fmla="*/ 93 h 438"/>
                  <a:gd name="T2" fmla="*/ 375 w 438"/>
                  <a:gd name="T3" fmla="*/ 93 h 438"/>
                  <a:gd name="T4" fmla="*/ 375 w 438"/>
                  <a:gd name="T5" fmla="*/ 375 h 438"/>
                  <a:gd name="T6" fmla="*/ 94 w 438"/>
                  <a:gd name="T7" fmla="*/ 375 h 438"/>
                  <a:gd name="T8" fmla="*/ 94 w 438"/>
                  <a:gd name="T9" fmla="*/ 93 h 438"/>
                  <a:gd name="T10" fmla="*/ 375 w 438"/>
                  <a:gd name="T11" fmla="*/ 93 h 438"/>
                </a:gdLst>
                <a:ahLst/>
                <a:cxnLst>
                  <a:cxn ang="0">
                    <a:pos x="T0" y="T1"/>
                  </a:cxn>
                  <a:cxn ang="0">
                    <a:pos x="T2" y="T3"/>
                  </a:cxn>
                  <a:cxn ang="0">
                    <a:pos x="T4" y="T5"/>
                  </a:cxn>
                  <a:cxn ang="0">
                    <a:pos x="T6" y="T7"/>
                  </a:cxn>
                  <a:cxn ang="0">
                    <a:pos x="T8" y="T9"/>
                  </a:cxn>
                  <a:cxn ang="0">
                    <a:pos x="T10" y="T11"/>
                  </a:cxn>
                </a:cxnLst>
                <a:rect l="0" t="0" r="r" b="b"/>
                <a:pathLst>
                  <a:path w="438" h="438">
                    <a:moveTo>
                      <a:pt x="375" y="93"/>
                    </a:moveTo>
                    <a:lnTo>
                      <a:pt x="375" y="93"/>
                    </a:lnTo>
                    <a:cubicBezTo>
                      <a:pt x="437" y="156"/>
                      <a:pt x="437" y="281"/>
                      <a:pt x="375" y="375"/>
                    </a:cubicBezTo>
                    <a:cubicBezTo>
                      <a:pt x="281" y="437"/>
                      <a:pt x="156" y="437"/>
                      <a:pt x="94" y="375"/>
                    </a:cubicBezTo>
                    <a:cubicBezTo>
                      <a:pt x="0" y="281"/>
                      <a:pt x="0" y="156"/>
                      <a:pt x="94" y="93"/>
                    </a:cubicBezTo>
                    <a:cubicBezTo>
                      <a:pt x="156" y="0"/>
                      <a:pt x="281" y="0"/>
                      <a:pt x="375" y="9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35" name="Freeform 32"/>
              <p:cNvSpPr>
                <a:spLocks noChangeArrowheads="1"/>
              </p:cNvSpPr>
              <p:nvPr/>
            </p:nvSpPr>
            <p:spPr bwMode="auto">
              <a:xfrm>
                <a:off x="4189413" y="4027488"/>
                <a:ext cx="158750" cy="157162"/>
              </a:xfrm>
              <a:custGeom>
                <a:avLst/>
                <a:gdLst>
                  <a:gd name="T0" fmla="*/ 344 w 439"/>
                  <a:gd name="T1" fmla="*/ 375 h 438"/>
                  <a:gd name="T2" fmla="*/ 344 w 439"/>
                  <a:gd name="T3" fmla="*/ 375 h 438"/>
                  <a:gd name="T4" fmla="*/ 63 w 439"/>
                  <a:gd name="T5" fmla="*/ 375 h 438"/>
                  <a:gd name="T6" fmla="*/ 63 w 439"/>
                  <a:gd name="T7" fmla="*/ 93 h 438"/>
                  <a:gd name="T8" fmla="*/ 344 w 439"/>
                  <a:gd name="T9" fmla="*/ 93 h 438"/>
                  <a:gd name="T10" fmla="*/ 344 w 439"/>
                  <a:gd name="T11" fmla="*/ 375 h 438"/>
                </a:gdLst>
                <a:ahLst/>
                <a:cxnLst>
                  <a:cxn ang="0">
                    <a:pos x="T0" y="T1"/>
                  </a:cxn>
                  <a:cxn ang="0">
                    <a:pos x="T2" y="T3"/>
                  </a:cxn>
                  <a:cxn ang="0">
                    <a:pos x="T4" y="T5"/>
                  </a:cxn>
                  <a:cxn ang="0">
                    <a:pos x="T6" y="T7"/>
                  </a:cxn>
                  <a:cxn ang="0">
                    <a:pos x="T8" y="T9"/>
                  </a:cxn>
                  <a:cxn ang="0">
                    <a:pos x="T10" y="T11"/>
                  </a:cxn>
                </a:cxnLst>
                <a:rect l="0" t="0" r="r" b="b"/>
                <a:pathLst>
                  <a:path w="439" h="438">
                    <a:moveTo>
                      <a:pt x="344" y="375"/>
                    </a:moveTo>
                    <a:lnTo>
                      <a:pt x="344" y="375"/>
                    </a:lnTo>
                    <a:cubicBezTo>
                      <a:pt x="281" y="437"/>
                      <a:pt x="156" y="437"/>
                      <a:pt x="63" y="375"/>
                    </a:cubicBezTo>
                    <a:cubicBezTo>
                      <a:pt x="0" y="281"/>
                      <a:pt x="0" y="156"/>
                      <a:pt x="63" y="93"/>
                    </a:cubicBezTo>
                    <a:cubicBezTo>
                      <a:pt x="156" y="0"/>
                      <a:pt x="281" y="0"/>
                      <a:pt x="344" y="93"/>
                    </a:cubicBezTo>
                    <a:cubicBezTo>
                      <a:pt x="438" y="156"/>
                      <a:pt x="438" y="281"/>
                      <a:pt x="344"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36" name="Freeform 33"/>
              <p:cNvSpPr>
                <a:spLocks noChangeArrowheads="1"/>
              </p:cNvSpPr>
              <p:nvPr/>
            </p:nvSpPr>
            <p:spPr bwMode="auto">
              <a:xfrm>
                <a:off x="6022975" y="5872163"/>
                <a:ext cx="157163" cy="157162"/>
              </a:xfrm>
              <a:custGeom>
                <a:avLst/>
                <a:gdLst>
                  <a:gd name="T0" fmla="*/ 375 w 438"/>
                  <a:gd name="T1" fmla="*/ 344 h 438"/>
                  <a:gd name="T2" fmla="*/ 375 w 438"/>
                  <a:gd name="T3" fmla="*/ 344 h 438"/>
                  <a:gd name="T4" fmla="*/ 94 w 438"/>
                  <a:gd name="T5" fmla="*/ 344 h 438"/>
                  <a:gd name="T6" fmla="*/ 94 w 438"/>
                  <a:gd name="T7" fmla="*/ 62 h 438"/>
                  <a:gd name="T8" fmla="*/ 375 w 438"/>
                  <a:gd name="T9" fmla="*/ 62 h 438"/>
                  <a:gd name="T10" fmla="*/ 375 w 438"/>
                  <a:gd name="T11" fmla="*/ 344 h 438"/>
                </a:gdLst>
                <a:ahLst/>
                <a:cxnLst>
                  <a:cxn ang="0">
                    <a:pos x="T0" y="T1"/>
                  </a:cxn>
                  <a:cxn ang="0">
                    <a:pos x="T2" y="T3"/>
                  </a:cxn>
                  <a:cxn ang="0">
                    <a:pos x="T4" y="T5"/>
                  </a:cxn>
                  <a:cxn ang="0">
                    <a:pos x="T6" y="T7"/>
                  </a:cxn>
                  <a:cxn ang="0">
                    <a:pos x="T8" y="T9"/>
                  </a:cxn>
                  <a:cxn ang="0">
                    <a:pos x="T10" y="T11"/>
                  </a:cxn>
                </a:cxnLst>
                <a:rect l="0" t="0" r="r" b="b"/>
                <a:pathLst>
                  <a:path w="438" h="438">
                    <a:moveTo>
                      <a:pt x="375" y="344"/>
                    </a:moveTo>
                    <a:lnTo>
                      <a:pt x="375" y="344"/>
                    </a:lnTo>
                    <a:cubicBezTo>
                      <a:pt x="281" y="437"/>
                      <a:pt x="156" y="437"/>
                      <a:pt x="94" y="344"/>
                    </a:cubicBezTo>
                    <a:cubicBezTo>
                      <a:pt x="0" y="281"/>
                      <a:pt x="0" y="156"/>
                      <a:pt x="94" y="62"/>
                    </a:cubicBezTo>
                    <a:cubicBezTo>
                      <a:pt x="156" y="0"/>
                      <a:pt x="281" y="0"/>
                      <a:pt x="375" y="62"/>
                    </a:cubicBezTo>
                    <a:cubicBezTo>
                      <a:pt x="437" y="156"/>
                      <a:pt x="437" y="281"/>
                      <a:pt x="375" y="34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37" name="Freeform 34"/>
              <p:cNvSpPr>
                <a:spLocks noChangeArrowheads="1"/>
              </p:cNvSpPr>
              <p:nvPr/>
            </p:nvSpPr>
            <p:spPr bwMode="auto">
              <a:xfrm>
                <a:off x="5607050" y="3746500"/>
                <a:ext cx="157163" cy="168275"/>
              </a:xfrm>
              <a:custGeom>
                <a:avLst/>
                <a:gdLst>
                  <a:gd name="T0" fmla="*/ 281 w 438"/>
                  <a:gd name="T1" fmla="*/ 31 h 469"/>
                  <a:gd name="T2" fmla="*/ 281 w 438"/>
                  <a:gd name="T3" fmla="*/ 31 h 469"/>
                  <a:gd name="T4" fmla="*/ 406 w 438"/>
                  <a:gd name="T5" fmla="*/ 312 h 469"/>
                  <a:gd name="T6" fmla="*/ 125 w 438"/>
                  <a:gd name="T7" fmla="*/ 406 h 469"/>
                  <a:gd name="T8" fmla="*/ 31 w 438"/>
                  <a:gd name="T9" fmla="*/ 156 h 469"/>
                  <a:gd name="T10" fmla="*/ 281 w 438"/>
                  <a:gd name="T11" fmla="*/ 31 h 469"/>
                </a:gdLst>
                <a:ahLst/>
                <a:cxnLst>
                  <a:cxn ang="0">
                    <a:pos x="T0" y="T1"/>
                  </a:cxn>
                  <a:cxn ang="0">
                    <a:pos x="T2" y="T3"/>
                  </a:cxn>
                  <a:cxn ang="0">
                    <a:pos x="T4" y="T5"/>
                  </a:cxn>
                  <a:cxn ang="0">
                    <a:pos x="T6" y="T7"/>
                  </a:cxn>
                  <a:cxn ang="0">
                    <a:pos x="T8" y="T9"/>
                  </a:cxn>
                  <a:cxn ang="0">
                    <a:pos x="T10" y="T11"/>
                  </a:cxn>
                </a:cxnLst>
                <a:rect l="0" t="0" r="r" b="b"/>
                <a:pathLst>
                  <a:path w="438" h="469">
                    <a:moveTo>
                      <a:pt x="281" y="31"/>
                    </a:moveTo>
                    <a:lnTo>
                      <a:pt x="281" y="31"/>
                    </a:lnTo>
                    <a:cubicBezTo>
                      <a:pt x="375" y="93"/>
                      <a:pt x="437" y="187"/>
                      <a:pt x="406" y="312"/>
                    </a:cubicBezTo>
                    <a:cubicBezTo>
                      <a:pt x="343" y="406"/>
                      <a:pt x="250" y="468"/>
                      <a:pt x="125" y="406"/>
                    </a:cubicBezTo>
                    <a:cubicBezTo>
                      <a:pt x="31" y="375"/>
                      <a:pt x="0" y="250"/>
                      <a:pt x="31" y="156"/>
                    </a:cubicBezTo>
                    <a:cubicBezTo>
                      <a:pt x="62" y="62"/>
                      <a:pt x="187" y="0"/>
                      <a:pt x="281"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38" name="Freeform 35"/>
              <p:cNvSpPr>
                <a:spLocks noChangeArrowheads="1"/>
              </p:cNvSpPr>
              <p:nvPr/>
            </p:nvSpPr>
            <p:spPr bwMode="auto">
              <a:xfrm>
                <a:off x="3897313" y="4456113"/>
                <a:ext cx="168275" cy="158750"/>
              </a:xfrm>
              <a:custGeom>
                <a:avLst/>
                <a:gdLst>
                  <a:gd name="T0" fmla="*/ 437 w 469"/>
                  <a:gd name="T1" fmla="*/ 282 h 439"/>
                  <a:gd name="T2" fmla="*/ 437 w 469"/>
                  <a:gd name="T3" fmla="*/ 282 h 439"/>
                  <a:gd name="T4" fmla="*/ 156 w 469"/>
                  <a:gd name="T5" fmla="*/ 407 h 439"/>
                  <a:gd name="T6" fmla="*/ 62 w 469"/>
                  <a:gd name="T7" fmla="*/ 125 h 439"/>
                  <a:gd name="T8" fmla="*/ 312 w 469"/>
                  <a:gd name="T9" fmla="*/ 32 h 439"/>
                  <a:gd name="T10" fmla="*/ 437 w 469"/>
                  <a:gd name="T11" fmla="*/ 282 h 439"/>
                </a:gdLst>
                <a:ahLst/>
                <a:cxnLst>
                  <a:cxn ang="0">
                    <a:pos x="T0" y="T1"/>
                  </a:cxn>
                  <a:cxn ang="0">
                    <a:pos x="T2" y="T3"/>
                  </a:cxn>
                  <a:cxn ang="0">
                    <a:pos x="T4" y="T5"/>
                  </a:cxn>
                  <a:cxn ang="0">
                    <a:pos x="T6" y="T7"/>
                  </a:cxn>
                  <a:cxn ang="0">
                    <a:pos x="T8" y="T9"/>
                  </a:cxn>
                  <a:cxn ang="0">
                    <a:pos x="T10" y="T11"/>
                  </a:cxn>
                </a:cxnLst>
                <a:rect l="0" t="0" r="r" b="b"/>
                <a:pathLst>
                  <a:path w="469" h="439">
                    <a:moveTo>
                      <a:pt x="437" y="282"/>
                    </a:moveTo>
                    <a:lnTo>
                      <a:pt x="437" y="282"/>
                    </a:lnTo>
                    <a:cubicBezTo>
                      <a:pt x="375" y="407"/>
                      <a:pt x="250" y="438"/>
                      <a:pt x="156" y="407"/>
                    </a:cubicBezTo>
                    <a:cubicBezTo>
                      <a:pt x="62" y="344"/>
                      <a:pt x="0" y="250"/>
                      <a:pt x="62" y="125"/>
                    </a:cubicBezTo>
                    <a:cubicBezTo>
                      <a:pt x="93" y="32"/>
                      <a:pt x="218" y="0"/>
                      <a:pt x="312" y="32"/>
                    </a:cubicBezTo>
                    <a:cubicBezTo>
                      <a:pt x="406" y="63"/>
                      <a:pt x="468" y="188"/>
                      <a:pt x="437" y="28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39" name="Freeform 36"/>
              <p:cNvSpPr>
                <a:spLocks noChangeArrowheads="1"/>
              </p:cNvSpPr>
              <p:nvPr/>
            </p:nvSpPr>
            <p:spPr bwMode="auto">
              <a:xfrm>
                <a:off x="6303963" y="5445125"/>
                <a:ext cx="169862" cy="169863"/>
              </a:xfrm>
              <a:custGeom>
                <a:avLst/>
                <a:gdLst>
                  <a:gd name="T0" fmla="*/ 406 w 470"/>
                  <a:gd name="T1" fmla="*/ 313 h 470"/>
                  <a:gd name="T2" fmla="*/ 406 w 470"/>
                  <a:gd name="T3" fmla="*/ 313 h 470"/>
                  <a:gd name="T4" fmla="*/ 156 w 470"/>
                  <a:gd name="T5" fmla="*/ 407 h 470"/>
                  <a:gd name="T6" fmla="*/ 31 w 470"/>
                  <a:gd name="T7" fmla="*/ 157 h 470"/>
                  <a:gd name="T8" fmla="*/ 313 w 470"/>
                  <a:gd name="T9" fmla="*/ 32 h 470"/>
                  <a:gd name="T10" fmla="*/ 406 w 470"/>
                  <a:gd name="T11" fmla="*/ 313 h 470"/>
                </a:gdLst>
                <a:ahLst/>
                <a:cxnLst>
                  <a:cxn ang="0">
                    <a:pos x="T0" y="T1"/>
                  </a:cxn>
                  <a:cxn ang="0">
                    <a:pos x="T2" y="T3"/>
                  </a:cxn>
                  <a:cxn ang="0">
                    <a:pos x="T4" y="T5"/>
                  </a:cxn>
                  <a:cxn ang="0">
                    <a:pos x="T6" y="T7"/>
                  </a:cxn>
                  <a:cxn ang="0">
                    <a:pos x="T8" y="T9"/>
                  </a:cxn>
                  <a:cxn ang="0">
                    <a:pos x="T10" y="T11"/>
                  </a:cxn>
                </a:cxnLst>
                <a:rect l="0" t="0" r="r" b="b"/>
                <a:pathLst>
                  <a:path w="470" h="470">
                    <a:moveTo>
                      <a:pt x="406" y="313"/>
                    </a:moveTo>
                    <a:lnTo>
                      <a:pt x="406" y="313"/>
                    </a:lnTo>
                    <a:cubicBezTo>
                      <a:pt x="375" y="407"/>
                      <a:pt x="250" y="469"/>
                      <a:pt x="156" y="407"/>
                    </a:cubicBezTo>
                    <a:cubicBezTo>
                      <a:pt x="63" y="375"/>
                      <a:pt x="0" y="250"/>
                      <a:pt x="31" y="157"/>
                    </a:cubicBezTo>
                    <a:cubicBezTo>
                      <a:pt x="94" y="63"/>
                      <a:pt x="219" y="0"/>
                      <a:pt x="313" y="32"/>
                    </a:cubicBezTo>
                    <a:cubicBezTo>
                      <a:pt x="406" y="94"/>
                      <a:pt x="469" y="219"/>
                      <a:pt x="406" y="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40" name="Freeform 37"/>
              <p:cNvSpPr>
                <a:spLocks noChangeArrowheads="1"/>
              </p:cNvSpPr>
              <p:nvPr/>
            </p:nvSpPr>
            <p:spPr bwMode="auto">
              <a:xfrm>
                <a:off x="6303963" y="4456113"/>
                <a:ext cx="169862" cy="158750"/>
              </a:xfrm>
              <a:custGeom>
                <a:avLst/>
                <a:gdLst>
                  <a:gd name="T0" fmla="*/ 406 w 470"/>
                  <a:gd name="T1" fmla="*/ 125 h 439"/>
                  <a:gd name="T2" fmla="*/ 406 w 470"/>
                  <a:gd name="T3" fmla="*/ 125 h 439"/>
                  <a:gd name="T4" fmla="*/ 313 w 470"/>
                  <a:gd name="T5" fmla="*/ 407 h 439"/>
                  <a:gd name="T6" fmla="*/ 31 w 470"/>
                  <a:gd name="T7" fmla="*/ 282 h 439"/>
                  <a:gd name="T8" fmla="*/ 156 w 470"/>
                  <a:gd name="T9" fmla="*/ 32 h 439"/>
                  <a:gd name="T10" fmla="*/ 406 w 470"/>
                  <a:gd name="T11" fmla="*/ 125 h 439"/>
                </a:gdLst>
                <a:ahLst/>
                <a:cxnLst>
                  <a:cxn ang="0">
                    <a:pos x="T0" y="T1"/>
                  </a:cxn>
                  <a:cxn ang="0">
                    <a:pos x="T2" y="T3"/>
                  </a:cxn>
                  <a:cxn ang="0">
                    <a:pos x="T4" y="T5"/>
                  </a:cxn>
                  <a:cxn ang="0">
                    <a:pos x="T6" y="T7"/>
                  </a:cxn>
                  <a:cxn ang="0">
                    <a:pos x="T8" y="T9"/>
                  </a:cxn>
                  <a:cxn ang="0">
                    <a:pos x="T10" y="T11"/>
                  </a:cxn>
                </a:cxnLst>
                <a:rect l="0" t="0" r="r" b="b"/>
                <a:pathLst>
                  <a:path w="470" h="439">
                    <a:moveTo>
                      <a:pt x="406" y="125"/>
                    </a:moveTo>
                    <a:lnTo>
                      <a:pt x="406" y="125"/>
                    </a:lnTo>
                    <a:cubicBezTo>
                      <a:pt x="469" y="250"/>
                      <a:pt x="406" y="344"/>
                      <a:pt x="313" y="407"/>
                    </a:cubicBezTo>
                    <a:cubicBezTo>
                      <a:pt x="219" y="438"/>
                      <a:pt x="94" y="407"/>
                      <a:pt x="31" y="282"/>
                    </a:cubicBezTo>
                    <a:cubicBezTo>
                      <a:pt x="0" y="188"/>
                      <a:pt x="63" y="63"/>
                      <a:pt x="156" y="32"/>
                    </a:cubicBezTo>
                    <a:cubicBezTo>
                      <a:pt x="250" y="0"/>
                      <a:pt x="375" y="32"/>
                      <a:pt x="406" y="12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41" name="Freeform 38"/>
              <p:cNvSpPr>
                <a:spLocks noChangeArrowheads="1"/>
              </p:cNvSpPr>
              <p:nvPr/>
            </p:nvSpPr>
            <p:spPr bwMode="auto">
              <a:xfrm>
                <a:off x="4605338" y="3746500"/>
                <a:ext cx="158750" cy="168275"/>
              </a:xfrm>
              <a:custGeom>
                <a:avLst/>
                <a:gdLst>
                  <a:gd name="T0" fmla="*/ 313 w 439"/>
                  <a:gd name="T1" fmla="*/ 406 h 469"/>
                  <a:gd name="T2" fmla="*/ 313 w 439"/>
                  <a:gd name="T3" fmla="*/ 406 h 469"/>
                  <a:gd name="T4" fmla="*/ 32 w 439"/>
                  <a:gd name="T5" fmla="*/ 312 h 469"/>
                  <a:gd name="T6" fmla="*/ 157 w 439"/>
                  <a:gd name="T7" fmla="*/ 31 h 469"/>
                  <a:gd name="T8" fmla="*/ 406 w 439"/>
                  <a:gd name="T9" fmla="*/ 156 h 469"/>
                  <a:gd name="T10" fmla="*/ 313 w 439"/>
                  <a:gd name="T11" fmla="*/ 406 h 469"/>
                </a:gdLst>
                <a:ahLst/>
                <a:cxnLst>
                  <a:cxn ang="0">
                    <a:pos x="T0" y="T1"/>
                  </a:cxn>
                  <a:cxn ang="0">
                    <a:pos x="T2" y="T3"/>
                  </a:cxn>
                  <a:cxn ang="0">
                    <a:pos x="T4" y="T5"/>
                  </a:cxn>
                  <a:cxn ang="0">
                    <a:pos x="T6" y="T7"/>
                  </a:cxn>
                  <a:cxn ang="0">
                    <a:pos x="T8" y="T9"/>
                  </a:cxn>
                  <a:cxn ang="0">
                    <a:pos x="T10" y="T11"/>
                  </a:cxn>
                </a:cxnLst>
                <a:rect l="0" t="0" r="r" b="b"/>
                <a:pathLst>
                  <a:path w="439" h="469">
                    <a:moveTo>
                      <a:pt x="313" y="406"/>
                    </a:moveTo>
                    <a:lnTo>
                      <a:pt x="313" y="406"/>
                    </a:lnTo>
                    <a:cubicBezTo>
                      <a:pt x="188" y="468"/>
                      <a:pt x="94" y="406"/>
                      <a:pt x="32" y="312"/>
                    </a:cubicBezTo>
                    <a:cubicBezTo>
                      <a:pt x="0" y="187"/>
                      <a:pt x="63" y="93"/>
                      <a:pt x="157" y="31"/>
                    </a:cubicBezTo>
                    <a:cubicBezTo>
                      <a:pt x="250" y="0"/>
                      <a:pt x="375" y="62"/>
                      <a:pt x="406" y="156"/>
                    </a:cubicBezTo>
                    <a:cubicBezTo>
                      <a:pt x="438" y="250"/>
                      <a:pt x="406" y="375"/>
                      <a:pt x="313" y="40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42" name="Freeform 39"/>
              <p:cNvSpPr>
                <a:spLocks noChangeArrowheads="1"/>
              </p:cNvSpPr>
              <p:nvPr/>
            </p:nvSpPr>
            <p:spPr bwMode="auto">
              <a:xfrm>
                <a:off x="5607050" y="6153150"/>
                <a:ext cx="157163" cy="158750"/>
              </a:xfrm>
              <a:custGeom>
                <a:avLst/>
                <a:gdLst>
                  <a:gd name="T0" fmla="*/ 281 w 438"/>
                  <a:gd name="T1" fmla="*/ 406 h 439"/>
                  <a:gd name="T2" fmla="*/ 281 w 438"/>
                  <a:gd name="T3" fmla="*/ 406 h 439"/>
                  <a:gd name="T4" fmla="*/ 31 w 438"/>
                  <a:gd name="T5" fmla="*/ 281 h 439"/>
                  <a:gd name="T6" fmla="*/ 125 w 438"/>
                  <a:gd name="T7" fmla="*/ 31 h 439"/>
                  <a:gd name="T8" fmla="*/ 406 w 438"/>
                  <a:gd name="T9" fmla="*/ 156 h 439"/>
                  <a:gd name="T10" fmla="*/ 281 w 438"/>
                  <a:gd name="T11" fmla="*/ 406 h 439"/>
                </a:gdLst>
                <a:ahLst/>
                <a:cxnLst>
                  <a:cxn ang="0">
                    <a:pos x="T0" y="T1"/>
                  </a:cxn>
                  <a:cxn ang="0">
                    <a:pos x="T2" y="T3"/>
                  </a:cxn>
                  <a:cxn ang="0">
                    <a:pos x="T4" y="T5"/>
                  </a:cxn>
                  <a:cxn ang="0">
                    <a:pos x="T6" y="T7"/>
                  </a:cxn>
                  <a:cxn ang="0">
                    <a:pos x="T8" y="T9"/>
                  </a:cxn>
                  <a:cxn ang="0">
                    <a:pos x="T10" y="T11"/>
                  </a:cxn>
                </a:cxnLst>
                <a:rect l="0" t="0" r="r" b="b"/>
                <a:pathLst>
                  <a:path w="438" h="439">
                    <a:moveTo>
                      <a:pt x="281" y="406"/>
                    </a:moveTo>
                    <a:lnTo>
                      <a:pt x="281" y="406"/>
                    </a:lnTo>
                    <a:cubicBezTo>
                      <a:pt x="187" y="438"/>
                      <a:pt x="62" y="406"/>
                      <a:pt x="31" y="281"/>
                    </a:cubicBezTo>
                    <a:cubicBezTo>
                      <a:pt x="0" y="188"/>
                      <a:pt x="31" y="63"/>
                      <a:pt x="125" y="31"/>
                    </a:cubicBezTo>
                    <a:cubicBezTo>
                      <a:pt x="250" y="0"/>
                      <a:pt x="343" y="31"/>
                      <a:pt x="406" y="156"/>
                    </a:cubicBezTo>
                    <a:cubicBezTo>
                      <a:pt x="437" y="250"/>
                      <a:pt x="375" y="344"/>
                      <a:pt x="281" y="40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43" name="Freeform 40"/>
              <p:cNvSpPr>
                <a:spLocks noChangeArrowheads="1"/>
              </p:cNvSpPr>
              <p:nvPr/>
            </p:nvSpPr>
            <p:spPr bwMode="auto">
              <a:xfrm>
                <a:off x="5359400" y="6232525"/>
                <a:ext cx="158750" cy="146050"/>
              </a:xfrm>
              <a:custGeom>
                <a:avLst/>
                <a:gdLst>
                  <a:gd name="T0" fmla="*/ 188 w 439"/>
                  <a:gd name="T1" fmla="*/ 0 h 407"/>
                  <a:gd name="T2" fmla="*/ 188 w 439"/>
                  <a:gd name="T3" fmla="*/ 0 h 407"/>
                  <a:gd name="T4" fmla="*/ 406 w 439"/>
                  <a:gd name="T5" fmla="*/ 156 h 407"/>
                  <a:gd name="T6" fmla="*/ 250 w 439"/>
                  <a:gd name="T7" fmla="*/ 406 h 407"/>
                  <a:gd name="T8" fmla="*/ 31 w 439"/>
                  <a:gd name="T9" fmla="*/ 250 h 407"/>
                  <a:gd name="T10" fmla="*/ 188 w 439"/>
                  <a:gd name="T11" fmla="*/ 0 h 407"/>
                </a:gdLst>
                <a:ahLst/>
                <a:cxnLst>
                  <a:cxn ang="0">
                    <a:pos x="T0" y="T1"/>
                  </a:cxn>
                  <a:cxn ang="0">
                    <a:pos x="T2" y="T3"/>
                  </a:cxn>
                  <a:cxn ang="0">
                    <a:pos x="T4" y="T5"/>
                  </a:cxn>
                  <a:cxn ang="0">
                    <a:pos x="T6" y="T7"/>
                  </a:cxn>
                  <a:cxn ang="0">
                    <a:pos x="T8" y="T9"/>
                  </a:cxn>
                  <a:cxn ang="0">
                    <a:pos x="T10" y="T11"/>
                  </a:cxn>
                </a:cxnLst>
                <a:rect l="0" t="0" r="r" b="b"/>
                <a:pathLst>
                  <a:path w="439" h="407">
                    <a:moveTo>
                      <a:pt x="188" y="0"/>
                    </a:moveTo>
                    <a:lnTo>
                      <a:pt x="188" y="0"/>
                    </a:lnTo>
                    <a:cubicBezTo>
                      <a:pt x="281" y="0"/>
                      <a:pt x="406" y="62"/>
                      <a:pt x="406" y="156"/>
                    </a:cubicBezTo>
                    <a:cubicBezTo>
                      <a:pt x="438" y="281"/>
                      <a:pt x="375" y="375"/>
                      <a:pt x="250" y="406"/>
                    </a:cubicBezTo>
                    <a:cubicBezTo>
                      <a:pt x="156" y="406"/>
                      <a:pt x="31" y="344"/>
                      <a:pt x="31" y="250"/>
                    </a:cubicBezTo>
                    <a:cubicBezTo>
                      <a:pt x="0" y="125"/>
                      <a:pt x="63" y="31"/>
                      <a:pt x="188"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44" name="Freeform 41"/>
              <p:cNvSpPr>
                <a:spLocks noChangeArrowheads="1"/>
              </p:cNvSpPr>
              <p:nvPr/>
            </p:nvSpPr>
            <p:spPr bwMode="auto">
              <a:xfrm>
                <a:off x="4852988" y="3679825"/>
                <a:ext cx="157162" cy="158750"/>
              </a:xfrm>
              <a:custGeom>
                <a:avLst/>
                <a:gdLst>
                  <a:gd name="T0" fmla="*/ 187 w 438"/>
                  <a:gd name="T1" fmla="*/ 0 h 439"/>
                  <a:gd name="T2" fmla="*/ 187 w 438"/>
                  <a:gd name="T3" fmla="*/ 0 h 439"/>
                  <a:gd name="T4" fmla="*/ 406 w 438"/>
                  <a:gd name="T5" fmla="*/ 156 h 439"/>
                  <a:gd name="T6" fmla="*/ 250 w 438"/>
                  <a:gd name="T7" fmla="*/ 406 h 439"/>
                  <a:gd name="T8" fmla="*/ 31 w 438"/>
                  <a:gd name="T9" fmla="*/ 250 h 439"/>
                  <a:gd name="T10" fmla="*/ 187 w 438"/>
                  <a:gd name="T11" fmla="*/ 0 h 439"/>
                </a:gdLst>
                <a:ahLst/>
                <a:cxnLst>
                  <a:cxn ang="0">
                    <a:pos x="T0" y="T1"/>
                  </a:cxn>
                  <a:cxn ang="0">
                    <a:pos x="T2" y="T3"/>
                  </a:cxn>
                  <a:cxn ang="0">
                    <a:pos x="T4" y="T5"/>
                  </a:cxn>
                  <a:cxn ang="0">
                    <a:pos x="T6" y="T7"/>
                  </a:cxn>
                  <a:cxn ang="0">
                    <a:pos x="T8" y="T9"/>
                  </a:cxn>
                  <a:cxn ang="0">
                    <a:pos x="T10" y="T11"/>
                  </a:cxn>
                </a:cxnLst>
                <a:rect l="0" t="0" r="r" b="b"/>
                <a:pathLst>
                  <a:path w="438" h="439">
                    <a:moveTo>
                      <a:pt x="187" y="0"/>
                    </a:moveTo>
                    <a:lnTo>
                      <a:pt x="187" y="0"/>
                    </a:lnTo>
                    <a:cubicBezTo>
                      <a:pt x="281" y="0"/>
                      <a:pt x="375" y="63"/>
                      <a:pt x="406" y="156"/>
                    </a:cubicBezTo>
                    <a:cubicBezTo>
                      <a:pt x="437" y="281"/>
                      <a:pt x="375" y="375"/>
                      <a:pt x="250" y="406"/>
                    </a:cubicBezTo>
                    <a:cubicBezTo>
                      <a:pt x="156" y="438"/>
                      <a:pt x="31" y="344"/>
                      <a:pt x="31" y="250"/>
                    </a:cubicBezTo>
                    <a:cubicBezTo>
                      <a:pt x="0" y="125"/>
                      <a:pt x="62" y="31"/>
                      <a:pt x="187"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45" name="Freeform 42"/>
              <p:cNvSpPr>
                <a:spLocks noChangeArrowheads="1"/>
              </p:cNvSpPr>
              <p:nvPr/>
            </p:nvSpPr>
            <p:spPr bwMode="auto">
              <a:xfrm>
                <a:off x="6383338" y="4703763"/>
                <a:ext cx="157162" cy="146050"/>
              </a:xfrm>
              <a:custGeom>
                <a:avLst/>
                <a:gdLst>
                  <a:gd name="T0" fmla="*/ 406 w 438"/>
                  <a:gd name="T1" fmla="*/ 156 h 407"/>
                  <a:gd name="T2" fmla="*/ 406 w 438"/>
                  <a:gd name="T3" fmla="*/ 156 h 407"/>
                  <a:gd name="T4" fmla="*/ 250 w 438"/>
                  <a:gd name="T5" fmla="*/ 406 h 407"/>
                  <a:gd name="T6" fmla="*/ 31 w 438"/>
                  <a:gd name="T7" fmla="*/ 250 h 407"/>
                  <a:gd name="T8" fmla="*/ 187 w 438"/>
                  <a:gd name="T9" fmla="*/ 0 h 407"/>
                  <a:gd name="T10" fmla="*/ 406 w 438"/>
                  <a:gd name="T11" fmla="*/ 156 h 407"/>
                </a:gdLst>
                <a:ahLst/>
                <a:cxnLst>
                  <a:cxn ang="0">
                    <a:pos x="T0" y="T1"/>
                  </a:cxn>
                  <a:cxn ang="0">
                    <a:pos x="T2" y="T3"/>
                  </a:cxn>
                  <a:cxn ang="0">
                    <a:pos x="T4" y="T5"/>
                  </a:cxn>
                  <a:cxn ang="0">
                    <a:pos x="T6" y="T7"/>
                  </a:cxn>
                  <a:cxn ang="0">
                    <a:pos x="T8" y="T9"/>
                  </a:cxn>
                  <a:cxn ang="0">
                    <a:pos x="T10" y="T11"/>
                  </a:cxn>
                </a:cxnLst>
                <a:rect l="0" t="0" r="r" b="b"/>
                <a:pathLst>
                  <a:path w="438" h="407">
                    <a:moveTo>
                      <a:pt x="406" y="156"/>
                    </a:moveTo>
                    <a:lnTo>
                      <a:pt x="406" y="156"/>
                    </a:lnTo>
                    <a:cubicBezTo>
                      <a:pt x="437" y="281"/>
                      <a:pt x="375" y="375"/>
                      <a:pt x="250" y="406"/>
                    </a:cubicBezTo>
                    <a:cubicBezTo>
                      <a:pt x="156" y="406"/>
                      <a:pt x="31" y="344"/>
                      <a:pt x="31" y="250"/>
                    </a:cubicBezTo>
                    <a:cubicBezTo>
                      <a:pt x="0" y="125"/>
                      <a:pt x="62" y="31"/>
                      <a:pt x="187" y="0"/>
                    </a:cubicBezTo>
                    <a:cubicBezTo>
                      <a:pt x="281" y="0"/>
                      <a:pt x="375" y="62"/>
                      <a:pt x="406" y="15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46" name="Freeform 43"/>
              <p:cNvSpPr>
                <a:spLocks noChangeArrowheads="1"/>
              </p:cNvSpPr>
              <p:nvPr/>
            </p:nvSpPr>
            <p:spPr bwMode="auto">
              <a:xfrm>
                <a:off x="5821363" y="3870325"/>
                <a:ext cx="169862" cy="158750"/>
              </a:xfrm>
              <a:custGeom>
                <a:avLst/>
                <a:gdLst>
                  <a:gd name="T0" fmla="*/ 344 w 470"/>
                  <a:gd name="T1" fmla="*/ 63 h 439"/>
                  <a:gd name="T2" fmla="*/ 344 w 470"/>
                  <a:gd name="T3" fmla="*/ 63 h 439"/>
                  <a:gd name="T4" fmla="*/ 407 w 470"/>
                  <a:gd name="T5" fmla="*/ 313 h 439"/>
                  <a:gd name="T6" fmla="*/ 125 w 470"/>
                  <a:gd name="T7" fmla="*/ 375 h 439"/>
                  <a:gd name="T8" fmla="*/ 63 w 470"/>
                  <a:gd name="T9" fmla="*/ 94 h 439"/>
                  <a:gd name="T10" fmla="*/ 344 w 470"/>
                  <a:gd name="T11" fmla="*/ 63 h 439"/>
                </a:gdLst>
                <a:ahLst/>
                <a:cxnLst>
                  <a:cxn ang="0">
                    <a:pos x="T0" y="T1"/>
                  </a:cxn>
                  <a:cxn ang="0">
                    <a:pos x="T2" y="T3"/>
                  </a:cxn>
                  <a:cxn ang="0">
                    <a:pos x="T4" y="T5"/>
                  </a:cxn>
                  <a:cxn ang="0">
                    <a:pos x="T6" y="T7"/>
                  </a:cxn>
                  <a:cxn ang="0">
                    <a:pos x="T8" y="T9"/>
                  </a:cxn>
                  <a:cxn ang="0">
                    <a:pos x="T10" y="T11"/>
                  </a:cxn>
                </a:cxnLst>
                <a:rect l="0" t="0" r="r" b="b"/>
                <a:pathLst>
                  <a:path w="470" h="439">
                    <a:moveTo>
                      <a:pt x="344" y="63"/>
                    </a:moveTo>
                    <a:lnTo>
                      <a:pt x="344" y="63"/>
                    </a:lnTo>
                    <a:cubicBezTo>
                      <a:pt x="438" y="125"/>
                      <a:pt x="469" y="250"/>
                      <a:pt x="407" y="313"/>
                    </a:cubicBezTo>
                    <a:cubicBezTo>
                      <a:pt x="344" y="407"/>
                      <a:pt x="219" y="438"/>
                      <a:pt x="125" y="375"/>
                    </a:cubicBezTo>
                    <a:cubicBezTo>
                      <a:pt x="32" y="313"/>
                      <a:pt x="0" y="188"/>
                      <a:pt x="63" y="94"/>
                    </a:cubicBezTo>
                    <a:cubicBezTo>
                      <a:pt x="125" y="0"/>
                      <a:pt x="250" y="0"/>
                      <a:pt x="344" y="6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47" name="Freeform 44"/>
              <p:cNvSpPr>
                <a:spLocks noChangeArrowheads="1"/>
              </p:cNvSpPr>
              <p:nvPr/>
            </p:nvSpPr>
            <p:spPr bwMode="auto">
              <a:xfrm>
                <a:off x="4021138" y="4230688"/>
                <a:ext cx="169862" cy="158750"/>
              </a:xfrm>
              <a:custGeom>
                <a:avLst/>
                <a:gdLst>
                  <a:gd name="T0" fmla="*/ 407 w 470"/>
                  <a:gd name="T1" fmla="*/ 313 h 439"/>
                  <a:gd name="T2" fmla="*/ 407 w 470"/>
                  <a:gd name="T3" fmla="*/ 313 h 439"/>
                  <a:gd name="T4" fmla="*/ 125 w 470"/>
                  <a:gd name="T5" fmla="*/ 375 h 439"/>
                  <a:gd name="T6" fmla="*/ 63 w 470"/>
                  <a:gd name="T7" fmla="*/ 94 h 439"/>
                  <a:gd name="T8" fmla="*/ 344 w 470"/>
                  <a:gd name="T9" fmla="*/ 63 h 439"/>
                  <a:gd name="T10" fmla="*/ 407 w 470"/>
                  <a:gd name="T11" fmla="*/ 313 h 439"/>
                </a:gdLst>
                <a:ahLst/>
                <a:cxnLst>
                  <a:cxn ang="0">
                    <a:pos x="T0" y="T1"/>
                  </a:cxn>
                  <a:cxn ang="0">
                    <a:pos x="T2" y="T3"/>
                  </a:cxn>
                  <a:cxn ang="0">
                    <a:pos x="T4" y="T5"/>
                  </a:cxn>
                  <a:cxn ang="0">
                    <a:pos x="T6" y="T7"/>
                  </a:cxn>
                  <a:cxn ang="0">
                    <a:pos x="T8" y="T9"/>
                  </a:cxn>
                  <a:cxn ang="0">
                    <a:pos x="T10" y="T11"/>
                  </a:cxn>
                </a:cxnLst>
                <a:rect l="0" t="0" r="r" b="b"/>
                <a:pathLst>
                  <a:path w="470" h="439">
                    <a:moveTo>
                      <a:pt x="407" y="313"/>
                    </a:moveTo>
                    <a:lnTo>
                      <a:pt x="407" y="313"/>
                    </a:lnTo>
                    <a:cubicBezTo>
                      <a:pt x="344" y="407"/>
                      <a:pt x="219" y="438"/>
                      <a:pt x="125" y="375"/>
                    </a:cubicBezTo>
                    <a:cubicBezTo>
                      <a:pt x="32" y="313"/>
                      <a:pt x="0" y="188"/>
                      <a:pt x="63" y="94"/>
                    </a:cubicBezTo>
                    <a:cubicBezTo>
                      <a:pt x="125" y="0"/>
                      <a:pt x="250" y="0"/>
                      <a:pt x="344" y="63"/>
                    </a:cubicBezTo>
                    <a:cubicBezTo>
                      <a:pt x="438" y="125"/>
                      <a:pt x="469" y="219"/>
                      <a:pt x="407" y="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48" name="Freeform 45"/>
              <p:cNvSpPr>
                <a:spLocks noChangeArrowheads="1"/>
              </p:cNvSpPr>
              <p:nvPr/>
            </p:nvSpPr>
            <p:spPr bwMode="auto">
              <a:xfrm>
                <a:off x="6180138" y="5670550"/>
                <a:ext cx="169862" cy="169863"/>
              </a:xfrm>
              <a:custGeom>
                <a:avLst/>
                <a:gdLst>
                  <a:gd name="T0" fmla="*/ 407 w 470"/>
                  <a:gd name="T1" fmla="*/ 344 h 470"/>
                  <a:gd name="T2" fmla="*/ 407 w 470"/>
                  <a:gd name="T3" fmla="*/ 344 h 470"/>
                  <a:gd name="T4" fmla="*/ 125 w 470"/>
                  <a:gd name="T5" fmla="*/ 407 h 470"/>
                  <a:gd name="T6" fmla="*/ 63 w 470"/>
                  <a:gd name="T7" fmla="*/ 125 h 470"/>
                  <a:gd name="T8" fmla="*/ 344 w 470"/>
                  <a:gd name="T9" fmla="*/ 63 h 470"/>
                  <a:gd name="T10" fmla="*/ 407 w 470"/>
                  <a:gd name="T11" fmla="*/ 344 h 470"/>
                </a:gdLst>
                <a:ahLst/>
                <a:cxnLst>
                  <a:cxn ang="0">
                    <a:pos x="T0" y="T1"/>
                  </a:cxn>
                  <a:cxn ang="0">
                    <a:pos x="T2" y="T3"/>
                  </a:cxn>
                  <a:cxn ang="0">
                    <a:pos x="T4" y="T5"/>
                  </a:cxn>
                  <a:cxn ang="0">
                    <a:pos x="T6" y="T7"/>
                  </a:cxn>
                  <a:cxn ang="0">
                    <a:pos x="T8" y="T9"/>
                  </a:cxn>
                  <a:cxn ang="0">
                    <a:pos x="T10" y="T11"/>
                  </a:cxn>
                </a:cxnLst>
                <a:rect l="0" t="0" r="r" b="b"/>
                <a:pathLst>
                  <a:path w="470" h="470">
                    <a:moveTo>
                      <a:pt x="407" y="344"/>
                    </a:moveTo>
                    <a:lnTo>
                      <a:pt x="407" y="344"/>
                    </a:lnTo>
                    <a:cubicBezTo>
                      <a:pt x="344" y="438"/>
                      <a:pt x="219" y="469"/>
                      <a:pt x="125" y="407"/>
                    </a:cubicBezTo>
                    <a:cubicBezTo>
                      <a:pt x="32" y="344"/>
                      <a:pt x="0" y="219"/>
                      <a:pt x="63" y="125"/>
                    </a:cubicBezTo>
                    <a:cubicBezTo>
                      <a:pt x="125" y="32"/>
                      <a:pt x="250" y="0"/>
                      <a:pt x="344" y="63"/>
                    </a:cubicBezTo>
                    <a:cubicBezTo>
                      <a:pt x="438" y="125"/>
                      <a:pt x="469" y="250"/>
                      <a:pt x="407" y="34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49" name="Freeform 46"/>
              <p:cNvSpPr>
                <a:spLocks noChangeArrowheads="1"/>
              </p:cNvSpPr>
              <p:nvPr/>
            </p:nvSpPr>
            <p:spPr bwMode="auto">
              <a:xfrm>
                <a:off x="5359400" y="3679825"/>
                <a:ext cx="158750" cy="158750"/>
              </a:xfrm>
              <a:custGeom>
                <a:avLst/>
                <a:gdLst>
                  <a:gd name="T0" fmla="*/ 250 w 439"/>
                  <a:gd name="T1" fmla="*/ 0 h 439"/>
                  <a:gd name="T2" fmla="*/ 250 w 439"/>
                  <a:gd name="T3" fmla="*/ 0 h 439"/>
                  <a:gd name="T4" fmla="*/ 406 w 439"/>
                  <a:gd name="T5" fmla="*/ 250 h 439"/>
                  <a:gd name="T6" fmla="*/ 188 w 439"/>
                  <a:gd name="T7" fmla="*/ 406 h 439"/>
                  <a:gd name="T8" fmla="*/ 31 w 439"/>
                  <a:gd name="T9" fmla="*/ 156 h 439"/>
                  <a:gd name="T10" fmla="*/ 250 w 439"/>
                  <a:gd name="T11" fmla="*/ 0 h 439"/>
                </a:gdLst>
                <a:ahLst/>
                <a:cxnLst>
                  <a:cxn ang="0">
                    <a:pos x="T0" y="T1"/>
                  </a:cxn>
                  <a:cxn ang="0">
                    <a:pos x="T2" y="T3"/>
                  </a:cxn>
                  <a:cxn ang="0">
                    <a:pos x="T4" y="T5"/>
                  </a:cxn>
                  <a:cxn ang="0">
                    <a:pos x="T6" y="T7"/>
                  </a:cxn>
                  <a:cxn ang="0">
                    <a:pos x="T8" y="T9"/>
                  </a:cxn>
                  <a:cxn ang="0">
                    <a:pos x="T10" y="T11"/>
                  </a:cxn>
                </a:cxnLst>
                <a:rect l="0" t="0" r="r" b="b"/>
                <a:pathLst>
                  <a:path w="439" h="439">
                    <a:moveTo>
                      <a:pt x="250" y="0"/>
                    </a:moveTo>
                    <a:lnTo>
                      <a:pt x="250" y="0"/>
                    </a:lnTo>
                    <a:cubicBezTo>
                      <a:pt x="375" y="31"/>
                      <a:pt x="438" y="125"/>
                      <a:pt x="406" y="250"/>
                    </a:cubicBezTo>
                    <a:cubicBezTo>
                      <a:pt x="406" y="344"/>
                      <a:pt x="281" y="438"/>
                      <a:pt x="188" y="406"/>
                    </a:cubicBezTo>
                    <a:cubicBezTo>
                      <a:pt x="63" y="375"/>
                      <a:pt x="0" y="281"/>
                      <a:pt x="31" y="156"/>
                    </a:cubicBezTo>
                    <a:cubicBezTo>
                      <a:pt x="31" y="63"/>
                      <a:pt x="156" y="0"/>
                      <a:pt x="25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50" name="Freeform 47"/>
              <p:cNvSpPr>
                <a:spLocks noChangeArrowheads="1"/>
              </p:cNvSpPr>
              <p:nvPr/>
            </p:nvSpPr>
            <p:spPr bwMode="auto">
              <a:xfrm>
                <a:off x="3830638" y="4703763"/>
                <a:ext cx="157162" cy="146050"/>
              </a:xfrm>
              <a:custGeom>
                <a:avLst/>
                <a:gdLst>
                  <a:gd name="T0" fmla="*/ 405 w 438"/>
                  <a:gd name="T1" fmla="*/ 250 h 407"/>
                  <a:gd name="T2" fmla="*/ 405 w 438"/>
                  <a:gd name="T3" fmla="*/ 250 h 407"/>
                  <a:gd name="T4" fmla="*/ 187 w 438"/>
                  <a:gd name="T5" fmla="*/ 406 h 407"/>
                  <a:gd name="T6" fmla="*/ 31 w 438"/>
                  <a:gd name="T7" fmla="*/ 156 h 407"/>
                  <a:gd name="T8" fmla="*/ 249 w 438"/>
                  <a:gd name="T9" fmla="*/ 0 h 407"/>
                  <a:gd name="T10" fmla="*/ 405 w 438"/>
                  <a:gd name="T11" fmla="*/ 250 h 407"/>
                </a:gdLst>
                <a:ahLst/>
                <a:cxnLst>
                  <a:cxn ang="0">
                    <a:pos x="T0" y="T1"/>
                  </a:cxn>
                  <a:cxn ang="0">
                    <a:pos x="T2" y="T3"/>
                  </a:cxn>
                  <a:cxn ang="0">
                    <a:pos x="T4" y="T5"/>
                  </a:cxn>
                  <a:cxn ang="0">
                    <a:pos x="T6" y="T7"/>
                  </a:cxn>
                  <a:cxn ang="0">
                    <a:pos x="T8" y="T9"/>
                  </a:cxn>
                  <a:cxn ang="0">
                    <a:pos x="T10" y="T11"/>
                  </a:cxn>
                </a:cxnLst>
                <a:rect l="0" t="0" r="r" b="b"/>
                <a:pathLst>
                  <a:path w="438" h="407">
                    <a:moveTo>
                      <a:pt x="405" y="250"/>
                    </a:moveTo>
                    <a:lnTo>
                      <a:pt x="405" y="250"/>
                    </a:lnTo>
                    <a:cubicBezTo>
                      <a:pt x="405" y="344"/>
                      <a:pt x="280" y="406"/>
                      <a:pt x="187" y="406"/>
                    </a:cubicBezTo>
                    <a:cubicBezTo>
                      <a:pt x="63" y="375"/>
                      <a:pt x="0" y="281"/>
                      <a:pt x="31" y="156"/>
                    </a:cubicBezTo>
                    <a:cubicBezTo>
                      <a:pt x="63" y="62"/>
                      <a:pt x="156" y="0"/>
                      <a:pt x="249" y="0"/>
                    </a:cubicBezTo>
                    <a:cubicBezTo>
                      <a:pt x="374" y="31"/>
                      <a:pt x="437" y="125"/>
                      <a:pt x="405" y="25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51" name="Freeform 48"/>
              <p:cNvSpPr>
                <a:spLocks noChangeArrowheads="1"/>
              </p:cNvSpPr>
              <p:nvPr/>
            </p:nvSpPr>
            <p:spPr bwMode="auto">
              <a:xfrm>
                <a:off x="6383338" y="5208588"/>
                <a:ext cx="157162" cy="158750"/>
              </a:xfrm>
              <a:custGeom>
                <a:avLst/>
                <a:gdLst>
                  <a:gd name="T0" fmla="*/ 406 w 438"/>
                  <a:gd name="T1" fmla="*/ 250 h 439"/>
                  <a:gd name="T2" fmla="*/ 406 w 438"/>
                  <a:gd name="T3" fmla="*/ 250 h 439"/>
                  <a:gd name="T4" fmla="*/ 187 w 438"/>
                  <a:gd name="T5" fmla="*/ 406 h 439"/>
                  <a:gd name="T6" fmla="*/ 31 w 438"/>
                  <a:gd name="T7" fmla="*/ 156 h 439"/>
                  <a:gd name="T8" fmla="*/ 250 w 438"/>
                  <a:gd name="T9" fmla="*/ 0 h 439"/>
                  <a:gd name="T10" fmla="*/ 406 w 438"/>
                  <a:gd name="T11" fmla="*/ 250 h 439"/>
                </a:gdLst>
                <a:ahLst/>
                <a:cxnLst>
                  <a:cxn ang="0">
                    <a:pos x="T0" y="T1"/>
                  </a:cxn>
                  <a:cxn ang="0">
                    <a:pos x="T2" y="T3"/>
                  </a:cxn>
                  <a:cxn ang="0">
                    <a:pos x="T4" y="T5"/>
                  </a:cxn>
                  <a:cxn ang="0">
                    <a:pos x="T6" y="T7"/>
                  </a:cxn>
                  <a:cxn ang="0">
                    <a:pos x="T8" y="T9"/>
                  </a:cxn>
                  <a:cxn ang="0">
                    <a:pos x="T10" y="T11"/>
                  </a:cxn>
                </a:cxnLst>
                <a:rect l="0" t="0" r="r" b="b"/>
                <a:pathLst>
                  <a:path w="438" h="439">
                    <a:moveTo>
                      <a:pt x="406" y="250"/>
                    </a:moveTo>
                    <a:lnTo>
                      <a:pt x="406" y="250"/>
                    </a:lnTo>
                    <a:cubicBezTo>
                      <a:pt x="375" y="344"/>
                      <a:pt x="281" y="438"/>
                      <a:pt x="187" y="406"/>
                    </a:cubicBezTo>
                    <a:cubicBezTo>
                      <a:pt x="62" y="375"/>
                      <a:pt x="0" y="281"/>
                      <a:pt x="31" y="156"/>
                    </a:cubicBezTo>
                    <a:cubicBezTo>
                      <a:pt x="31" y="63"/>
                      <a:pt x="156" y="0"/>
                      <a:pt x="250" y="0"/>
                    </a:cubicBezTo>
                    <a:cubicBezTo>
                      <a:pt x="375" y="31"/>
                      <a:pt x="437" y="125"/>
                      <a:pt x="406" y="25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52" name="Freeform 49"/>
              <p:cNvSpPr>
                <a:spLocks noChangeArrowheads="1"/>
              </p:cNvSpPr>
              <p:nvPr/>
            </p:nvSpPr>
            <p:spPr bwMode="auto">
              <a:xfrm>
                <a:off x="6180138" y="4230688"/>
                <a:ext cx="169862" cy="158750"/>
              </a:xfrm>
              <a:custGeom>
                <a:avLst/>
                <a:gdLst>
                  <a:gd name="T0" fmla="*/ 407 w 470"/>
                  <a:gd name="T1" fmla="*/ 94 h 439"/>
                  <a:gd name="T2" fmla="*/ 407 w 470"/>
                  <a:gd name="T3" fmla="*/ 94 h 439"/>
                  <a:gd name="T4" fmla="*/ 344 w 470"/>
                  <a:gd name="T5" fmla="*/ 375 h 439"/>
                  <a:gd name="T6" fmla="*/ 63 w 470"/>
                  <a:gd name="T7" fmla="*/ 313 h 439"/>
                  <a:gd name="T8" fmla="*/ 125 w 470"/>
                  <a:gd name="T9" fmla="*/ 63 h 439"/>
                  <a:gd name="T10" fmla="*/ 407 w 470"/>
                  <a:gd name="T11" fmla="*/ 94 h 439"/>
                </a:gdLst>
                <a:ahLst/>
                <a:cxnLst>
                  <a:cxn ang="0">
                    <a:pos x="T0" y="T1"/>
                  </a:cxn>
                  <a:cxn ang="0">
                    <a:pos x="T2" y="T3"/>
                  </a:cxn>
                  <a:cxn ang="0">
                    <a:pos x="T4" y="T5"/>
                  </a:cxn>
                  <a:cxn ang="0">
                    <a:pos x="T6" y="T7"/>
                  </a:cxn>
                  <a:cxn ang="0">
                    <a:pos x="T8" y="T9"/>
                  </a:cxn>
                  <a:cxn ang="0">
                    <a:pos x="T10" y="T11"/>
                  </a:cxn>
                </a:cxnLst>
                <a:rect l="0" t="0" r="r" b="b"/>
                <a:pathLst>
                  <a:path w="470" h="439">
                    <a:moveTo>
                      <a:pt x="407" y="94"/>
                    </a:moveTo>
                    <a:lnTo>
                      <a:pt x="407" y="94"/>
                    </a:lnTo>
                    <a:cubicBezTo>
                      <a:pt x="469" y="188"/>
                      <a:pt x="438" y="313"/>
                      <a:pt x="344" y="375"/>
                    </a:cubicBezTo>
                    <a:cubicBezTo>
                      <a:pt x="250" y="438"/>
                      <a:pt x="125" y="407"/>
                      <a:pt x="63" y="313"/>
                    </a:cubicBezTo>
                    <a:cubicBezTo>
                      <a:pt x="0" y="219"/>
                      <a:pt x="32" y="125"/>
                      <a:pt x="125" y="63"/>
                    </a:cubicBezTo>
                    <a:cubicBezTo>
                      <a:pt x="219" y="0"/>
                      <a:pt x="344" y="0"/>
                      <a:pt x="407" y="9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53" name="Freeform 50"/>
              <p:cNvSpPr>
                <a:spLocks noChangeArrowheads="1"/>
              </p:cNvSpPr>
              <p:nvPr/>
            </p:nvSpPr>
            <p:spPr bwMode="auto">
              <a:xfrm>
                <a:off x="4381500" y="3870325"/>
                <a:ext cx="158750" cy="158750"/>
              </a:xfrm>
              <a:custGeom>
                <a:avLst/>
                <a:gdLst>
                  <a:gd name="T0" fmla="*/ 344 w 439"/>
                  <a:gd name="T1" fmla="*/ 375 h 439"/>
                  <a:gd name="T2" fmla="*/ 344 w 439"/>
                  <a:gd name="T3" fmla="*/ 375 h 439"/>
                  <a:gd name="T4" fmla="*/ 63 w 439"/>
                  <a:gd name="T5" fmla="*/ 313 h 439"/>
                  <a:gd name="T6" fmla="*/ 125 w 439"/>
                  <a:gd name="T7" fmla="*/ 63 h 439"/>
                  <a:gd name="T8" fmla="*/ 407 w 439"/>
                  <a:gd name="T9" fmla="*/ 94 h 439"/>
                  <a:gd name="T10" fmla="*/ 344 w 439"/>
                  <a:gd name="T11" fmla="*/ 375 h 439"/>
                </a:gdLst>
                <a:ahLst/>
                <a:cxnLst>
                  <a:cxn ang="0">
                    <a:pos x="T0" y="T1"/>
                  </a:cxn>
                  <a:cxn ang="0">
                    <a:pos x="T2" y="T3"/>
                  </a:cxn>
                  <a:cxn ang="0">
                    <a:pos x="T4" y="T5"/>
                  </a:cxn>
                  <a:cxn ang="0">
                    <a:pos x="T6" y="T7"/>
                  </a:cxn>
                  <a:cxn ang="0">
                    <a:pos x="T8" y="T9"/>
                  </a:cxn>
                  <a:cxn ang="0">
                    <a:pos x="T10" y="T11"/>
                  </a:cxn>
                </a:cxnLst>
                <a:rect l="0" t="0" r="r" b="b"/>
                <a:pathLst>
                  <a:path w="439" h="439">
                    <a:moveTo>
                      <a:pt x="344" y="375"/>
                    </a:moveTo>
                    <a:lnTo>
                      <a:pt x="344" y="375"/>
                    </a:lnTo>
                    <a:cubicBezTo>
                      <a:pt x="250" y="438"/>
                      <a:pt x="125" y="407"/>
                      <a:pt x="63" y="313"/>
                    </a:cubicBezTo>
                    <a:cubicBezTo>
                      <a:pt x="0" y="250"/>
                      <a:pt x="32" y="125"/>
                      <a:pt x="125" y="63"/>
                    </a:cubicBezTo>
                    <a:cubicBezTo>
                      <a:pt x="219" y="0"/>
                      <a:pt x="344" y="0"/>
                      <a:pt x="407" y="94"/>
                    </a:cubicBezTo>
                    <a:cubicBezTo>
                      <a:pt x="438" y="188"/>
                      <a:pt x="438" y="313"/>
                      <a:pt x="344"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sp>
            <p:nvSpPr>
              <p:cNvPr id="54" name="Freeform 51"/>
              <p:cNvSpPr>
                <a:spLocks noChangeArrowheads="1"/>
              </p:cNvSpPr>
              <p:nvPr/>
            </p:nvSpPr>
            <p:spPr bwMode="auto">
              <a:xfrm>
                <a:off x="5821363" y="6029325"/>
                <a:ext cx="169862" cy="169863"/>
              </a:xfrm>
              <a:custGeom>
                <a:avLst/>
                <a:gdLst>
                  <a:gd name="T0" fmla="*/ 344 w 470"/>
                  <a:gd name="T1" fmla="*/ 407 h 470"/>
                  <a:gd name="T2" fmla="*/ 344 w 470"/>
                  <a:gd name="T3" fmla="*/ 407 h 470"/>
                  <a:gd name="T4" fmla="*/ 63 w 470"/>
                  <a:gd name="T5" fmla="*/ 344 h 470"/>
                  <a:gd name="T6" fmla="*/ 125 w 470"/>
                  <a:gd name="T7" fmla="*/ 63 h 470"/>
                  <a:gd name="T8" fmla="*/ 407 w 470"/>
                  <a:gd name="T9" fmla="*/ 125 h 470"/>
                  <a:gd name="T10" fmla="*/ 344 w 470"/>
                  <a:gd name="T11" fmla="*/ 407 h 470"/>
                </a:gdLst>
                <a:ahLst/>
                <a:cxnLst>
                  <a:cxn ang="0">
                    <a:pos x="T0" y="T1"/>
                  </a:cxn>
                  <a:cxn ang="0">
                    <a:pos x="T2" y="T3"/>
                  </a:cxn>
                  <a:cxn ang="0">
                    <a:pos x="T4" y="T5"/>
                  </a:cxn>
                  <a:cxn ang="0">
                    <a:pos x="T6" y="T7"/>
                  </a:cxn>
                  <a:cxn ang="0">
                    <a:pos x="T8" y="T9"/>
                  </a:cxn>
                  <a:cxn ang="0">
                    <a:pos x="T10" y="T11"/>
                  </a:cxn>
                </a:cxnLst>
                <a:rect l="0" t="0" r="r" b="b"/>
                <a:pathLst>
                  <a:path w="470" h="470">
                    <a:moveTo>
                      <a:pt x="344" y="407"/>
                    </a:moveTo>
                    <a:lnTo>
                      <a:pt x="344" y="407"/>
                    </a:lnTo>
                    <a:cubicBezTo>
                      <a:pt x="250" y="469"/>
                      <a:pt x="125" y="438"/>
                      <a:pt x="63" y="344"/>
                    </a:cubicBezTo>
                    <a:cubicBezTo>
                      <a:pt x="0" y="250"/>
                      <a:pt x="32" y="125"/>
                      <a:pt x="125" y="63"/>
                    </a:cubicBezTo>
                    <a:cubicBezTo>
                      <a:pt x="219" y="0"/>
                      <a:pt x="344" y="32"/>
                      <a:pt x="407" y="125"/>
                    </a:cubicBezTo>
                    <a:cubicBezTo>
                      <a:pt x="469" y="219"/>
                      <a:pt x="438" y="344"/>
                      <a:pt x="344" y="40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solidFill>
                    <a:srgbClr val="58595B"/>
                  </a:solidFill>
                  <a:latin typeface="+mj-lt"/>
                </a:endParaRPr>
              </a:p>
            </p:txBody>
          </p:sp>
        </p:grpSp>
        <p:sp>
          <p:nvSpPr>
            <p:cNvPr id="55" name="Oval 54"/>
            <p:cNvSpPr/>
            <p:nvPr/>
          </p:nvSpPr>
          <p:spPr>
            <a:xfrm>
              <a:off x="17771883" y="9037590"/>
              <a:ext cx="1456594" cy="1456404"/>
            </a:xfrm>
            <a:prstGeom prst="ellips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58595B"/>
                </a:solidFill>
                <a:latin typeface="+mj-lt"/>
              </a:endParaRPr>
            </a:p>
          </p:txBody>
        </p:sp>
        <p:sp>
          <p:nvSpPr>
            <p:cNvPr id="56" name="Oval 55"/>
            <p:cNvSpPr/>
            <p:nvPr/>
          </p:nvSpPr>
          <p:spPr>
            <a:xfrm>
              <a:off x="16103258" y="4325336"/>
              <a:ext cx="1456594" cy="145640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58595B"/>
                </a:solidFill>
                <a:latin typeface="+mj-lt"/>
              </a:endParaRPr>
            </a:p>
          </p:txBody>
        </p:sp>
        <p:grpSp>
          <p:nvGrpSpPr>
            <p:cNvPr id="62" name="Group 4698"/>
            <p:cNvGrpSpPr>
              <a:grpSpLocks/>
            </p:cNvGrpSpPr>
            <p:nvPr>
              <p:custDataLst>
                <p:tags r:id="rId3"/>
              </p:custDataLst>
            </p:nvPr>
          </p:nvGrpSpPr>
          <p:grpSpPr bwMode="auto">
            <a:xfrm>
              <a:off x="16434374" y="4577776"/>
              <a:ext cx="901816" cy="883595"/>
              <a:chOff x="5427663" y="4046537"/>
              <a:chExt cx="395287" cy="387350"/>
            </a:xfrm>
            <a:solidFill>
              <a:srgbClr val="00B0F0"/>
            </a:solidFill>
          </p:grpSpPr>
          <p:sp>
            <p:nvSpPr>
              <p:cNvPr id="63" name="Freeform 418"/>
              <p:cNvSpPr>
                <a:spLocks noChangeArrowheads="1"/>
              </p:cNvSpPr>
              <p:nvPr/>
            </p:nvSpPr>
            <p:spPr bwMode="auto">
              <a:xfrm>
                <a:off x="5635625" y="4046537"/>
                <a:ext cx="187325" cy="184150"/>
              </a:xfrm>
              <a:custGeom>
                <a:avLst/>
                <a:gdLst>
                  <a:gd name="T0" fmla="*/ 301 w 520"/>
                  <a:gd name="T1" fmla="*/ 75 h 511"/>
                  <a:gd name="T2" fmla="*/ 444 w 520"/>
                  <a:gd name="T3" fmla="*/ 217 h 511"/>
                  <a:gd name="T4" fmla="*/ 394 w 520"/>
                  <a:gd name="T5" fmla="*/ 267 h 511"/>
                  <a:gd name="T6" fmla="*/ 327 w 520"/>
                  <a:gd name="T7" fmla="*/ 200 h 511"/>
                  <a:gd name="T8" fmla="*/ 301 w 520"/>
                  <a:gd name="T9" fmla="*/ 225 h 511"/>
                  <a:gd name="T10" fmla="*/ 368 w 520"/>
                  <a:gd name="T11" fmla="*/ 292 h 511"/>
                  <a:gd name="T12" fmla="*/ 335 w 520"/>
                  <a:gd name="T13" fmla="*/ 326 h 511"/>
                  <a:gd name="T14" fmla="*/ 293 w 520"/>
                  <a:gd name="T15" fmla="*/ 275 h 511"/>
                  <a:gd name="T16" fmla="*/ 268 w 520"/>
                  <a:gd name="T17" fmla="*/ 309 h 511"/>
                  <a:gd name="T18" fmla="*/ 310 w 520"/>
                  <a:gd name="T19" fmla="*/ 351 h 511"/>
                  <a:gd name="T20" fmla="*/ 268 w 520"/>
                  <a:gd name="T21" fmla="*/ 393 h 511"/>
                  <a:gd name="T22" fmla="*/ 201 w 520"/>
                  <a:gd name="T23" fmla="*/ 326 h 511"/>
                  <a:gd name="T24" fmla="*/ 168 w 520"/>
                  <a:gd name="T25" fmla="*/ 351 h 511"/>
                  <a:gd name="T26" fmla="*/ 243 w 520"/>
                  <a:gd name="T27" fmla="*/ 418 h 511"/>
                  <a:gd name="T28" fmla="*/ 209 w 520"/>
                  <a:gd name="T29" fmla="*/ 443 h 511"/>
                  <a:gd name="T30" fmla="*/ 168 w 520"/>
                  <a:gd name="T31" fmla="*/ 401 h 511"/>
                  <a:gd name="T32" fmla="*/ 134 w 520"/>
                  <a:gd name="T33" fmla="*/ 426 h 511"/>
                  <a:gd name="T34" fmla="*/ 218 w 520"/>
                  <a:gd name="T35" fmla="*/ 510 h 511"/>
                  <a:gd name="T36" fmla="*/ 519 w 520"/>
                  <a:gd name="T37" fmla="*/ 217 h 511"/>
                  <a:gd name="T38" fmla="*/ 301 w 520"/>
                  <a:gd name="T39" fmla="*/ 0 h 511"/>
                  <a:gd name="T40" fmla="*/ 0 w 520"/>
                  <a:gd name="T41" fmla="*/ 292 h 511"/>
                  <a:gd name="T42" fmla="*/ 34 w 520"/>
                  <a:gd name="T43" fmla="*/ 334 h 511"/>
                  <a:gd name="T44" fmla="*/ 301 w 520"/>
                  <a:gd name="T45" fmla="*/ 75 h 511"/>
                  <a:gd name="T46" fmla="*/ 301 w 520"/>
                  <a:gd name="T47" fmla="*/ 75 h 511"/>
                  <a:gd name="T48" fmla="*/ 301 w 520"/>
                  <a:gd name="T49"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0" h="511">
                    <a:moveTo>
                      <a:pt x="301" y="75"/>
                    </a:moveTo>
                    <a:lnTo>
                      <a:pt x="444" y="217"/>
                    </a:lnTo>
                    <a:lnTo>
                      <a:pt x="394" y="267"/>
                    </a:lnTo>
                    <a:lnTo>
                      <a:pt x="327" y="200"/>
                    </a:lnTo>
                    <a:lnTo>
                      <a:pt x="301" y="225"/>
                    </a:lnTo>
                    <a:lnTo>
                      <a:pt x="368" y="292"/>
                    </a:lnTo>
                    <a:lnTo>
                      <a:pt x="335" y="326"/>
                    </a:lnTo>
                    <a:lnTo>
                      <a:pt x="293" y="275"/>
                    </a:lnTo>
                    <a:lnTo>
                      <a:pt x="268" y="309"/>
                    </a:lnTo>
                    <a:lnTo>
                      <a:pt x="310" y="351"/>
                    </a:lnTo>
                    <a:lnTo>
                      <a:pt x="268" y="393"/>
                    </a:lnTo>
                    <a:lnTo>
                      <a:pt x="201" y="326"/>
                    </a:lnTo>
                    <a:lnTo>
                      <a:pt x="168" y="351"/>
                    </a:lnTo>
                    <a:lnTo>
                      <a:pt x="243" y="418"/>
                    </a:lnTo>
                    <a:lnTo>
                      <a:pt x="209" y="443"/>
                    </a:lnTo>
                    <a:lnTo>
                      <a:pt x="168" y="401"/>
                    </a:lnTo>
                    <a:lnTo>
                      <a:pt x="134" y="426"/>
                    </a:lnTo>
                    <a:lnTo>
                      <a:pt x="218" y="510"/>
                    </a:lnTo>
                    <a:lnTo>
                      <a:pt x="519" y="217"/>
                    </a:lnTo>
                    <a:lnTo>
                      <a:pt x="301" y="0"/>
                    </a:lnTo>
                    <a:lnTo>
                      <a:pt x="0" y="292"/>
                    </a:lnTo>
                    <a:lnTo>
                      <a:pt x="34" y="334"/>
                    </a:lnTo>
                    <a:lnTo>
                      <a:pt x="301" y="75"/>
                    </a:lnTo>
                    <a:close/>
                    <a:moveTo>
                      <a:pt x="301" y="75"/>
                    </a:moveTo>
                    <a:lnTo>
                      <a:pt x="301" y="75"/>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64" name="Freeform 419"/>
              <p:cNvSpPr>
                <a:spLocks noChangeArrowheads="1"/>
              </p:cNvSpPr>
              <p:nvPr/>
            </p:nvSpPr>
            <p:spPr bwMode="auto">
              <a:xfrm>
                <a:off x="5635625" y="4046537"/>
                <a:ext cx="187325" cy="184150"/>
              </a:xfrm>
              <a:custGeom>
                <a:avLst/>
                <a:gdLst>
                  <a:gd name="T0" fmla="*/ 301 w 520"/>
                  <a:gd name="T1" fmla="*/ 75 h 511"/>
                  <a:gd name="T2" fmla="*/ 444 w 520"/>
                  <a:gd name="T3" fmla="*/ 217 h 511"/>
                  <a:gd name="T4" fmla="*/ 394 w 520"/>
                  <a:gd name="T5" fmla="*/ 267 h 511"/>
                  <a:gd name="T6" fmla="*/ 327 w 520"/>
                  <a:gd name="T7" fmla="*/ 200 h 511"/>
                  <a:gd name="T8" fmla="*/ 301 w 520"/>
                  <a:gd name="T9" fmla="*/ 225 h 511"/>
                  <a:gd name="T10" fmla="*/ 368 w 520"/>
                  <a:gd name="T11" fmla="*/ 292 h 511"/>
                  <a:gd name="T12" fmla="*/ 335 w 520"/>
                  <a:gd name="T13" fmla="*/ 326 h 511"/>
                  <a:gd name="T14" fmla="*/ 293 w 520"/>
                  <a:gd name="T15" fmla="*/ 275 h 511"/>
                  <a:gd name="T16" fmla="*/ 268 w 520"/>
                  <a:gd name="T17" fmla="*/ 309 h 511"/>
                  <a:gd name="T18" fmla="*/ 310 w 520"/>
                  <a:gd name="T19" fmla="*/ 351 h 511"/>
                  <a:gd name="T20" fmla="*/ 268 w 520"/>
                  <a:gd name="T21" fmla="*/ 393 h 511"/>
                  <a:gd name="T22" fmla="*/ 201 w 520"/>
                  <a:gd name="T23" fmla="*/ 326 h 511"/>
                  <a:gd name="T24" fmla="*/ 168 w 520"/>
                  <a:gd name="T25" fmla="*/ 351 h 511"/>
                  <a:gd name="T26" fmla="*/ 243 w 520"/>
                  <a:gd name="T27" fmla="*/ 418 h 511"/>
                  <a:gd name="T28" fmla="*/ 209 w 520"/>
                  <a:gd name="T29" fmla="*/ 443 h 511"/>
                  <a:gd name="T30" fmla="*/ 168 w 520"/>
                  <a:gd name="T31" fmla="*/ 401 h 511"/>
                  <a:gd name="T32" fmla="*/ 134 w 520"/>
                  <a:gd name="T33" fmla="*/ 426 h 511"/>
                  <a:gd name="T34" fmla="*/ 218 w 520"/>
                  <a:gd name="T35" fmla="*/ 510 h 511"/>
                  <a:gd name="T36" fmla="*/ 519 w 520"/>
                  <a:gd name="T37" fmla="*/ 217 h 511"/>
                  <a:gd name="T38" fmla="*/ 301 w 520"/>
                  <a:gd name="T39" fmla="*/ 0 h 511"/>
                  <a:gd name="T40" fmla="*/ 0 w 520"/>
                  <a:gd name="T41" fmla="*/ 292 h 511"/>
                  <a:gd name="T42" fmla="*/ 34 w 520"/>
                  <a:gd name="T43" fmla="*/ 334 h 511"/>
                  <a:gd name="T44" fmla="*/ 301 w 520"/>
                  <a:gd name="T45"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511">
                    <a:moveTo>
                      <a:pt x="301" y="75"/>
                    </a:moveTo>
                    <a:lnTo>
                      <a:pt x="444" y="217"/>
                    </a:lnTo>
                    <a:lnTo>
                      <a:pt x="394" y="267"/>
                    </a:lnTo>
                    <a:lnTo>
                      <a:pt x="327" y="200"/>
                    </a:lnTo>
                    <a:lnTo>
                      <a:pt x="301" y="225"/>
                    </a:lnTo>
                    <a:lnTo>
                      <a:pt x="368" y="292"/>
                    </a:lnTo>
                    <a:lnTo>
                      <a:pt x="335" y="326"/>
                    </a:lnTo>
                    <a:lnTo>
                      <a:pt x="293" y="275"/>
                    </a:lnTo>
                    <a:lnTo>
                      <a:pt x="268" y="309"/>
                    </a:lnTo>
                    <a:lnTo>
                      <a:pt x="310" y="351"/>
                    </a:lnTo>
                    <a:lnTo>
                      <a:pt x="268" y="393"/>
                    </a:lnTo>
                    <a:lnTo>
                      <a:pt x="201" y="326"/>
                    </a:lnTo>
                    <a:lnTo>
                      <a:pt x="168" y="351"/>
                    </a:lnTo>
                    <a:lnTo>
                      <a:pt x="243" y="418"/>
                    </a:lnTo>
                    <a:lnTo>
                      <a:pt x="209" y="443"/>
                    </a:lnTo>
                    <a:lnTo>
                      <a:pt x="168" y="401"/>
                    </a:lnTo>
                    <a:lnTo>
                      <a:pt x="134" y="426"/>
                    </a:lnTo>
                    <a:lnTo>
                      <a:pt x="218" y="510"/>
                    </a:lnTo>
                    <a:lnTo>
                      <a:pt x="519" y="217"/>
                    </a:lnTo>
                    <a:lnTo>
                      <a:pt x="301" y="0"/>
                    </a:lnTo>
                    <a:lnTo>
                      <a:pt x="0" y="292"/>
                    </a:lnTo>
                    <a:lnTo>
                      <a:pt x="34" y="334"/>
                    </a:lnTo>
                    <a:lnTo>
                      <a:pt x="301" y="75"/>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65" name="Freeform 420"/>
              <p:cNvSpPr>
                <a:spLocks noChangeArrowheads="1"/>
              </p:cNvSpPr>
              <p:nvPr/>
            </p:nvSpPr>
            <p:spPr bwMode="auto">
              <a:xfrm>
                <a:off x="5743575" y="4073524"/>
                <a:ext cx="1588" cy="158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66" name="Freeform 421"/>
              <p:cNvSpPr>
                <a:spLocks noChangeArrowheads="1"/>
              </p:cNvSpPr>
              <p:nvPr/>
            </p:nvSpPr>
            <p:spPr bwMode="auto">
              <a:xfrm>
                <a:off x="5427663" y="4229099"/>
                <a:ext cx="204787" cy="204788"/>
              </a:xfrm>
              <a:custGeom>
                <a:avLst/>
                <a:gdLst>
                  <a:gd name="T0" fmla="*/ 451 w 569"/>
                  <a:gd name="T1" fmla="*/ 158 h 569"/>
                  <a:gd name="T2" fmla="*/ 501 w 569"/>
                  <a:gd name="T3" fmla="*/ 209 h 569"/>
                  <a:gd name="T4" fmla="*/ 468 w 569"/>
                  <a:gd name="T5" fmla="*/ 251 h 569"/>
                  <a:gd name="T6" fmla="*/ 393 w 569"/>
                  <a:gd name="T7" fmla="*/ 175 h 569"/>
                  <a:gd name="T8" fmla="*/ 368 w 569"/>
                  <a:gd name="T9" fmla="*/ 200 h 569"/>
                  <a:gd name="T10" fmla="*/ 443 w 569"/>
                  <a:gd name="T11" fmla="*/ 275 h 569"/>
                  <a:gd name="T12" fmla="*/ 409 w 569"/>
                  <a:gd name="T13" fmla="*/ 309 h 569"/>
                  <a:gd name="T14" fmla="*/ 359 w 569"/>
                  <a:gd name="T15" fmla="*/ 251 h 569"/>
                  <a:gd name="T16" fmla="*/ 334 w 569"/>
                  <a:gd name="T17" fmla="*/ 284 h 569"/>
                  <a:gd name="T18" fmla="*/ 384 w 569"/>
                  <a:gd name="T19" fmla="*/ 334 h 569"/>
                  <a:gd name="T20" fmla="*/ 342 w 569"/>
                  <a:gd name="T21" fmla="*/ 376 h 569"/>
                  <a:gd name="T22" fmla="*/ 267 w 569"/>
                  <a:gd name="T23" fmla="*/ 301 h 569"/>
                  <a:gd name="T24" fmla="*/ 234 w 569"/>
                  <a:gd name="T25" fmla="*/ 326 h 569"/>
                  <a:gd name="T26" fmla="*/ 309 w 569"/>
                  <a:gd name="T27" fmla="*/ 401 h 569"/>
                  <a:gd name="T28" fmla="*/ 284 w 569"/>
                  <a:gd name="T29" fmla="*/ 434 h 569"/>
                  <a:gd name="T30" fmla="*/ 234 w 569"/>
                  <a:gd name="T31" fmla="*/ 376 h 569"/>
                  <a:gd name="T32" fmla="*/ 200 w 569"/>
                  <a:gd name="T33" fmla="*/ 409 h 569"/>
                  <a:gd name="T34" fmla="*/ 250 w 569"/>
                  <a:gd name="T35" fmla="*/ 459 h 569"/>
                  <a:gd name="T36" fmla="*/ 217 w 569"/>
                  <a:gd name="T37" fmla="*/ 493 h 569"/>
                  <a:gd name="T38" fmla="*/ 75 w 569"/>
                  <a:gd name="T39" fmla="*/ 351 h 569"/>
                  <a:gd name="T40" fmla="*/ 393 w 569"/>
                  <a:gd name="T41" fmla="*/ 41 h 569"/>
                  <a:gd name="T42" fmla="*/ 351 w 569"/>
                  <a:gd name="T43" fmla="*/ 0 h 569"/>
                  <a:gd name="T44" fmla="*/ 0 w 569"/>
                  <a:gd name="T45" fmla="*/ 351 h 569"/>
                  <a:gd name="T46" fmla="*/ 217 w 569"/>
                  <a:gd name="T47" fmla="*/ 568 h 569"/>
                  <a:gd name="T48" fmla="*/ 568 w 569"/>
                  <a:gd name="T49" fmla="*/ 225 h 569"/>
                  <a:gd name="T50" fmla="*/ 484 w 569"/>
                  <a:gd name="T51" fmla="*/ 133 h 569"/>
                  <a:gd name="T52" fmla="*/ 451 w 569"/>
                  <a:gd name="T53" fmla="*/ 158 h 569"/>
                  <a:gd name="T54" fmla="*/ 451 w 569"/>
                  <a:gd name="T55" fmla="*/ 158 h 569"/>
                  <a:gd name="T56" fmla="*/ 451 w 569"/>
                  <a:gd name="T57" fmla="*/ 15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9" h="569">
                    <a:moveTo>
                      <a:pt x="451" y="158"/>
                    </a:moveTo>
                    <a:lnTo>
                      <a:pt x="501" y="209"/>
                    </a:lnTo>
                    <a:lnTo>
                      <a:pt x="468" y="251"/>
                    </a:lnTo>
                    <a:lnTo>
                      <a:pt x="393" y="175"/>
                    </a:lnTo>
                    <a:lnTo>
                      <a:pt x="368" y="200"/>
                    </a:lnTo>
                    <a:lnTo>
                      <a:pt x="443" y="275"/>
                    </a:lnTo>
                    <a:lnTo>
                      <a:pt x="409" y="309"/>
                    </a:lnTo>
                    <a:lnTo>
                      <a:pt x="359" y="251"/>
                    </a:lnTo>
                    <a:lnTo>
                      <a:pt x="334" y="284"/>
                    </a:lnTo>
                    <a:lnTo>
                      <a:pt x="384" y="334"/>
                    </a:lnTo>
                    <a:lnTo>
                      <a:pt x="342" y="376"/>
                    </a:lnTo>
                    <a:lnTo>
                      <a:pt x="267" y="301"/>
                    </a:lnTo>
                    <a:lnTo>
                      <a:pt x="234" y="326"/>
                    </a:lnTo>
                    <a:lnTo>
                      <a:pt x="309" y="401"/>
                    </a:lnTo>
                    <a:lnTo>
                      <a:pt x="284" y="434"/>
                    </a:lnTo>
                    <a:lnTo>
                      <a:pt x="234" y="376"/>
                    </a:lnTo>
                    <a:lnTo>
                      <a:pt x="200" y="409"/>
                    </a:lnTo>
                    <a:lnTo>
                      <a:pt x="250" y="459"/>
                    </a:lnTo>
                    <a:lnTo>
                      <a:pt x="217" y="493"/>
                    </a:lnTo>
                    <a:lnTo>
                      <a:pt x="75" y="351"/>
                    </a:lnTo>
                    <a:lnTo>
                      <a:pt x="393" y="41"/>
                    </a:lnTo>
                    <a:lnTo>
                      <a:pt x="351" y="0"/>
                    </a:lnTo>
                    <a:lnTo>
                      <a:pt x="0" y="351"/>
                    </a:lnTo>
                    <a:lnTo>
                      <a:pt x="217" y="568"/>
                    </a:lnTo>
                    <a:lnTo>
                      <a:pt x="568" y="225"/>
                    </a:lnTo>
                    <a:lnTo>
                      <a:pt x="484" y="133"/>
                    </a:lnTo>
                    <a:lnTo>
                      <a:pt x="451" y="158"/>
                    </a:lnTo>
                    <a:close/>
                    <a:moveTo>
                      <a:pt x="451" y="158"/>
                    </a:moveTo>
                    <a:lnTo>
                      <a:pt x="451" y="158"/>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67" name="Freeform 422"/>
              <p:cNvSpPr>
                <a:spLocks noChangeArrowheads="1"/>
              </p:cNvSpPr>
              <p:nvPr/>
            </p:nvSpPr>
            <p:spPr bwMode="auto">
              <a:xfrm>
                <a:off x="5427663" y="4229099"/>
                <a:ext cx="204787" cy="204788"/>
              </a:xfrm>
              <a:custGeom>
                <a:avLst/>
                <a:gdLst>
                  <a:gd name="T0" fmla="*/ 451 w 569"/>
                  <a:gd name="T1" fmla="*/ 158 h 569"/>
                  <a:gd name="T2" fmla="*/ 501 w 569"/>
                  <a:gd name="T3" fmla="*/ 209 h 569"/>
                  <a:gd name="T4" fmla="*/ 468 w 569"/>
                  <a:gd name="T5" fmla="*/ 251 h 569"/>
                  <a:gd name="T6" fmla="*/ 393 w 569"/>
                  <a:gd name="T7" fmla="*/ 175 h 569"/>
                  <a:gd name="T8" fmla="*/ 368 w 569"/>
                  <a:gd name="T9" fmla="*/ 200 h 569"/>
                  <a:gd name="T10" fmla="*/ 443 w 569"/>
                  <a:gd name="T11" fmla="*/ 275 h 569"/>
                  <a:gd name="T12" fmla="*/ 409 w 569"/>
                  <a:gd name="T13" fmla="*/ 309 h 569"/>
                  <a:gd name="T14" fmla="*/ 359 w 569"/>
                  <a:gd name="T15" fmla="*/ 251 h 569"/>
                  <a:gd name="T16" fmla="*/ 334 w 569"/>
                  <a:gd name="T17" fmla="*/ 284 h 569"/>
                  <a:gd name="T18" fmla="*/ 384 w 569"/>
                  <a:gd name="T19" fmla="*/ 334 h 569"/>
                  <a:gd name="T20" fmla="*/ 342 w 569"/>
                  <a:gd name="T21" fmla="*/ 376 h 569"/>
                  <a:gd name="T22" fmla="*/ 267 w 569"/>
                  <a:gd name="T23" fmla="*/ 301 h 569"/>
                  <a:gd name="T24" fmla="*/ 234 w 569"/>
                  <a:gd name="T25" fmla="*/ 326 h 569"/>
                  <a:gd name="T26" fmla="*/ 309 w 569"/>
                  <a:gd name="T27" fmla="*/ 401 h 569"/>
                  <a:gd name="T28" fmla="*/ 284 w 569"/>
                  <a:gd name="T29" fmla="*/ 434 h 569"/>
                  <a:gd name="T30" fmla="*/ 234 w 569"/>
                  <a:gd name="T31" fmla="*/ 376 h 569"/>
                  <a:gd name="T32" fmla="*/ 200 w 569"/>
                  <a:gd name="T33" fmla="*/ 409 h 569"/>
                  <a:gd name="T34" fmla="*/ 250 w 569"/>
                  <a:gd name="T35" fmla="*/ 459 h 569"/>
                  <a:gd name="T36" fmla="*/ 217 w 569"/>
                  <a:gd name="T37" fmla="*/ 493 h 569"/>
                  <a:gd name="T38" fmla="*/ 75 w 569"/>
                  <a:gd name="T39" fmla="*/ 351 h 569"/>
                  <a:gd name="T40" fmla="*/ 393 w 569"/>
                  <a:gd name="T41" fmla="*/ 41 h 569"/>
                  <a:gd name="T42" fmla="*/ 351 w 569"/>
                  <a:gd name="T43" fmla="*/ 0 h 569"/>
                  <a:gd name="T44" fmla="*/ 0 w 569"/>
                  <a:gd name="T45" fmla="*/ 351 h 569"/>
                  <a:gd name="T46" fmla="*/ 217 w 569"/>
                  <a:gd name="T47" fmla="*/ 568 h 569"/>
                  <a:gd name="T48" fmla="*/ 568 w 569"/>
                  <a:gd name="T49" fmla="*/ 225 h 569"/>
                  <a:gd name="T50" fmla="*/ 484 w 569"/>
                  <a:gd name="T51" fmla="*/ 133 h 569"/>
                  <a:gd name="T52" fmla="*/ 451 w 569"/>
                  <a:gd name="T53" fmla="*/ 158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69" h="569">
                    <a:moveTo>
                      <a:pt x="451" y="158"/>
                    </a:moveTo>
                    <a:lnTo>
                      <a:pt x="501" y="209"/>
                    </a:lnTo>
                    <a:lnTo>
                      <a:pt x="468" y="251"/>
                    </a:lnTo>
                    <a:lnTo>
                      <a:pt x="393" y="175"/>
                    </a:lnTo>
                    <a:lnTo>
                      <a:pt x="368" y="200"/>
                    </a:lnTo>
                    <a:lnTo>
                      <a:pt x="443" y="275"/>
                    </a:lnTo>
                    <a:lnTo>
                      <a:pt x="409" y="309"/>
                    </a:lnTo>
                    <a:lnTo>
                      <a:pt x="359" y="251"/>
                    </a:lnTo>
                    <a:lnTo>
                      <a:pt x="334" y="284"/>
                    </a:lnTo>
                    <a:lnTo>
                      <a:pt x="384" y="334"/>
                    </a:lnTo>
                    <a:lnTo>
                      <a:pt x="342" y="376"/>
                    </a:lnTo>
                    <a:lnTo>
                      <a:pt x="267" y="301"/>
                    </a:lnTo>
                    <a:lnTo>
                      <a:pt x="234" y="326"/>
                    </a:lnTo>
                    <a:lnTo>
                      <a:pt x="309" y="401"/>
                    </a:lnTo>
                    <a:lnTo>
                      <a:pt x="284" y="434"/>
                    </a:lnTo>
                    <a:lnTo>
                      <a:pt x="234" y="376"/>
                    </a:lnTo>
                    <a:lnTo>
                      <a:pt x="200" y="409"/>
                    </a:lnTo>
                    <a:lnTo>
                      <a:pt x="250" y="459"/>
                    </a:lnTo>
                    <a:lnTo>
                      <a:pt x="217" y="493"/>
                    </a:lnTo>
                    <a:lnTo>
                      <a:pt x="75" y="351"/>
                    </a:lnTo>
                    <a:lnTo>
                      <a:pt x="393" y="41"/>
                    </a:lnTo>
                    <a:lnTo>
                      <a:pt x="351" y="0"/>
                    </a:lnTo>
                    <a:lnTo>
                      <a:pt x="0" y="351"/>
                    </a:lnTo>
                    <a:lnTo>
                      <a:pt x="217" y="568"/>
                    </a:lnTo>
                    <a:lnTo>
                      <a:pt x="568" y="225"/>
                    </a:lnTo>
                    <a:lnTo>
                      <a:pt x="484" y="133"/>
                    </a:lnTo>
                    <a:lnTo>
                      <a:pt x="451" y="158"/>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68" name="Freeform 423"/>
              <p:cNvSpPr>
                <a:spLocks noChangeArrowheads="1"/>
              </p:cNvSpPr>
              <p:nvPr/>
            </p:nvSpPr>
            <p:spPr bwMode="auto">
              <a:xfrm>
                <a:off x="5591175" y="4286249"/>
                <a:ext cx="1588" cy="158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69" name="Freeform 424"/>
              <p:cNvSpPr>
                <a:spLocks noChangeArrowheads="1"/>
              </p:cNvSpPr>
              <p:nvPr/>
            </p:nvSpPr>
            <p:spPr bwMode="auto">
              <a:xfrm>
                <a:off x="5473700" y="4070349"/>
                <a:ext cx="312738" cy="319088"/>
              </a:xfrm>
              <a:custGeom>
                <a:avLst/>
                <a:gdLst>
                  <a:gd name="T0" fmla="*/ 318 w 870"/>
                  <a:gd name="T1" fmla="*/ 142 h 887"/>
                  <a:gd name="T2" fmla="*/ 167 w 870"/>
                  <a:gd name="T3" fmla="*/ 0 h 887"/>
                  <a:gd name="T4" fmla="*/ 0 w 870"/>
                  <a:gd name="T5" fmla="*/ 167 h 887"/>
                  <a:gd name="T6" fmla="*/ 142 w 870"/>
                  <a:gd name="T7" fmla="*/ 317 h 887"/>
                  <a:gd name="T8" fmla="*/ 594 w 870"/>
                  <a:gd name="T9" fmla="*/ 760 h 887"/>
                  <a:gd name="T10" fmla="*/ 869 w 870"/>
                  <a:gd name="T11" fmla="*/ 886 h 887"/>
                  <a:gd name="T12" fmla="*/ 769 w 870"/>
                  <a:gd name="T13" fmla="*/ 601 h 887"/>
                  <a:gd name="T14" fmla="*/ 318 w 870"/>
                  <a:gd name="T15" fmla="*/ 142 h 887"/>
                  <a:gd name="T16" fmla="*/ 117 w 870"/>
                  <a:gd name="T17" fmla="*/ 225 h 887"/>
                  <a:gd name="T18" fmla="*/ 58 w 870"/>
                  <a:gd name="T19" fmla="*/ 167 h 887"/>
                  <a:gd name="T20" fmla="*/ 167 w 870"/>
                  <a:gd name="T21" fmla="*/ 58 h 887"/>
                  <a:gd name="T22" fmla="*/ 226 w 870"/>
                  <a:gd name="T23" fmla="*/ 116 h 887"/>
                  <a:gd name="T24" fmla="*/ 117 w 870"/>
                  <a:gd name="T25" fmla="*/ 225 h 887"/>
                  <a:gd name="T26" fmla="*/ 769 w 870"/>
                  <a:gd name="T27" fmla="*/ 819 h 887"/>
                  <a:gd name="T28" fmla="*/ 610 w 870"/>
                  <a:gd name="T29" fmla="*/ 744 h 887"/>
                  <a:gd name="T30" fmla="*/ 594 w 870"/>
                  <a:gd name="T31" fmla="*/ 727 h 887"/>
                  <a:gd name="T32" fmla="*/ 677 w 870"/>
                  <a:gd name="T33" fmla="*/ 735 h 887"/>
                  <a:gd name="T34" fmla="*/ 669 w 870"/>
                  <a:gd name="T35" fmla="*/ 668 h 887"/>
                  <a:gd name="T36" fmla="*/ 736 w 870"/>
                  <a:gd name="T37" fmla="*/ 677 h 887"/>
                  <a:gd name="T38" fmla="*/ 736 w 870"/>
                  <a:gd name="T39" fmla="*/ 593 h 887"/>
                  <a:gd name="T40" fmla="*/ 752 w 870"/>
                  <a:gd name="T41" fmla="*/ 610 h 887"/>
                  <a:gd name="T42" fmla="*/ 811 w 870"/>
                  <a:gd name="T43" fmla="*/ 769 h 887"/>
                  <a:gd name="T44" fmla="*/ 769 w 870"/>
                  <a:gd name="T45" fmla="*/ 819 h 887"/>
                  <a:gd name="T46" fmla="*/ 769 w 870"/>
                  <a:gd name="T47" fmla="*/ 819 h 887"/>
                  <a:gd name="T48" fmla="*/ 769 w 870"/>
                  <a:gd name="T49" fmla="*/ 819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0" h="887">
                    <a:moveTo>
                      <a:pt x="318" y="142"/>
                    </a:moveTo>
                    <a:lnTo>
                      <a:pt x="167" y="0"/>
                    </a:lnTo>
                    <a:lnTo>
                      <a:pt x="0" y="167"/>
                    </a:lnTo>
                    <a:lnTo>
                      <a:pt x="142" y="317"/>
                    </a:lnTo>
                    <a:lnTo>
                      <a:pt x="594" y="760"/>
                    </a:lnTo>
                    <a:lnTo>
                      <a:pt x="869" y="886"/>
                    </a:lnTo>
                    <a:lnTo>
                      <a:pt x="769" y="601"/>
                    </a:lnTo>
                    <a:lnTo>
                      <a:pt x="318" y="142"/>
                    </a:lnTo>
                    <a:close/>
                    <a:moveTo>
                      <a:pt x="117" y="225"/>
                    </a:moveTo>
                    <a:lnTo>
                      <a:pt x="58" y="167"/>
                    </a:lnTo>
                    <a:lnTo>
                      <a:pt x="167" y="58"/>
                    </a:lnTo>
                    <a:lnTo>
                      <a:pt x="226" y="116"/>
                    </a:lnTo>
                    <a:lnTo>
                      <a:pt x="117" y="225"/>
                    </a:lnTo>
                    <a:close/>
                    <a:moveTo>
                      <a:pt x="769" y="819"/>
                    </a:moveTo>
                    <a:lnTo>
                      <a:pt x="610" y="744"/>
                    </a:lnTo>
                    <a:lnTo>
                      <a:pt x="594" y="727"/>
                    </a:lnTo>
                    <a:lnTo>
                      <a:pt x="677" y="735"/>
                    </a:lnTo>
                    <a:lnTo>
                      <a:pt x="669" y="668"/>
                    </a:lnTo>
                    <a:lnTo>
                      <a:pt x="736" y="677"/>
                    </a:lnTo>
                    <a:lnTo>
                      <a:pt x="736" y="593"/>
                    </a:lnTo>
                    <a:lnTo>
                      <a:pt x="752" y="610"/>
                    </a:lnTo>
                    <a:lnTo>
                      <a:pt x="811" y="769"/>
                    </a:lnTo>
                    <a:lnTo>
                      <a:pt x="769" y="819"/>
                    </a:lnTo>
                    <a:close/>
                    <a:moveTo>
                      <a:pt x="769" y="819"/>
                    </a:moveTo>
                    <a:lnTo>
                      <a:pt x="769" y="819"/>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70" name="Freeform 425"/>
              <p:cNvSpPr>
                <a:spLocks noChangeArrowheads="1"/>
              </p:cNvSpPr>
              <p:nvPr/>
            </p:nvSpPr>
            <p:spPr bwMode="auto">
              <a:xfrm>
                <a:off x="5473700" y="4070349"/>
                <a:ext cx="312738" cy="319088"/>
              </a:xfrm>
              <a:custGeom>
                <a:avLst/>
                <a:gdLst>
                  <a:gd name="T0" fmla="*/ 318 w 870"/>
                  <a:gd name="T1" fmla="*/ 142 h 887"/>
                  <a:gd name="T2" fmla="*/ 318 w 870"/>
                  <a:gd name="T3" fmla="*/ 142 h 887"/>
                  <a:gd name="T4" fmla="*/ 167 w 870"/>
                  <a:gd name="T5" fmla="*/ 0 h 887"/>
                  <a:gd name="T6" fmla="*/ 0 w 870"/>
                  <a:gd name="T7" fmla="*/ 167 h 887"/>
                  <a:gd name="T8" fmla="*/ 142 w 870"/>
                  <a:gd name="T9" fmla="*/ 317 h 887"/>
                  <a:gd name="T10" fmla="*/ 142 w 870"/>
                  <a:gd name="T11" fmla="*/ 317 h 887"/>
                  <a:gd name="T12" fmla="*/ 594 w 870"/>
                  <a:gd name="T13" fmla="*/ 760 h 887"/>
                  <a:gd name="T14" fmla="*/ 869 w 870"/>
                  <a:gd name="T15" fmla="*/ 886 h 887"/>
                  <a:gd name="T16" fmla="*/ 769 w 870"/>
                  <a:gd name="T17" fmla="*/ 601 h 887"/>
                  <a:gd name="T18" fmla="*/ 318 w 870"/>
                  <a:gd name="T19" fmla="*/ 142 h 8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0" h="887">
                    <a:moveTo>
                      <a:pt x="318" y="142"/>
                    </a:moveTo>
                    <a:lnTo>
                      <a:pt x="318" y="142"/>
                    </a:lnTo>
                    <a:lnTo>
                      <a:pt x="167" y="0"/>
                    </a:lnTo>
                    <a:lnTo>
                      <a:pt x="0" y="167"/>
                    </a:lnTo>
                    <a:lnTo>
                      <a:pt x="142" y="317"/>
                    </a:lnTo>
                    <a:lnTo>
                      <a:pt x="142" y="317"/>
                    </a:lnTo>
                    <a:lnTo>
                      <a:pt x="594" y="760"/>
                    </a:lnTo>
                    <a:lnTo>
                      <a:pt x="869" y="886"/>
                    </a:lnTo>
                    <a:lnTo>
                      <a:pt x="769" y="601"/>
                    </a:lnTo>
                    <a:lnTo>
                      <a:pt x="318" y="142"/>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71" name="Freeform 426"/>
              <p:cNvSpPr>
                <a:spLocks noChangeArrowheads="1"/>
              </p:cNvSpPr>
              <p:nvPr/>
            </p:nvSpPr>
            <p:spPr bwMode="auto">
              <a:xfrm>
                <a:off x="5494338" y="4090987"/>
                <a:ext cx="60325" cy="60325"/>
              </a:xfrm>
              <a:custGeom>
                <a:avLst/>
                <a:gdLst>
                  <a:gd name="T0" fmla="*/ 59 w 169"/>
                  <a:gd name="T1" fmla="*/ 167 h 168"/>
                  <a:gd name="T2" fmla="*/ 0 w 169"/>
                  <a:gd name="T3" fmla="*/ 109 h 168"/>
                  <a:gd name="T4" fmla="*/ 109 w 169"/>
                  <a:gd name="T5" fmla="*/ 0 h 168"/>
                  <a:gd name="T6" fmla="*/ 168 w 169"/>
                  <a:gd name="T7" fmla="*/ 58 h 168"/>
                  <a:gd name="T8" fmla="*/ 59 w 169"/>
                  <a:gd name="T9" fmla="*/ 167 h 168"/>
                </a:gdLst>
                <a:ahLst/>
                <a:cxnLst>
                  <a:cxn ang="0">
                    <a:pos x="T0" y="T1"/>
                  </a:cxn>
                  <a:cxn ang="0">
                    <a:pos x="T2" y="T3"/>
                  </a:cxn>
                  <a:cxn ang="0">
                    <a:pos x="T4" y="T5"/>
                  </a:cxn>
                  <a:cxn ang="0">
                    <a:pos x="T6" y="T7"/>
                  </a:cxn>
                  <a:cxn ang="0">
                    <a:pos x="T8" y="T9"/>
                  </a:cxn>
                </a:cxnLst>
                <a:rect l="0" t="0" r="r" b="b"/>
                <a:pathLst>
                  <a:path w="169" h="168">
                    <a:moveTo>
                      <a:pt x="59" y="167"/>
                    </a:moveTo>
                    <a:lnTo>
                      <a:pt x="0" y="109"/>
                    </a:lnTo>
                    <a:lnTo>
                      <a:pt x="109" y="0"/>
                    </a:lnTo>
                    <a:lnTo>
                      <a:pt x="168" y="58"/>
                    </a:lnTo>
                    <a:lnTo>
                      <a:pt x="59" y="167"/>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72" name="Freeform 427"/>
              <p:cNvSpPr>
                <a:spLocks noChangeArrowheads="1"/>
              </p:cNvSpPr>
              <p:nvPr/>
            </p:nvSpPr>
            <p:spPr bwMode="auto">
              <a:xfrm>
                <a:off x="5688013" y="4283074"/>
                <a:ext cx="77787" cy="80963"/>
              </a:xfrm>
              <a:custGeom>
                <a:avLst/>
                <a:gdLst>
                  <a:gd name="T0" fmla="*/ 175 w 218"/>
                  <a:gd name="T1" fmla="*/ 226 h 227"/>
                  <a:gd name="T2" fmla="*/ 16 w 218"/>
                  <a:gd name="T3" fmla="*/ 151 h 227"/>
                  <a:gd name="T4" fmla="*/ 0 w 218"/>
                  <a:gd name="T5" fmla="*/ 134 h 227"/>
                  <a:gd name="T6" fmla="*/ 83 w 218"/>
                  <a:gd name="T7" fmla="*/ 142 h 227"/>
                  <a:gd name="T8" fmla="*/ 75 w 218"/>
                  <a:gd name="T9" fmla="*/ 75 h 227"/>
                  <a:gd name="T10" fmla="*/ 142 w 218"/>
                  <a:gd name="T11" fmla="*/ 84 h 227"/>
                  <a:gd name="T12" fmla="*/ 142 w 218"/>
                  <a:gd name="T13" fmla="*/ 0 h 227"/>
                  <a:gd name="T14" fmla="*/ 158 w 218"/>
                  <a:gd name="T15" fmla="*/ 17 h 227"/>
                  <a:gd name="T16" fmla="*/ 217 w 218"/>
                  <a:gd name="T17" fmla="*/ 176 h 227"/>
                  <a:gd name="T18" fmla="*/ 175 w 218"/>
                  <a:gd name="T19" fmla="*/ 22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8" h="227">
                    <a:moveTo>
                      <a:pt x="175" y="226"/>
                    </a:moveTo>
                    <a:lnTo>
                      <a:pt x="16" y="151"/>
                    </a:lnTo>
                    <a:lnTo>
                      <a:pt x="0" y="134"/>
                    </a:lnTo>
                    <a:lnTo>
                      <a:pt x="83" y="142"/>
                    </a:lnTo>
                    <a:lnTo>
                      <a:pt x="75" y="75"/>
                    </a:lnTo>
                    <a:lnTo>
                      <a:pt x="142" y="84"/>
                    </a:lnTo>
                    <a:lnTo>
                      <a:pt x="142" y="0"/>
                    </a:lnTo>
                    <a:lnTo>
                      <a:pt x="158" y="17"/>
                    </a:lnTo>
                    <a:lnTo>
                      <a:pt x="217" y="176"/>
                    </a:lnTo>
                    <a:lnTo>
                      <a:pt x="175" y="226"/>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73" name="Freeform 428"/>
              <p:cNvSpPr>
                <a:spLocks noChangeArrowheads="1"/>
              </p:cNvSpPr>
              <p:nvPr/>
            </p:nvSpPr>
            <p:spPr bwMode="auto">
              <a:xfrm>
                <a:off x="5749925" y="4365624"/>
                <a:ext cx="1588" cy="158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grpSp>
        <p:grpSp>
          <p:nvGrpSpPr>
            <p:cNvPr id="74" name="Group 4681"/>
            <p:cNvGrpSpPr>
              <a:grpSpLocks/>
            </p:cNvGrpSpPr>
            <p:nvPr>
              <p:custDataLst>
                <p:tags r:id="rId4"/>
              </p:custDataLst>
            </p:nvPr>
          </p:nvGrpSpPr>
          <p:grpSpPr bwMode="auto">
            <a:xfrm>
              <a:off x="18161375" y="9289033"/>
              <a:ext cx="736696" cy="965200"/>
              <a:chOff x="4576763" y="2300287"/>
              <a:chExt cx="276225" cy="361950"/>
            </a:xfrm>
            <a:solidFill>
              <a:schemeClr val="bg1"/>
            </a:solidFill>
          </p:grpSpPr>
          <p:sp>
            <p:nvSpPr>
              <p:cNvPr id="75" name="Freeform 250"/>
              <p:cNvSpPr>
                <a:spLocks noChangeArrowheads="1"/>
              </p:cNvSpPr>
              <p:nvPr/>
            </p:nvSpPr>
            <p:spPr bwMode="auto">
              <a:xfrm>
                <a:off x="4576763" y="2541587"/>
                <a:ext cx="120650" cy="120650"/>
              </a:xfrm>
              <a:custGeom>
                <a:avLst/>
                <a:gdLst>
                  <a:gd name="T0" fmla="*/ 92 w 336"/>
                  <a:gd name="T1" fmla="*/ 0 h 336"/>
                  <a:gd name="T2" fmla="*/ 0 w 336"/>
                  <a:gd name="T3" fmla="*/ 243 h 336"/>
                  <a:gd name="T4" fmla="*/ 159 w 336"/>
                  <a:gd name="T5" fmla="*/ 193 h 336"/>
                  <a:gd name="T6" fmla="*/ 251 w 336"/>
                  <a:gd name="T7" fmla="*/ 335 h 336"/>
                  <a:gd name="T8" fmla="*/ 335 w 336"/>
                  <a:gd name="T9" fmla="*/ 84 h 336"/>
                  <a:gd name="T10" fmla="*/ 251 w 336"/>
                  <a:gd name="T11" fmla="*/ 9 h 336"/>
                  <a:gd name="T12" fmla="*/ 92 w 336"/>
                  <a:gd name="T13" fmla="*/ 0 h 336"/>
                  <a:gd name="T14" fmla="*/ 92 w 336"/>
                  <a:gd name="T15" fmla="*/ 0 h 336"/>
                  <a:gd name="T16" fmla="*/ 92 w 336"/>
                  <a:gd name="T17"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336">
                    <a:moveTo>
                      <a:pt x="92" y="0"/>
                    </a:moveTo>
                    <a:lnTo>
                      <a:pt x="0" y="243"/>
                    </a:lnTo>
                    <a:lnTo>
                      <a:pt x="159" y="193"/>
                    </a:lnTo>
                    <a:lnTo>
                      <a:pt x="251" y="335"/>
                    </a:lnTo>
                    <a:lnTo>
                      <a:pt x="335" y="84"/>
                    </a:lnTo>
                    <a:lnTo>
                      <a:pt x="251" y="9"/>
                    </a:lnTo>
                    <a:lnTo>
                      <a:pt x="92" y="0"/>
                    </a:lnTo>
                    <a:close/>
                    <a:moveTo>
                      <a:pt x="92" y="0"/>
                    </a:moveTo>
                    <a:lnTo>
                      <a:pt x="92" y="0"/>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76" name="Freeform 251"/>
              <p:cNvSpPr>
                <a:spLocks noChangeArrowheads="1"/>
              </p:cNvSpPr>
              <p:nvPr/>
            </p:nvSpPr>
            <p:spPr bwMode="auto">
              <a:xfrm>
                <a:off x="4576763" y="2541587"/>
                <a:ext cx="120650" cy="120650"/>
              </a:xfrm>
              <a:custGeom>
                <a:avLst/>
                <a:gdLst>
                  <a:gd name="T0" fmla="*/ 92 w 336"/>
                  <a:gd name="T1" fmla="*/ 0 h 336"/>
                  <a:gd name="T2" fmla="*/ 0 w 336"/>
                  <a:gd name="T3" fmla="*/ 243 h 336"/>
                  <a:gd name="T4" fmla="*/ 159 w 336"/>
                  <a:gd name="T5" fmla="*/ 193 h 336"/>
                  <a:gd name="T6" fmla="*/ 251 w 336"/>
                  <a:gd name="T7" fmla="*/ 335 h 336"/>
                  <a:gd name="T8" fmla="*/ 335 w 336"/>
                  <a:gd name="T9" fmla="*/ 84 h 336"/>
                  <a:gd name="T10" fmla="*/ 251 w 336"/>
                  <a:gd name="T11" fmla="*/ 9 h 336"/>
                  <a:gd name="T12" fmla="*/ 92 w 336"/>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336" h="336">
                    <a:moveTo>
                      <a:pt x="92" y="0"/>
                    </a:moveTo>
                    <a:lnTo>
                      <a:pt x="0" y="243"/>
                    </a:lnTo>
                    <a:lnTo>
                      <a:pt x="159" y="193"/>
                    </a:lnTo>
                    <a:lnTo>
                      <a:pt x="251" y="335"/>
                    </a:lnTo>
                    <a:lnTo>
                      <a:pt x="335" y="84"/>
                    </a:lnTo>
                    <a:lnTo>
                      <a:pt x="251" y="9"/>
                    </a:lnTo>
                    <a:lnTo>
                      <a:pt x="92" y="0"/>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77" name="Freeform 252"/>
              <p:cNvSpPr>
                <a:spLocks noChangeArrowheads="1"/>
              </p:cNvSpPr>
              <p:nvPr/>
            </p:nvSpPr>
            <p:spPr bwMode="auto">
              <a:xfrm>
                <a:off x="4610100" y="2541587"/>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78" name="Freeform 253"/>
              <p:cNvSpPr>
                <a:spLocks noChangeArrowheads="1"/>
              </p:cNvSpPr>
              <p:nvPr/>
            </p:nvSpPr>
            <p:spPr bwMode="auto">
              <a:xfrm>
                <a:off x="4732338" y="2541587"/>
                <a:ext cx="120650" cy="120650"/>
              </a:xfrm>
              <a:custGeom>
                <a:avLst/>
                <a:gdLst>
                  <a:gd name="T0" fmla="*/ 251 w 336"/>
                  <a:gd name="T1" fmla="*/ 0 h 336"/>
                  <a:gd name="T2" fmla="*/ 84 w 336"/>
                  <a:gd name="T3" fmla="*/ 9 h 336"/>
                  <a:gd name="T4" fmla="*/ 0 w 336"/>
                  <a:gd name="T5" fmla="*/ 84 h 336"/>
                  <a:gd name="T6" fmla="*/ 92 w 336"/>
                  <a:gd name="T7" fmla="*/ 335 h 336"/>
                  <a:gd name="T8" fmla="*/ 176 w 336"/>
                  <a:gd name="T9" fmla="*/ 193 h 336"/>
                  <a:gd name="T10" fmla="*/ 335 w 336"/>
                  <a:gd name="T11" fmla="*/ 243 h 336"/>
                  <a:gd name="T12" fmla="*/ 251 w 336"/>
                  <a:gd name="T13" fmla="*/ 0 h 336"/>
                  <a:gd name="T14" fmla="*/ 251 w 336"/>
                  <a:gd name="T15" fmla="*/ 0 h 336"/>
                  <a:gd name="T16" fmla="*/ 251 w 336"/>
                  <a:gd name="T17"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6" h="336">
                    <a:moveTo>
                      <a:pt x="251" y="0"/>
                    </a:moveTo>
                    <a:lnTo>
                      <a:pt x="84" y="9"/>
                    </a:lnTo>
                    <a:lnTo>
                      <a:pt x="0" y="84"/>
                    </a:lnTo>
                    <a:lnTo>
                      <a:pt x="92" y="335"/>
                    </a:lnTo>
                    <a:lnTo>
                      <a:pt x="176" y="193"/>
                    </a:lnTo>
                    <a:lnTo>
                      <a:pt x="335" y="243"/>
                    </a:lnTo>
                    <a:lnTo>
                      <a:pt x="251" y="0"/>
                    </a:lnTo>
                    <a:close/>
                    <a:moveTo>
                      <a:pt x="251" y="0"/>
                    </a:moveTo>
                    <a:lnTo>
                      <a:pt x="251" y="0"/>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79" name="Freeform 254"/>
              <p:cNvSpPr>
                <a:spLocks noChangeArrowheads="1"/>
              </p:cNvSpPr>
              <p:nvPr/>
            </p:nvSpPr>
            <p:spPr bwMode="auto">
              <a:xfrm>
                <a:off x="4732338" y="2541587"/>
                <a:ext cx="120650" cy="120650"/>
              </a:xfrm>
              <a:custGeom>
                <a:avLst/>
                <a:gdLst>
                  <a:gd name="T0" fmla="*/ 251 w 336"/>
                  <a:gd name="T1" fmla="*/ 0 h 336"/>
                  <a:gd name="T2" fmla="*/ 84 w 336"/>
                  <a:gd name="T3" fmla="*/ 9 h 336"/>
                  <a:gd name="T4" fmla="*/ 0 w 336"/>
                  <a:gd name="T5" fmla="*/ 84 h 336"/>
                  <a:gd name="T6" fmla="*/ 92 w 336"/>
                  <a:gd name="T7" fmla="*/ 335 h 336"/>
                  <a:gd name="T8" fmla="*/ 176 w 336"/>
                  <a:gd name="T9" fmla="*/ 193 h 336"/>
                  <a:gd name="T10" fmla="*/ 335 w 336"/>
                  <a:gd name="T11" fmla="*/ 243 h 336"/>
                  <a:gd name="T12" fmla="*/ 251 w 336"/>
                  <a:gd name="T13" fmla="*/ 0 h 336"/>
                </a:gdLst>
                <a:ahLst/>
                <a:cxnLst>
                  <a:cxn ang="0">
                    <a:pos x="T0" y="T1"/>
                  </a:cxn>
                  <a:cxn ang="0">
                    <a:pos x="T2" y="T3"/>
                  </a:cxn>
                  <a:cxn ang="0">
                    <a:pos x="T4" y="T5"/>
                  </a:cxn>
                  <a:cxn ang="0">
                    <a:pos x="T6" y="T7"/>
                  </a:cxn>
                  <a:cxn ang="0">
                    <a:pos x="T8" y="T9"/>
                  </a:cxn>
                  <a:cxn ang="0">
                    <a:pos x="T10" y="T11"/>
                  </a:cxn>
                  <a:cxn ang="0">
                    <a:pos x="T12" y="T13"/>
                  </a:cxn>
                </a:cxnLst>
                <a:rect l="0" t="0" r="r" b="b"/>
                <a:pathLst>
                  <a:path w="336" h="336">
                    <a:moveTo>
                      <a:pt x="251" y="0"/>
                    </a:moveTo>
                    <a:lnTo>
                      <a:pt x="84" y="9"/>
                    </a:lnTo>
                    <a:lnTo>
                      <a:pt x="0" y="84"/>
                    </a:lnTo>
                    <a:lnTo>
                      <a:pt x="92" y="335"/>
                    </a:lnTo>
                    <a:lnTo>
                      <a:pt x="176" y="193"/>
                    </a:lnTo>
                    <a:lnTo>
                      <a:pt x="335" y="243"/>
                    </a:lnTo>
                    <a:lnTo>
                      <a:pt x="251" y="0"/>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80" name="Freeform 255"/>
              <p:cNvSpPr>
                <a:spLocks noChangeArrowheads="1"/>
              </p:cNvSpPr>
              <p:nvPr/>
            </p:nvSpPr>
            <p:spPr bwMode="auto">
              <a:xfrm>
                <a:off x="4822825" y="2541587"/>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81" name="Freeform 256"/>
              <p:cNvSpPr>
                <a:spLocks noChangeArrowheads="1"/>
              </p:cNvSpPr>
              <p:nvPr/>
            </p:nvSpPr>
            <p:spPr bwMode="auto">
              <a:xfrm>
                <a:off x="4586288" y="2300287"/>
                <a:ext cx="261937" cy="258762"/>
              </a:xfrm>
              <a:custGeom>
                <a:avLst/>
                <a:gdLst>
                  <a:gd name="T0" fmla="*/ 618 w 728"/>
                  <a:gd name="T1" fmla="*/ 619 h 720"/>
                  <a:gd name="T2" fmla="*/ 627 w 728"/>
                  <a:gd name="T3" fmla="*/ 469 h 720"/>
                  <a:gd name="T4" fmla="*/ 727 w 728"/>
                  <a:gd name="T5" fmla="*/ 360 h 720"/>
                  <a:gd name="T6" fmla="*/ 627 w 728"/>
                  <a:gd name="T7" fmla="*/ 251 h 720"/>
                  <a:gd name="T8" fmla="*/ 618 w 728"/>
                  <a:gd name="T9" fmla="*/ 101 h 720"/>
                  <a:gd name="T10" fmla="*/ 468 w 728"/>
                  <a:gd name="T11" fmla="*/ 92 h 720"/>
                  <a:gd name="T12" fmla="*/ 359 w 728"/>
                  <a:gd name="T13" fmla="*/ 0 h 720"/>
                  <a:gd name="T14" fmla="*/ 250 w 728"/>
                  <a:gd name="T15" fmla="*/ 92 h 720"/>
                  <a:gd name="T16" fmla="*/ 100 w 728"/>
                  <a:gd name="T17" fmla="*/ 101 h 720"/>
                  <a:gd name="T18" fmla="*/ 92 w 728"/>
                  <a:gd name="T19" fmla="*/ 251 h 720"/>
                  <a:gd name="T20" fmla="*/ 0 w 728"/>
                  <a:gd name="T21" fmla="*/ 360 h 720"/>
                  <a:gd name="T22" fmla="*/ 92 w 728"/>
                  <a:gd name="T23" fmla="*/ 469 h 720"/>
                  <a:gd name="T24" fmla="*/ 100 w 728"/>
                  <a:gd name="T25" fmla="*/ 619 h 720"/>
                  <a:gd name="T26" fmla="*/ 250 w 728"/>
                  <a:gd name="T27" fmla="*/ 628 h 720"/>
                  <a:gd name="T28" fmla="*/ 359 w 728"/>
                  <a:gd name="T29" fmla="*/ 719 h 720"/>
                  <a:gd name="T30" fmla="*/ 468 w 728"/>
                  <a:gd name="T31" fmla="*/ 628 h 720"/>
                  <a:gd name="T32" fmla="*/ 618 w 728"/>
                  <a:gd name="T33" fmla="*/ 619 h 720"/>
                  <a:gd name="T34" fmla="*/ 359 w 728"/>
                  <a:gd name="T35" fmla="*/ 561 h 720"/>
                  <a:gd name="T36" fmla="*/ 159 w 728"/>
                  <a:gd name="T37" fmla="*/ 360 h 720"/>
                  <a:gd name="T38" fmla="*/ 359 w 728"/>
                  <a:gd name="T39" fmla="*/ 159 h 720"/>
                  <a:gd name="T40" fmla="*/ 560 w 728"/>
                  <a:gd name="T41" fmla="*/ 360 h 720"/>
                  <a:gd name="T42" fmla="*/ 359 w 728"/>
                  <a:gd name="T43" fmla="*/ 561 h 720"/>
                  <a:gd name="T44" fmla="*/ 359 w 728"/>
                  <a:gd name="T45" fmla="*/ 561 h 720"/>
                  <a:gd name="T46" fmla="*/ 359 w 728"/>
                  <a:gd name="T47" fmla="*/ 56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8" h="720">
                    <a:moveTo>
                      <a:pt x="618" y="619"/>
                    </a:moveTo>
                    <a:cubicBezTo>
                      <a:pt x="627" y="469"/>
                      <a:pt x="627" y="469"/>
                      <a:pt x="627" y="469"/>
                    </a:cubicBezTo>
                    <a:cubicBezTo>
                      <a:pt x="727" y="360"/>
                      <a:pt x="727" y="360"/>
                      <a:pt x="727" y="360"/>
                    </a:cubicBezTo>
                    <a:cubicBezTo>
                      <a:pt x="627" y="251"/>
                      <a:pt x="627" y="251"/>
                      <a:pt x="627" y="251"/>
                    </a:cubicBezTo>
                    <a:cubicBezTo>
                      <a:pt x="618" y="101"/>
                      <a:pt x="618" y="101"/>
                      <a:pt x="618" y="101"/>
                    </a:cubicBezTo>
                    <a:cubicBezTo>
                      <a:pt x="468" y="92"/>
                      <a:pt x="468" y="92"/>
                      <a:pt x="468" y="92"/>
                    </a:cubicBezTo>
                    <a:cubicBezTo>
                      <a:pt x="359" y="0"/>
                      <a:pt x="359" y="0"/>
                      <a:pt x="359" y="0"/>
                    </a:cubicBezTo>
                    <a:cubicBezTo>
                      <a:pt x="250" y="92"/>
                      <a:pt x="250" y="92"/>
                      <a:pt x="250" y="92"/>
                    </a:cubicBezTo>
                    <a:cubicBezTo>
                      <a:pt x="100" y="101"/>
                      <a:pt x="100" y="101"/>
                      <a:pt x="100" y="101"/>
                    </a:cubicBezTo>
                    <a:cubicBezTo>
                      <a:pt x="92" y="251"/>
                      <a:pt x="92" y="251"/>
                      <a:pt x="92" y="251"/>
                    </a:cubicBezTo>
                    <a:cubicBezTo>
                      <a:pt x="0" y="360"/>
                      <a:pt x="0" y="360"/>
                      <a:pt x="0" y="360"/>
                    </a:cubicBezTo>
                    <a:cubicBezTo>
                      <a:pt x="92" y="469"/>
                      <a:pt x="92" y="469"/>
                      <a:pt x="92" y="469"/>
                    </a:cubicBezTo>
                    <a:cubicBezTo>
                      <a:pt x="100" y="619"/>
                      <a:pt x="100" y="619"/>
                      <a:pt x="100" y="619"/>
                    </a:cubicBezTo>
                    <a:cubicBezTo>
                      <a:pt x="250" y="628"/>
                      <a:pt x="250" y="628"/>
                      <a:pt x="250" y="628"/>
                    </a:cubicBezTo>
                    <a:cubicBezTo>
                      <a:pt x="359" y="719"/>
                      <a:pt x="359" y="719"/>
                      <a:pt x="359" y="719"/>
                    </a:cubicBezTo>
                    <a:cubicBezTo>
                      <a:pt x="468" y="628"/>
                      <a:pt x="468" y="628"/>
                      <a:pt x="468" y="628"/>
                    </a:cubicBezTo>
                    <a:lnTo>
                      <a:pt x="618" y="619"/>
                    </a:lnTo>
                    <a:close/>
                    <a:moveTo>
                      <a:pt x="359" y="561"/>
                    </a:moveTo>
                    <a:cubicBezTo>
                      <a:pt x="250" y="561"/>
                      <a:pt x="159" y="469"/>
                      <a:pt x="159" y="360"/>
                    </a:cubicBezTo>
                    <a:cubicBezTo>
                      <a:pt x="159" y="243"/>
                      <a:pt x="250" y="159"/>
                      <a:pt x="359" y="159"/>
                    </a:cubicBezTo>
                    <a:cubicBezTo>
                      <a:pt x="468" y="159"/>
                      <a:pt x="560" y="243"/>
                      <a:pt x="560" y="360"/>
                    </a:cubicBezTo>
                    <a:cubicBezTo>
                      <a:pt x="560" y="469"/>
                      <a:pt x="468" y="561"/>
                      <a:pt x="359" y="561"/>
                    </a:cubicBezTo>
                    <a:close/>
                    <a:moveTo>
                      <a:pt x="359" y="561"/>
                    </a:moveTo>
                    <a:lnTo>
                      <a:pt x="359" y="56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82" name="Freeform 257"/>
              <p:cNvSpPr>
                <a:spLocks noChangeArrowheads="1"/>
              </p:cNvSpPr>
              <p:nvPr/>
            </p:nvSpPr>
            <p:spPr bwMode="auto">
              <a:xfrm>
                <a:off x="4691063" y="2387599"/>
                <a:ext cx="36512" cy="80963"/>
              </a:xfrm>
              <a:custGeom>
                <a:avLst/>
                <a:gdLst>
                  <a:gd name="T0" fmla="*/ 0 w 102"/>
                  <a:gd name="T1" fmla="*/ 33 h 227"/>
                  <a:gd name="T2" fmla="*/ 9 w 102"/>
                  <a:gd name="T3" fmla="*/ 67 h 227"/>
                  <a:gd name="T4" fmla="*/ 50 w 102"/>
                  <a:gd name="T5" fmla="*/ 50 h 227"/>
                  <a:gd name="T6" fmla="*/ 50 w 102"/>
                  <a:gd name="T7" fmla="*/ 226 h 227"/>
                  <a:gd name="T8" fmla="*/ 101 w 102"/>
                  <a:gd name="T9" fmla="*/ 226 h 227"/>
                  <a:gd name="T10" fmla="*/ 101 w 102"/>
                  <a:gd name="T11" fmla="*/ 0 h 227"/>
                  <a:gd name="T12" fmla="*/ 59 w 102"/>
                  <a:gd name="T13" fmla="*/ 0 h 227"/>
                  <a:gd name="T14" fmla="*/ 0 w 102"/>
                  <a:gd name="T15" fmla="*/ 33 h 227"/>
                  <a:gd name="T16" fmla="*/ 0 w 102"/>
                  <a:gd name="T17" fmla="*/ 33 h 227"/>
                  <a:gd name="T18" fmla="*/ 0 w 102"/>
                  <a:gd name="T19" fmla="*/ 3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227">
                    <a:moveTo>
                      <a:pt x="0" y="33"/>
                    </a:moveTo>
                    <a:lnTo>
                      <a:pt x="9" y="67"/>
                    </a:lnTo>
                    <a:lnTo>
                      <a:pt x="50" y="50"/>
                    </a:lnTo>
                    <a:lnTo>
                      <a:pt x="50" y="226"/>
                    </a:lnTo>
                    <a:lnTo>
                      <a:pt x="101" y="226"/>
                    </a:lnTo>
                    <a:lnTo>
                      <a:pt x="101" y="0"/>
                    </a:lnTo>
                    <a:lnTo>
                      <a:pt x="59" y="0"/>
                    </a:lnTo>
                    <a:lnTo>
                      <a:pt x="0" y="33"/>
                    </a:lnTo>
                    <a:close/>
                    <a:moveTo>
                      <a:pt x="0" y="33"/>
                    </a:moveTo>
                    <a:lnTo>
                      <a:pt x="0" y="33"/>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83" name="Freeform 258"/>
              <p:cNvSpPr>
                <a:spLocks noChangeArrowheads="1"/>
              </p:cNvSpPr>
              <p:nvPr/>
            </p:nvSpPr>
            <p:spPr bwMode="auto">
              <a:xfrm>
                <a:off x="4691063" y="2387599"/>
                <a:ext cx="36512" cy="80963"/>
              </a:xfrm>
              <a:custGeom>
                <a:avLst/>
                <a:gdLst>
                  <a:gd name="T0" fmla="*/ 0 w 102"/>
                  <a:gd name="T1" fmla="*/ 33 h 227"/>
                  <a:gd name="T2" fmla="*/ 9 w 102"/>
                  <a:gd name="T3" fmla="*/ 67 h 227"/>
                  <a:gd name="T4" fmla="*/ 50 w 102"/>
                  <a:gd name="T5" fmla="*/ 50 h 227"/>
                  <a:gd name="T6" fmla="*/ 50 w 102"/>
                  <a:gd name="T7" fmla="*/ 50 h 227"/>
                  <a:gd name="T8" fmla="*/ 50 w 102"/>
                  <a:gd name="T9" fmla="*/ 226 h 227"/>
                  <a:gd name="T10" fmla="*/ 101 w 102"/>
                  <a:gd name="T11" fmla="*/ 226 h 227"/>
                  <a:gd name="T12" fmla="*/ 101 w 102"/>
                  <a:gd name="T13" fmla="*/ 0 h 227"/>
                  <a:gd name="T14" fmla="*/ 59 w 102"/>
                  <a:gd name="T15" fmla="*/ 0 h 227"/>
                  <a:gd name="T16" fmla="*/ 0 w 102"/>
                  <a:gd name="T17" fmla="*/ 3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2" h="227">
                    <a:moveTo>
                      <a:pt x="0" y="33"/>
                    </a:moveTo>
                    <a:lnTo>
                      <a:pt x="9" y="67"/>
                    </a:lnTo>
                    <a:lnTo>
                      <a:pt x="50" y="50"/>
                    </a:lnTo>
                    <a:lnTo>
                      <a:pt x="50" y="50"/>
                    </a:lnTo>
                    <a:lnTo>
                      <a:pt x="50" y="226"/>
                    </a:lnTo>
                    <a:lnTo>
                      <a:pt x="101" y="226"/>
                    </a:lnTo>
                    <a:lnTo>
                      <a:pt x="101" y="0"/>
                    </a:lnTo>
                    <a:lnTo>
                      <a:pt x="59" y="0"/>
                    </a:lnTo>
                    <a:lnTo>
                      <a:pt x="0" y="33"/>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sp>
            <p:nvSpPr>
              <p:cNvPr id="84" name="Freeform 259"/>
              <p:cNvSpPr>
                <a:spLocks noChangeArrowheads="1"/>
              </p:cNvSpPr>
              <p:nvPr/>
            </p:nvSpPr>
            <p:spPr bwMode="auto">
              <a:xfrm>
                <a:off x="4691063" y="2400299"/>
                <a:ext cx="1587" cy="158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sz="1100" dirty="0">
                  <a:solidFill>
                    <a:srgbClr val="58595B"/>
                  </a:solidFill>
                  <a:latin typeface="+mj-lt"/>
                </a:endParaRPr>
              </a:p>
            </p:txBody>
          </p:sp>
        </p:grpSp>
      </p:grpSp>
      <p:sp>
        <p:nvSpPr>
          <p:cNvPr id="88" name="Title 20"/>
          <p:cNvSpPr txBox="1">
            <a:spLocks/>
          </p:cNvSpPr>
          <p:nvPr/>
        </p:nvSpPr>
        <p:spPr>
          <a:xfrm>
            <a:off x="559444" y="3710982"/>
            <a:ext cx="5274087" cy="430887"/>
          </a:xfrm>
          <a:prstGeom prst="rect">
            <a:avLst/>
          </a:prstGeom>
        </p:spPr>
        <p:txBody>
          <a:bodyPr vert="horz" wrap="square" lIns="243852" tIns="0" rIns="243852" bIns="0"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r>
              <a:rPr lang="en-US" sz="2800" dirty="0" smtClean="0">
                <a:solidFill>
                  <a:srgbClr val="58595B"/>
                </a:solidFill>
                <a:latin typeface="+mj-lt"/>
                <a:cs typeface="Open Sans Light"/>
              </a:rPr>
              <a:t>End</a:t>
            </a:r>
            <a:endParaRPr lang="en-US" sz="2800" dirty="0">
              <a:solidFill>
                <a:srgbClr val="58595B"/>
              </a:solidFill>
              <a:latin typeface="+mj-lt"/>
              <a:cs typeface="Open Sans Light"/>
            </a:endParaRPr>
          </a:p>
        </p:txBody>
      </p:sp>
      <p:sp>
        <p:nvSpPr>
          <p:cNvPr id="89" name="Title 20"/>
          <p:cNvSpPr txBox="1">
            <a:spLocks/>
          </p:cNvSpPr>
          <p:nvPr/>
        </p:nvSpPr>
        <p:spPr>
          <a:xfrm>
            <a:off x="559439" y="4128790"/>
            <a:ext cx="5274091" cy="1646617"/>
          </a:xfrm>
          <a:prstGeom prst="rect">
            <a:avLst/>
          </a:prstGeom>
        </p:spPr>
        <p:txBody>
          <a:bodyPr vert="horz" wrap="square" lIns="243852" tIns="121926" rIns="243852" bIns="121926" rtlCol="0" anchor="ctr">
            <a:spAutoFit/>
          </a:bodyPr>
          <a:lstStyle>
            <a:lvl1pPr algn="ctr" defTabSz="457200" rtl="0" eaLnBrk="1" latinLnBrk="0" hangingPunct="1">
              <a:spcBef>
                <a:spcPct val="0"/>
              </a:spcBef>
              <a:buNone/>
              <a:defRPr sz="2900" kern="1200">
                <a:solidFill>
                  <a:schemeClr val="accent6"/>
                </a:solidFill>
                <a:latin typeface="Source Sans Pro ExtraLight"/>
                <a:ea typeface="+mj-ea"/>
                <a:cs typeface="Source Sans Pro ExtraLight"/>
              </a:defRPr>
            </a:lvl1pPr>
          </a:lstStyle>
          <a:p>
            <a:pPr algn="l">
              <a:lnSpc>
                <a:spcPct val="130000"/>
              </a:lnSpc>
            </a:pPr>
            <a:r>
              <a:rPr lang="pt-BR" sz="1400" dirty="0">
                <a:solidFill>
                  <a:srgbClr val="58595B"/>
                </a:solidFill>
                <a:latin typeface="Roboto Regular" pitchFamily="2" charset="0"/>
                <a:ea typeface="Roboto Regular" pitchFamily="2" charset="0"/>
                <a:cs typeface="Open Sans Light"/>
              </a:rPr>
              <a:t>Lorem ipsum dolor sit amet, consectetur adipiscing elit. Aliquam tincidunt ante nec sem congue convallis. Pellentesque vel mauris quis nisl ornare rutrum in id risus. Proin vehicula ut sem et tempus. Interdum et malesuada fames ac ante ipsum primis in faucibus. Pellentesque‹</a:t>
            </a:r>
            <a:endParaRPr lang="en-US" sz="1400" dirty="0">
              <a:solidFill>
                <a:srgbClr val="58595B"/>
              </a:solidFill>
              <a:latin typeface="Roboto Regular" pitchFamily="2" charset="0"/>
              <a:ea typeface="Roboto Regular" pitchFamily="2" charset="0"/>
              <a:cs typeface="Open Sans Light"/>
            </a:endParaRPr>
          </a:p>
        </p:txBody>
      </p:sp>
      <p:sp>
        <p:nvSpPr>
          <p:cNvPr id="90"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85_84</a:t>
            </a:r>
            <a:endParaRPr lang="en-US" sz="100" dirty="0" err="1" smtClean="0">
              <a:solidFill>
                <a:srgbClr val="FFFFFF"/>
              </a:solidFill>
            </a:endParaRPr>
          </a:p>
        </p:txBody>
      </p:sp>
    </p:spTree>
    <p:extLst>
      <p:ext uri="{BB962C8B-B14F-4D97-AF65-F5344CB8AC3E}">
        <p14:creationId xmlns:p14="http://schemas.microsoft.com/office/powerpoint/2010/main" val="624096308"/>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cial media analysis</a:t>
            </a:r>
            <a:endParaRPr lang="en-US" dirty="0"/>
          </a:p>
        </p:txBody>
      </p:sp>
      <p:sp>
        <p:nvSpPr>
          <p:cNvPr id="44" name="TextBox 43"/>
          <p:cNvSpPr txBox="1"/>
          <p:nvPr/>
        </p:nvSpPr>
        <p:spPr>
          <a:xfrm>
            <a:off x="581105" y="2491637"/>
            <a:ext cx="3368030" cy="433723"/>
          </a:xfrm>
          <a:prstGeom prst="rect">
            <a:avLst/>
          </a:prstGeom>
          <a:noFill/>
        </p:spPr>
        <p:txBody>
          <a:bodyPr wrap="square" rtlCol="0">
            <a:spAutoFit/>
          </a:bodyPr>
          <a:lstStyle/>
          <a:p>
            <a:r>
              <a:rPr lang="en-US" sz="2000" dirty="0" smtClean="0">
                <a:solidFill>
                  <a:srgbClr val="58595B"/>
                </a:solidFill>
                <a:latin typeface="+mj-lt"/>
                <a:cs typeface="Open Sans Light"/>
              </a:rPr>
              <a:t>First Factor</a:t>
            </a:r>
            <a:endParaRPr lang="en-US" sz="2000" dirty="0">
              <a:solidFill>
                <a:srgbClr val="58595B"/>
              </a:solidFill>
              <a:latin typeface="+mj-lt"/>
              <a:cs typeface="Open Sans Light"/>
            </a:endParaRPr>
          </a:p>
        </p:txBody>
      </p:sp>
      <p:sp>
        <p:nvSpPr>
          <p:cNvPr id="45" name="TextBox 44"/>
          <p:cNvSpPr txBox="1"/>
          <p:nvPr/>
        </p:nvSpPr>
        <p:spPr>
          <a:xfrm>
            <a:off x="581105" y="2931936"/>
            <a:ext cx="3368030" cy="1499674"/>
          </a:xfrm>
          <a:prstGeom prst="rect">
            <a:avLst/>
          </a:prstGeom>
          <a:noFill/>
        </p:spPr>
        <p:txBody>
          <a:bodyPr wrap="square" rtlCol="0">
            <a:noAutofit/>
          </a:bodyPr>
          <a:lstStyle/>
          <a:p>
            <a:pPr>
              <a:lnSpc>
                <a:spcPct val="120000"/>
              </a:lnSpc>
            </a:pPr>
            <a:r>
              <a:rPr lang="en-US" sz="1600" dirty="0">
                <a:solidFill>
                  <a:srgbClr val="58595B"/>
                </a:solidFill>
                <a:latin typeface="Roboto Regular" pitchFamily="2" charset="0"/>
                <a:ea typeface="Roboto Regular" pitchFamily="2" charset="0"/>
                <a:cs typeface="Open Sans Light"/>
              </a:rPr>
              <a:t>Lorem ipsum dolor sit amet, consectetur adipiscing elit. Praesent </a:t>
            </a:r>
            <a:r>
              <a:rPr lang="en-US" sz="1600" dirty="0" err="1">
                <a:solidFill>
                  <a:srgbClr val="58595B"/>
                </a:solidFill>
                <a:latin typeface="Roboto Regular" pitchFamily="2" charset="0"/>
                <a:ea typeface="Roboto Regular" pitchFamily="2" charset="0"/>
                <a:cs typeface="Open Sans Light"/>
              </a:rPr>
              <a:t>molestie</a:t>
            </a:r>
            <a:r>
              <a:rPr lang="en-US" sz="1600" dirty="0">
                <a:solidFill>
                  <a:srgbClr val="58595B"/>
                </a:solidFill>
                <a:latin typeface="Roboto Regular" pitchFamily="2" charset="0"/>
                <a:ea typeface="Roboto Regular" pitchFamily="2" charset="0"/>
                <a:cs typeface="Open Sans Light"/>
              </a:rPr>
              <a:t> </a:t>
            </a:r>
            <a:r>
              <a:rPr lang="en-US" sz="1600" dirty="0" err="1">
                <a:solidFill>
                  <a:srgbClr val="58595B"/>
                </a:solidFill>
                <a:latin typeface="Roboto Regular" pitchFamily="2" charset="0"/>
                <a:ea typeface="Roboto Regular" pitchFamily="2" charset="0"/>
                <a:cs typeface="Open Sans Light"/>
              </a:rPr>
              <a:t>efficitur</a:t>
            </a:r>
            <a:r>
              <a:rPr lang="en-US" sz="1600" dirty="0">
                <a:solidFill>
                  <a:srgbClr val="58595B"/>
                </a:solidFill>
                <a:latin typeface="Roboto Regular" pitchFamily="2" charset="0"/>
                <a:ea typeface="Roboto Regular" pitchFamily="2" charset="0"/>
                <a:cs typeface="Open Sans Light"/>
              </a:rPr>
              <a:t> </a:t>
            </a:r>
            <a:r>
              <a:rPr lang="en-US" sz="1600" dirty="0" err="1">
                <a:solidFill>
                  <a:srgbClr val="58595B"/>
                </a:solidFill>
                <a:latin typeface="Roboto Regular" pitchFamily="2" charset="0"/>
                <a:ea typeface="Roboto Regular" pitchFamily="2" charset="0"/>
                <a:cs typeface="Open Sans Light"/>
              </a:rPr>
              <a:t>est</a:t>
            </a:r>
            <a:r>
              <a:rPr lang="en-US" sz="1600" dirty="0" smtClean="0">
                <a:solidFill>
                  <a:srgbClr val="58595B"/>
                </a:solidFill>
                <a:latin typeface="Roboto Regular" pitchFamily="2" charset="0"/>
                <a:ea typeface="Roboto Regular" pitchFamily="2" charset="0"/>
                <a:cs typeface="Open Sans Light"/>
              </a:rPr>
              <a:t>,</a:t>
            </a:r>
            <a:endParaRPr lang="en-US" sz="1600" dirty="0">
              <a:solidFill>
                <a:srgbClr val="58595B"/>
              </a:solidFill>
              <a:latin typeface="Roboto Regular" pitchFamily="2" charset="0"/>
              <a:ea typeface="Roboto Regular" pitchFamily="2" charset="0"/>
              <a:cs typeface="Open Sans Light"/>
            </a:endParaRPr>
          </a:p>
        </p:txBody>
      </p:sp>
      <p:sp>
        <p:nvSpPr>
          <p:cNvPr id="47" name="TextBox 46"/>
          <p:cNvSpPr txBox="1"/>
          <p:nvPr/>
        </p:nvSpPr>
        <p:spPr>
          <a:xfrm>
            <a:off x="581105" y="4228451"/>
            <a:ext cx="3368030" cy="433723"/>
          </a:xfrm>
          <a:prstGeom prst="rect">
            <a:avLst/>
          </a:prstGeom>
          <a:noFill/>
        </p:spPr>
        <p:txBody>
          <a:bodyPr wrap="square" rtlCol="0">
            <a:spAutoFit/>
          </a:bodyPr>
          <a:lstStyle/>
          <a:p>
            <a:r>
              <a:rPr lang="en-US" sz="2000" dirty="0" smtClean="0">
                <a:solidFill>
                  <a:srgbClr val="58595B"/>
                </a:solidFill>
                <a:latin typeface="+mj-lt"/>
                <a:cs typeface="Open Sans Light"/>
              </a:rPr>
              <a:t>Second Factor</a:t>
            </a:r>
            <a:endParaRPr lang="en-US" sz="2000" dirty="0">
              <a:solidFill>
                <a:srgbClr val="58595B"/>
              </a:solidFill>
              <a:latin typeface="+mj-lt"/>
              <a:cs typeface="Open Sans Light"/>
            </a:endParaRPr>
          </a:p>
        </p:txBody>
      </p:sp>
      <p:sp>
        <p:nvSpPr>
          <p:cNvPr id="48" name="TextBox 47"/>
          <p:cNvSpPr txBox="1"/>
          <p:nvPr/>
        </p:nvSpPr>
        <p:spPr>
          <a:xfrm>
            <a:off x="581105" y="4668750"/>
            <a:ext cx="3368030" cy="1499674"/>
          </a:xfrm>
          <a:prstGeom prst="rect">
            <a:avLst/>
          </a:prstGeom>
          <a:noFill/>
        </p:spPr>
        <p:txBody>
          <a:bodyPr wrap="square" rtlCol="0">
            <a:noAutofit/>
          </a:bodyPr>
          <a:lstStyle/>
          <a:p>
            <a:pPr>
              <a:lnSpc>
                <a:spcPct val="120000"/>
              </a:lnSpc>
            </a:pPr>
            <a:r>
              <a:rPr lang="en-US" sz="1600" dirty="0">
                <a:solidFill>
                  <a:srgbClr val="58595B"/>
                </a:solidFill>
                <a:latin typeface="Roboto Regular" pitchFamily="2" charset="0"/>
                <a:ea typeface="Roboto Regular" pitchFamily="2" charset="0"/>
                <a:cs typeface="Open Sans Light"/>
              </a:rPr>
              <a:t>Lorem ipsum dolor sit amet, consectetur adipiscing elit. Praesent </a:t>
            </a:r>
            <a:r>
              <a:rPr lang="en-US" sz="1600" dirty="0" err="1">
                <a:solidFill>
                  <a:srgbClr val="58595B"/>
                </a:solidFill>
                <a:latin typeface="Roboto Regular" pitchFamily="2" charset="0"/>
                <a:ea typeface="Roboto Regular" pitchFamily="2" charset="0"/>
                <a:cs typeface="Open Sans Light"/>
              </a:rPr>
              <a:t>molestie</a:t>
            </a:r>
            <a:r>
              <a:rPr lang="en-US" sz="1600" dirty="0">
                <a:solidFill>
                  <a:srgbClr val="58595B"/>
                </a:solidFill>
                <a:latin typeface="Roboto Regular" pitchFamily="2" charset="0"/>
                <a:ea typeface="Roboto Regular" pitchFamily="2" charset="0"/>
                <a:cs typeface="Open Sans Light"/>
              </a:rPr>
              <a:t> </a:t>
            </a:r>
            <a:r>
              <a:rPr lang="en-US" sz="1600" dirty="0" err="1">
                <a:solidFill>
                  <a:srgbClr val="58595B"/>
                </a:solidFill>
                <a:latin typeface="Roboto Regular" pitchFamily="2" charset="0"/>
                <a:ea typeface="Roboto Regular" pitchFamily="2" charset="0"/>
                <a:cs typeface="Open Sans Light"/>
              </a:rPr>
              <a:t>efficitur</a:t>
            </a:r>
            <a:r>
              <a:rPr lang="en-US" sz="1600" dirty="0">
                <a:solidFill>
                  <a:srgbClr val="58595B"/>
                </a:solidFill>
                <a:latin typeface="Roboto Regular" pitchFamily="2" charset="0"/>
                <a:ea typeface="Roboto Regular" pitchFamily="2" charset="0"/>
                <a:cs typeface="Open Sans Light"/>
              </a:rPr>
              <a:t> </a:t>
            </a:r>
            <a:r>
              <a:rPr lang="en-US" sz="1600" dirty="0" err="1">
                <a:solidFill>
                  <a:srgbClr val="58595B"/>
                </a:solidFill>
                <a:latin typeface="Roboto Regular" pitchFamily="2" charset="0"/>
                <a:ea typeface="Roboto Regular" pitchFamily="2" charset="0"/>
                <a:cs typeface="Open Sans Light"/>
              </a:rPr>
              <a:t>est</a:t>
            </a:r>
            <a:r>
              <a:rPr lang="en-US" sz="1600" dirty="0" smtClean="0">
                <a:solidFill>
                  <a:srgbClr val="58595B"/>
                </a:solidFill>
                <a:latin typeface="Roboto Regular" pitchFamily="2" charset="0"/>
                <a:ea typeface="Roboto Regular" pitchFamily="2" charset="0"/>
                <a:cs typeface="Open Sans Light"/>
              </a:rPr>
              <a:t>,</a:t>
            </a:r>
            <a:endParaRPr lang="en-US" sz="1600" dirty="0">
              <a:solidFill>
                <a:srgbClr val="58595B"/>
              </a:solidFill>
              <a:latin typeface="Roboto Regular" pitchFamily="2" charset="0"/>
              <a:ea typeface="Roboto Regular" pitchFamily="2" charset="0"/>
              <a:cs typeface="Open Sans Light"/>
            </a:endParaRPr>
          </a:p>
        </p:txBody>
      </p:sp>
      <p:sp>
        <p:nvSpPr>
          <p:cNvPr id="49" name="TextBox 48"/>
          <p:cNvSpPr txBox="1"/>
          <p:nvPr/>
        </p:nvSpPr>
        <p:spPr>
          <a:xfrm>
            <a:off x="581105" y="1112150"/>
            <a:ext cx="2528531" cy="1015663"/>
          </a:xfrm>
          <a:prstGeom prst="rect">
            <a:avLst/>
          </a:prstGeom>
          <a:noFill/>
        </p:spPr>
        <p:txBody>
          <a:bodyPr wrap="square" rtlCol="0">
            <a:spAutoFit/>
          </a:bodyPr>
          <a:lstStyle/>
          <a:p>
            <a:r>
              <a:rPr lang="en-US" sz="6000" b="1" dirty="0" smtClean="0">
                <a:solidFill>
                  <a:srgbClr val="58595B"/>
                </a:solidFill>
                <a:latin typeface="+mj-lt"/>
                <a:cs typeface="Open Sans"/>
              </a:rPr>
              <a:t>79%</a:t>
            </a:r>
            <a:endParaRPr lang="en-US" sz="6000" b="1" dirty="0">
              <a:solidFill>
                <a:srgbClr val="58595B"/>
              </a:solidFill>
              <a:latin typeface="+mj-lt"/>
              <a:cs typeface="Open Sans"/>
            </a:endParaRPr>
          </a:p>
        </p:txBody>
      </p:sp>
      <p:cxnSp>
        <p:nvCxnSpPr>
          <p:cNvPr id="50" name="Straight Connector 49"/>
          <p:cNvCxnSpPr/>
          <p:nvPr/>
        </p:nvCxnSpPr>
        <p:spPr>
          <a:xfrm>
            <a:off x="683345" y="2262977"/>
            <a:ext cx="2773382" cy="0"/>
          </a:xfrm>
          <a:prstGeom prst="line">
            <a:avLst/>
          </a:prstGeom>
          <a:ln>
            <a:solidFill>
              <a:schemeClr val="bg1">
                <a:lumMod val="8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9204527" y="4844999"/>
            <a:ext cx="2880692" cy="0"/>
          </a:xfrm>
          <a:prstGeom prst="line">
            <a:avLst/>
          </a:prstGeom>
          <a:ln>
            <a:solidFill>
              <a:schemeClr val="bg1">
                <a:lumMod val="85000"/>
              </a:schemeClr>
            </a:solidFill>
            <a:prstDash val="dash"/>
          </a:ln>
        </p:spPr>
        <p:style>
          <a:lnRef idx="2">
            <a:schemeClr val="accent1"/>
          </a:lnRef>
          <a:fillRef idx="0">
            <a:schemeClr val="accent1"/>
          </a:fillRef>
          <a:effectRef idx="1">
            <a:schemeClr val="accent1"/>
          </a:effectRef>
          <a:fontRef idx="minor">
            <a:schemeClr val="tx1"/>
          </a:fontRef>
        </p:style>
      </p:cxnSp>
      <p:sp>
        <p:nvSpPr>
          <p:cNvPr id="52" name="TextBox 51"/>
          <p:cNvSpPr txBox="1"/>
          <p:nvPr/>
        </p:nvSpPr>
        <p:spPr>
          <a:xfrm>
            <a:off x="9489160" y="5000361"/>
            <a:ext cx="2626368" cy="1015663"/>
          </a:xfrm>
          <a:prstGeom prst="rect">
            <a:avLst/>
          </a:prstGeom>
          <a:noFill/>
        </p:spPr>
        <p:txBody>
          <a:bodyPr wrap="square" rtlCol="0">
            <a:spAutoFit/>
          </a:bodyPr>
          <a:lstStyle/>
          <a:p>
            <a:pPr algn="r"/>
            <a:r>
              <a:rPr lang="en-US" sz="6000" b="1" dirty="0" smtClean="0">
                <a:solidFill>
                  <a:srgbClr val="58595B"/>
                </a:solidFill>
                <a:latin typeface="+mj-lt"/>
                <a:cs typeface="Open Sans"/>
              </a:rPr>
              <a:t>99%</a:t>
            </a:r>
            <a:endParaRPr lang="en-US" sz="6000" b="1" dirty="0">
              <a:solidFill>
                <a:srgbClr val="58595B"/>
              </a:solidFill>
              <a:latin typeface="+mj-lt"/>
              <a:cs typeface="Open Sans"/>
            </a:endParaRPr>
          </a:p>
        </p:txBody>
      </p:sp>
      <p:grpSp>
        <p:nvGrpSpPr>
          <p:cNvPr id="60" name="Group 59"/>
          <p:cNvGrpSpPr/>
          <p:nvPr>
            <p:custDataLst>
              <p:tags r:id="rId1"/>
            </p:custDataLst>
          </p:nvPr>
        </p:nvGrpSpPr>
        <p:grpSpPr>
          <a:xfrm>
            <a:off x="4446578" y="1337871"/>
            <a:ext cx="3948132" cy="4555004"/>
            <a:chOff x="7556058" y="3453108"/>
            <a:chExt cx="8957210" cy="10334034"/>
          </a:xfrm>
        </p:grpSpPr>
        <p:sp>
          <p:nvSpPr>
            <p:cNvPr id="4" name="Freeform 6"/>
            <p:cNvSpPr>
              <a:spLocks/>
            </p:cNvSpPr>
            <p:nvPr/>
          </p:nvSpPr>
          <p:spPr bwMode="auto">
            <a:xfrm>
              <a:off x="14326025" y="636503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5" name="Freeform 20"/>
            <p:cNvSpPr>
              <a:spLocks/>
            </p:cNvSpPr>
            <p:nvPr/>
          </p:nvSpPr>
          <p:spPr bwMode="auto">
            <a:xfrm>
              <a:off x="7556058" y="7305756"/>
              <a:ext cx="1421663" cy="1158107"/>
            </a:xfrm>
            <a:custGeom>
              <a:avLst/>
              <a:gdLst>
                <a:gd name="T0" fmla="*/ 280 w 280"/>
                <a:gd name="T1" fmla="*/ 27 h 228"/>
                <a:gd name="T2" fmla="*/ 247 w 280"/>
                <a:gd name="T3" fmla="*/ 36 h 228"/>
                <a:gd name="T4" fmla="*/ 272 w 280"/>
                <a:gd name="T5" fmla="*/ 5 h 228"/>
                <a:gd name="T6" fmla="*/ 236 w 280"/>
                <a:gd name="T7" fmla="*/ 19 h 228"/>
                <a:gd name="T8" fmla="*/ 194 w 280"/>
                <a:gd name="T9" fmla="*/ 0 h 228"/>
                <a:gd name="T10" fmla="*/ 136 w 280"/>
                <a:gd name="T11" fmla="*/ 58 h 228"/>
                <a:gd name="T12" fmla="*/ 138 w 280"/>
                <a:gd name="T13" fmla="*/ 71 h 228"/>
                <a:gd name="T14" fmla="*/ 19 w 280"/>
                <a:gd name="T15" fmla="*/ 11 h 228"/>
                <a:gd name="T16" fmla="*/ 12 w 280"/>
                <a:gd name="T17" fmla="*/ 40 h 228"/>
                <a:gd name="T18" fmla="*/ 37 w 280"/>
                <a:gd name="T19" fmla="*/ 88 h 228"/>
                <a:gd name="T20" fmla="*/ 11 w 280"/>
                <a:gd name="T21" fmla="*/ 80 h 228"/>
                <a:gd name="T22" fmla="*/ 11 w 280"/>
                <a:gd name="T23" fmla="*/ 81 h 228"/>
                <a:gd name="T24" fmla="*/ 57 w 280"/>
                <a:gd name="T25" fmla="*/ 138 h 228"/>
                <a:gd name="T26" fmla="*/ 42 w 280"/>
                <a:gd name="T27" fmla="*/ 140 h 228"/>
                <a:gd name="T28" fmla="*/ 31 w 280"/>
                <a:gd name="T29" fmla="*/ 139 h 228"/>
                <a:gd name="T30" fmla="*/ 85 w 280"/>
                <a:gd name="T31" fmla="*/ 178 h 228"/>
                <a:gd name="T32" fmla="*/ 14 w 280"/>
                <a:gd name="T33" fmla="*/ 203 h 228"/>
                <a:gd name="T34" fmla="*/ 0 w 280"/>
                <a:gd name="T35" fmla="*/ 202 h 228"/>
                <a:gd name="T36" fmla="*/ 88 w 280"/>
                <a:gd name="T37" fmla="*/ 228 h 228"/>
                <a:gd name="T38" fmla="*/ 251 w 280"/>
                <a:gd name="T39" fmla="*/ 65 h 228"/>
                <a:gd name="T40" fmla="*/ 251 w 280"/>
                <a:gd name="T41" fmla="*/ 57 h 228"/>
                <a:gd name="T42" fmla="*/ 280 w 280"/>
                <a:gd name="T43" fmla="*/ 2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80" h="228">
                  <a:moveTo>
                    <a:pt x="280" y="27"/>
                  </a:moveTo>
                  <a:cubicBezTo>
                    <a:pt x="270" y="32"/>
                    <a:pt x="259" y="35"/>
                    <a:pt x="247" y="36"/>
                  </a:cubicBezTo>
                  <a:cubicBezTo>
                    <a:pt x="259" y="29"/>
                    <a:pt x="268" y="18"/>
                    <a:pt x="272" y="5"/>
                  </a:cubicBezTo>
                  <a:cubicBezTo>
                    <a:pt x="261" y="11"/>
                    <a:pt x="249" y="16"/>
                    <a:pt x="236" y="19"/>
                  </a:cubicBezTo>
                  <a:cubicBezTo>
                    <a:pt x="225" y="7"/>
                    <a:pt x="210" y="0"/>
                    <a:pt x="194" y="0"/>
                  </a:cubicBezTo>
                  <a:cubicBezTo>
                    <a:pt x="162" y="0"/>
                    <a:pt x="136" y="26"/>
                    <a:pt x="136" y="58"/>
                  </a:cubicBezTo>
                  <a:cubicBezTo>
                    <a:pt x="136" y="62"/>
                    <a:pt x="137" y="67"/>
                    <a:pt x="138" y="71"/>
                  </a:cubicBezTo>
                  <a:cubicBezTo>
                    <a:pt x="90" y="69"/>
                    <a:pt x="48" y="46"/>
                    <a:pt x="19" y="11"/>
                  </a:cubicBezTo>
                  <a:cubicBezTo>
                    <a:pt x="14" y="19"/>
                    <a:pt x="12" y="29"/>
                    <a:pt x="12" y="40"/>
                  </a:cubicBezTo>
                  <a:cubicBezTo>
                    <a:pt x="12" y="60"/>
                    <a:pt x="22" y="77"/>
                    <a:pt x="37" y="88"/>
                  </a:cubicBezTo>
                  <a:cubicBezTo>
                    <a:pt x="28" y="87"/>
                    <a:pt x="19" y="85"/>
                    <a:pt x="11" y="80"/>
                  </a:cubicBezTo>
                  <a:cubicBezTo>
                    <a:pt x="11" y="81"/>
                    <a:pt x="11" y="81"/>
                    <a:pt x="11" y="81"/>
                  </a:cubicBezTo>
                  <a:cubicBezTo>
                    <a:pt x="11" y="109"/>
                    <a:pt x="31" y="132"/>
                    <a:pt x="57" y="138"/>
                  </a:cubicBezTo>
                  <a:cubicBezTo>
                    <a:pt x="52" y="139"/>
                    <a:pt x="47" y="140"/>
                    <a:pt x="42" y="140"/>
                  </a:cubicBezTo>
                  <a:cubicBezTo>
                    <a:pt x="38" y="140"/>
                    <a:pt x="35" y="139"/>
                    <a:pt x="31" y="139"/>
                  </a:cubicBezTo>
                  <a:cubicBezTo>
                    <a:pt x="39" y="161"/>
                    <a:pt x="60" y="178"/>
                    <a:pt x="85" y="178"/>
                  </a:cubicBezTo>
                  <a:cubicBezTo>
                    <a:pt x="65" y="194"/>
                    <a:pt x="40" y="203"/>
                    <a:pt x="14" y="203"/>
                  </a:cubicBezTo>
                  <a:cubicBezTo>
                    <a:pt x="9" y="203"/>
                    <a:pt x="4" y="203"/>
                    <a:pt x="0" y="202"/>
                  </a:cubicBezTo>
                  <a:cubicBezTo>
                    <a:pt x="25" y="219"/>
                    <a:pt x="55" y="228"/>
                    <a:pt x="88" y="228"/>
                  </a:cubicBezTo>
                  <a:cubicBezTo>
                    <a:pt x="194" y="228"/>
                    <a:pt x="251" y="140"/>
                    <a:pt x="251" y="65"/>
                  </a:cubicBezTo>
                  <a:cubicBezTo>
                    <a:pt x="251" y="62"/>
                    <a:pt x="251" y="60"/>
                    <a:pt x="251" y="57"/>
                  </a:cubicBezTo>
                  <a:cubicBezTo>
                    <a:pt x="263" y="49"/>
                    <a:pt x="272" y="39"/>
                    <a:pt x="280" y="2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6" name="Freeform 7"/>
            <p:cNvSpPr>
              <a:spLocks noEditPoints="1"/>
            </p:cNvSpPr>
            <p:nvPr/>
          </p:nvSpPr>
          <p:spPr bwMode="auto">
            <a:xfrm>
              <a:off x="13914393" y="6022007"/>
              <a:ext cx="767366" cy="764825"/>
            </a:xfrm>
            <a:custGeom>
              <a:avLst/>
              <a:gdLst>
                <a:gd name="T0" fmla="*/ 106 w 114"/>
                <a:gd name="T1" fmla="*/ 0 h 114"/>
                <a:gd name="T2" fmla="*/ 8 w 114"/>
                <a:gd name="T3" fmla="*/ 0 h 114"/>
                <a:gd name="T4" fmla="*/ 0 w 114"/>
                <a:gd name="T5" fmla="*/ 8 h 114"/>
                <a:gd name="T6" fmla="*/ 0 w 114"/>
                <a:gd name="T7" fmla="*/ 106 h 114"/>
                <a:gd name="T8" fmla="*/ 8 w 114"/>
                <a:gd name="T9" fmla="*/ 114 h 114"/>
                <a:gd name="T10" fmla="*/ 106 w 114"/>
                <a:gd name="T11" fmla="*/ 114 h 114"/>
                <a:gd name="T12" fmla="*/ 114 w 114"/>
                <a:gd name="T13" fmla="*/ 106 h 114"/>
                <a:gd name="T14" fmla="*/ 114 w 114"/>
                <a:gd name="T15" fmla="*/ 8 h 114"/>
                <a:gd name="T16" fmla="*/ 106 w 114"/>
                <a:gd name="T17" fmla="*/ 0 h 114"/>
                <a:gd name="T18" fmla="*/ 35 w 114"/>
                <a:gd name="T19" fmla="*/ 96 h 114"/>
                <a:gd name="T20" fmla="*/ 17 w 114"/>
                <a:gd name="T21" fmla="*/ 96 h 114"/>
                <a:gd name="T22" fmla="*/ 17 w 114"/>
                <a:gd name="T23" fmla="*/ 44 h 114"/>
                <a:gd name="T24" fmla="*/ 35 w 114"/>
                <a:gd name="T25" fmla="*/ 44 h 114"/>
                <a:gd name="T26" fmla="*/ 35 w 114"/>
                <a:gd name="T27" fmla="*/ 96 h 114"/>
                <a:gd name="T28" fmla="*/ 26 w 114"/>
                <a:gd name="T29" fmla="*/ 37 h 114"/>
                <a:gd name="T30" fmla="*/ 26 w 114"/>
                <a:gd name="T31" fmla="*/ 37 h 114"/>
                <a:gd name="T32" fmla="*/ 16 w 114"/>
                <a:gd name="T33" fmla="*/ 28 h 114"/>
                <a:gd name="T34" fmla="*/ 26 w 114"/>
                <a:gd name="T35" fmla="*/ 19 h 114"/>
                <a:gd name="T36" fmla="*/ 36 w 114"/>
                <a:gd name="T37" fmla="*/ 28 h 114"/>
                <a:gd name="T38" fmla="*/ 26 w 114"/>
                <a:gd name="T39" fmla="*/ 37 h 114"/>
                <a:gd name="T40" fmla="*/ 97 w 114"/>
                <a:gd name="T41" fmla="*/ 96 h 114"/>
                <a:gd name="T42" fmla="*/ 80 w 114"/>
                <a:gd name="T43" fmla="*/ 96 h 114"/>
                <a:gd name="T44" fmla="*/ 80 w 114"/>
                <a:gd name="T45" fmla="*/ 68 h 114"/>
                <a:gd name="T46" fmla="*/ 71 w 114"/>
                <a:gd name="T47" fmla="*/ 56 h 114"/>
                <a:gd name="T48" fmla="*/ 62 w 114"/>
                <a:gd name="T49" fmla="*/ 63 h 114"/>
                <a:gd name="T50" fmla="*/ 61 w 114"/>
                <a:gd name="T51" fmla="*/ 67 h 114"/>
                <a:gd name="T52" fmla="*/ 61 w 114"/>
                <a:gd name="T53" fmla="*/ 96 h 114"/>
                <a:gd name="T54" fmla="*/ 44 w 114"/>
                <a:gd name="T55" fmla="*/ 96 h 114"/>
                <a:gd name="T56" fmla="*/ 44 w 114"/>
                <a:gd name="T57" fmla="*/ 44 h 114"/>
                <a:gd name="T58" fmla="*/ 61 w 114"/>
                <a:gd name="T59" fmla="*/ 44 h 114"/>
                <a:gd name="T60" fmla="*/ 61 w 114"/>
                <a:gd name="T61" fmla="*/ 51 h 114"/>
                <a:gd name="T62" fmla="*/ 77 w 114"/>
                <a:gd name="T63" fmla="*/ 43 h 114"/>
                <a:gd name="T64" fmla="*/ 97 w 114"/>
                <a:gd name="T65" fmla="*/ 66 h 114"/>
                <a:gd name="T66" fmla="*/ 97 w 114"/>
                <a:gd name="T67"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4" h="114">
                  <a:moveTo>
                    <a:pt x="106" y="0"/>
                  </a:moveTo>
                  <a:cubicBezTo>
                    <a:pt x="8" y="0"/>
                    <a:pt x="8" y="0"/>
                    <a:pt x="8" y="0"/>
                  </a:cubicBezTo>
                  <a:cubicBezTo>
                    <a:pt x="4" y="0"/>
                    <a:pt x="0" y="3"/>
                    <a:pt x="0" y="8"/>
                  </a:cubicBezTo>
                  <a:cubicBezTo>
                    <a:pt x="0" y="106"/>
                    <a:pt x="0" y="106"/>
                    <a:pt x="0" y="106"/>
                  </a:cubicBezTo>
                  <a:cubicBezTo>
                    <a:pt x="0" y="111"/>
                    <a:pt x="4" y="114"/>
                    <a:pt x="8" y="114"/>
                  </a:cubicBezTo>
                  <a:cubicBezTo>
                    <a:pt x="106" y="114"/>
                    <a:pt x="106" y="114"/>
                    <a:pt x="106" y="114"/>
                  </a:cubicBezTo>
                  <a:cubicBezTo>
                    <a:pt x="110" y="114"/>
                    <a:pt x="114" y="111"/>
                    <a:pt x="114" y="106"/>
                  </a:cubicBezTo>
                  <a:cubicBezTo>
                    <a:pt x="114" y="8"/>
                    <a:pt x="114" y="8"/>
                    <a:pt x="114" y="8"/>
                  </a:cubicBezTo>
                  <a:cubicBezTo>
                    <a:pt x="114" y="3"/>
                    <a:pt x="110" y="0"/>
                    <a:pt x="106" y="0"/>
                  </a:cubicBezTo>
                  <a:close/>
                  <a:moveTo>
                    <a:pt x="35" y="96"/>
                  </a:moveTo>
                  <a:cubicBezTo>
                    <a:pt x="17" y="96"/>
                    <a:pt x="17" y="96"/>
                    <a:pt x="17" y="96"/>
                  </a:cubicBezTo>
                  <a:cubicBezTo>
                    <a:pt x="17" y="44"/>
                    <a:pt x="17" y="44"/>
                    <a:pt x="17" y="44"/>
                  </a:cubicBezTo>
                  <a:cubicBezTo>
                    <a:pt x="35" y="44"/>
                    <a:pt x="35" y="44"/>
                    <a:pt x="35" y="44"/>
                  </a:cubicBezTo>
                  <a:lnTo>
                    <a:pt x="35" y="96"/>
                  </a:lnTo>
                  <a:close/>
                  <a:moveTo>
                    <a:pt x="26" y="37"/>
                  </a:moveTo>
                  <a:cubicBezTo>
                    <a:pt x="26" y="37"/>
                    <a:pt x="26" y="37"/>
                    <a:pt x="26" y="37"/>
                  </a:cubicBezTo>
                  <a:cubicBezTo>
                    <a:pt x="20" y="37"/>
                    <a:pt x="16" y="33"/>
                    <a:pt x="16" y="28"/>
                  </a:cubicBezTo>
                  <a:cubicBezTo>
                    <a:pt x="16" y="23"/>
                    <a:pt x="20" y="19"/>
                    <a:pt x="26" y="19"/>
                  </a:cubicBezTo>
                  <a:cubicBezTo>
                    <a:pt x="32" y="19"/>
                    <a:pt x="36" y="23"/>
                    <a:pt x="36" y="28"/>
                  </a:cubicBezTo>
                  <a:cubicBezTo>
                    <a:pt x="36" y="33"/>
                    <a:pt x="32" y="37"/>
                    <a:pt x="26" y="37"/>
                  </a:cubicBezTo>
                  <a:close/>
                  <a:moveTo>
                    <a:pt x="97" y="96"/>
                  </a:moveTo>
                  <a:cubicBezTo>
                    <a:pt x="80" y="96"/>
                    <a:pt x="80" y="96"/>
                    <a:pt x="80" y="96"/>
                  </a:cubicBezTo>
                  <a:cubicBezTo>
                    <a:pt x="80" y="68"/>
                    <a:pt x="80" y="68"/>
                    <a:pt x="80" y="68"/>
                  </a:cubicBezTo>
                  <a:cubicBezTo>
                    <a:pt x="80" y="61"/>
                    <a:pt x="77" y="56"/>
                    <a:pt x="71" y="56"/>
                  </a:cubicBezTo>
                  <a:cubicBezTo>
                    <a:pt x="66" y="56"/>
                    <a:pt x="63" y="59"/>
                    <a:pt x="62" y="63"/>
                  </a:cubicBezTo>
                  <a:cubicBezTo>
                    <a:pt x="61" y="64"/>
                    <a:pt x="61" y="65"/>
                    <a:pt x="61" y="67"/>
                  </a:cubicBezTo>
                  <a:cubicBezTo>
                    <a:pt x="61" y="96"/>
                    <a:pt x="61" y="96"/>
                    <a:pt x="61" y="96"/>
                  </a:cubicBezTo>
                  <a:cubicBezTo>
                    <a:pt x="44" y="96"/>
                    <a:pt x="44" y="96"/>
                    <a:pt x="44" y="96"/>
                  </a:cubicBezTo>
                  <a:cubicBezTo>
                    <a:pt x="44" y="96"/>
                    <a:pt x="44" y="49"/>
                    <a:pt x="44" y="44"/>
                  </a:cubicBezTo>
                  <a:cubicBezTo>
                    <a:pt x="61" y="44"/>
                    <a:pt x="61" y="44"/>
                    <a:pt x="61" y="44"/>
                  </a:cubicBezTo>
                  <a:cubicBezTo>
                    <a:pt x="61" y="51"/>
                    <a:pt x="61" y="51"/>
                    <a:pt x="61" y="51"/>
                  </a:cubicBezTo>
                  <a:cubicBezTo>
                    <a:pt x="64" y="48"/>
                    <a:pt x="68" y="43"/>
                    <a:pt x="77" y="43"/>
                  </a:cubicBezTo>
                  <a:cubicBezTo>
                    <a:pt x="88" y="43"/>
                    <a:pt x="97" y="50"/>
                    <a:pt x="97" y="66"/>
                  </a:cubicBezTo>
                  <a:lnTo>
                    <a:pt x="97" y="96"/>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grpSp>
          <p:nvGrpSpPr>
            <p:cNvPr id="7" name="Group 6"/>
            <p:cNvGrpSpPr/>
            <p:nvPr>
              <p:custDataLst>
                <p:tags r:id="rId2"/>
              </p:custDataLst>
            </p:nvPr>
          </p:nvGrpSpPr>
          <p:grpSpPr>
            <a:xfrm>
              <a:off x="13761936" y="9304913"/>
              <a:ext cx="1455964" cy="1455962"/>
              <a:chOff x="4127501" y="4194175"/>
              <a:chExt cx="909638" cy="909637"/>
            </a:xfrm>
            <a:solidFill>
              <a:schemeClr val="accent4"/>
            </a:solidFill>
          </p:grpSpPr>
          <p:sp>
            <p:nvSpPr>
              <p:cNvPr id="8" name="Freeform 11"/>
              <p:cNvSpPr>
                <a:spLocks/>
              </p:cNvSpPr>
              <p:nvPr/>
            </p:nvSpPr>
            <p:spPr bwMode="auto">
              <a:xfrm>
                <a:off x="4386263" y="4659313"/>
                <a:ext cx="96838" cy="192087"/>
              </a:xfrm>
              <a:custGeom>
                <a:avLst/>
                <a:gdLst>
                  <a:gd name="T0" fmla="*/ 0 w 61"/>
                  <a:gd name="T1" fmla="*/ 18 h 121"/>
                  <a:gd name="T2" fmla="*/ 22 w 61"/>
                  <a:gd name="T3" fmla="*/ 18 h 121"/>
                  <a:gd name="T4" fmla="*/ 22 w 61"/>
                  <a:gd name="T5" fmla="*/ 121 h 121"/>
                  <a:gd name="T6" fmla="*/ 40 w 61"/>
                  <a:gd name="T7" fmla="*/ 121 h 121"/>
                  <a:gd name="T8" fmla="*/ 40 w 61"/>
                  <a:gd name="T9" fmla="*/ 18 h 121"/>
                  <a:gd name="T10" fmla="*/ 61 w 61"/>
                  <a:gd name="T11" fmla="*/ 18 h 121"/>
                  <a:gd name="T12" fmla="*/ 61 w 61"/>
                  <a:gd name="T13" fmla="*/ 0 h 121"/>
                  <a:gd name="T14" fmla="*/ 0 w 61"/>
                  <a:gd name="T15" fmla="*/ 0 h 121"/>
                  <a:gd name="T16" fmla="*/ 0 w 61"/>
                  <a:gd name="T17" fmla="*/ 1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21">
                    <a:moveTo>
                      <a:pt x="0" y="18"/>
                    </a:moveTo>
                    <a:lnTo>
                      <a:pt x="22" y="18"/>
                    </a:lnTo>
                    <a:lnTo>
                      <a:pt x="22" y="121"/>
                    </a:lnTo>
                    <a:lnTo>
                      <a:pt x="40" y="121"/>
                    </a:lnTo>
                    <a:lnTo>
                      <a:pt x="40" y="18"/>
                    </a:lnTo>
                    <a:lnTo>
                      <a:pt x="61" y="18"/>
                    </a:lnTo>
                    <a:lnTo>
                      <a:pt x="61" y="0"/>
                    </a:lnTo>
                    <a:lnTo>
                      <a:pt x="0" y="0"/>
                    </a:lnTo>
                    <a:lnTo>
                      <a:pt x="0" y="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9" name="Freeform 12"/>
              <p:cNvSpPr>
                <a:spLocks/>
              </p:cNvSpPr>
              <p:nvPr/>
            </p:nvSpPr>
            <p:spPr bwMode="auto">
              <a:xfrm>
                <a:off x="4572001" y="4440238"/>
                <a:ext cx="25400" cy="109537"/>
              </a:xfrm>
              <a:custGeom>
                <a:avLst/>
                <a:gdLst>
                  <a:gd name="T0" fmla="*/ 3 w 6"/>
                  <a:gd name="T1" fmla="*/ 26 h 26"/>
                  <a:gd name="T2" fmla="*/ 5 w 6"/>
                  <a:gd name="T3" fmla="*/ 25 h 26"/>
                  <a:gd name="T4" fmla="*/ 6 w 6"/>
                  <a:gd name="T5" fmla="*/ 23 h 26"/>
                  <a:gd name="T6" fmla="*/ 6 w 6"/>
                  <a:gd name="T7" fmla="*/ 3 h 26"/>
                  <a:gd name="T8" fmla="*/ 5 w 6"/>
                  <a:gd name="T9" fmla="*/ 1 h 26"/>
                  <a:gd name="T10" fmla="*/ 3 w 6"/>
                  <a:gd name="T11" fmla="*/ 0 h 26"/>
                  <a:gd name="T12" fmla="*/ 0 w 6"/>
                  <a:gd name="T13" fmla="*/ 1 h 26"/>
                  <a:gd name="T14" fmla="*/ 0 w 6"/>
                  <a:gd name="T15" fmla="*/ 3 h 26"/>
                  <a:gd name="T16" fmla="*/ 0 w 6"/>
                  <a:gd name="T17" fmla="*/ 23 h 26"/>
                  <a:gd name="T18" fmla="*/ 0 w 6"/>
                  <a:gd name="T19" fmla="*/ 25 h 26"/>
                  <a:gd name="T20" fmla="*/ 3 w 6"/>
                  <a:gd name="T2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6">
                    <a:moveTo>
                      <a:pt x="3" y="26"/>
                    </a:moveTo>
                    <a:cubicBezTo>
                      <a:pt x="4" y="26"/>
                      <a:pt x="5" y="26"/>
                      <a:pt x="5" y="25"/>
                    </a:cubicBezTo>
                    <a:cubicBezTo>
                      <a:pt x="6" y="25"/>
                      <a:pt x="6" y="24"/>
                      <a:pt x="6" y="23"/>
                    </a:cubicBezTo>
                    <a:cubicBezTo>
                      <a:pt x="6" y="3"/>
                      <a:pt x="6" y="3"/>
                      <a:pt x="6" y="3"/>
                    </a:cubicBezTo>
                    <a:cubicBezTo>
                      <a:pt x="6" y="2"/>
                      <a:pt x="6" y="1"/>
                      <a:pt x="5" y="1"/>
                    </a:cubicBezTo>
                    <a:cubicBezTo>
                      <a:pt x="5" y="0"/>
                      <a:pt x="4" y="0"/>
                      <a:pt x="3" y="0"/>
                    </a:cubicBezTo>
                    <a:cubicBezTo>
                      <a:pt x="2" y="0"/>
                      <a:pt x="1" y="0"/>
                      <a:pt x="0" y="1"/>
                    </a:cubicBezTo>
                    <a:cubicBezTo>
                      <a:pt x="0" y="1"/>
                      <a:pt x="0" y="2"/>
                      <a:pt x="0" y="3"/>
                    </a:cubicBezTo>
                    <a:cubicBezTo>
                      <a:pt x="0" y="23"/>
                      <a:pt x="0" y="23"/>
                      <a:pt x="0" y="23"/>
                    </a:cubicBezTo>
                    <a:cubicBezTo>
                      <a:pt x="0" y="24"/>
                      <a:pt x="0" y="25"/>
                      <a:pt x="0" y="25"/>
                    </a:cubicBezTo>
                    <a:cubicBezTo>
                      <a:pt x="1" y="26"/>
                      <a:pt x="2" y="26"/>
                      <a:pt x="3" y="2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10" name="Freeform 13"/>
              <p:cNvSpPr>
                <a:spLocks noEditPoints="1"/>
              </p:cNvSpPr>
              <p:nvPr/>
            </p:nvSpPr>
            <p:spPr bwMode="auto">
              <a:xfrm>
                <a:off x="4600576" y="4659313"/>
                <a:ext cx="79375" cy="192087"/>
              </a:xfrm>
              <a:custGeom>
                <a:avLst/>
                <a:gdLst>
                  <a:gd name="T0" fmla="*/ 13 w 19"/>
                  <a:gd name="T1" fmla="*/ 12 h 46"/>
                  <a:gd name="T2" fmla="*/ 9 w 19"/>
                  <a:gd name="T3" fmla="*/ 12 h 46"/>
                  <a:gd name="T4" fmla="*/ 6 w 19"/>
                  <a:gd name="T5" fmla="*/ 15 h 46"/>
                  <a:gd name="T6" fmla="*/ 6 w 19"/>
                  <a:gd name="T7" fmla="*/ 0 h 46"/>
                  <a:gd name="T8" fmla="*/ 0 w 19"/>
                  <a:gd name="T9" fmla="*/ 0 h 46"/>
                  <a:gd name="T10" fmla="*/ 0 w 19"/>
                  <a:gd name="T11" fmla="*/ 46 h 46"/>
                  <a:gd name="T12" fmla="*/ 6 w 19"/>
                  <a:gd name="T13" fmla="*/ 46 h 46"/>
                  <a:gd name="T14" fmla="*/ 6 w 19"/>
                  <a:gd name="T15" fmla="*/ 43 h 46"/>
                  <a:gd name="T16" fmla="*/ 9 w 19"/>
                  <a:gd name="T17" fmla="*/ 45 h 46"/>
                  <a:gd name="T18" fmla="*/ 13 w 19"/>
                  <a:gd name="T19" fmla="*/ 46 h 46"/>
                  <a:gd name="T20" fmla="*/ 18 w 19"/>
                  <a:gd name="T21" fmla="*/ 44 h 46"/>
                  <a:gd name="T22" fmla="*/ 19 w 19"/>
                  <a:gd name="T23" fmla="*/ 39 h 46"/>
                  <a:gd name="T24" fmla="*/ 19 w 19"/>
                  <a:gd name="T25" fmla="*/ 20 h 46"/>
                  <a:gd name="T26" fmla="*/ 17 w 19"/>
                  <a:gd name="T27" fmla="*/ 14 h 46"/>
                  <a:gd name="T28" fmla="*/ 13 w 19"/>
                  <a:gd name="T29" fmla="*/ 12 h 46"/>
                  <a:gd name="T30" fmla="*/ 12 w 19"/>
                  <a:gd name="T31" fmla="*/ 38 h 46"/>
                  <a:gd name="T32" fmla="*/ 12 w 19"/>
                  <a:gd name="T33" fmla="*/ 40 h 46"/>
                  <a:gd name="T34" fmla="*/ 10 w 19"/>
                  <a:gd name="T35" fmla="*/ 41 h 46"/>
                  <a:gd name="T36" fmla="*/ 8 w 19"/>
                  <a:gd name="T37" fmla="*/ 41 h 46"/>
                  <a:gd name="T38" fmla="*/ 6 w 19"/>
                  <a:gd name="T39" fmla="*/ 39 h 46"/>
                  <a:gd name="T40" fmla="*/ 6 w 19"/>
                  <a:gd name="T41" fmla="*/ 18 h 46"/>
                  <a:gd name="T42" fmla="*/ 8 w 19"/>
                  <a:gd name="T43" fmla="*/ 17 h 46"/>
                  <a:gd name="T44" fmla="*/ 9 w 19"/>
                  <a:gd name="T45" fmla="*/ 17 h 46"/>
                  <a:gd name="T46" fmla="*/ 11 w 19"/>
                  <a:gd name="T47" fmla="*/ 18 h 46"/>
                  <a:gd name="T48" fmla="*/ 12 w 19"/>
                  <a:gd name="T49" fmla="*/ 20 h 46"/>
                  <a:gd name="T50" fmla="*/ 12 w 19"/>
                  <a:gd name="T51" fmla="*/ 3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46">
                    <a:moveTo>
                      <a:pt x="13" y="12"/>
                    </a:moveTo>
                    <a:cubicBezTo>
                      <a:pt x="11" y="12"/>
                      <a:pt x="10" y="12"/>
                      <a:pt x="9" y="12"/>
                    </a:cubicBezTo>
                    <a:cubicBezTo>
                      <a:pt x="8" y="13"/>
                      <a:pt x="7" y="14"/>
                      <a:pt x="6" y="15"/>
                    </a:cubicBezTo>
                    <a:cubicBezTo>
                      <a:pt x="6" y="0"/>
                      <a:pt x="6" y="0"/>
                      <a:pt x="6" y="0"/>
                    </a:cubicBezTo>
                    <a:cubicBezTo>
                      <a:pt x="0" y="0"/>
                      <a:pt x="0" y="0"/>
                      <a:pt x="0" y="0"/>
                    </a:cubicBezTo>
                    <a:cubicBezTo>
                      <a:pt x="0" y="46"/>
                      <a:pt x="0" y="46"/>
                      <a:pt x="0" y="46"/>
                    </a:cubicBezTo>
                    <a:cubicBezTo>
                      <a:pt x="6" y="46"/>
                      <a:pt x="6" y="46"/>
                      <a:pt x="6" y="46"/>
                    </a:cubicBezTo>
                    <a:cubicBezTo>
                      <a:pt x="6" y="43"/>
                      <a:pt x="6" y="43"/>
                      <a:pt x="6" y="43"/>
                    </a:cubicBezTo>
                    <a:cubicBezTo>
                      <a:pt x="7" y="44"/>
                      <a:pt x="8" y="45"/>
                      <a:pt x="9" y="45"/>
                    </a:cubicBezTo>
                    <a:cubicBezTo>
                      <a:pt x="10" y="46"/>
                      <a:pt x="12" y="46"/>
                      <a:pt x="13" y="46"/>
                    </a:cubicBezTo>
                    <a:cubicBezTo>
                      <a:pt x="15" y="46"/>
                      <a:pt x="16" y="46"/>
                      <a:pt x="18" y="44"/>
                    </a:cubicBezTo>
                    <a:cubicBezTo>
                      <a:pt x="19" y="43"/>
                      <a:pt x="19" y="41"/>
                      <a:pt x="19" y="39"/>
                    </a:cubicBezTo>
                    <a:cubicBezTo>
                      <a:pt x="19" y="20"/>
                      <a:pt x="19" y="20"/>
                      <a:pt x="19" y="20"/>
                    </a:cubicBezTo>
                    <a:cubicBezTo>
                      <a:pt x="19" y="17"/>
                      <a:pt x="19" y="15"/>
                      <a:pt x="17" y="14"/>
                    </a:cubicBezTo>
                    <a:cubicBezTo>
                      <a:pt x="16" y="12"/>
                      <a:pt x="15" y="12"/>
                      <a:pt x="13" y="12"/>
                    </a:cubicBezTo>
                    <a:close/>
                    <a:moveTo>
                      <a:pt x="12" y="38"/>
                    </a:moveTo>
                    <a:cubicBezTo>
                      <a:pt x="12" y="39"/>
                      <a:pt x="12" y="40"/>
                      <a:pt x="12" y="40"/>
                    </a:cubicBezTo>
                    <a:cubicBezTo>
                      <a:pt x="11" y="41"/>
                      <a:pt x="11" y="41"/>
                      <a:pt x="10" y="41"/>
                    </a:cubicBezTo>
                    <a:cubicBezTo>
                      <a:pt x="9" y="41"/>
                      <a:pt x="9" y="41"/>
                      <a:pt x="8" y="41"/>
                    </a:cubicBezTo>
                    <a:cubicBezTo>
                      <a:pt x="8" y="40"/>
                      <a:pt x="7" y="40"/>
                      <a:pt x="6" y="39"/>
                    </a:cubicBezTo>
                    <a:cubicBezTo>
                      <a:pt x="6" y="18"/>
                      <a:pt x="6" y="18"/>
                      <a:pt x="6" y="18"/>
                    </a:cubicBezTo>
                    <a:cubicBezTo>
                      <a:pt x="7" y="18"/>
                      <a:pt x="7" y="17"/>
                      <a:pt x="8" y="17"/>
                    </a:cubicBezTo>
                    <a:cubicBezTo>
                      <a:pt x="8" y="17"/>
                      <a:pt x="9" y="17"/>
                      <a:pt x="9" y="17"/>
                    </a:cubicBezTo>
                    <a:cubicBezTo>
                      <a:pt x="10" y="17"/>
                      <a:pt x="11" y="17"/>
                      <a:pt x="11" y="18"/>
                    </a:cubicBezTo>
                    <a:cubicBezTo>
                      <a:pt x="12" y="18"/>
                      <a:pt x="12" y="19"/>
                      <a:pt x="12" y="20"/>
                    </a:cubicBezTo>
                    <a:lnTo>
                      <a:pt x="12" y="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11" name="Freeform 14"/>
              <p:cNvSpPr>
                <a:spLocks/>
              </p:cNvSpPr>
              <p:nvPr/>
            </p:nvSpPr>
            <p:spPr bwMode="auto">
              <a:xfrm>
                <a:off x="4495801" y="4710113"/>
                <a:ext cx="84138" cy="141287"/>
              </a:xfrm>
              <a:custGeom>
                <a:avLst/>
                <a:gdLst>
                  <a:gd name="T0" fmla="*/ 13 w 20"/>
                  <a:gd name="T1" fmla="*/ 26 h 34"/>
                  <a:gd name="T2" fmla="*/ 11 w 20"/>
                  <a:gd name="T3" fmla="*/ 27 h 34"/>
                  <a:gd name="T4" fmla="*/ 9 w 20"/>
                  <a:gd name="T5" fmla="*/ 28 h 34"/>
                  <a:gd name="T6" fmla="*/ 7 w 20"/>
                  <a:gd name="T7" fmla="*/ 28 h 34"/>
                  <a:gd name="T8" fmla="*/ 7 w 20"/>
                  <a:gd name="T9" fmla="*/ 26 h 34"/>
                  <a:gd name="T10" fmla="*/ 7 w 20"/>
                  <a:gd name="T11" fmla="*/ 0 h 34"/>
                  <a:gd name="T12" fmla="*/ 0 w 20"/>
                  <a:gd name="T13" fmla="*/ 0 h 34"/>
                  <a:gd name="T14" fmla="*/ 0 w 20"/>
                  <a:gd name="T15" fmla="*/ 28 h 34"/>
                  <a:gd name="T16" fmla="*/ 1 w 20"/>
                  <a:gd name="T17" fmla="*/ 33 h 34"/>
                  <a:gd name="T18" fmla="*/ 5 w 20"/>
                  <a:gd name="T19" fmla="*/ 34 h 34"/>
                  <a:gd name="T20" fmla="*/ 9 w 20"/>
                  <a:gd name="T21" fmla="*/ 33 h 34"/>
                  <a:gd name="T22" fmla="*/ 13 w 20"/>
                  <a:gd name="T23" fmla="*/ 30 h 34"/>
                  <a:gd name="T24" fmla="*/ 13 w 20"/>
                  <a:gd name="T25" fmla="*/ 34 h 34"/>
                  <a:gd name="T26" fmla="*/ 20 w 20"/>
                  <a:gd name="T27" fmla="*/ 34 h 34"/>
                  <a:gd name="T28" fmla="*/ 20 w 20"/>
                  <a:gd name="T29" fmla="*/ 0 h 34"/>
                  <a:gd name="T30" fmla="*/ 13 w 20"/>
                  <a:gd name="T31" fmla="*/ 0 h 34"/>
                  <a:gd name="T32" fmla="*/ 13 w 20"/>
                  <a:gd name="T33" fmla="*/ 2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34">
                    <a:moveTo>
                      <a:pt x="13" y="26"/>
                    </a:moveTo>
                    <a:cubicBezTo>
                      <a:pt x="12" y="26"/>
                      <a:pt x="11" y="27"/>
                      <a:pt x="11" y="27"/>
                    </a:cubicBezTo>
                    <a:cubicBezTo>
                      <a:pt x="10" y="28"/>
                      <a:pt x="9" y="28"/>
                      <a:pt x="9" y="28"/>
                    </a:cubicBezTo>
                    <a:cubicBezTo>
                      <a:pt x="8" y="28"/>
                      <a:pt x="8" y="28"/>
                      <a:pt x="7" y="28"/>
                    </a:cubicBezTo>
                    <a:cubicBezTo>
                      <a:pt x="7" y="27"/>
                      <a:pt x="7" y="27"/>
                      <a:pt x="7" y="26"/>
                    </a:cubicBezTo>
                    <a:cubicBezTo>
                      <a:pt x="7" y="0"/>
                      <a:pt x="7" y="0"/>
                      <a:pt x="7" y="0"/>
                    </a:cubicBezTo>
                    <a:cubicBezTo>
                      <a:pt x="0" y="0"/>
                      <a:pt x="0" y="0"/>
                      <a:pt x="0" y="0"/>
                    </a:cubicBezTo>
                    <a:cubicBezTo>
                      <a:pt x="0" y="28"/>
                      <a:pt x="0" y="28"/>
                      <a:pt x="0" y="28"/>
                    </a:cubicBezTo>
                    <a:cubicBezTo>
                      <a:pt x="0" y="30"/>
                      <a:pt x="1" y="32"/>
                      <a:pt x="1" y="33"/>
                    </a:cubicBezTo>
                    <a:cubicBezTo>
                      <a:pt x="2" y="34"/>
                      <a:pt x="3" y="34"/>
                      <a:pt x="5" y="34"/>
                    </a:cubicBezTo>
                    <a:cubicBezTo>
                      <a:pt x="6" y="34"/>
                      <a:pt x="8" y="34"/>
                      <a:pt x="9" y="33"/>
                    </a:cubicBezTo>
                    <a:cubicBezTo>
                      <a:pt x="10" y="32"/>
                      <a:pt x="12" y="31"/>
                      <a:pt x="13" y="30"/>
                    </a:cubicBezTo>
                    <a:cubicBezTo>
                      <a:pt x="13" y="34"/>
                      <a:pt x="13" y="34"/>
                      <a:pt x="13" y="34"/>
                    </a:cubicBezTo>
                    <a:cubicBezTo>
                      <a:pt x="20" y="34"/>
                      <a:pt x="20" y="34"/>
                      <a:pt x="20" y="34"/>
                    </a:cubicBezTo>
                    <a:cubicBezTo>
                      <a:pt x="20" y="0"/>
                      <a:pt x="20" y="0"/>
                      <a:pt x="20" y="0"/>
                    </a:cubicBezTo>
                    <a:cubicBezTo>
                      <a:pt x="13" y="0"/>
                      <a:pt x="13" y="0"/>
                      <a:pt x="13" y="0"/>
                    </a:cubicBezTo>
                    <a:lnTo>
                      <a:pt x="13"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12" name="Freeform 15"/>
              <p:cNvSpPr>
                <a:spLocks noEditPoints="1"/>
              </p:cNvSpPr>
              <p:nvPr/>
            </p:nvSpPr>
            <p:spPr bwMode="auto">
              <a:xfrm>
                <a:off x="4127501" y="4194175"/>
                <a:ext cx="909638" cy="909637"/>
              </a:xfrm>
              <a:custGeom>
                <a:avLst/>
                <a:gdLst>
                  <a:gd name="T0" fmla="*/ 108 w 217"/>
                  <a:gd name="T1" fmla="*/ 0 h 217"/>
                  <a:gd name="T2" fmla="*/ 0 w 217"/>
                  <a:gd name="T3" fmla="*/ 108 h 217"/>
                  <a:gd name="T4" fmla="*/ 108 w 217"/>
                  <a:gd name="T5" fmla="*/ 217 h 217"/>
                  <a:gd name="T6" fmla="*/ 217 w 217"/>
                  <a:gd name="T7" fmla="*/ 108 h 217"/>
                  <a:gd name="T8" fmla="*/ 108 w 217"/>
                  <a:gd name="T9" fmla="*/ 0 h 217"/>
                  <a:gd name="T10" fmla="*/ 126 w 217"/>
                  <a:gd name="T11" fmla="*/ 53 h 217"/>
                  <a:gd name="T12" fmla="*/ 134 w 217"/>
                  <a:gd name="T13" fmla="*/ 53 h 217"/>
                  <a:gd name="T14" fmla="*/ 134 w 217"/>
                  <a:gd name="T15" fmla="*/ 82 h 217"/>
                  <a:gd name="T16" fmla="*/ 134 w 217"/>
                  <a:gd name="T17" fmla="*/ 84 h 217"/>
                  <a:gd name="T18" fmla="*/ 136 w 217"/>
                  <a:gd name="T19" fmla="*/ 84 h 217"/>
                  <a:gd name="T20" fmla="*/ 138 w 217"/>
                  <a:gd name="T21" fmla="*/ 84 h 217"/>
                  <a:gd name="T22" fmla="*/ 140 w 217"/>
                  <a:gd name="T23" fmla="*/ 82 h 217"/>
                  <a:gd name="T24" fmla="*/ 140 w 217"/>
                  <a:gd name="T25" fmla="*/ 53 h 217"/>
                  <a:gd name="T26" fmla="*/ 148 w 217"/>
                  <a:gd name="T27" fmla="*/ 53 h 217"/>
                  <a:gd name="T28" fmla="*/ 148 w 217"/>
                  <a:gd name="T29" fmla="*/ 91 h 217"/>
                  <a:gd name="T30" fmla="*/ 140 w 217"/>
                  <a:gd name="T31" fmla="*/ 91 h 217"/>
                  <a:gd name="T32" fmla="*/ 140 w 217"/>
                  <a:gd name="T33" fmla="*/ 86 h 217"/>
                  <a:gd name="T34" fmla="*/ 136 w 217"/>
                  <a:gd name="T35" fmla="*/ 90 h 217"/>
                  <a:gd name="T36" fmla="*/ 131 w 217"/>
                  <a:gd name="T37" fmla="*/ 91 h 217"/>
                  <a:gd name="T38" fmla="*/ 127 w 217"/>
                  <a:gd name="T39" fmla="*/ 89 h 217"/>
                  <a:gd name="T40" fmla="*/ 126 w 217"/>
                  <a:gd name="T41" fmla="*/ 84 h 217"/>
                  <a:gd name="T42" fmla="*/ 126 w 217"/>
                  <a:gd name="T43" fmla="*/ 53 h 217"/>
                  <a:gd name="T44" fmla="*/ 98 w 217"/>
                  <a:gd name="T45" fmla="*/ 62 h 217"/>
                  <a:gd name="T46" fmla="*/ 101 w 217"/>
                  <a:gd name="T47" fmla="*/ 55 h 217"/>
                  <a:gd name="T48" fmla="*/ 109 w 217"/>
                  <a:gd name="T49" fmla="*/ 52 h 217"/>
                  <a:gd name="T50" fmla="*/ 117 w 217"/>
                  <a:gd name="T51" fmla="*/ 55 h 217"/>
                  <a:gd name="T52" fmla="*/ 120 w 217"/>
                  <a:gd name="T53" fmla="*/ 62 h 217"/>
                  <a:gd name="T54" fmla="*/ 120 w 217"/>
                  <a:gd name="T55" fmla="*/ 81 h 217"/>
                  <a:gd name="T56" fmla="*/ 117 w 217"/>
                  <a:gd name="T57" fmla="*/ 89 h 217"/>
                  <a:gd name="T58" fmla="*/ 109 w 217"/>
                  <a:gd name="T59" fmla="*/ 91 h 217"/>
                  <a:gd name="T60" fmla="*/ 101 w 217"/>
                  <a:gd name="T61" fmla="*/ 89 h 217"/>
                  <a:gd name="T62" fmla="*/ 98 w 217"/>
                  <a:gd name="T63" fmla="*/ 81 h 217"/>
                  <a:gd name="T64" fmla="*/ 98 w 217"/>
                  <a:gd name="T65" fmla="*/ 62 h 217"/>
                  <a:gd name="T66" fmla="*/ 77 w 217"/>
                  <a:gd name="T67" fmla="*/ 40 h 217"/>
                  <a:gd name="T68" fmla="*/ 83 w 217"/>
                  <a:gd name="T69" fmla="*/ 60 h 217"/>
                  <a:gd name="T70" fmla="*/ 83 w 217"/>
                  <a:gd name="T71" fmla="*/ 60 h 217"/>
                  <a:gd name="T72" fmla="*/ 88 w 217"/>
                  <a:gd name="T73" fmla="*/ 40 h 217"/>
                  <a:gd name="T74" fmla="*/ 97 w 217"/>
                  <a:gd name="T75" fmla="*/ 40 h 217"/>
                  <a:gd name="T76" fmla="*/ 87 w 217"/>
                  <a:gd name="T77" fmla="*/ 70 h 217"/>
                  <a:gd name="T78" fmla="*/ 87 w 217"/>
                  <a:gd name="T79" fmla="*/ 91 h 217"/>
                  <a:gd name="T80" fmla="*/ 79 w 217"/>
                  <a:gd name="T81" fmla="*/ 91 h 217"/>
                  <a:gd name="T82" fmla="*/ 79 w 217"/>
                  <a:gd name="T83" fmla="*/ 71 h 217"/>
                  <a:gd name="T84" fmla="*/ 68 w 217"/>
                  <a:gd name="T85" fmla="*/ 40 h 217"/>
                  <a:gd name="T86" fmla="*/ 77 w 217"/>
                  <a:gd name="T87" fmla="*/ 40 h 217"/>
                  <a:gd name="T88" fmla="*/ 177 w 217"/>
                  <a:gd name="T89" fmla="*/ 146 h 217"/>
                  <a:gd name="T90" fmla="*/ 152 w 217"/>
                  <a:gd name="T91" fmla="*/ 171 h 217"/>
                  <a:gd name="T92" fmla="*/ 68 w 217"/>
                  <a:gd name="T93" fmla="*/ 171 h 217"/>
                  <a:gd name="T94" fmla="*/ 43 w 217"/>
                  <a:gd name="T95" fmla="*/ 146 h 217"/>
                  <a:gd name="T96" fmla="*/ 43 w 217"/>
                  <a:gd name="T97" fmla="*/ 127 h 217"/>
                  <a:gd name="T98" fmla="*/ 68 w 217"/>
                  <a:gd name="T99" fmla="*/ 102 h 217"/>
                  <a:gd name="T100" fmla="*/ 152 w 217"/>
                  <a:gd name="T101" fmla="*/ 102 h 217"/>
                  <a:gd name="T102" fmla="*/ 177 w 217"/>
                  <a:gd name="T103" fmla="*/ 127 h 217"/>
                  <a:gd name="T104" fmla="*/ 177 w 217"/>
                  <a:gd name="T105" fmla="*/ 14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7" h="217">
                    <a:moveTo>
                      <a:pt x="108" y="0"/>
                    </a:moveTo>
                    <a:cubicBezTo>
                      <a:pt x="48" y="0"/>
                      <a:pt x="0" y="48"/>
                      <a:pt x="0" y="108"/>
                    </a:cubicBezTo>
                    <a:cubicBezTo>
                      <a:pt x="0" y="169"/>
                      <a:pt x="48" y="217"/>
                      <a:pt x="108" y="217"/>
                    </a:cubicBezTo>
                    <a:cubicBezTo>
                      <a:pt x="169" y="217"/>
                      <a:pt x="217" y="169"/>
                      <a:pt x="217" y="108"/>
                    </a:cubicBezTo>
                    <a:cubicBezTo>
                      <a:pt x="217" y="48"/>
                      <a:pt x="169" y="0"/>
                      <a:pt x="108" y="0"/>
                    </a:cubicBezTo>
                    <a:close/>
                    <a:moveTo>
                      <a:pt x="126" y="53"/>
                    </a:moveTo>
                    <a:cubicBezTo>
                      <a:pt x="134" y="53"/>
                      <a:pt x="134" y="53"/>
                      <a:pt x="134" y="53"/>
                    </a:cubicBezTo>
                    <a:cubicBezTo>
                      <a:pt x="134" y="82"/>
                      <a:pt x="134" y="82"/>
                      <a:pt x="134" y="82"/>
                    </a:cubicBezTo>
                    <a:cubicBezTo>
                      <a:pt x="134" y="83"/>
                      <a:pt x="134" y="83"/>
                      <a:pt x="134" y="84"/>
                    </a:cubicBezTo>
                    <a:cubicBezTo>
                      <a:pt x="134" y="84"/>
                      <a:pt x="135" y="84"/>
                      <a:pt x="136" y="84"/>
                    </a:cubicBezTo>
                    <a:cubicBezTo>
                      <a:pt x="136" y="84"/>
                      <a:pt x="137" y="84"/>
                      <a:pt x="138" y="84"/>
                    </a:cubicBezTo>
                    <a:cubicBezTo>
                      <a:pt x="139" y="83"/>
                      <a:pt x="139" y="82"/>
                      <a:pt x="140" y="82"/>
                    </a:cubicBezTo>
                    <a:cubicBezTo>
                      <a:pt x="140" y="53"/>
                      <a:pt x="140" y="53"/>
                      <a:pt x="140" y="53"/>
                    </a:cubicBezTo>
                    <a:cubicBezTo>
                      <a:pt x="148" y="53"/>
                      <a:pt x="148" y="53"/>
                      <a:pt x="148" y="53"/>
                    </a:cubicBezTo>
                    <a:cubicBezTo>
                      <a:pt x="148" y="91"/>
                      <a:pt x="148" y="91"/>
                      <a:pt x="148" y="91"/>
                    </a:cubicBezTo>
                    <a:cubicBezTo>
                      <a:pt x="140" y="91"/>
                      <a:pt x="140" y="91"/>
                      <a:pt x="140" y="91"/>
                    </a:cubicBezTo>
                    <a:cubicBezTo>
                      <a:pt x="140" y="86"/>
                      <a:pt x="140" y="86"/>
                      <a:pt x="140" y="86"/>
                    </a:cubicBezTo>
                    <a:cubicBezTo>
                      <a:pt x="139" y="88"/>
                      <a:pt x="137" y="89"/>
                      <a:pt x="136" y="90"/>
                    </a:cubicBezTo>
                    <a:cubicBezTo>
                      <a:pt x="134" y="91"/>
                      <a:pt x="133" y="91"/>
                      <a:pt x="131" y="91"/>
                    </a:cubicBezTo>
                    <a:cubicBezTo>
                      <a:pt x="130" y="91"/>
                      <a:pt x="128" y="91"/>
                      <a:pt x="127" y="89"/>
                    </a:cubicBezTo>
                    <a:cubicBezTo>
                      <a:pt x="126" y="88"/>
                      <a:pt x="126" y="87"/>
                      <a:pt x="126" y="84"/>
                    </a:cubicBezTo>
                    <a:lnTo>
                      <a:pt x="126" y="53"/>
                    </a:lnTo>
                    <a:close/>
                    <a:moveTo>
                      <a:pt x="98" y="62"/>
                    </a:moveTo>
                    <a:cubicBezTo>
                      <a:pt x="98" y="59"/>
                      <a:pt x="99" y="57"/>
                      <a:pt x="101" y="55"/>
                    </a:cubicBezTo>
                    <a:cubicBezTo>
                      <a:pt x="103" y="53"/>
                      <a:pt x="106" y="52"/>
                      <a:pt x="109" y="52"/>
                    </a:cubicBezTo>
                    <a:cubicBezTo>
                      <a:pt x="112" y="52"/>
                      <a:pt x="115" y="53"/>
                      <a:pt x="117" y="55"/>
                    </a:cubicBezTo>
                    <a:cubicBezTo>
                      <a:pt x="119" y="57"/>
                      <a:pt x="120" y="59"/>
                      <a:pt x="120" y="62"/>
                    </a:cubicBezTo>
                    <a:cubicBezTo>
                      <a:pt x="120" y="81"/>
                      <a:pt x="120" y="81"/>
                      <a:pt x="120" y="81"/>
                    </a:cubicBezTo>
                    <a:cubicBezTo>
                      <a:pt x="120" y="84"/>
                      <a:pt x="119" y="87"/>
                      <a:pt x="117" y="89"/>
                    </a:cubicBezTo>
                    <a:cubicBezTo>
                      <a:pt x="115" y="91"/>
                      <a:pt x="112" y="91"/>
                      <a:pt x="109" y="91"/>
                    </a:cubicBezTo>
                    <a:cubicBezTo>
                      <a:pt x="105" y="91"/>
                      <a:pt x="103" y="91"/>
                      <a:pt x="101" y="89"/>
                    </a:cubicBezTo>
                    <a:cubicBezTo>
                      <a:pt x="99" y="87"/>
                      <a:pt x="98" y="84"/>
                      <a:pt x="98" y="81"/>
                    </a:cubicBezTo>
                    <a:lnTo>
                      <a:pt x="98" y="62"/>
                    </a:lnTo>
                    <a:close/>
                    <a:moveTo>
                      <a:pt x="77" y="40"/>
                    </a:moveTo>
                    <a:cubicBezTo>
                      <a:pt x="83" y="60"/>
                      <a:pt x="83" y="60"/>
                      <a:pt x="83" y="60"/>
                    </a:cubicBezTo>
                    <a:cubicBezTo>
                      <a:pt x="83" y="60"/>
                      <a:pt x="83" y="60"/>
                      <a:pt x="83" y="60"/>
                    </a:cubicBezTo>
                    <a:cubicBezTo>
                      <a:pt x="88" y="40"/>
                      <a:pt x="88" y="40"/>
                      <a:pt x="88" y="40"/>
                    </a:cubicBezTo>
                    <a:cubicBezTo>
                      <a:pt x="97" y="40"/>
                      <a:pt x="97" y="40"/>
                      <a:pt x="97" y="40"/>
                    </a:cubicBezTo>
                    <a:cubicBezTo>
                      <a:pt x="87" y="70"/>
                      <a:pt x="87" y="70"/>
                      <a:pt x="87" y="70"/>
                    </a:cubicBezTo>
                    <a:cubicBezTo>
                      <a:pt x="87" y="91"/>
                      <a:pt x="87" y="91"/>
                      <a:pt x="87" y="91"/>
                    </a:cubicBezTo>
                    <a:cubicBezTo>
                      <a:pt x="79" y="91"/>
                      <a:pt x="79" y="91"/>
                      <a:pt x="79" y="91"/>
                    </a:cubicBezTo>
                    <a:cubicBezTo>
                      <a:pt x="79" y="71"/>
                      <a:pt x="79" y="71"/>
                      <a:pt x="79" y="71"/>
                    </a:cubicBezTo>
                    <a:cubicBezTo>
                      <a:pt x="68" y="40"/>
                      <a:pt x="68" y="40"/>
                      <a:pt x="68" y="40"/>
                    </a:cubicBezTo>
                    <a:lnTo>
                      <a:pt x="77" y="40"/>
                    </a:lnTo>
                    <a:close/>
                    <a:moveTo>
                      <a:pt x="177" y="146"/>
                    </a:moveTo>
                    <a:cubicBezTo>
                      <a:pt x="177" y="160"/>
                      <a:pt x="166" y="171"/>
                      <a:pt x="152" y="171"/>
                    </a:cubicBezTo>
                    <a:cubicBezTo>
                      <a:pt x="68" y="171"/>
                      <a:pt x="68" y="171"/>
                      <a:pt x="68" y="171"/>
                    </a:cubicBezTo>
                    <a:cubicBezTo>
                      <a:pt x="54" y="171"/>
                      <a:pt x="43" y="160"/>
                      <a:pt x="43" y="146"/>
                    </a:cubicBezTo>
                    <a:cubicBezTo>
                      <a:pt x="43" y="127"/>
                      <a:pt x="43" y="127"/>
                      <a:pt x="43" y="127"/>
                    </a:cubicBezTo>
                    <a:cubicBezTo>
                      <a:pt x="43" y="113"/>
                      <a:pt x="54" y="102"/>
                      <a:pt x="68" y="102"/>
                    </a:cubicBezTo>
                    <a:cubicBezTo>
                      <a:pt x="152" y="102"/>
                      <a:pt x="152" y="102"/>
                      <a:pt x="152" y="102"/>
                    </a:cubicBezTo>
                    <a:cubicBezTo>
                      <a:pt x="166" y="102"/>
                      <a:pt x="177" y="113"/>
                      <a:pt x="177" y="127"/>
                    </a:cubicBezTo>
                    <a:lnTo>
                      <a:pt x="177" y="14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13" name="Freeform 16"/>
              <p:cNvSpPr>
                <a:spLocks noEditPoints="1"/>
              </p:cNvSpPr>
              <p:nvPr/>
            </p:nvSpPr>
            <p:spPr bwMode="auto">
              <a:xfrm>
                <a:off x="4697413" y="4705350"/>
                <a:ext cx="84138" cy="150812"/>
              </a:xfrm>
              <a:custGeom>
                <a:avLst/>
                <a:gdLst>
                  <a:gd name="T0" fmla="*/ 10 w 20"/>
                  <a:gd name="T1" fmla="*/ 0 h 36"/>
                  <a:gd name="T2" fmla="*/ 3 w 20"/>
                  <a:gd name="T3" fmla="*/ 3 h 36"/>
                  <a:gd name="T4" fmla="*/ 0 w 20"/>
                  <a:gd name="T5" fmla="*/ 10 h 36"/>
                  <a:gd name="T6" fmla="*/ 0 w 20"/>
                  <a:gd name="T7" fmla="*/ 25 h 36"/>
                  <a:gd name="T8" fmla="*/ 2 w 20"/>
                  <a:gd name="T9" fmla="*/ 33 h 36"/>
                  <a:gd name="T10" fmla="*/ 9 w 20"/>
                  <a:gd name="T11" fmla="*/ 36 h 36"/>
                  <a:gd name="T12" fmla="*/ 17 w 20"/>
                  <a:gd name="T13" fmla="*/ 33 h 36"/>
                  <a:gd name="T14" fmla="*/ 20 w 20"/>
                  <a:gd name="T15" fmla="*/ 25 h 36"/>
                  <a:gd name="T16" fmla="*/ 20 w 20"/>
                  <a:gd name="T17" fmla="*/ 23 h 36"/>
                  <a:gd name="T18" fmla="*/ 13 w 20"/>
                  <a:gd name="T19" fmla="*/ 23 h 36"/>
                  <a:gd name="T20" fmla="*/ 13 w 20"/>
                  <a:gd name="T21" fmla="*/ 25 h 36"/>
                  <a:gd name="T22" fmla="*/ 12 w 20"/>
                  <a:gd name="T23" fmla="*/ 29 h 36"/>
                  <a:gd name="T24" fmla="*/ 10 w 20"/>
                  <a:gd name="T25" fmla="*/ 30 h 36"/>
                  <a:gd name="T26" fmla="*/ 7 w 20"/>
                  <a:gd name="T27" fmla="*/ 29 h 36"/>
                  <a:gd name="T28" fmla="*/ 7 w 20"/>
                  <a:gd name="T29" fmla="*/ 25 h 36"/>
                  <a:gd name="T30" fmla="*/ 7 w 20"/>
                  <a:gd name="T31" fmla="*/ 19 h 36"/>
                  <a:gd name="T32" fmla="*/ 20 w 20"/>
                  <a:gd name="T33" fmla="*/ 19 h 36"/>
                  <a:gd name="T34" fmla="*/ 20 w 20"/>
                  <a:gd name="T35" fmla="*/ 10 h 36"/>
                  <a:gd name="T36" fmla="*/ 17 w 20"/>
                  <a:gd name="T37" fmla="*/ 3 h 36"/>
                  <a:gd name="T38" fmla="*/ 10 w 20"/>
                  <a:gd name="T39" fmla="*/ 0 h 36"/>
                  <a:gd name="T40" fmla="*/ 13 w 20"/>
                  <a:gd name="T41" fmla="*/ 13 h 36"/>
                  <a:gd name="T42" fmla="*/ 7 w 20"/>
                  <a:gd name="T43" fmla="*/ 13 h 36"/>
                  <a:gd name="T44" fmla="*/ 7 w 20"/>
                  <a:gd name="T45" fmla="*/ 10 h 36"/>
                  <a:gd name="T46" fmla="*/ 7 w 20"/>
                  <a:gd name="T47" fmla="*/ 7 h 36"/>
                  <a:gd name="T48" fmla="*/ 10 w 20"/>
                  <a:gd name="T49" fmla="*/ 6 h 36"/>
                  <a:gd name="T50" fmla="*/ 12 w 20"/>
                  <a:gd name="T51" fmla="*/ 7 h 36"/>
                  <a:gd name="T52" fmla="*/ 13 w 20"/>
                  <a:gd name="T53" fmla="*/ 10 h 36"/>
                  <a:gd name="T54" fmla="*/ 13 w 20"/>
                  <a:gd name="T55"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36">
                    <a:moveTo>
                      <a:pt x="10" y="0"/>
                    </a:moveTo>
                    <a:cubicBezTo>
                      <a:pt x="7" y="0"/>
                      <a:pt x="4" y="1"/>
                      <a:pt x="3" y="3"/>
                    </a:cubicBezTo>
                    <a:cubicBezTo>
                      <a:pt x="1" y="5"/>
                      <a:pt x="0" y="7"/>
                      <a:pt x="0" y="10"/>
                    </a:cubicBezTo>
                    <a:cubicBezTo>
                      <a:pt x="0" y="25"/>
                      <a:pt x="0" y="25"/>
                      <a:pt x="0" y="25"/>
                    </a:cubicBezTo>
                    <a:cubicBezTo>
                      <a:pt x="0" y="28"/>
                      <a:pt x="1" y="31"/>
                      <a:pt x="2" y="33"/>
                    </a:cubicBezTo>
                    <a:cubicBezTo>
                      <a:pt x="4" y="35"/>
                      <a:pt x="6" y="36"/>
                      <a:pt x="9" y="36"/>
                    </a:cubicBezTo>
                    <a:cubicBezTo>
                      <a:pt x="13" y="36"/>
                      <a:pt x="15" y="35"/>
                      <a:pt x="17" y="33"/>
                    </a:cubicBezTo>
                    <a:cubicBezTo>
                      <a:pt x="19" y="31"/>
                      <a:pt x="20" y="29"/>
                      <a:pt x="20" y="25"/>
                    </a:cubicBezTo>
                    <a:cubicBezTo>
                      <a:pt x="20" y="23"/>
                      <a:pt x="20" y="23"/>
                      <a:pt x="20" y="23"/>
                    </a:cubicBezTo>
                    <a:cubicBezTo>
                      <a:pt x="13" y="23"/>
                      <a:pt x="13" y="23"/>
                      <a:pt x="13" y="23"/>
                    </a:cubicBezTo>
                    <a:cubicBezTo>
                      <a:pt x="13" y="25"/>
                      <a:pt x="13" y="25"/>
                      <a:pt x="13" y="25"/>
                    </a:cubicBezTo>
                    <a:cubicBezTo>
                      <a:pt x="13" y="27"/>
                      <a:pt x="12" y="28"/>
                      <a:pt x="12" y="29"/>
                    </a:cubicBezTo>
                    <a:cubicBezTo>
                      <a:pt x="11" y="29"/>
                      <a:pt x="11" y="30"/>
                      <a:pt x="10" y="30"/>
                    </a:cubicBezTo>
                    <a:cubicBezTo>
                      <a:pt x="8" y="30"/>
                      <a:pt x="8" y="29"/>
                      <a:pt x="7" y="29"/>
                    </a:cubicBezTo>
                    <a:cubicBezTo>
                      <a:pt x="7" y="28"/>
                      <a:pt x="7" y="27"/>
                      <a:pt x="7" y="25"/>
                    </a:cubicBezTo>
                    <a:cubicBezTo>
                      <a:pt x="7" y="19"/>
                      <a:pt x="7" y="19"/>
                      <a:pt x="7" y="19"/>
                    </a:cubicBezTo>
                    <a:cubicBezTo>
                      <a:pt x="20" y="19"/>
                      <a:pt x="20" y="19"/>
                      <a:pt x="20" y="19"/>
                    </a:cubicBezTo>
                    <a:cubicBezTo>
                      <a:pt x="20" y="10"/>
                      <a:pt x="20" y="10"/>
                      <a:pt x="20" y="10"/>
                    </a:cubicBezTo>
                    <a:cubicBezTo>
                      <a:pt x="20" y="7"/>
                      <a:pt x="19" y="4"/>
                      <a:pt x="17" y="3"/>
                    </a:cubicBezTo>
                    <a:cubicBezTo>
                      <a:pt x="15" y="1"/>
                      <a:pt x="13" y="0"/>
                      <a:pt x="10" y="0"/>
                    </a:cubicBezTo>
                    <a:close/>
                    <a:moveTo>
                      <a:pt x="13" y="13"/>
                    </a:moveTo>
                    <a:cubicBezTo>
                      <a:pt x="7" y="13"/>
                      <a:pt x="7" y="13"/>
                      <a:pt x="7" y="13"/>
                    </a:cubicBezTo>
                    <a:cubicBezTo>
                      <a:pt x="7" y="10"/>
                      <a:pt x="7" y="10"/>
                      <a:pt x="7" y="10"/>
                    </a:cubicBezTo>
                    <a:cubicBezTo>
                      <a:pt x="7" y="9"/>
                      <a:pt x="7" y="8"/>
                      <a:pt x="7" y="7"/>
                    </a:cubicBezTo>
                    <a:cubicBezTo>
                      <a:pt x="8" y="6"/>
                      <a:pt x="9" y="6"/>
                      <a:pt x="10" y="6"/>
                    </a:cubicBezTo>
                    <a:cubicBezTo>
                      <a:pt x="11" y="6"/>
                      <a:pt x="11" y="6"/>
                      <a:pt x="12" y="7"/>
                    </a:cubicBezTo>
                    <a:cubicBezTo>
                      <a:pt x="12" y="8"/>
                      <a:pt x="13" y="9"/>
                      <a:pt x="13" y="10"/>
                    </a:cubicBezTo>
                    <a:lnTo>
                      <a:pt x="13" y="1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grpSp>
        <p:sp>
          <p:nvSpPr>
            <p:cNvPr id="14" name="Freeform 32"/>
            <p:cNvSpPr>
              <a:spLocks noEditPoints="1"/>
            </p:cNvSpPr>
            <p:nvPr/>
          </p:nvSpPr>
          <p:spPr bwMode="auto">
            <a:xfrm>
              <a:off x="10001333" y="7007895"/>
              <a:ext cx="1598257" cy="800397"/>
            </a:xfrm>
            <a:custGeom>
              <a:avLst/>
              <a:gdLst>
                <a:gd name="T0" fmla="*/ 101 w 238"/>
                <a:gd name="T1" fmla="*/ 35 h 119"/>
                <a:gd name="T2" fmla="*/ 190 w 238"/>
                <a:gd name="T3" fmla="*/ 50 h 119"/>
                <a:gd name="T4" fmla="*/ 157 w 238"/>
                <a:gd name="T5" fmla="*/ 59 h 119"/>
                <a:gd name="T6" fmla="*/ 147 w 238"/>
                <a:gd name="T7" fmla="*/ 41 h 119"/>
                <a:gd name="T8" fmla="*/ 116 w 238"/>
                <a:gd name="T9" fmla="*/ 41 h 119"/>
                <a:gd name="T10" fmla="*/ 139 w 238"/>
                <a:gd name="T11" fmla="*/ 87 h 119"/>
                <a:gd name="T12" fmla="*/ 238 w 238"/>
                <a:gd name="T13" fmla="*/ 59 h 119"/>
                <a:gd name="T14" fmla="*/ 95 w 238"/>
                <a:gd name="T15" fmla="*/ 21 h 119"/>
                <a:gd name="T16" fmla="*/ 93 w 238"/>
                <a:gd name="T17" fmla="*/ 21 h 119"/>
                <a:gd name="T18" fmla="*/ 83 w 238"/>
                <a:gd name="T19" fmla="*/ 0 h 119"/>
                <a:gd name="T20" fmla="*/ 52 w 238"/>
                <a:gd name="T21" fmla="*/ 4 h 119"/>
                <a:gd name="T22" fmla="*/ 65 w 238"/>
                <a:gd name="T23" fmla="*/ 29 h 119"/>
                <a:gd name="T24" fmla="*/ 29 w 238"/>
                <a:gd name="T25" fmla="*/ 119 h 119"/>
                <a:gd name="T26" fmla="*/ 128 w 238"/>
                <a:gd name="T27" fmla="*/ 91 h 119"/>
                <a:gd name="T28" fmla="*/ 101 w 238"/>
                <a:gd name="T29" fmla="*/ 35 h 119"/>
                <a:gd name="T30" fmla="*/ 56 w 238"/>
                <a:gd name="T31" fmla="*/ 86 h 119"/>
                <a:gd name="T32" fmla="*/ 74 w 238"/>
                <a:gd name="T33" fmla="*/ 47 h 119"/>
                <a:gd name="T34" fmla="*/ 89 w 238"/>
                <a:gd name="T35" fmla="*/ 78 h 119"/>
                <a:gd name="T36" fmla="*/ 56 w 238"/>
                <a:gd name="T37" fmla="*/ 8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8" h="119">
                  <a:moveTo>
                    <a:pt x="101" y="35"/>
                  </a:moveTo>
                  <a:cubicBezTo>
                    <a:pt x="149" y="21"/>
                    <a:pt x="190" y="50"/>
                    <a:pt x="190" y="50"/>
                  </a:cubicBezTo>
                  <a:cubicBezTo>
                    <a:pt x="157" y="59"/>
                    <a:pt x="157" y="59"/>
                    <a:pt x="157" y="59"/>
                  </a:cubicBezTo>
                  <a:cubicBezTo>
                    <a:pt x="147" y="41"/>
                    <a:pt x="147" y="41"/>
                    <a:pt x="147" y="41"/>
                  </a:cubicBezTo>
                  <a:cubicBezTo>
                    <a:pt x="138" y="40"/>
                    <a:pt x="127" y="39"/>
                    <a:pt x="116" y="41"/>
                  </a:cubicBezTo>
                  <a:cubicBezTo>
                    <a:pt x="139" y="87"/>
                    <a:pt x="139" y="87"/>
                    <a:pt x="139" y="87"/>
                  </a:cubicBezTo>
                  <a:cubicBezTo>
                    <a:pt x="238" y="59"/>
                    <a:pt x="238" y="59"/>
                    <a:pt x="238" y="59"/>
                  </a:cubicBezTo>
                  <a:cubicBezTo>
                    <a:pt x="238" y="59"/>
                    <a:pt x="202" y="3"/>
                    <a:pt x="95" y="21"/>
                  </a:cubicBezTo>
                  <a:cubicBezTo>
                    <a:pt x="95" y="21"/>
                    <a:pt x="94" y="21"/>
                    <a:pt x="93" y="21"/>
                  </a:cubicBezTo>
                  <a:cubicBezTo>
                    <a:pt x="83" y="0"/>
                    <a:pt x="83" y="0"/>
                    <a:pt x="83" y="0"/>
                  </a:cubicBezTo>
                  <a:cubicBezTo>
                    <a:pt x="52" y="4"/>
                    <a:pt x="52" y="4"/>
                    <a:pt x="52" y="4"/>
                  </a:cubicBezTo>
                  <a:cubicBezTo>
                    <a:pt x="65" y="29"/>
                    <a:pt x="65" y="29"/>
                    <a:pt x="65" y="29"/>
                  </a:cubicBezTo>
                  <a:cubicBezTo>
                    <a:pt x="0" y="56"/>
                    <a:pt x="29" y="119"/>
                    <a:pt x="29" y="119"/>
                  </a:cubicBezTo>
                  <a:cubicBezTo>
                    <a:pt x="128" y="91"/>
                    <a:pt x="128" y="91"/>
                    <a:pt x="128" y="91"/>
                  </a:cubicBezTo>
                  <a:lnTo>
                    <a:pt x="101" y="35"/>
                  </a:lnTo>
                  <a:close/>
                  <a:moveTo>
                    <a:pt x="56" y="86"/>
                  </a:moveTo>
                  <a:cubicBezTo>
                    <a:pt x="56" y="86"/>
                    <a:pt x="46" y="65"/>
                    <a:pt x="74" y="47"/>
                  </a:cubicBezTo>
                  <a:cubicBezTo>
                    <a:pt x="89" y="78"/>
                    <a:pt x="89" y="78"/>
                    <a:pt x="89" y="78"/>
                  </a:cubicBezTo>
                  <a:lnTo>
                    <a:pt x="56" y="86"/>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15" name="Freeform 39"/>
            <p:cNvSpPr>
              <a:spLocks/>
            </p:cNvSpPr>
            <p:nvPr/>
          </p:nvSpPr>
          <p:spPr bwMode="auto">
            <a:xfrm>
              <a:off x="12217040" y="6426018"/>
              <a:ext cx="1397522" cy="1346702"/>
            </a:xfrm>
            <a:custGeom>
              <a:avLst/>
              <a:gdLst>
                <a:gd name="T0" fmla="*/ 0 w 208"/>
                <a:gd name="T1" fmla="*/ 68 h 201"/>
                <a:gd name="T2" fmla="*/ 8 w 208"/>
                <a:gd name="T3" fmla="*/ 78 h 201"/>
                <a:gd name="T4" fmla="*/ 31 w 208"/>
                <a:gd name="T5" fmla="*/ 72 h 201"/>
                <a:gd name="T6" fmla="*/ 64 w 208"/>
                <a:gd name="T7" fmla="*/ 172 h 201"/>
                <a:gd name="T8" fmla="*/ 106 w 208"/>
                <a:gd name="T9" fmla="*/ 189 h 201"/>
                <a:gd name="T10" fmla="*/ 197 w 208"/>
                <a:gd name="T11" fmla="*/ 62 h 201"/>
                <a:gd name="T12" fmla="*/ 114 w 208"/>
                <a:gd name="T13" fmla="*/ 67 h 201"/>
                <a:gd name="T14" fmla="*/ 137 w 208"/>
                <a:gd name="T15" fmla="*/ 94 h 201"/>
                <a:gd name="T16" fmla="*/ 109 w 208"/>
                <a:gd name="T17" fmla="*/ 130 h 201"/>
                <a:gd name="T18" fmla="*/ 93 w 208"/>
                <a:gd name="T19" fmla="*/ 90 h 201"/>
                <a:gd name="T20" fmla="*/ 60 w 208"/>
                <a:gd name="T21" fmla="*/ 22 h 201"/>
                <a:gd name="T22" fmla="*/ 0 w 208"/>
                <a:gd name="T23" fmla="*/ 6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8" h="201">
                  <a:moveTo>
                    <a:pt x="0" y="68"/>
                  </a:moveTo>
                  <a:cubicBezTo>
                    <a:pt x="8" y="78"/>
                    <a:pt x="8" y="78"/>
                    <a:pt x="8" y="78"/>
                  </a:cubicBezTo>
                  <a:cubicBezTo>
                    <a:pt x="8" y="78"/>
                    <a:pt x="25" y="65"/>
                    <a:pt x="31" y="72"/>
                  </a:cubicBezTo>
                  <a:cubicBezTo>
                    <a:pt x="36" y="78"/>
                    <a:pt x="57" y="157"/>
                    <a:pt x="64" y="172"/>
                  </a:cubicBezTo>
                  <a:cubicBezTo>
                    <a:pt x="70" y="184"/>
                    <a:pt x="87" y="201"/>
                    <a:pt x="106" y="189"/>
                  </a:cubicBezTo>
                  <a:cubicBezTo>
                    <a:pt x="125" y="177"/>
                    <a:pt x="186" y="124"/>
                    <a:pt x="197" y="62"/>
                  </a:cubicBezTo>
                  <a:cubicBezTo>
                    <a:pt x="208" y="0"/>
                    <a:pt x="123" y="13"/>
                    <a:pt x="114" y="67"/>
                  </a:cubicBezTo>
                  <a:cubicBezTo>
                    <a:pt x="137" y="54"/>
                    <a:pt x="149" y="73"/>
                    <a:pt x="137" y="94"/>
                  </a:cubicBezTo>
                  <a:cubicBezTo>
                    <a:pt x="126" y="116"/>
                    <a:pt x="115" y="130"/>
                    <a:pt x="109" y="130"/>
                  </a:cubicBezTo>
                  <a:cubicBezTo>
                    <a:pt x="104" y="130"/>
                    <a:pt x="100" y="116"/>
                    <a:pt x="93" y="90"/>
                  </a:cubicBezTo>
                  <a:cubicBezTo>
                    <a:pt x="87" y="64"/>
                    <a:pt x="87" y="17"/>
                    <a:pt x="60" y="22"/>
                  </a:cubicBezTo>
                  <a:cubicBezTo>
                    <a:pt x="34" y="27"/>
                    <a:pt x="0" y="68"/>
                    <a:pt x="0" y="68"/>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16" name="Freeform 5"/>
            <p:cNvSpPr>
              <a:spLocks noEditPoints="1"/>
            </p:cNvSpPr>
            <p:nvPr/>
          </p:nvSpPr>
          <p:spPr bwMode="auto">
            <a:xfrm>
              <a:off x="15592424" y="5165374"/>
              <a:ext cx="780599" cy="777218"/>
            </a:xfrm>
            <a:custGeom>
              <a:avLst/>
              <a:gdLst>
                <a:gd name="T0" fmla="*/ 168 w 175"/>
                <a:gd name="T1" fmla="*/ 53 h 174"/>
                <a:gd name="T2" fmla="*/ 149 w 175"/>
                <a:gd name="T3" fmla="*/ 25 h 174"/>
                <a:gd name="T4" fmla="*/ 121 w 175"/>
                <a:gd name="T5" fmla="*/ 6 h 174"/>
                <a:gd name="T6" fmla="*/ 87 w 175"/>
                <a:gd name="T7" fmla="*/ 0 h 174"/>
                <a:gd name="T8" fmla="*/ 53 w 175"/>
                <a:gd name="T9" fmla="*/ 6 h 174"/>
                <a:gd name="T10" fmla="*/ 26 w 175"/>
                <a:gd name="T11" fmla="*/ 25 h 174"/>
                <a:gd name="T12" fmla="*/ 7 w 175"/>
                <a:gd name="T13" fmla="*/ 53 h 174"/>
                <a:gd name="T14" fmla="*/ 0 w 175"/>
                <a:gd name="T15" fmla="*/ 87 h 174"/>
                <a:gd name="T16" fmla="*/ 7 w 175"/>
                <a:gd name="T17" fmla="*/ 121 h 174"/>
                <a:gd name="T18" fmla="*/ 26 w 175"/>
                <a:gd name="T19" fmla="*/ 149 h 174"/>
                <a:gd name="T20" fmla="*/ 53 w 175"/>
                <a:gd name="T21" fmla="*/ 167 h 174"/>
                <a:gd name="T22" fmla="*/ 87 w 175"/>
                <a:gd name="T23" fmla="*/ 174 h 174"/>
                <a:gd name="T24" fmla="*/ 121 w 175"/>
                <a:gd name="T25" fmla="*/ 167 h 174"/>
                <a:gd name="T26" fmla="*/ 149 w 175"/>
                <a:gd name="T27" fmla="*/ 149 h 174"/>
                <a:gd name="T28" fmla="*/ 168 w 175"/>
                <a:gd name="T29" fmla="*/ 121 h 174"/>
                <a:gd name="T30" fmla="*/ 175 w 175"/>
                <a:gd name="T31" fmla="*/ 87 h 174"/>
                <a:gd name="T32" fmla="*/ 162 w 175"/>
                <a:gd name="T33" fmla="*/ 86 h 174"/>
                <a:gd name="T34" fmla="*/ 108 w 175"/>
                <a:gd name="T35" fmla="*/ 80 h 174"/>
                <a:gd name="T36" fmla="*/ 145 w 175"/>
                <a:gd name="T37" fmla="*/ 40 h 174"/>
                <a:gd name="T38" fmla="*/ 137 w 175"/>
                <a:gd name="T39" fmla="*/ 31 h 174"/>
                <a:gd name="T40" fmla="*/ 70 w 175"/>
                <a:gd name="T41" fmla="*/ 14 h 174"/>
                <a:gd name="T42" fmla="*/ 137 w 175"/>
                <a:gd name="T43" fmla="*/ 31 h 174"/>
                <a:gd name="T44" fmla="*/ 70 w 175"/>
                <a:gd name="T45" fmla="*/ 14 h 174"/>
                <a:gd name="T46" fmla="*/ 70 w 175"/>
                <a:gd name="T47" fmla="*/ 14 h 174"/>
                <a:gd name="T48" fmla="*/ 83 w 175"/>
                <a:gd name="T49" fmla="*/ 62 h 174"/>
                <a:gd name="T50" fmla="*/ 56 w 175"/>
                <a:gd name="T51" fmla="*/ 19 h 174"/>
                <a:gd name="T52" fmla="*/ 13 w 175"/>
                <a:gd name="T53" fmla="*/ 85 h 174"/>
                <a:gd name="T54" fmla="*/ 96 w 175"/>
                <a:gd name="T55" fmla="*/ 87 h 174"/>
                <a:gd name="T56" fmla="*/ 32 w 175"/>
                <a:gd name="T57" fmla="*/ 137 h 174"/>
                <a:gd name="T58" fmla="*/ 13 w 175"/>
                <a:gd name="T59" fmla="*/ 87 h 174"/>
                <a:gd name="T60" fmla="*/ 40 w 175"/>
                <a:gd name="T61" fmla="*/ 144 h 174"/>
                <a:gd name="T62" fmla="*/ 100 w 175"/>
                <a:gd name="T63" fmla="*/ 99 h 174"/>
                <a:gd name="T64" fmla="*/ 117 w 175"/>
                <a:gd name="T65" fmla="*/ 156 h 174"/>
                <a:gd name="T66" fmla="*/ 129 w 175"/>
                <a:gd name="T67" fmla="*/ 149 h 174"/>
                <a:gd name="T68" fmla="*/ 161 w 175"/>
                <a:gd name="T69" fmla="*/ 9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5" h="174">
                  <a:moveTo>
                    <a:pt x="173" y="69"/>
                  </a:moveTo>
                  <a:cubicBezTo>
                    <a:pt x="172" y="64"/>
                    <a:pt x="170" y="58"/>
                    <a:pt x="168" y="53"/>
                  </a:cubicBezTo>
                  <a:cubicBezTo>
                    <a:pt x="166" y="48"/>
                    <a:pt x="163" y="43"/>
                    <a:pt x="160" y="38"/>
                  </a:cubicBezTo>
                  <a:cubicBezTo>
                    <a:pt x="157" y="33"/>
                    <a:pt x="153" y="29"/>
                    <a:pt x="149" y="25"/>
                  </a:cubicBezTo>
                  <a:cubicBezTo>
                    <a:pt x="145" y="21"/>
                    <a:pt x="141" y="18"/>
                    <a:pt x="136" y="14"/>
                  </a:cubicBezTo>
                  <a:cubicBezTo>
                    <a:pt x="132" y="11"/>
                    <a:pt x="127" y="9"/>
                    <a:pt x="121" y="6"/>
                  </a:cubicBezTo>
                  <a:cubicBezTo>
                    <a:pt x="116" y="4"/>
                    <a:pt x="111" y="2"/>
                    <a:pt x="105" y="1"/>
                  </a:cubicBezTo>
                  <a:cubicBezTo>
                    <a:pt x="99" y="0"/>
                    <a:pt x="93" y="0"/>
                    <a:pt x="87" y="0"/>
                  </a:cubicBezTo>
                  <a:cubicBezTo>
                    <a:pt x="82" y="0"/>
                    <a:pt x="76" y="0"/>
                    <a:pt x="70" y="1"/>
                  </a:cubicBezTo>
                  <a:cubicBezTo>
                    <a:pt x="64" y="2"/>
                    <a:pt x="59" y="4"/>
                    <a:pt x="53" y="6"/>
                  </a:cubicBezTo>
                  <a:cubicBezTo>
                    <a:pt x="48" y="9"/>
                    <a:pt x="43" y="11"/>
                    <a:pt x="39" y="14"/>
                  </a:cubicBezTo>
                  <a:cubicBezTo>
                    <a:pt x="34" y="18"/>
                    <a:pt x="30" y="21"/>
                    <a:pt x="26" y="25"/>
                  </a:cubicBezTo>
                  <a:cubicBezTo>
                    <a:pt x="22" y="29"/>
                    <a:pt x="18" y="33"/>
                    <a:pt x="15" y="38"/>
                  </a:cubicBezTo>
                  <a:cubicBezTo>
                    <a:pt x="12" y="43"/>
                    <a:pt x="9" y="48"/>
                    <a:pt x="7" y="53"/>
                  </a:cubicBezTo>
                  <a:cubicBezTo>
                    <a:pt x="5" y="58"/>
                    <a:pt x="3" y="64"/>
                    <a:pt x="2" y="69"/>
                  </a:cubicBezTo>
                  <a:cubicBezTo>
                    <a:pt x="1" y="75"/>
                    <a:pt x="0" y="81"/>
                    <a:pt x="0" y="87"/>
                  </a:cubicBezTo>
                  <a:cubicBezTo>
                    <a:pt x="0" y="93"/>
                    <a:pt x="1" y="99"/>
                    <a:pt x="2" y="105"/>
                  </a:cubicBezTo>
                  <a:cubicBezTo>
                    <a:pt x="3" y="110"/>
                    <a:pt x="5" y="116"/>
                    <a:pt x="7" y="121"/>
                  </a:cubicBezTo>
                  <a:cubicBezTo>
                    <a:pt x="9" y="126"/>
                    <a:pt x="12" y="131"/>
                    <a:pt x="15" y="136"/>
                  </a:cubicBezTo>
                  <a:cubicBezTo>
                    <a:pt x="18" y="140"/>
                    <a:pt x="22" y="145"/>
                    <a:pt x="26" y="149"/>
                  </a:cubicBezTo>
                  <a:cubicBezTo>
                    <a:pt x="30" y="153"/>
                    <a:pt x="34" y="156"/>
                    <a:pt x="39" y="159"/>
                  </a:cubicBezTo>
                  <a:cubicBezTo>
                    <a:pt x="43" y="163"/>
                    <a:pt x="48" y="165"/>
                    <a:pt x="53" y="167"/>
                  </a:cubicBezTo>
                  <a:cubicBezTo>
                    <a:pt x="59" y="170"/>
                    <a:pt x="64" y="171"/>
                    <a:pt x="70" y="173"/>
                  </a:cubicBezTo>
                  <a:cubicBezTo>
                    <a:pt x="76" y="174"/>
                    <a:pt x="82" y="174"/>
                    <a:pt x="87" y="174"/>
                  </a:cubicBezTo>
                  <a:cubicBezTo>
                    <a:pt x="93" y="174"/>
                    <a:pt x="99" y="174"/>
                    <a:pt x="105" y="173"/>
                  </a:cubicBezTo>
                  <a:cubicBezTo>
                    <a:pt x="111" y="171"/>
                    <a:pt x="116" y="170"/>
                    <a:pt x="121" y="167"/>
                  </a:cubicBezTo>
                  <a:cubicBezTo>
                    <a:pt x="127" y="165"/>
                    <a:pt x="132" y="163"/>
                    <a:pt x="136" y="159"/>
                  </a:cubicBezTo>
                  <a:cubicBezTo>
                    <a:pt x="141" y="156"/>
                    <a:pt x="145" y="153"/>
                    <a:pt x="149" y="149"/>
                  </a:cubicBezTo>
                  <a:cubicBezTo>
                    <a:pt x="153" y="145"/>
                    <a:pt x="157" y="140"/>
                    <a:pt x="160" y="136"/>
                  </a:cubicBezTo>
                  <a:cubicBezTo>
                    <a:pt x="163" y="131"/>
                    <a:pt x="166" y="126"/>
                    <a:pt x="168" y="121"/>
                  </a:cubicBezTo>
                  <a:cubicBezTo>
                    <a:pt x="170" y="116"/>
                    <a:pt x="172" y="110"/>
                    <a:pt x="173" y="105"/>
                  </a:cubicBezTo>
                  <a:cubicBezTo>
                    <a:pt x="174" y="99"/>
                    <a:pt x="175" y="93"/>
                    <a:pt x="175" y="87"/>
                  </a:cubicBezTo>
                  <a:cubicBezTo>
                    <a:pt x="175" y="81"/>
                    <a:pt x="174" y="75"/>
                    <a:pt x="173" y="69"/>
                  </a:cubicBezTo>
                  <a:close/>
                  <a:moveTo>
                    <a:pt x="162" y="86"/>
                  </a:moveTo>
                  <a:cubicBezTo>
                    <a:pt x="161" y="86"/>
                    <a:pt x="136" y="81"/>
                    <a:pt x="110" y="84"/>
                  </a:cubicBezTo>
                  <a:cubicBezTo>
                    <a:pt x="110" y="82"/>
                    <a:pt x="109" y="81"/>
                    <a:pt x="108" y="80"/>
                  </a:cubicBezTo>
                  <a:cubicBezTo>
                    <a:pt x="107" y="76"/>
                    <a:pt x="105" y="73"/>
                    <a:pt x="104" y="69"/>
                  </a:cubicBezTo>
                  <a:cubicBezTo>
                    <a:pt x="133" y="57"/>
                    <a:pt x="145" y="40"/>
                    <a:pt x="145" y="40"/>
                  </a:cubicBezTo>
                  <a:cubicBezTo>
                    <a:pt x="156" y="52"/>
                    <a:pt x="162" y="68"/>
                    <a:pt x="162" y="86"/>
                  </a:cubicBezTo>
                  <a:close/>
                  <a:moveTo>
                    <a:pt x="137" y="31"/>
                  </a:moveTo>
                  <a:cubicBezTo>
                    <a:pt x="137" y="31"/>
                    <a:pt x="126" y="47"/>
                    <a:pt x="98" y="58"/>
                  </a:cubicBezTo>
                  <a:cubicBezTo>
                    <a:pt x="85" y="35"/>
                    <a:pt x="71" y="16"/>
                    <a:pt x="70" y="14"/>
                  </a:cubicBezTo>
                  <a:cubicBezTo>
                    <a:pt x="76" y="13"/>
                    <a:pt x="81" y="12"/>
                    <a:pt x="87" y="12"/>
                  </a:cubicBezTo>
                  <a:cubicBezTo>
                    <a:pt x="106" y="12"/>
                    <a:pt x="124" y="19"/>
                    <a:pt x="137" y="31"/>
                  </a:cubicBezTo>
                  <a:close/>
                  <a:moveTo>
                    <a:pt x="70" y="14"/>
                  </a:moveTo>
                  <a:cubicBezTo>
                    <a:pt x="70" y="14"/>
                    <a:pt x="70" y="14"/>
                    <a:pt x="70" y="14"/>
                  </a:cubicBezTo>
                  <a:cubicBezTo>
                    <a:pt x="70" y="14"/>
                    <a:pt x="69" y="15"/>
                    <a:pt x="69" y="15"/>
                  </a:cubicBezTo>
                  <a:cubicBezTo>
                    <a:pt x="69" y="15"/>
                    <a:pt x="70" y="15"/>
                    <a:pt x="70" y="14"/>
                  </a:cubicBezTo>
                  <a:close/>
                  <a:moveTo>
                    <a:pt x="56" y="19"/>
                  </a:moveTo>
                  <a:cubicBezTo>
                    <a:pt x="57" y="21"/>
                    <a:pt x="70" y="39"/>
                    <a:pt x="83" y="62"/>
                  </a:cubicBezTo>
                  <a:cubicBezTo>
                    <a:pt x="47" y="72"/>
                    <a:pt x="16" y="72"/>
                    <a:pt x="14" y="72"/>
                  </a:cubicBezTo>
                  <a:cubicBezTo>
                    <a:pt x="19" y="48"/>
                    <a:pt x="35" y="29"/>
                    <a:pt x="56" y="19"/>
                  </a:cubicBezTo>
                  <a:close/>
                  <a:moveTo>
                    <a:pt x="13" y="87"/>
                  </a:moveTo>
                  <a:cubicBezTo>
                    <a:pt x="13" y="86"/>
                    <a:pt x="13" y="85"/>
                    <a:pt x="13" y="85"/>
                  </a:cubicBezTo>
                  <a:cubicBezTo>
                    <a:pt x="14" y="85"/>
                    <a:pt x="51" y="85"/>
                    <a:pt x="90" y="74"/>
                  </a:cubicBezTo>
                  <a:cubicBezTo>
                    <a:pt x="92" y="78"/>
                    <a:pt x="94" y="82"/>
                    <a:pt x="96" y="87"/>
                  </a:cubicBezTo>
                  <a:cubicBezTo>
                    <a:pt x="95" y="87"/>
                    <a:pt x="94" y="87"/>
                    <a:pt x="93" y="88"/>
                  </a:cubicBezTo>
                  <a:cubicBezTo>
                    <a:pt x="52" y="101"/>
                    <a:pt x="32" y="137"/>
                    <a:pt x="32" y="137"/>
                  </a:cubicBezTo>
                  <a:cubicBezTo>
                    <a:pt x="32" y="137"/>
                    <a:pt x="32" y="137"/>
                    <a:pt x="32" y="137"/>
                  </a:cubicBezTo>
                  <a:cubicBezTo>
                    <a:pt x="20" y="124"/>
                    <a:pt x="13" y="106"/>
                    <a:pt x="13" y="87"/>
                  </a:cubicBezTo>
                  <a:close/>
                  <a:moveTo>
                    <a:pt x="87" y="162"/>
                  </a:moveTo>
                  <a:cubicBezTo>
                    <a:pt x="69" y="162"/>
                    <a:pt x="53" y="155"/>
                    <a:pt x="40" y="144"/>
                  </a:cubicBezTo>
                  <a:cubicBezTo>
                    <a:pt x="41" y="145"/>
                    <a:pt x="42" y="146"/>
                    <a:pt x="42" y="146"/>
                  </a:cubicBezTo>
                  <a:cubicBezTo>
                    <a:pt x="42" y="146"/>
                    <a:pt x="56" y="115"/>
                    <a:pt x="100" y="99"/>
                  </a:cubicBezTo>
                  <a:cubicBezTo>
                    <a:pt x="100" y="99"/>
                    <a:pt x="100" y="99"/>
                    <a:pt x="101" y="99"/>
                  </a:cubicBezTo>
                  <a:cubicBezTo>
                    <a:pt x="111" y="126"/>
                    <a:pt x="115" y="149"/>
                    <a:pt x="117" y="156"/>
                  </a:cubicBezTo>
                  <a:cubicBezTo>
                    <a:pt x="108" y="159"/>
                    <a:pt x="98" y="162"/>
                    <a:pt x="87" y="162"/>
                  </a:cubicBezTo>
                  <a:close/>
                  <a:moveTo>
                    <a:pt x="129" y="149"/>
                  </a:moveTo>
                  <a:cubicBezTo>
                    <a:pt x="128" y="144"/>
                    <a:pt x="124" y="122"/>
                    <a:pt x="115" y="96"/>
                  </a:cubicBezTo>
                  <a:cubicBezTo>
                    <a:pt x="139" y="92"/>
                    <a:pt x="160" y="98"/>
                    <a:pt x="161" y="99"/>
                  </a:cubicBezTo>
                  <a:cubicBezTo>
                    <a:pt x="158" y="120"/>
                    <a:pt x="146" y="138"/>
                    <a:pt x="129" y="149"/>
                  </a:cubicBezTo>
                  <a:close/>
                </a:path>
              </a:pathLst>
            </a:cu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17" name="Freeform 21"/>
            <p:cNvSpPr>
              <a:spLocks/>
            </p:cNvSpPr>
            <p:nvPr/>
          </p:nvSpPr>
          <p:spPr bwMode="auto">
            <a:xfrm>
              <a:off x="10496160" y="9996274"/>
              <a:ext cx="1532193" cy="1524567"/>
            </a:xfrm>
            <a:custGeom>
              <a:avLst/>
              <a:gdLst>
                <a:gd name="T0" fmla="*/ 114 w 228"/>
                <a:gd name="T1" fmla="*/ 0 h 227"/>
                <a:gd name="T2" fmla="*/ 0 w 228"/>
                <a:gd name="T3" fmla="*/ 114 h 227"/>
                <a:gd name="T4" fmla="*/ 68 w 228"/>
                <a:gd name="T5" fmla="*/ 218 h 227"/>
                <a:gd name="T6" fmla="*/ 70 w 228"/>
                <a:gd name="T7" fmla="*/ 192 h 227"/>
                <a:gd name="T8" fmla="*/ 85 w 228"/>
                <a:gd name="T9" fmla="*/ 130 h 227"/>
                <a:gd name="T10" fmla="*/ 81 w 228"/>
                <a:gd name="T11" fmla="*/ 112 h 227"/>
                <a:gd name="T12" fmla="*/ 103 w 228"/>
                <a:gd name="T13" fmla="*/ 82 h 227"/>
                <a:gd name="T14" fmla="*/ 119 w 228"/>
                <a:gd name="T15" fmla="*/ 99 h 227"/>
                <a:gd name="T16" fmla="*/ 109 w 228"/>
                <a:gd name="T17" fmla="*/ 140 h 227"/>
                <a:gd name="T18" fmla="*/ 127 w 228"/>
                <a:gd name="T19" fmla="*/ 162 h 227"/>
                <a:gd name="T20" fmla="*/ 163 w 228"/>
                <a:gd name="T21" fmla="*/ 101 h 227"/>
                <a:gd name="T22" fmla="*/ 115 w 228"/>
                <a:gd name="T23" fmla="*/ 57 h 227"/>
                <a:gd name="T24" fmla="*/ 59 w 228"/>
                <a:gd name="T25" fmla="*/ 112 h 227"/>
                <a:gd name="T26" fmla="*/ 67 w 228"/>
                <a:gd name="T27" fmla="*/ 134 h 227"/>
                <a:gd name="T28" fmla="*/ 68 w 228"/>
                <a:gd name="T29" fmla="*/ 141 h 227"/>
                <a:gd name="T30" fmla="*/ 66 w 228"/>
                <a:gd name="T31" fmla="*/ 150 h 227"/>
                <a:gd name="T32" fmla="*/ 60 w 228"/>
                <a:gd name="T33" fmla="*/ 153 h 227"/>
                <a:gd name="T34" fmla="*/ 37 w 228"/>
                <a:gd name="T35" fmla="*/ 109 h 227"/>
                <a:gd name="T36" fmla="*/ 118 w 228"/>
                <a:gd name="T37" fmla="*/ 38 h 227"/>
                <a:gd name="T38" fmla="*/ 191 w 228"/>
                <a:gd name="T39" fmla="*/ 103 h 227"/>
                <a:gd name="T40" fmla="*/ 129 w 228"/>
                <a:gd name="T41" fmla="*/ 181 h 227"/>
                <a:gd name="T42" fmla="*/ 101 w 228"/>
                <a:gd name="T43" fmla="*/ 167 h 227"/>
                <a:gd name="T44" fmla="*/ 93 w 228"/>
                <a:gd name="T45" fmla="*/ 198 h 227"/>
                <a:gd name="T46" fmla="*/ 82 w 228"/>
                <a:gd name="T47" fmla="*/ 223 h 227"/>
                <a:gd name="T48" fmla="*/ 114 w 228"/>
                <a:gd name="T49" fmla="*/ 227 h 227"/>
                <a:gd name="T50" fmla="*/ 228 w 228"/>
                <a:gd name="T51" fmla="*/ 114 h 227"/>
                <a:gd name="T52" fmla="*/ 114 w 228"/>
                <a:gd name="T53"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8" h="227">
                  <a:moveTo>
                    <a:pt x="114" y="0"/>
                  </a:moveTo>
                  <a:cubicBezTo>
                    <a:pt x="51" y="0"/>
                    <a:pt x="0" y="51"/>
                    <a:pt x="0" y="114"/>
                  </a:cubicBezTo>
                  <a:cubicBezTo>
                    <a:pt x="0" y="160"/>
                    <a:pt x="28" y="200"/>
                    <a:pt x="68" y="218"/>
                  </a:cubicBezTo>
                  <a:cubicBezTo>
                    <a:pt x="68" y="210"/>
                    <a:pt x="68" y="200"/>
                    <a:pt x="70" y="192"/>
                  </a:cubicBezTo>
                  <a:cubicBezTo>
                    <a:pt x="73" y="183"/>
                    <a:pt x="85" y="130"/>
                    <a:pt x="85" y="130"/>
                  </a:cubicBezTo>
                  <a:cubicBezTo>
                    <a:pt x="85" y="130"/>
                    <a:pt x="81" y="122"/>
                    <a:pt x="81" y="112"/>
                  </a:cubicBezTo>
                  <a:cubicBezTo>
                    <a:pt x="81" y="95"/>
                    <a:pt x="91" y="82"/>
                    <a:pt x="103" y="82"/>
                  </a:cubicBezTo>
                  <a:cubicBezTo>
                    <a:pt x="114" y="82"/>
                    <a:pt x="119" y="90"/>
                    <a:pt x="119" y="99"/>
                  </a:cubicBezTo>
                  <a:cubicBezTo>
                    <a:pt x="119" y="110"/>
                    <a:pt x="112" y="125"/>
                    <a:pt x="109" y="140"/>
                  </a:cubicBezTo>
                  <a:cubicBezTo>
                    <a:pt x="106" y="152"/>
                    <a:pt x="115" y="162"/>
                    <a:pt x="127" y="162"/>
                  </a:cubicBezTo>
                  <a:cubicBezTo>
                    <a:pt x="148" y="162"/>
                    <a:pt x="163" y="134"/>
                    <a:pt x="163" y="101"/>
                  </a:cubicBezTo>
                  <a:cubicBezTo>
                    <a:pt x="163" y="76"/>
                    <a:pt x="146" y="57"/>
                    <a:pt x="115" y="57"/>
                  </a:cubicBezTo>
                  <a:cubicBezTo>
                    <a:pt x="81" y="57"/>
                    <a:pt x="59" y="83"/>
                    <a:pt x="59" y="112"/>
                  </a:cubicBezTo>
                  <a:cubicBezTo>
                    <a:pt x="59" y="122"/>
                    <a:pt x="62" y="129"/>
                    <a:pt x="67" y="134"/>
                  </a:cubicBezTo>
                  <a:cubicBezTo>
                    <a:pt x="69" y="137"/>
                    <a:pt x="69" y="138"/>
                    <a:pt x="68" y="141"/>
                  </a:cubicBezTo>
                  <a:cubicBezTo>
                    <a:pt x="68" y="143"/>
                    <a:pt x="67" y="148"/>
                    <a:pt x="66" y="150"/>
                  </a:cubicBezTo>
                  <a:cubicBezTo>
                    <a:pt x="65" y="153"/>
                    <a:pt x="63" y="154"/>
                    <a:pt x="60" y="153"/>
                  </a:cubicBezTo>
                  <a:cubicBezTo>
                    <a:pt x="44" y="146"/>
                    <a:pt x="37" y="129"/>
                    <a:pt x="37" y="109"/>
                  </a:cubicBezTo>
                  <a:cubicBezTo>
                    <a:pt x="37" y="77"/>
                    <a:pt x="64" y="38"/>
                    <a:pt x="118" y="38"/>
                  </a:cubicBezTo>
                  <a:cubicBezTo>
                    <a:pt x="162" y="38"/>
                    <a:pt x="191" y="70"/>
                    <a:pt x="191" y="103"/>
                  </a:cubicBezTo>
                  <a:cubicBezTo>
                    <a:pt x="191" y="148"/>
                    <a:pt x="166" y="181"/>
                    <a:pt x="129" y="181"/>
                  </a:cubicBezTo>
                  <a:cubicBezTo>
                    <a:pt x="117" y="181"/>
                    <a:pt x="105" y="175"/>
                    <a:pt x="101" y="167"/>
                  </a:cubicBezTo>
                  <a:cubicBezTo>
                    <a:pt x="101" y="167"/>
                    <a:pt x="95" y="193"/>
                    <a:pt x="93" y="198"/>
                  </a:cubicBezTo>
                  <a:cubicBezTo>
                    <a:pt x="91" y="207"/>
                    <a:pt x="86" y="216"/>
                    <a:pt x="82" y="223"/>
                  </a:cubicBezTo>
                  <a:cubicBezTo>
                    <a:pt x="92" y="226"/>
                    <a:pt x="103" y="227"/>
                    <a:pt x="114" y="227"/>
                  </a:cubicBezTo>
                  <a:cubicBezTo>
                    <a:pt x="177" y="227"/>
                    <a:pt x="228" y="176"/>
                    <a:pt x="228" y="114"/>
                  </a:cubicBezTo>
                  <a:cubicBezTo>
                    <a:pt x="228" y="51"/>
                    <a:pt x="177" y="0"/>
                    <a:pt x="114" y="0"/>
                  </a:cubicBezTo>
                  <a:close/>
                </a:path>
              </a:pathLst>
            </a:cu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18" name="Freeform 22"/>
            <p:cNvSpPr>
              <a:spLocks noEditPoints="1"/>
            </p:cNvSpPr>
            <p:nvPr/>
          </p:nvSpPr>
          <p:spPr bwMode="auto">
            <a:xfrm>
              <a:off x="15143697" y="6241518"/>
              <a:ext cx="1369571" cy="1367030"/>
            </a:xfrm>
            <a:custGeom>
              <a:avLst/>
              <a:gdLst>
                <a:gd name="T0" fmla="*/ 164 w 204"/>
                <a:gd name="T1" fmla="*/ 0 h 204"/>
                <a:gd name="T2" fmla="*/ 39 w 204"/>
                <a:gd name="T3" fmla="*/ 0 h 204"/>
                <a:gd name="T4" fmla="*/ 0 w 204"/>
                <a:gd name="T5" fmla="*/ 39 h 204"/>
                <a:gd name="T6" fmla="*/ 0 w 204"/>
                <a:gd name="T7" fmla="*/ 81 h 204"/>
                <a:gd name="T8" fmla="*/ 0 w 204"/>
                <a:gd name="T9" fmla="*/ 164 h 204"/>
                <a:gd name="T10" fmla="*/ 39 w 204"/>
                <a:gd name="T11" fmla="*/ 204 h 204"/>
                <a:gd name="T12" fmla="*/ 164 w 204"/>
                <a:gd name="T13" fmla="*/ 204 h 204"/>
                <a:gd name="T14" fmla="*/ 204 w 204"/>
                <a:gd name="T15" fmla="*/ 164 h 204"/>
                <a:gd name="T16" fmla="*/ 204 w 204"/>
                <a:gd name="T17" fmla="*/ 81 h 204"/>
                <a:gd name="T18" fmla="*/ 204 w 204"/>
                <a:gd name="T19" fmla="*/ 39 h 204"/>
                <a:gd name="T20" fmla="*/ 164 w 204"/>
                <a:gd name="T21" fmla="*/ 0 h 204"/>
                <a:gd name="T22" fmla="*/ 176 w 204"/>
                <a:gd name="T23" fmla="*/ 23 h 204"/>
                <a:gd name="T24" fmla="*/ 180 w 204"/>
                <a:gd name="T25" fmla="*/ 23 h 204"/>
                <a:gd name="T26" fmla="*/ 180 w 204"/>
                <a:gd name="T27" fmla="*/ 28 h 204"/>
                <a:gd name="T28" fmla="*/ 180 w 204"/>
                <a:gd name="T29" fmla="*/ 58 h 204"/>
                <a:gd name="T30" fmla="*/ 146 w 204"/>
                <a:gd name="T31" fmla="*/ 58 h 204"/>
                <a:gd name="T32" fmla="*/ 146 w 204"/>
                <a:gd name="T33" fmla="*/ 24 h 204"/>
                <a:gd name="T34" fmla="*/ 176 w 204"/>
                <a:gd name="T35" fmla="*/ 23 h 204"/>
                <a:gd name="T36" fmla="*/ 73 w 204"/>
                <a:gd name="T37" fmla="*/ 81 h 204"/>
                <a:gd name="T38" fmla="*/ 102 w 204"/>
                <a:gd name="T39" fmla="*/ 66 h 204"/>
                <a:gd name="T40" fmla="*/ 131 w 204"/>
                <a:gd name="T41" fmla="*/ 81 h 204"/>
                <a:gd name="T42" fmla="*/ 138 w 204"/>
                <a:gd name="T43" fmla="*/ 102 h 204"/>
                <a:gd name="T44" fmla="*/ 102 w 204"/>
                <a:gd name="T45" fmla="*/ 138 h 204"/>
                <a:gd name="T46" fmla="*/ 66 w 204"/>
                <a:gd name="T47" fmla="*/ 102 h 204"/>
                <a:gd name="T48" fmla="*/ 73 w 204"/>
                <a:gd name="T49" fmla="*/ 81 h 204"/>
                <a:gd name="T50" fmla="*/ 184 w 204"/>
                <a:gd name="T51" fmla="*/ 164 h 204"/>
                <a:gd name="T52" fmla="*/ 164 w 204"/>
                <a:gd name="T53" fmla="*/ 184 h 204"/>
                <a:gd name="T54" fmla="*/ 39 w 204"/>
                <a:gd name="T55" fmla="*/ 184 h 204"/>
                <a:gd name="T56" fmla="*/ 20 w 204"/>
                <a:gd name="T57" fmla="*/ 164 h 204"/>
                <a:gd name="T58" fmla="*/ 20 w 204"/>
                <a:gd name="T59" fmla="*/ 81 h 204"/>
                <a:gd name="T60" fmla="*/ 50 w 204"/>
                <a:gd name="T61" fmla="*/ 81 h 204"/>
                <a:gd name="T62" fmla="*/ 46 w 204"/>
                <a:gd name="T63" fmla="*/ 102 h 204"/>
                <a:gd name="T64" fmla="*/ 102 w 204"/>
                <a:gd name="T65" fmla="*/ 158 h 204"/>
                <a:gd name="T66" fmla="*/ 157 w 204"/>
                <a:gd name="T67" fmla="*/ 102 h 204"/>
                <a:gd name="T68" fmla="*/ 153 w 204"/>
                <a:gd name="T69" fmla="*/ 81 h 204"/>
                <a:gd name="T70" fmla="*/ 184 w 204"/>
                <a:gd name="T71" fmla="*/ 81 h 204"/>
                <a:gd name="T72" fmla="*/ 184 w 204"/>
                <a:gd name="T73" fmla="*/ 164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4" h="204">
                  <a:moveTo>
                    <a:pt x="164" y="0"/>
                  </a:moveTo>
                  <a:cubicBezTo>
                    <a:pt x="39" y="0"/>
                    <a:pt x="39" y="0"/>
                    <a:pt x="39" y="0"/>
                  </a:cubicBezTo>
                  <a:cubicBezTo>
                    <a:pt x="17" y="0"/>
                    <a:pt x="0" y="18"/>
                    <a:pt x="0" y="39"/>
                  </a:cubicBezTo>
                  <a:cubicBezTo>
                    <a:pt x="0" y="81"/>
                    <a:pt x="0" y="81"/>
                    <a:pt x="0" y="81"/>
                  </a:cubicBezTo>
                  <a:cubicBezTo>
                    <a:pt x="0" y="164"/>
                    <a:pt x="0" y="164"/>
                    <a:pt x="0" y="164"/>
                  </a:cubicBezTo>
                  <a:cubicBezTo>
                    <a:pt x="0" y="186"/>
                    <a:pt x="17" y="204"/>
                    <a:pt x="39" y="204"/>
                  </a:cubicBezTo>
                  <a:cubicBezTo>
                    <a:pt x="164" y="204"/>
                    <a:pt x="164" y="204"/>
                    <a:pt x="164" y="204"/>
                  </a:cubicBezTo>
                  <a:cubicBezTo>
                    <a:pt x="186" y="204"/>
                    <a:pt x="204" y="186"/>
                    <a:pt x="204" y="164"/>
                  </a:cubicBezTo>
                  <a:cubicBezTo>
                    <a:pt x="204" y="81"/>
                    <a:pt x="204" y="81"/>
                    <a:pt x="204" y="81"/>
                  </a:cubicBezTo>
                  <a:cubicBezTo>
                    <a:pt x="204" y="39"/>
                    <a:pt x="204" y="39"/>
                    <a:pt x="204" y="39"/>
                  </a:cubicBezTo>
                  <a:cubicBezTo>
                    <a:pt x="204" y="18"/>
                    <a:pt x="186" y="0"/>
                    <a:pt x="164" y="0"/>
                  </a:cubicBezTo>
                  <a:close/>
                  <a:moveTo>
                    <a:pt x="176" y="23"/>
                  </a:moveTo>
                  <a:cubicBezTo>
                    <a:pt x="180" y="23"/>
                    <a:pt x="180" y="23"/>
                    <a:pt x="180" y="23"/>
                  </a:cubicBezTo>
                  <a:cubicBezTo>
                    <a:pt x="180" y="28"/>
                    <a:pt x="180" y="28"/>
                    <a:pt x="180" y="28"/>
                  </a:cubicBezTo>
                  <a:cubicBezTo>
                    <a:pt x="180" y="58"/>
                    <a:pt x="180" y="58"/>
                    <a:pt x="180" y="58"/>
                  </a:cubicBezTo>
                  <a:cubicBezTo>
                    <a:pt x="146" y="58"/>
                    <a:pt x="146" y="58"/>
                    <a:pt x="146" y="58"/>
                  </a:cubicBezTo>
                  <a:cubicBezTo>
                    <a:pt x="146" y="24"/>
                    <a:pt x="146" y="24"/>
                    <a:pt x="146" y="24"/>
                  </a:cubicBezTo>
                  <a:lnTo>
                    <a:pt x="176" y="23"/>
                  </a:lnTo>
                  <a:close/>
                  <a:moveTo>
                    <a:pt x="73" y="81"/>
                  </a:moveTo>
                  <a:cubicBezTo>
                    <a:pt x="79" y="72"/>
                    <a:pt x="90" y="66"/>
                    <a:pt x="102" y="66"/>
                  </a:cubicBezTo>
                  <a:cubicBezTo>
                    <a:pt x="114" y="66"/>
                    <a:pt x="124" y="72"/>
                    <a:pt x="131" y="81"/>
                  </a:cubicBezTo>
                  <a:cubicBezTo>
                    <a:pt x="135" y="87"/>
                    <a:pt x="138" y="94"/>
                    <a:pt x="138" y="102"/>
                  </a:cubicBezTo>
                  <a:cubicBezTo>
                    <a:pt x="138" y="122"/>
                    <a:pt x="121" y="138"/>
                    <a:pt x="102" y="138"/>
                  </a:cubicBezTo>
                  <a:cubicBezTo>
                    <a:pt x="82" y="138"/>
                    <a:pt x="66" y="122"/>
                    <a:pt x="66" y="102"/>
                  </a:cubicBezTo>
                  <a:cubicBezTo>
                    <a:pt x="66" y="94"/>
                    <a:pt x="68" y="87"/>
                    <a:pt x="73" y="81"/>
                  </a:cubicBezTo>
                  <a:close/>
                  <a:moveTo>
                    <a:pt x="184" y="164"/>
                  </a:moveTo>
                  <a:cubicBezTo>
                    <a:pt x="184" y="175"/>
                    <a:pt x="175" y="184"/>
                    <a:pt x="164" y="184"/>
                  </a:cubicBezTo>
                  <a:cubicBezTo>
                    <a:pt x="39" y="184"/>
                    <a:pt x="39" y="184"/>
                    <a:pt x="39" y="184"/>
                  </a:cubicBezTo>
                  <a:cubicBezTo>
                    <a:pt x="28" y="184"/>
                    <a:pt x="20" y="175"/>
                    <a:pt x="20" y="164"/>
                  </a:cubicBezTo>
                  <a:cubicBezTo>
                    <a:pt x="20" y="81"/>
                    <a:pt x="20" y="81"/>
                    <a:pt x="20" y="81"/>
                  </a:cubicBezTo>
                  <a:cubicBezTo>
                    <a:pt x="50" y="81"/>
                    <a:pt x="50" y="81"/>
                    <a:pt x="50" y="81"/>
                  </a:cubicBezTo>
                  <a:cubicBezTo>
                    <a:pt x="47" y="87"/>
                    <a:pt x="46" y="95"/>
                    <a:pt x="46" y="102"/>
                  </a:cubicBezTo>
                  <a:cubicBezTo>
                    <a:pt x="46" y="133"/>
                    <a:pt x="71" y="158"/>
                    <a:pt x="102" y="158"/>
                  </a:cubicBezTo>
                  <a:cubicBezTo>
                    <a:pt x="132" y="158"/>
                    <a:pt x="157" y="133"/>
                    <a:pt x="157" y="102"/>
                  </a:cubicBezTo>
                  <a:cubicBezTo>
                    <a:pt x="157" y="95"/>
                    <a:pt x="156" y="87"/>
                    <a:pt x="153" y="81"/>
                  </a:cubicBezTo>
                  <a:cubicBezTo>
                    <a:pt x="184" y="81"/>
                    <a:pt x="184" y="81"/>
                    <a:pt x="184" y="81"/>
                  </a:cubicBezTo>
                  <a:lnTo>
                    <a:pt x="184" y="164"/>
                  </a:lnTo>
                  <a:close/>
                </a:path>
              </a:pathLst>
            </a:cu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grpSp>
          <p:nvGrpSpPr>
            <p:cNvPr id="19" name="Group 18"/>
            <p:cNvGrpSpPr/>
            <p:nvPr>
              <p:custDataLst>
                <p:tags r:id="rId3"/>
              </p:custDataLst>
            </p:nvPr>
          </p:nvGrpSpPr>
          <p:grpSpPr>
            <a:xfrm>
              <a:off x="12499084" y="3707203"/>
              <a:ext cx="1234901" cy="1148508"/>
              <a:chOff x="3338513" y="696913"/>
              <a:chExt cx="771525" cy="717550"/>
            </a:xfrm>
            <a:solidFill>
              <a:srgbClr val="0070C0"/>
            </a:solidFill>
          </p:grpSpPr>
          <p:sp>
            <p:nvSpPr>
              <p:cNvPr id="20" name="Freeform 23"/>
              <p:cNvSpPr>
                <a:spLocks/>
              </p:cNvSpPr>
              <p:nvPr/>
            </p:nvSpPr>
            <p:spPr bwMode="auto">
              <a:xfrm>
                <a:off x="3586163" y="696913"/>
                <a:ext cx="523875" cy="717550"/>
              </a:xfrm>
              <a:custGeom>
                <a:avLst/>
                <a:gdLst>
                  <a:gd name="T0" fmla="*/ 115 w 125"/>
                  <a:gd name="T1" fmla="*/ 63 h 171"/>
                  <a:gd name="T2" fmla="*/ 69 w 125"/>
                  <a:gd name="T3" fmla="*/ 63 h 171"/>
                  <a:gd name="T4" fmla="*/ 85 w 125"/>
                  <a:gd name="T5" fmla="*/ 32 h 171"/>
                  <a:gd name="T6" fmla="*/ 74 w 125"/>
                  <a:gd name="T7" fmla="*/ 0 h 171"/>
                  <a:gd name="T8" fmla="*/ 61 w 125"/>
                  <a:gd name="T9" fmla="*/ 21 h 171"/>
                  <a:gd name="T10" fmla="*/ 37 w 125"/>
                  <a:gd name="T11" fmla="*/ 53 h 171"/>
                  <a:gd name="T12" fmla="*/ 0 w 125"/>
                  <a:gd name="T13" fmla="*/ 70 h 171"/>
                  <a:gd name="T14" fmla="*/ 0 w 125"/>
                  <a:gd name="T15" fmla="*/ 71 h 171"/>
                  <a:gd name="T16" fmla="*/ 0 w 125"/>
                  <a:gd name="T17" fmla="*/ 148 h 171"/>
                  <a:gd name="T18" fmla="*/ 26 w 125"/>
                  <a:gd name="T19" fmla="*/ 155 h 171"/>
                  <a:gd name="T20" fmla="*/ 76 w 125"/>
                  <a:gd name="T21" fmla="*/ 171 h 171"/>
                  <a:gd name="T22" fmla="*/ 91 w 125"/>
                  <a:gd name="T23" fmla="*/ 147 h 171"/>
                  <a:gd name="T24" fmla="*/ 103 w 125"/>
                  <a:gd name="T25" fmla="*/ 121 h 171"/>
                  <a:gd name="T26" fmla="*/ 107 w 125"/>
                  <a:gd name="T27" fmla="*/ 91 h 171"/>
                  <a:gd name="T28" fmla="*/ 115 w 125"/>
                  <a:gd name="T29" fmla="*/ 6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171">
                    <a:moveTo>
                      <a:pt x="115" y="63"/>
                    </a:moveTo>
                    <a:cubicBezTo>
                      <a:pt x="105" y="57"/>
                      <a:pt x="69" y="63"/>
                      <a:pt x="69" y="63"/>
                    </a:cubicBezTo>
                    <a:cubicBezTo>
                      <a:pt x="75" y="59"/>
                      <a:pt x="85" y="38"/>
                      <a:pt x="85" y="32"/>
                    </a:cubicBezTo>
                    <a:cubicBezTo>
                      <a:pt x="86" y="19"/>
                      <a:pt x="83" y="0"/>
                      <a:pt x="74" y="0"/>
                    </a:cubicBezTo>
                    <a:cubicBezTo>
                      <a:pt x="64" y="0"/>
                      <a:pt x="62" y="16"/>
                      <a:pt x="61" y="21"/>
                    </a:cubicBezTo>
                    <a:cubicBezTo>
                      <a:pt x="59" y="35"/>
                      <a:pt x="46" y="48"/>
                      <a:pt x="37" y="53"/>
                    </a:cubicBezTo>
                    <a:cubicBezTo>
                      <a:pt x="25" y="60"/>
                      <a:pt x="16" y="66"/>
                      <a:pt x="0" y="70"/>
                    </a:cubicBezTo>
                    <a:cubicBezTo>
                      <a:pt x="0" y="70"/>
                      <a:pt x="0" y="71"/>
                      <a:pt x="0" y="71"/>
                    </a:cubicBezTo>
                    <a:cubicBezTo>
                      <a:pt x="0" y="148"/>
                      <a:pt x="0" y="148"/>
                      <a:pt x="0" y="148"/>
                    </a:cubicBezTo>
                    <a:cubicBezTo>
                      <a:pt x="9" y="148"/>
                      <a:pt x="18" y="150"/>
                      <a:pt x="26" y="155"/>
                    </a:cubicBezTo>
                    <a:cubicBezTo>
                      <a:pt x="43" y="164"/>
                      <a:pt x="56" y="171"/>
                      <a:pt x="76" y="171"/>
                    </a:cubicBezTo>
                    <a:cubicBezTo>
                      <a:pt x="106" y="171"/>
                      <a:pt x="103" y="148"/>
                      <a:pt x="91" y="147"/>
                    </a:cubicBezTo>
                    <a:cubicBezTo>
                      <a:pt x="115" y="148"/>
                      <a:pt x="117" y="128"/>
                      <a:pt x="103" y="121"/>
                    </a:cubicBezTo>
                    <a:cubicBezTo>
                      <a:pt x="125" y="121"/>
                      <a:pt x="122" y="93"/>
                      <a:pt x="107" y="91"/>
                    </a:cubicBezTo>
                    <a:cubicBezTo>
                      <a:pt x="124" y="92"/>
                      <a:pt x="125" y="70"/>
                      <a:pt x="115"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21" name="Rectangle 24"/>
              <p:cNvSpPr>
                <a:spLocks noChangeArrowheads="1"/>
              </p:cNvSpPr>
              <p:nvPr/>
            </p:nvSpPr>
            <p:spPr bwMode="auto">
              <a:xfrm>
                <a:off x="3338513" y="960438"/>
                <a:ext cx="163513" cy="3905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grpSp>
        <p:grpSp>
          <p:nvGrpSpPr>
            <p:cNvPr id="22" name="Group 21"/>
            <p:cNvGrpSpPr/>
            <p:nvPr>
              <p:custDataLst>
                <p:tags r:id="rId4"/>
              </p:custDataLst>
            </p:nvPr>
          </p:nvGrpSpPr>
          <p:grpSpPr>
            <a:xfrm>
              <a:off x="10514397" y="5168145"/>
              <a:ext cx="1644530" cy="1540144"/>
              <a:chOff x="544513" y="3295650"/>
              <a:chExt cx="1325563" cy="1241425"/>
            </a:xfrm>
            <a:solidFill>
              <a:srgbClr val="0070C0"/>
            </a:solidFill>
          </p:grpSpPr>
          <p:sp>
            <p:nvSpPr>
              <p:cNvPr id="23" name="Freeform 26"/>
              <p:cNvSpPr>
                <a:spLocks/>
              </p:cNvSpPr>
              <p:nvPr/>
            </p:nvSpPr>
            <p:spPr bwMode="auto">
              <a:xfrm>
                <a:off x="692151" y="3351213"/>
                <a:ext cx="1077913" cy="1185862"/>
              </a:xfrm>
              <a:custGeom>
                <a:avLst/>
                <a:gdLst>
                  <a:gd name="T0" fmla="*/ 55 w 257"/>
                  <a:gd name="T1" fmla="*/ 128 h 283"/>
                  <a:gd name="T2" fmla="*/ 49 w 257"/>
                  <a:gd name="T3" fmla="*/ 128 h 283"/>
                  <a:gd name="T4" fmla="*/ 43 w 257"/>
                  <a:gd name="T5" fmla="*/ 129 h 283"/>
                  <a:gd name="T6" fmla="*/ 36 w 257"/>
                  <a:gd name="T7" fmla="*/ 133 h 283"/>
                  <a:gd name="T8" fmla="*/ 9 w 257"/>
                  <a:gd name="T9" fmla="*/ 145 h 283"/>
                  <a:gd name="T10" fmla="*/ 4 w 257"/>
                  <a:gd name="T11" fmla="*/ 167 h 283"/>
                  <a:gd name="T12" fmla="*/ 26 w 257"/>
                  <a:gd name="T13" fmla="*/ 218 h 283"/>
                  <a:gd name="T14" fmla="*/ 46 w 257"/>
                  <a:gd name="T15" fmla="*/ 229 h 283"/>
                  <a:gd name="T16" fmla="*/ 61 w 257"/>
                  <a:gd name="T17" fmla="*/ 223 h 283"/>
                  <a:gd name="T18" fmla="*/ 73 w 257"/>
                  <a:gd name="T19" fmla="*/ 243 h 283"/>
                  <a:gd name="T20" fmla="*/ 77 w 257"/>
                  <a:gd name="T21" fmla="*/ 240 h 283"/>
                  <a:gd name="T22" fmla="*/ 106 w 257"/>
                  <a:gd name="T23" fmla="*/ 273 h 283"/>
                  <a:gd name="T24" fmla="*/ 139 w 257"/>
                  <a:gd name="T25" fmla="*/ 275 h 283"/>
                  <a:gd name="T26" fmla="*/ 141 w 257"/>
                  <a:gd name="T27" fmla="*/ 242 h 283"/>
                  <a:gd name="T28" fmla="*/ 138 w 257"/>
                  <a:gd name="T29" fmla="*/ 239 h 283"/>
                  <a:gd name="T30" fmla="*/ 138 w 257"/>
                  <a:gd name="T31" fmla="*/ 239 h 283"/>
                  <a:gd name="T32" fmla="*/ 112 w 257"/>
                  <a:gd name="T33" fmla="*/ 209 h 283"/>
                  <a:gd name="T34" fmla="*/ 128 w 257"/>
                  <a:gd name="T35" fmla="*/ 194 h 283"/>
                  <a:gd name="T36" fmla="*/ 131 w 257"/>
                  <a:gd name="T37" fmla="*/ 193 h 283"/>
                  <a:gd name="T38" fmla="*/ 257 w 257"/>
                  <a:gd name="T39" fmla="*/ 188 h 283"/>
                  <a:gd name="T40" fmla="*/ 174 w 257"/>
                  <a:gd name="T41" fmla="*/ 0 h 283"/>
                  <a:gd name="T42" fmla="*/ 55 w 257"/>
                  <a:gd name="T43" fmla="*/ 12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7" h="283">
                    <a:moveTo>
                      <a:pt x="55" y="128"/>
                    </a:moveTo>
                    <a:cubicBezTo>
                      <a:pt x="53" y="127"/>
                      <a:pt x="51" y="127"/>
                      <a:pt x="49" y="128"/>
                    </a:cubicBezTo>
                    <a:cubicBezTo>
                      <a:pt x="47" y="128"/>
                      <a:pt x="45" y="128"/>
                      <a:pt x="43" y="129"/>
                    </a:cubicBezTo>
                    <a:cubicBezTo>
                      <a:pt x="41" y="130"/>
                      <a:pt x="38" y="131"/>
                      <a:pt x="36" y="133"/>
                    </a:cubicBezTo>
                    <a:cubicBezTo>
                      <a:pt x="9" y="145"/>
                      <a:pt x="9" y="145"/>
                      <a:pt x="9" y="145"/>
                    </a:cubicBezTo>
                    <a:cubicBezTo>
                      <a:pt x="2" y="148"/>
                      <a:pt x="0" y="158"/>
                      <a:pt x="4" y="167"/>
                    </a:cubicBezTo>
                    <a:cubicBezTo>
                      <a:pt x="26" y="218"/>
                      <a:pt x="26" y="218"/>
                      <a:pt x="26" y="218"/>
                    </a:cubicBezTo>
                    <a:cubicBezTo>
                      <a:pt x="30" y="227"/>
                      <a:pt x="39" y="232"/>
                      <a:pt x="46" y="229"/>
                    </a:cubicBezTo>
                    <a:cubicBezTo>
                      <a:pt x="61" y="223"/>
                      <a:pt x="61" y="223"/>
                      <a:pt x="61" y="223"/>
                    </a:cubicBezTo>
                    <a:cubicBezTo>
                      <a:pt x="73" y="243"/>
                      <a:pt x="73" y="243"/>
                      <a:pt x="73" y="243"/>
                    </a:cubicBezTo>
                    <a:cubicBezTo>
                      <a:pt x="77" y="240"/>
                      <a:pt x="77" y="240"/>
                      <a:pt x="77" y="240"/>
                    </a:cubicBezTo>
                    <a:cubicBezTo>
                      <a:pt x="106" y="273"/>
                      <a:pt x="106" y="273"/>
                      <a:pt x="106" y="273"/>
                    </a:cubicBezTo>
                    <a:cubicBezTo>
                      <a:pt x="115" y="282"/>
                      <a:pt x="129" y="283"/>
                      <a:pt x="139" y="275"/>
                    </a:cubicBezTo>
                    <a:cubicBezTo>
                      <a:pt x="149" y="266"/>
                      <a:pt x="149" y="251"/>
                      <a:pt x="141" y="242"/>
                    </a:cubicBezTo>
                    <a:cubicBezTo>
                      <a:pt x="138" y="239"/>
                      <a:pt x="138" y="239"/>
                      <a:pt x="138" y="239"/>
                    </a:cubicBezTo>
                    <a:cubicBezTo>
                      <a:pt x="138" y="239"/>
                      <a:pt x="138" y="239"/>
                      <a:pt x="138" y="239"/>
                    </a:cubicBezTo>
                    <a:cubicBezTo>
                      <a:pt x="112" y="209"/>
                      <a:pt x="112" y="209"/>
                      <a:pt x="112" y="209"/>
                    </a:cubicBezTo>
                    <a:cubicBezTo>
                      <a:pt x="128" y="194"/>
                      <a:pt x="128" y="194"/>
                      <a:pt x="128" y="194"/>
                    </a:cubicBezTo>
                    <a:cubicBezTo>
                      <a:pt x="129" y="194"/>
                      <a:pt x="130" y="193"/>
                      <a:pt x="131" y="193"/>
                    </a:cubicBezTo>
                    <a:cubicBezTo>
                      <a:pt x="197" y="178"/>
                      <a:pt x="257" y="188"/>
                      <a:pt x="257" y="188"/>
                    </a:cubicBezTo>
                    <a:cubicBezTo>
                      <a:pt x="174" y="0"/>
                      <a:pt x="174" y="0"/>
                      <a:pt x="174" y="0"/>
                    </a:cubicBezTo>
                    <a:cubicBezTo>
                      <a:pt x="161" y="54"/>
                      <a:pt x="86" y="108"/>
                      <a:pt x="55" y="12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24" name="Freeform 27"/>
              <p:cNvSpPr>
                <a:spLocks/>
              </p:cNvSpPr>
              <p:nvPr/>
            </p:nvSpPr>
            <p:spPr bwMode="auto">
              <a:xfrm>
                <a:off x="1446213" y="3295650"/>
                <a:ext cx="423863" cy="865187"/>
              </a:xfrm>
              <a:custGeom>
                <a:avLst/>
                <a:gdLst>
                  <a:gd name="T0" fmla="*/ 0 w 267"/>
                  <a:gd name="T1" fmla="*/ 16 h 545"/>
                  <a:gd name="T2" fmla="*/ 233 w 267"/>
                  <a:gd name="T3" fmla="*/ 545 h 545"/>
                  <a:gd name="T4" fmla="*/ 267 w 267"/>
                  <a:gd name="T5" fmla="*/ 531 h 545"/>
                  <a:gd name="T6" fmla="*/ 32 w 267"/>
                  <a:gd name="T7" fmla="*/ 0 h 545"/>
                  <a:gd name="T8" fmla="*/ 0 w 267"/>
                  <a:gd name="T9" fmla="*/ 16 h 545"/>
                </a:gdLst>
                <a:ahLst/>
                <a:cxnLst>
                  <a:cxn ang="0">
                    <a:pos x="T0" y="T1"/>
                  </a:cxn>
                  <a:cxn ang="0">
                    <a:pos x="T2" y="T3"/>
                  </a:cxn>
                  <a:cxn ang="0">
                    <a:pos x="T4" y="T5"/>
                  </a:cxn>
                  <a:cxn ang="0">
                    <a:pos x="T6" y="T7"/>
                  </a:cxn>
                  <a:cxn ang="0">
                    <a:pos x="T8" y="T9"/>
                  </a:cxn>
                </a:cxnLst>
                <a:rect l="0" t="0" r="r" b="b"/>
                <a:pathLst>
                  <a:path w="267" h="545">
                    <a:moveTo>
                      <a:pt x="0" y="16"/>
                    </a:moveTo>
                    <a:lnTo>
                      <a:pt x="233" y="545"/>
                    </a:lnTo>
                    <a:lnTo>
                      <a:pt x="267" y="531"/>
                    </a:lnTo>
                    <a:lnTo>
                      <a:pt x="32" y="0"/>
                    </a:lnTo>
                    <a:lnTo>
                      <a:pt x="0" y="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25" name="Freeform 28"/>
              <p:cNvSpPr>
                <a:spLocks/>
              </p:cNvSpPr>
              <p:nvPr/>
            </p:nvSpPr>
            <p:spPr bwMode="auto">
              <a:xfrm>
                <a:off x="544513" y="4021138"/>
                <a:ext cx="257175" cy="339725"/>
              </a:xfrm>
              <a:custGeom>
                <a:avLst/>
                <a:gdLst>
                  <a:gd name="T0" fmla="*/ 30 w 61"/>
                  <a:gd name="T1" fmla="*/ 10 h 81"/>
                  <a:gd name="T2" fmla="*/ 28 w 61"/>
                  <a:gd name="T3" fmla="*/ 0 h 81"/>
                  <a:gd name="T4" fmla="*/ 17 w 61"/>
                  <a:gd name="T5" fmla="*/ 5 h 81"/>
                  <a:gd name="T6" fmla="*/ 1 w 61"/>
                  <a:gd name="T7" fmla="*/ 32 h 81"/>
                  <a:gd name="T8" fmla="*/ 15 w 61"/>
                  <a:gd name="T9" fmla="*/ 26 h 81"/>
                  <a:gd name="T10" fmla="*/ 21 w 61"/>
                  <a:gd name="T11" fmla="*/ 28 h 81"/>
                  <a:gd name="T12" fmla="*/ 21 w 61"/>
                  <a:gd name="T13" fmla="*/ 29 h 81"/>
                  <a:gd name="T14" fmla="*/ 22 w 61"/>
                  <a:gd name="T15" fmla="*/ 29 h 81"/>
                  <a:gd name="T16" fmla="*/ 19 w 61"/>
                  <a:gd name="T17" fmla="*/ 35 h 81"/>
                  <a:gd name="T18" fmla="*/ 4 w 61"/>
                  <a:gd name="T19" fmla="*/ 42 h 81"/>
                  <a:gd name="T20" fmla="*/ 6 w 61"/>
                  <a:gd name="T21" fmla="*/ 47 h 81"/>
                  <a:gd name="T22" fmla="*/ 21 w 61"/>
                  <a:gd name="T23" fmla="*/ 40 h 81"/>
                  <a:gd name="T24" fmla="*/ 27 w 61"/>
                  <a:gd name="T25" fmla="*/ 42 h 81"/>
                  <a:gd name="T26" fmla="*/ 28 w 61"/>
                  <a:gd name="T27" fmla="*/ 43 h 81"/>
                  <a:gd name="T28" fmla="*/ 28 w 61"/>
                  <a:gd name="T29" fmla="*/ 43 h 81"/>
                  <a:gd name="T30" fmla="*/ 25 w 61"/>
                  <a:gd name="T31" fmla="*/ 49 h 81"/>
                  <a:gd name="T32" fmla="*/ 10 w 61"/>
                  <a:gd name="T33" fmla="*/ 56 h 81"/>
                  <a:gd name="T34" fmla="*/ 12 w 61"/>
                  <a:gd name="T35" fmla="*/ 61 h 81"/>
                  <a:gd name="T36" fmla="*/ 28 w 61"/>
                  <a:gd name="T37" fmla="*/ 54 h 81"/>
                  <a:gd name="T38" fmla="*/ 34 w 61"/>
                  <a:gd name="T39" fmla="*/ 56 h 81"/>
                  <a:gd name="T40" fmla="*/ 34 w 61"/>
                  <a:gd name="T41" fmla="*/ 56 h 81"/>
                  <a:gd name="T42" fmla="*/ 34 w 61"/>
                  <a:gd name="T43" fmla="*/ 57 h 81"/>
                  <a:gd name="T44" fmla="*/ 31 w 61"/>
                  <a:gd name="T45" fmla="*/ 63 h 81"/>
                  <a:gd name="T46" fmla="*/ 17 w 61"/>
                  <a:gd name="T47" fmla="*/ 69 h 81"/>
                  <a:gd name="T48" fmla="*/ 48 w 61"/>
                  <a:gd name="T49" fmla="*/ 76 h 81"/>
                  <a:gd name="T50" fmla="*/ 61 w 61"/>
                  <a:gd name="T51" fmla="*/ 71 h 81"/>
                  <a:gd name="T52" fmla="*/ 53 w 61"/>
                  <a:gd name="T53" fmla="*/ 61 h 81"/>
                  <a:gd name="T54" fmla="*/ 30 w 61"/>
                  <a:gd name="T55" fmla="*/ 1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1" h="81">
                    <a:moveTo>
                      <a:pt x="30" y="10"/>
                    </a:moveTo>
                    <a:cubicBezTo>
                      <a:pt x="29" y="6"/>
                      <a:pt x="28" y="3"/>
                      <a:pt x="28" y="0"/>
                    </a:cubicBezTo>
                    <a:cubicBezTo>
                      <a:pt x="17" y="5"/>
                      <a:pt x="17" y="5"/>
                      <a:pt x="17" y="5"/>
                    </a:cubicBezTo>
                    <a:cubicBezTo>
                      <a:pt x="6" y="10"/>
                      <a:pt x="0" y="21"/>
                      <a:pt x="1" y="32"/>
                    </a:cubicBezTo>
                    <a:cubicBezTo>
                      <a:pt x="15" y="26"/>
                      <a:pt x="15" y="26"/>
                      <a:pt x="15" y="26"/>
                    </a:cubicBezTo>
                    <a:cubicBezTo>
                      <a:pt x="18" y="25"/>
                      <a:pt x="20" y="26"/>
                      <a:pt x="21" y="28"/>
                    </a:cubicBezTo>
                    <a:cubicBezTo>
                      <a:pt x="21" y="29"/>
                      <a:pt x="21" y="29"/>
                      <a:pt x="21" y="29"/>
                    </a:cubicBezTo>
                    <a:cubicBezTo>
                      <a:pt x="21" y="29"/>
                      <a:pt x="22" y="29"/>
                      <a:pt x="22" y="29"/>
                    </a:cubicBezTo>
                    <a:cubicBezTo>
                      <a:pt x="23" y="31"/>
                      <a:pt x="22" y="34"/>
                      <a:pt x="19" y="35"/>
                    </a:cubicBezTo>
                    <a:cubicBezTo>
                      <a:pt x="4" y="42"/>
                      <a:pt x="4" y="42"/>
                      <a:pt x="4" y="42"/>
                    </a:cubicBezTo>
                    <a:cubicBezTo>
                      <a:pt x="6" y="47"/>
                      <a:pt x="6" y="47"/>
                      <a:pt x="6" y="47"/>
                    </a:cubicBezTo>
                    <a:cubicBezTo>
                      <a:pt x="21" y="40"/>
                      <a:pt x="21" y="40"/>
                      <a:pt x="21" y="40"/>
                    </a:cubicBezTo>
                    <a:cubicBezTo>
                      <a:pt x="24" y="39"/>
                      <a:pt x="26" y="40"/>
                      <a:pt x="27" y="42"/>
                    </a:cubicBezTo>
                    <a:cubicBezTo>
                      <a:pt x="27" y="42"/>
                      <a:pt x="27" y="43"/>
                      <a:pt x="28" y="43"/>
                    </a:cubicBezTo>
                    <a:cubicBezTo>
                      <a:pt x="28" y="43"/>
                      <a:pt x="28" y="43"/>
                      <a:pt x="28" y="43"/>
                    </a:cubicBezTo>
                    <a:cubicBezTo>
                      <a:pt x="29" y="45"/>
                      <a:pt x="28" y="48"/>
                      <a:pt x="25" y="49"/>
                    </a:cubicBezTo>
                    <a:cubicBezTo>
                      <a:pt x="10" y="56"/>
                      <a:pt x="10" y="56"/>
                      <a:pt x="10" y="56"/>
                    </a:cubicBezTo>
                    <a:cubicBezTo>
                      <a:pt x="12" y="61"/>
                      <a:pt x="12" y="61"/>
                      <a:pt x="12" y="61"/>
                    </a:cubicBezTo>
                    <a:cubicBezTo>
                      <a:pt x="28" y="54"/>
                      <a:pt x="28" y="54"/>
                      <a:pt x="28" y="54"/>
                    </a:cubicBezTo>
                    <a:cubicBezTo>
                      <a:pt x="30" y="53"/>
                      <a:pt x="33" y="54"/>
                      <a:pt x="34" y="56"/>
                    </a:cubicBezTo>
                    <a:cubicBezTo>
                      <a:pt x="34" y="56"/>
                      <a:pt x="34" y="56"/>
                      <a:pt x="34" y="56"/>
                    </a:cubicBezTo>
                    <a:cubicBezTo>
                      <a:pt x="34" y="57"/>
                      <a:pt x="34" y="57"/>
                      <a:pt x="34" y="57"/>
                    </a:cubicBezTo>
                    <a:cubicBezTo>
                      <a:pt x="35" y="59"/>
                      <a:pt x="34" y="62"/>
                      <a:pt x="31" y="63"/>
                    </a:cubicBezTo>
                    <a:cubicBezTo>
                      <a:pt x="17" y="69"/>
                      <a:pt x="17" y="69"/>
                      <a:pt x="17" y="69"/>
                    </a:cubicBezTo>
                    <a:cubicBezTo>
                      <a:pt x="24" y="78"/>
                      <a:pt x="37" y="81"/>
                      <a:pt x="48" y="76"/>
                    </a:cubicBezTo>
                    <a:cubicBezTo>
                      <a:pt x="61" y="71"/>
                      <a:pt x="61" y="71"/>
                      <a:pt x="61" y="71"/>
                    </a:cubicBezTo>
                    <a:cubicBezTo>
                      <a:pt x="58" y="68"/>
                      <a:pt x="55" y="65"/>
                      <a:pt x="53" y="61"/>
                    </a:cubicBezTo>
                    <a:lnTo>
                      <a:pt x="30" y="1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grpSp>
        <p:sp>
          <p:nvSpPr>
            <p:cNvPr id="26" name="Freeform 52"/>
            <p:cNvSpPr>
              <a:spLocks/>
            </p:cNvSpPr>
            <p:nvPr/>
          </p:nvSpPr>
          <p:spPr bwMode="auto">
            <a:xfrm>
              <a:off x="7838986" y="5592586"/>
              <a:ext cx="980806" cy="1181539"/>
            </a:xfrm>
            <a:custGeom>
              <a:avLst/>
              <a:gdLst>
                <a:gd name="T0" fmla="*/ 60 w 146"/>
                <a:gd name="T1" fmla="*/ 173 h 176"/>
                <a:gd name="T2" fmla="*/ 40 w 146"/>
                <a:gd name="T3" fmla="*/ 173 h 176"/>
                <a:gd name="T4" fmla="*/ 38 w 146"/>
                <a:gd name="T5" fmla="*/ 172 h 176"/>
                <a:gd name="T6" fmla="*/ 17 w 146"/>
                <a:gd name="T7" fmla="*/ 122 h 176"/>
                <a:gd name="T8" fmla="*/ 40 w 146"/>
                <a:gd name="T9" fmla="*/ 62 h 176"/>
                <a:gd name="T10" fmla="*/ 55 w 146"/>
                <a:gd name="T11" fmla="*/ 24 h 176"/>
                <a:gd name="T12" fmla="*/ 103 w 146"/>
                <a:gd name="T13" fmla="*/ 9 h 176"/>
                <a:gd name="T14" fmla="*/ 141 w 146"/>
                <a:gd name="T15" fmla="*/ 53 h 176"/>
                <a:gd name="T16" fmla="*/ 108 w 146"/>
                <a:gd name="T17" fmla="*/ 142 h 176"/>
                <a:gd name="T18" fmla="*/ 98 w 146"/>
                <a:gd name="T19" fmla="*/ 146 h 176"/>
                <a:gd name="T20" fmla="*/ 94 w 146"/>
                <a:gd name="T21" fmla="*/ 137 h 176"/>
                <a:gd name="T22" fmla="*/ 127 w 146"/>
                <a:gd name="T23" fmla="*/ 49 h 176"/>
                <a:gd name="T24" fmla="*/ 98 w 146"/>
                <a:gd name="T25" fmla="*/ 23 h 176"/>
                <a:gd name="T26" fmla="*/ 69 w 146"/>
                <a:gd name="T27" fmla="*/ 30 h 176"/>
                <a:gd name="T28" fmla="*/ 54 w 146"/>
                <a:gd name="T29" fmla="*/ 67 h 176"/>
                <a:gd name="T30" fmla="*/ 30 w 146"/>
                <a:gd name="T31" fmla="*/ 127 h 176"/>
                <a:gd name="T32" fmla="*/ 44 w 146"/>
                <a:gd name="T33" fmla="*/ 159 h 176"/>
                <a:gd name="T34" fmla="*/ 45 w 146"/>
                <a:gd name="T35" fmla="*/ 159 h 176"/>
                <a:gd name="T36" fmla="*/ 61 w 146"/>
                <a:gd name="T37" fmla="*/ 151 h 176"/>
                <a:gd name="T38" fmla="*/ 67 w 146"/>
                <a:gd name="T39" fmla="*/ 135 h 176"/>
                <a:gd name="T40" fmla="*/ 93 w 146"/>
                <a:gd name="T41" fmla="*/ 68 h 176"/>
                <a:gd name="T42" fmla="*/ 91 w 146"/>
                <a:gd name="T43" fmla="*/ 58 h 176"/>
                <a:gd name="T44" fmla="*/ 82 w 146"/>
                <a:gd name="T45" fmla="*/ 67 h 176"/>
                <a:gd name="T46" fmla="*/ 57 w 146"/>
                <a:gd name="T47" fmla="*/ 130 h 176"/>
                <a:gd name="T48" fmla="*/ 48 w 146"/>
                <a:gd name="T49" fmla="*/ 134 h 176"/>
                <a:gd name="T50" fmla="*/ 44 w 146"/>
                <a:gd name="T51" fmla="*/ 124 h 176"/>
                <a:gd name="T52" fmla="*/ 68 w 146"/>
                <a:gd name="T53" fmla="*/ 62 h 176"/>
                <a:gd name="T54" fmla="*/ 96 w 146"/>
                <a:gd name="T55" fmla="*/ 44 h 176"/>
                <a:gd name="T56" fmla="*/ 107 w 146"/>
                <a:gd name="T57" fmla="*/ 72 h 176"/>
                <a:gd name="T58" fmla="*/ 80 w 146"/>
                <a:gd name="T59" fmla="*/ 141 h 176"/>
                <a:gd name="T60" fmla="*/ 74 w 146"/>
                <a:gd name="T61" fmla="*/ 156 h 176"/>
                <a:gd name="T62" fmla="*/ 60 w 146"/>
                <a:gd name="T63" fmla="*/ 17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176">
                  <a:moveTo>
                    <a:pt x="60" y="173"/>
                  </a:moveTo>
                  <a:cubicBezTo>
                    <a:pt x="54" y="176"/>
                    <a:pt x="47" y="176"/>
                    <a:pt x="40" y="173"/>
                  </a:cubicBezTo>
                  <a:cubicBezTo>
                    <a:pt x="38" y="172"/>
                    <a:pt x="38" y="172"/>
                    <a:pt x="38" y="172"/>
                  </a:cubicBezTo>
                  <a:cubicBezTo>
                    <a:pt x="31" y="169"/>
                    <a:pt x="0" y="160"/>
                    <a:pt x="17" y="122"/>
                  </a:cubicBezTo>
                  <a:cubicBezTo>
                    <a:pt x="24" y="106"/>
                    <a:pt x="31" y="84"/>
                    <a:pt x="40" y="62"/>
                  </a:cubicBezTo>
                  <a:cubicBezTo>
                    <a:pt x="45" y="50"/>
                    <a:pt x="50" y="37"/>
                    <a:pt x="55" y="24"/>
                  </a:cubicBezTo>
                  <a:cubicBezTo>
                    <a:pt x="64" y="1"/>
                    <a:pt x="78" y="0"/>
                    <a:pt x="103" y="9"/>
                  </a:cubicBezTo>
                  <a:cubicBezTo>
                    <a:pt x="133" y="20"/>
                    <a:pt x="146" y="39"/>
                    <a:pt x="141" y="53"/>
                  </a:cubicBezTo>
                  <a:cubicBezTo>
                    <a:pt x="135" y="73"/>
                    <a:pt x="109" y="139"/>
                    <a:pt x="108" y="142"/>
                  </a:cubicBezTo>
                  <a:cubicBezTo>
                    <a:pt x="106" y="146"/>
                    <a:pt x="102" y="148"/>
                    <a:pt x="98" y="146"/>
                  </a:cubicBezTo>
                  <a:cubicBezTo>
                    <a:pt x="95" y="145"/>
                    <a:pt x="93" y="141"/>
                    <a:pt x="94" y="137"/>
                  </a:cubicBezTo>
                  <a:cubicBezTo>
                    <a:pt x="94" y="136"/>
                    <a:pt x="121" y="68"/>
                    <a:pt x="127" y="49"/>
                  </a:cubicBezTo>
                  <a:cubicBezTo>
                    <a:pt x="129" y="45"/>
                    <a:pt x="124" y="32"/>
                    <a:pt x="98" y="23"/>
                  </a:cubicBezTo>
                  <a:cubicBezTo>
                    <a:pt x="83" y="17"/>
                    <a:pt x="76" y="10"/>
                    <a:pt x="69" y="30"/>
                  </a:cubicBezTo>
                  <a:cubicBezTo>
                    <a:pt x="64" y="42"/>
                    <a:pt x="59" y="55"/>
                    <a:pt x="54" y="67"/>
                  </a:cubicBezTo>
                  <a:cubicBezTo>
                    <a:pt x="45" y="90"/>
                    <a:pt x="37" y="111"/>
                    <a:pt x="30" y="127"/>
                  </a:cubicBezTo>
                  <a:cubicBezTo>
                    <a:pt x="20" y="152"/>
                    <a:pt x="36" y="155"/>
                    <a:pt x="44" y="159"/>
                  </a:cubicBezTo>
                  <a:cubicBezTo>
                    <a:pt x="45" y="159"/>
                    <a:pt x="45" y="159"/>
                    <a:pt x="45" y="159"/>
                  </a:cubicBezTo>
                  <a:cubicBezTo>
                    <a:pt x="52" y="162"/>
                    <a:pt x="56" y="161"/>
                    <a:pt x="61" y="151"/>
                  </a:cubicBezTo>
                  <a:cubicBezTo>
                    <a:pt x="62" y="148"/>
                    <a:pt x="64" y="142"/>
                    <a:pt x="67" y="135"/>
                  </a:cubicBezTo>
                  <a:cubicBezTo>
                    <a:pt x="75" y="115"/>
                    <a:pt x="91" y="77"/>
                    <a:pt x="93" y="68"/>
                  </a:cubicBezTo>
                  <a:cubicBezTo>
                    <a:pt x="94" y="65"/>
                    <a:pt x="94" y="59"/>
                    <a:pt x="91" y="58"/>
                  </a:cubicBezTo>
                  <a:cubicBezTo>
                    <a:pt x="87" y="56"/>
                    <a:pt x="83" y="65"/>
                    <a:pt x="82" y="67"/>
                  </a:cubicBezTo>
                  <a:cubicBezTo>
                    <a:pt x="72" y="95"/>
                    <a:pt x="58" y="130"/>
                    <a:pt x="57" y="130"/>
                  </a:cubicBezTo>
                  <a:cubicBezTo>
                    <a:pt x="56" y="134"/>
                    <a:pt x="52" y="135"/>
                    <a:pt x="48" y="134"/>
                  </a:cubicBezTo>
                  <a:cubicBezTo>
                    <a:pt x="44" y="132"/>
                    <a:pt x="42" y="128"/>
                    <a:pt x="44" y="124"/>
                  </a:cubicBezTo>
                  <a:cubicBezTo>
                    <a:pt x="44" y="124"/>
                    <a:pt x="58" y="90"/>
                    <a:pt x="68" y="62"/>
                  </a:cubicBezTo>
                  <a:cubicBezTo>
                    <a:pt x="75" y="45"/>
                    <a:pt x="87" y="41"/>
                    <a:pt x="96" y="44"/>
                  </a:cubicBezTo>
                  <a:cubicBezTo>
                    <a:pt x="106" y="47"/>
                    <a:pt x="110" y="62"/>
                    <a:pt x="107" y="72"/>
                  </a:cubicBezTo>
                  <a:cubicBezTo>
                    <a:pt x="105" y="81"/>
                    <a:pt x="93" y="111"/>
                    <a:pt x="80" y="141"/>
                  </a:cubicBezTo>
                  <a:cubicBezTo>
                    <a:pt x="78" y="148"/>
                    <a:pt x="75" y="154"/>
                    <a:pt x="74" y="156"/>
                  </a:cubicBezTo>
                  <a:cubicBezTo>
                    <a:pt x="71" y="165"/>
                    <a:pt x="66" y="171"/>
                    <a:pt x="60" y="173"/>
                  </a:cubicBezTo>
                  <a:close/>
                </a:path>
              </a:pathLst>
            </a:cu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27" name="Freeform 52"/>
            <p:cNvSpPr>
              <a:spLocks/>
            </p:cNvSpPr>
            <p:nvPr/>
          </p:nvSpPr>
          <p:spPr bwMode="auto">
            <a:xfrm>
              <a:off x="14519137" y="4447424"/>
              <a:ext cx="872651" cy="1051248"/>
            </a:xfrm>
            <a:custGeom>
              <a:avLst/>
              <a:gdLst>
                <a:gd name="T0" fmla="*/ 60 w 146"/>
                <a:gd name="T1" fmla="*/ 173 h 176"/>
                <a:gd name="T2" fmla="*/ 40 w 146"/>
                <a:gd name="T3" fmla="*/ 173 h 176"/>
                <a:gd name="T4" fmla="*/ 38 w 146"/>
                <a:gd name="T5" fmla="*/ 172 h 176"/>
                <a:gd name="T6" fmla="*/ 17 w 146"/>
                <a:gd name="T7" fmla="*/ 122 h 176"/>
                <a:gd name="T8" fmla="*/ 40 w 146"/>
                <a:gd name="T9" fmla="*/ 62 h 176"/>
                <a:gd name="T10" fmla="*/ 55 w 146"/>
                <a:gd name="T11" fmla="*/ 24 h 176"/>
                <a:gd name="T12" fmla="*/ 103 w 146"/>
                <a:gd name="T13" fmla="*/ 9 h 176"/>
                <a:gd name="T14" fmla="*/ 141 w 146"/>
                <a:gd name="T15" fmla="*/ 53 h 176"/>
                <a:gd name="T16" fmla="*/ 108 w 146"/>
                <a:gd name="T17" fmla="*/ 142 h 176"/>
                <a:gd name="T18" fmla="*/ 98 w 146"/>
                <a:gd name="T19" fmla="*/ 146 h 176"/>
                <a:gd name="T20" fmla="*/ 94 w 146"/>
                <a:gd name="T21" fmla="*/ 137 h 176"/>
                <a:gd name="T22" fmla="*/ 127 w 146"/>
                <a:gd name="T23" fmla="*/ 49 h 176"/>
                <a:gd name="T24" fmla="*/ 98 w 146"/>
                <a:gd name="T25" fmla="*/ 23 h 176"/>
                <a:gd name="T26" fmla="*/ 69 w 146"/>
                <a:gd name="T27" fmla="*/ 30 h 176"/>
                <a:gd name="T28" fmla="*/ 54 w 146"/>
                <a:gd name="T29" fmla="*/ 67 h 176"/>
                <a:gd name="T30" fmla="*/ 30 w 146"/>
                <a:gd name="T31" fmla="*/ 127 h 176"/>
                <a:gd name="T32" fmla="*/ 44 w 146"/>
                <a:gd name="T33" fmla="*/ 159 h 176"/>
                <a:gd name="T34" fmla="*/ 45 w 146"/>
                <a:gd name="T35" fmla="*/ 159 h 176"/>
                <a:gd name="T36" fmla="*/ 61 w 146"/>
                <a:gd name="T37" fmla="*/ 151 h 176"/>
                <a:gd name="T38" fmla="*/ 67 w 146"/>
                <a:gd name="T39" fmla="*/ 135 h 176"/>
                <a:gd name="T40" fmla="*/ 93 w 146"/>
                <a:gd name="T41" fmla="*/ 68 h 176"/>
                <a:gd name="T42" fmla="*/ 91 w 146"/>
                <a:gd name="T43" fmla="*/ 58 h 176"/>
                <a:gd name="T44" fmla="*/ 82 w 146"/>
                <a:gd name="T45" fmla="*/ 67 h 176"/>
                <a:gd name="T46" fmla="*/ 57 w 146"/>
                <a:gd name="T47" fmla="*/ 130 h 176"/>
                <a:gd name="T48" fmla="*/ 48 w 146"/>
                <a:gd name="T49" fmla="*/ 134 h 176"/>
                <a:gd name="T50" fmla="*/ 44 w 146"/>
                <a:gd name="T51" fmla="*/ 124 h 176"/>
                <a:gd name="T52" fmla="*/ 68 w 146"/>
                <a:gd name="T53" fmla="*/ 62 h 176"/>
                <a:gd name="T54" fmla="*/ 96 w 146"/>
                <a:gd name="T55" fmla="*/ 44 h 176"/>
                <a:gd name="T56" fmla="*/ 107 w 146"/>
                <a:gd name="T57" fmla="*/ 72 h 176"/>
                <a:gd name="T58" fmla="*/ 80 w 146"/>
                <a:gd name="T59" fmla="*/ 141 h 176"/>
                <a:gd name="T60" fmla="*/ 74 w 146"/>
                <a:gd name="T61" fmla="*/ 156 h 176"/>
                <a:gd name="T62" fmla="*/ 60 w 146"/>
                <a:gd name="T63" fmla="*/ 17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176">
                  <a:moveTo>
                    <a:pt x="60" y="173"/>
                  </a:moveTo>
                  <a:cubicBezTo>
                    <a:pt x="54" y="176"/>
                    <a:pt x="47" y="176"/>
                    <a:pt x="40" y="173"/>
                  </a:cubicBezTo>
                  <a:cubicBezTo>
                    <a:pt x="38" y="172"/>
                    <a:pt x="38" y="172"/>
                    <a:pt x="38" y="172"/>
                  </a:cubicBezTo>
                  <a:cubicBezTo>
                    <a:pt x="31" y="169"/>
                    <a:pt x="0" y="160"/>
                    <a:pt x="17" y="122"/>
                  </a:cubicBezTo>
                  <a:cubicBezTo>
                    <a:pt x="24" y="106"/>
                    <a:pt x="31" y="84"/>
                    <a:pt x="40" y="62"/>
                  </a:cubicBezTo>
                  <a:cubicBezTo>
                    <a:pt x="45" y="50"/>
                    <a:pt x="50" y="37"/>
                    <a:pt x="55" y="24"/>
                  </a:cubicBezTo>
                  <a:cubicBezTo>
                    <a:pt x="64" y="1"/>
                    <a:pt x="78" y="0"/>
                    <a:pt x="103" y="9"/>
                  </a:cubicBezTo>
                  <a:cubicBezTo>
                    <a:pt x="133" y="20"/>
                    <a:pt x="146" y="39"/>
                    <a:pt x="141" y="53"/>
                  </a:cubicBezTo>
                  <a:cubicBezTo>
                    <a:pt x="135" y="73"/>
                    <a:pt x="109" y="139"/>
                    <a:pt x="108" y="142"/>
                  </a:cubicBezTo>
                  <a:cubicBezTo>
                    <a:pt x="106" y="146"/>
                    <a:pt x="102" y="148"/>
                    <a:pt x="98" y="146"/>
                  </a:cubicBezTo>
                  <a:cubicBezTo>
                    <a:pt x="95" y="145"/>
                    <a:pt x="93" y="141"/>
                    <a:pt x="94" y="137"/>
                  </a:cubicBezTo>
                  <a:cubicBezTo>
                    <a:pt x="94" y="136"/>
                    <a:pt x="121" y="68"/>
                    <a:pt x="127" y="49"/>
                  </a:cubicBezTo>
                  <a:cubicBezTo>
                    <a:pt x="129" y="45"/>
                    <a:pt x="124" y="32"/>
                    <a:pt x="98" y="23"/>
                  </a:cubicBezTo>
                  <a:cubicBezTo>
                    <a:pt x="83" y="17"/>
                    <a:pt x="76" y="10"/>
                    <a:pt x="69" y="30"/>
                  </a:cubicBezTo>
                  <a:cubicBezTo>
                    <a:pt x="64" y="42"/>
                    <a:pt x="59" y="55"/>
                    <a:pt x="54" y="67"/>
                  </a:cubicBezTo>
                  <a:cubicBezTo>
                    <a:pt x="45" y="90"/>
                    <a:pt x="37" y="111"/>
                    <a:pt x="30" y="127"/>
                  </a:cubicBezTo>
                  <a:cubicBezTo>
                    <a:pt x="20" y="152"/>
                    <a:pt x="36" y="155"/>
                    <a:pt x="44" y="159"/>
                  </a:cubicBezTo>
                  <a:cubicBezTo>
                    <a:pt x="45" y="159"/>
                    <a:pt x="45" y="159"/>
                    <a:pt x="45" y="159"/>
                  </a:cubicBezTo>
                  <a:cubicBezTo>
                    <a:pt x="52" y="162"/>
                    <a:pt x="56" y="161"/>
                    <a:pt x="61" y="151"/>
                  </a:cubicBezTo>
                  <a:cubicBezTo>
                    <a:pt x="62" y="148"/>
                    <a:pt x="64" y="142"/>
                    <a:pt x="67" y="135"/>
                  </a:cubicBezTo>
                  <a:cubicBezTo>
                    <a:pt x="75" y="115"/>
                    <a:pt x="91" y="77"/>
                    <a:pt x="93" y="68"/>
                  </a:cubicBezTo>
                  <a:cubicBezTo>
                    <a:pt x="94" y="65"/>
                    <a:pt x="94" y="59"/>
                    <a:pt x="91" y="58"/>
                  </a:cubicBezTo>
                  <a:cubicBezTo>
                    <a:pt x="87" y="56"/>
                    <a:pt x="83" y="65"/>
                    <a:pt x="82" y="67"/>
                  </a:cubicBezTo>
                  <a:cubicBezTo>
                    <a:pt x="72" y="95"/>
                    <a:pt x="58" y="130"/>
                    <a:pt x="57" y="130"/>
                  </a:cubicBezTo>
                  <a:cubicBezTo>
                    <a:pt x="56" y="134"/>
                    <a:pt x="52" y="135"/>
                    <a:pt x="48" y="134"/>
                  </a:cubicBezTo>
                  <a:cubicBezTo>
                    <a:pt x="44" y="132"/>
                    <a:pt x="42" y="128"/>
                    <a:pt x="44" y="124"/>
                  </a:cubicBezTo>
                  <a:cubicBezTo>
                    <a:pt x="44" y="124"/>
                    <a:pt x="58" y="90"/>
                    <a:pt x="68" y="62"/>
                  </a:cubicBezTo>
                  <a:cubicBezTo>
                    <a:pt x="75" y="45"/>
                    <a:pt x="87" y="41"/>
                    <a:pt x="96" y="44"/>
                  </a:cubicBezTo>
                  <a:cubicBezTo>
                    <a:pt x="106" y="47"/>
                    <a:pt x="110" y="62"/>
                    <a:pt x="107" y="72"/>
                  </a:cubicBezTo>
                  <a:cubicBezTo>
                    <a:pt x="105" y="81"/>
                    <a:pt x="93" y="111"/>
                    <a:pt x="80" y="141"/>
                  </a:cubicBezTo>
                  <a:cubicBezTo>
                    <a:pt x="78" y="148"/>
                    <a:pt x="75" y="154"/>
                    <a:pt x="74" y="156"/>
                  </a:cubicBezTo>
                  <a:cubicBezTo>
                    <a:pt x="71" y="165"/>
                    <a:pt x="66" y="171"/>
                    <a:pt x="60" y="173"/>
                  </a:cubicBezTo>
                  <a:close/>
                </a:path>
              </a:pathLst>
            </a:custGeom>
            <a:solidFill>
              <a:srgbClr val="0070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28" name="Freeform 9"/>
            <p:cNvSpPr>
              <a:spLocks noEditPoints="1"/>
            </p:cNvSpPr>
            <p:nvPr/>
          </p:nvSpPr>
          <p:spPr bwMode="auto">
            <a:xfrm>
              <a:off x="8451241" y="8122427"/>
              <a:ext cx="1631289" cy="1631289"/>
            </a:xfrm>
            <a:custGeom>
              <a:avLst/>
              <a:gdLst>
                <a:gd name="T0" fmla="*/ 122 w 243"/>
                <a:gd name="T1" fmla="*/ 0 h 243"/>
                <a:gd name="T2" fmla="*/ 0 w 243"/>
                <a:gd name="T3" fmla="*/ 121 h 243"/>
                <a:gd name="T4" fmla="*/ 122 w 243"/>
                <a:gd name="T5" fmla="*/ 243 h 243"/>
                <a:gd name="T6" fmla="*/ 243 w 243"/>
                <a:gd name="T7" fmla="*/ 121 h 243"/>
                <a:gd name="T8" fmla="*/ 122 w 243"/>
                <a:gd name="T9" fmla="*/ 0 h 243"/>
                <a:gd name="T10" fmla="*/ 154 w 243"/>
                <a:gd name="T11" fmla="*/ 121 h 243"/>
                <a:gd name="T12" fmla="*/ 133 w 243"/>
                <a:gd name="T13" fmla="*/ 121 h 243"/>
                <a:gd name="T14" fmla="*/ 133 w 243"/>
                <a:gd name="T15" fmla="*/ 196 h 243"/>
                <a:gd name="T16" fmla="*/ 102 w 243"/>
                <a:gd name="T17" fmla="*/ 196 h 243"/>
                <a:gd name="T18" fmla="*/ 102 w 243"/>
                <a:gd name="T19" fmla="*/ 121 h 243"/>
                <a:gd name="T20" fmla="*/ 87 w 243"/>
                <a:gd name="T21" fmla="*/ 121 h 243"/>
                <a:gd name="T22" fmla="*/ 87 w 243"/>
                <a:gd name="T23" fmla="*/ 94 h 243"/>
                <a:gd name="T24" fmla="*/ 102 w 243"/>
                <a:gd name="T25" fmla="*/ 94 h 243"/>
                <a:gd name="T26" fmla="*/ 102 w 243"/>
                <a:gd name="T27" fmla="*/ 77 h 243"/>
                <a:gd name="T28" fmla="*/ 133 w 243"/>
                <a:gd name="T29" fmla="*/ 46 h 243"/>
                <a:gd name="T30" fmla="*/ 156 w 243"/>
                <a:gd name="T31" fmla="*/ 46 h 243"/>
                <a:gd name="T32" fmla="*/ 156 w 243"/>
                <a:gd name="T33" fmla="*/ 72 h 243"/>
                <a:gd name="T34" fmla="*/ 140 w 243"/>
                <a:gd name="T35" fmla="*/ 72 h 243"/>
                <a:gd name="T36" fmla="*/ 133 w 243"/>
                <a:gd name="T37" fmla="*/ 79 h 243"/>
                <a:gd name="T38" fmla="*/ 133 w 243"/>
                <a:gd name="T39" fmla="*/ 94 h 243"/>
                <a:gd name="T40" fmla="*/ 157 w 243"/>
                <a:gd name="T41" fmla="*/ 94 h 243"/>
                <a:gd name="T42" fmla="*/ 154 w 243"/>
                <a:gd name="T43" fmla="*/ 121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43">
                  <a:moveTo>
                    <a:pt x="122" y="0"/>
                  </a:moveTo>
                  <a:cubicBezTo>
                    <a:pt x="55" y="0"/>
                    <a:pt x="0" y="54"/>
                    <a:pt x="0" y="121"/>
                  </a:cubicBezTo>
                  <a:cubicBezTo>
                    <a:pt x="0" y="188"/>
                    <a:pt x="55" y="243"/>
                    <a:pt x="122" y="243"/>
                  </a:cubicBezTo>
                  <a:cubicBezTo>
                    <a:pt x="189" y="243"/>
                    <a:pt x="243" y="188"/>
                    <a:pt x="243" y="121"/>
                  </a:cubicBezTo>
                  <a:cubicBezTo>
                    <a:pt x="243" y="54"/>
                    <a:pt x="189" y="0"/>
                    <a:pt x="122" y="0"/>
                  </a:cubicBezTo>
                  <a:close/>
                  <a:moveTo>
                    <a:pt x="154" y="121"/>
                  </a:moveTo>
                  <a:cubicBezTo>
                    <a:pt x="133" y="121"/>
                    <a:pt x="133" y="121"/>
                    <a:pt x="133" y="121"/>
                  </a:cubicBezTo>
                  <a:cubicBezTo>
                    <a:pt x="133" y="154"/>
                    <a:pt x="133" y="196"/>
                    <a:pt x="133" y="196"/>
                  </a:cubicBezTo>
                  <a:cubicBezTo>
                    <a:pt x="102" y="196"/>
                    <a:pt x="102" y="196"/>
                    <a:pt x="102" y="196"/>
                  </a:cubicBezTo>
                  <a:cubicBezTo>
                    <a:pt x="102" y="196"/>
                    <a:pt x="102" y="155"/>
                    <a:pt x="102" y="121"/>
                  </a:cubicBezTo>
                  <a:cubicBezTo>
                    <a:pt x="87" y="121"/>
                    <a:pt x="87" y="121"/>
                    <a:pt x="87" y="121"/>
                  </a:cubicBezTo>
                  <a:cubicBezTo>
                    <a:pt x="87" y="94"/>
                    <a:pt x="87" y="94"/>
                    <a:pt x="87" y="94"/>
                  </a:cubicBezTo>
                  <a:cubicBezTo>
                    <a:pt x="102" y="94"/>
                    <a:pt x="102" y="94"/>
                    <a:pt x="102" y="94"/>
                  </a:cubicBezTo>
                  <a:cubicBezTo>
                    <a:pt x="102" y="77"/>
                    <a:pt x="102" y="77"/>
                    <a:pt x="102" y="77"/>
                  </a:cubicBezTo>
                  <a:cubicBezTo>
                    <a:pt x="102" y="65"/>
                    <a:pt x="108" y="46"/>
                    <a:pt x="133" y="46"/>
                  </a:cubicBezTo>
                  <a:cubicBezTo>
                    <a:pt x="156" y="46"/>
                    <a:pt x="156" y="46"/>
                    <a:pt x="156" y="46"/>
                  </a:cubicBezTo>
                  <a:cubicBezTo>
                    <a:pt x="156" y="72"/>
                    <a:pt x="156" y="72"/>
                    <a:pt x="156" y="72"/>
                  </a:cubicBezTo>
                  <a:cubicBezTo>
                    <a:pt x="156" y="72"/>
                    <a:pt x="142" y="72"/>
                    <a:pt x="140" y="72"/>
                  </a:cubicBezTo>
                  <a:cubicBezTo>
                    <a:pt x="137" y="72"/>
                    <a:pt x="133" y="73"/>
                    <a:pt x="133" y="79"/>
                  </a:cubicBezTo>
                  <a:cubicBezTo>
                    <a:pt x="133" y="94"/>
                    <a:pt x="133" y="94"/>
                    <a:pt x="133" y="94"/>
                  </a:cubicBezTo>
                  <a:cubicBezTo>
                    <a:pt x="157" y="94"/>
                    <a:pt x="157" y="94"/>
                    <a:pt x="157" y="94"/>
                  </a:cubicBezTo>
                  <a:lnTo>
                    <a:pt x="154" y="121"/>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29" name="Freeform 36"/>
            <p:cNvSpPr>
              <a:spLocks/>
            </p:cNvSpPr>
            <p:nvPr/>
          </p:nvSpPr>
          <p:spPr bwMode="auto">
            <a:xfrm>
              <a:off x="13700953" y="7002811"/>
              <a:ext cx="945234" cy="1255229"/>
            </a:xfrm>
            <a:custGeom>
              <a:avLst/>
              <a:gdLst>
                <a:gd name="T0" fmla="*/ 3 w 141"/>
                <a:gd name="T1" fmla="*/ 157 h 187"/>
                <a:gd name="T2" fmla="*/ 3 w 141"/>
                <a:gd name="T3" fmla="*/ 155 h 187"/>
                <a:gd name="T4" fmla="*/ 36 w 141"/>
                <a:gd name="T5" fmla="*/ 131 h 187"/>
                <a:gd name="T6" fmla="*/ 38 w 141"/>
                <a:gd name="T7" fmla="*/ 130 h 187"/>
                <a:gd name="T8" fmla="*/ 60 w 141"/>
                <a:gd name="T9" fmla="*/ 139 h 187"/>
                <a:gd name="T10" fmla="*/ 87 w 141"/>
                <a:gd name="T11" fmla="*/ 105 h 187"/>
                <a:gd name="T12" fmla="*/ 99 w 141"/>
                <a:gd name="T13" fmla="*/ 65 h 187"/>
                <a:gd name="T14" fmla="*/ 79 w 141"/>
                <a:gd name="T15" fmla="*/ 50 h 187"/>
                <a:gd name="T16" fmla="*/ 80 w 141"/>
                <a:gd name="T17" fmla="*/ 10 h 187"/>
                <a:gd name="T18" fmla="*/ 82 w 141"/>
                <a:gd name="T19" fmla="*/ 8 h 187"/>
                <a:gd name="T20" fmla="*/ 96 w 141"/>
                <a:gd name="T21" fmla="*/ 0 h 187"/>
                <a:gd name="T22" fmla="*/ 100 w 141"/>
                <a:gd name="T23" fmla="*/ 1 h 187"/>
                <a:gd name="T24" fmla="*/ 123 w 141"/>
                <a:gd name="T25" fmla="*/ 15 h 187"/>
                <a:gd name="T26" fmla="*/ 113 w 141"/>
                <a:gd name="T27" fmla="*/ 123 h 187"/>
                <a:gd name="T28" fmla="*/ 32 w 141"/>
                <a:gd name="T29" fmla="*/ 187 h 187"/>
                <a:gd name="T30" fmla="*/ 32 w 141"/>
                <a:gd name="T31" fmla="*/ 187 h 187"/>
                <a:gd name="T32" fmla="*/ 31 w 141"/>
                <a:gd name="T33" fmla="*/ 187 h 187"/>
                <a:gd name="T34" fmla="*/ 7 w 141"/>
                <a:gd name="T35" fmla="*/ 176 h 187"/>
                <a:gd name="T36" fmla="*/ 3 w 141"/>
                <a:gd name="T37" fmla="*/ 15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1" h="187">
                  <a:moveTo>
                    <a:pt x="3" y="157"/>
                  </a:moveTo>
                  <a:cubicBezTo>
                    <a:pt x="3" y="155"/>
                    <a:pt x="3" y="155"/>
                    <a:pt x="3" y="155"/>
                  </a:cubicBezTo>
                  <a:cubicBezTo>
                    <a:pt x="4" y="148"/>
                    <a:pt x="33" y="131"/>
                    <a:pt x="36" y="131"/>
                  </a:cubicBezTo>
                  <a:cubicBezTo>
                    <a:pt x="38" y="130"/>
                    <a:pt x="38" y="130"/>
                    <a:pt x="38" y="130"/>
                  </a:cubicBezTo>
                  <a:cubicBezTo>
                    <a:pt x="42" y="130"/>
                    <a:pt x="48" y="133"/>
                    <a:pt x="60" y="139"/>
                  </a:cubicBezTo>
                  <a:cubicBezTo>
                    <a:pt x="70" y="132"/>
                    <a:pt x="82" y="114"/>
                    <a:pt x="87" y="105"/>
                  </a:cubicBezTo>
                  <a:cubicBezTo>
                    <a:pt x="92" y="94"/>
                    <a:pt x="99" y="77"/>
                    <a:pt x="99" y="65"/>
                  </a:cubicBezTo>
                  <a:cubicBezTo>
                    <a:pt x="86" y="58"/>
                    <a:pt x="80" y="55"/>
                    <a:pt x="79" y="50"/>
                  </a:cubicBezTo>
                  <a:cubicBezTo>
                    <a:pt x="78" y="48"/>
                    <a:pt x="76" y="14"/>
                    <a:pt x="80" y="10"/>
                  </a:cubicBezTo>
                  <a:cubicBezTo>
                    <a:pt x="82" y="8"/>
                    <a:pt x="82" y="8"/>
                    <a:pt x="82" y="8"/>
                  </a:cubicBezTo>
                  <a:cubicBezTo>
                    <a:pt x="85" y="5"/>
                    <a:pt x="89" y="0"/>
                    <a:pt x="96" y="0"/>
                  </a:cubicBezTo>
                  <a:cubicBezTo>
                    <a:pt x="97" y="0"/>
                    <a:pt x="99" y="0"/>
                    <a:pt x="100" y="1"/>
                  </a:cubicBezTo>
                  <a:cubicBezTo>
                    <a:pt x="105" y="2"/>
                    <a:pt x="117" y="7"/>
                    <a:pt x="123" y="15"/>
                  </a:cubicBezTo>
                  <a:cubicBezTo>
                    <a:pt x="127" y="20"/>
                    <a:pt x="141" y="70"/>
                    <a:pt x="113" y="123"/>
                  </a:cubicBezTo>
                  <a:cubicBezTo>
                    <a:pt x="85" y="174"/>
                    <a:pt x="39" y="187"/>
                    <a:pt x="32" y="187"/>
                  </a:cubicBezTo>
                  <a:cubicBezTo>
                    <a:pt x="32" y="187"/>
                    <a:pt x="32" y="187"/>
                    <a:pt x="32" y="187"/>
                  </a:cubicBezTo>
                  <a:cubicBezTo>
                    <a:pt x="31" y="187"/>
                    <a:pt x="31" y="187"/>
                    <a:pt x="31" y="187"/>
                  </a:cubicBezTo>
                  <a:cubicBezTo>
                    <a:pt x="21" y="186"/>
                    <a:pt x="11" y="179"/>
                    <a:pt x="7" y="176"/>
                  </a:cubicBezTo>
                  <a:cubicBezTo>
                    <a:pt x="0" y="171"/>
                    <a:pt x="2" y="162"/>
                    <a:pt x="3" y="157"/>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30" name="Freeform 38"/>
            <p:cNvSpPr>
              <a:spLocks noEditPoints="1"/>
            </p:cNvSpPr>
            <p:nvPr/>
          </p:nvSpPr>
          <p:spPr bwMode="auto">
            <a:xfrm>
              <a:off x="10794109" y="7874357"/>
              <a:ext cx="1308588" cy="1328914"/>
            </a:xfrm>
            <a:custGeom>
              <a:avLst/>
              <a:gdLst>
                <a:gd name="T0" fmla="*/ 190 w 195"/>
                <a:gd name="T1" fmla="*/ 120 h 198"/>
                <a:gd name="T2" fmla="*/ 192 w 195"/>
                <a:gd name="T3" fmla="*/ 100 h 198"/>
                <a:gd name="T4" fmla="*/ 99 w 195"/>
                <a:gd name="T5" fmla="*/ 7 h 198"/>
                <a:gd name="T6" fmla="*/ 83 w 195"/>
                <a:gd name="T7" fmla="*/ 8 h 198"/>
                <a:gd name="T8" fmla="*/ 54 w 195"/>
                <a:gd name="T9" fmla="*/ 0 h 198"/>
                <a:gd name="T10" fmla="*/ 0 w 195"/>
                <a:gd name="T11" fmla="*/ 54 h 198"/>
                <a:gd name="T12" fmla="*/ 7 w 195"/>
                <a:gd name="T13" fmla="*/ 81 h 198"/>
                <a:gd name="T14" fmla="*/ 5 w 195"/>
                <a:gd name="T15" fmla="*/ 100 h 198"/>
                <a:gd name="T16" fmla="*/ 99 w 195"/>
                <a:gd name="T17" fmla="*/ 193 h 198"/>
                <a:gd name="T18" fmla="*/ 116 w 195"/>
                <a:gd name="T19" fmla="*/ 192 h 198"/>
                <a:gd name="T20" fmla="*/ 141 w 195"/>
                <a:gd name="T21" fmla="*/ 198 h 198"/>
                <a:gd name="T22" fmla="*/ 195 w 195"/>
                <a:gd name="T23" fmla="*/ 144 h 198"/>
                <a:gd name="T24" fmla="*/ 190 w 195"/>
                <a:gd name="T25" fmla="*/ 120 h 198"/>
                <a:gd name="T26" fmla="*/ 146 w 195"/>
                <a:gd name="T27" fmla="*/ 145 h 198"/>
                <a:gd name="T28" fmla="*/ 127 w 195"/>
                <a:gd name="T29" fmla="*/ 159 h 198"/>
                <a:gd name="T30" fmla="*/ 98 w 195"/>
                <a:gd name="T31" fmla="*/ 164 h 198"/>
                <a:gd name="T32" fmla="*/ 65 w 195"/>
                <a:gd name="T33" fmla="*/ 157 h 198"/>
                <a:gd name="T34" fmla="*/ 49 w 195"/>
                <a:gd name="T35" fmla="*/ 144 h 198"/>
                <a:gd name="T36" fmla="*/ 44 w 195"/>
                <a:gd name="T37" fmla="*/ 127 h 198"/>
                <a:gd name="T38" fmla="*/ 47 w 195"/>
                <a:gd name="T39" fmla="*/ 118 h 198"/>
                <a:gd name="T40" fmla="*/ 57 w 195"/>
                <a:gd name="T41" fmla="*/ 114 h 198"/>
                <a:gd name="T42" fmla="*/ 65 w 195"/>
                <a:gd name="T43" fmla="*/ 117 h 198"/>
                <a:gd name="T44" fmla="*/ 71 w 195"/>
                <a:gd name="T45" fmla="*/ 125 h 198"/>
                <a:gd name="T46" fmla="*/ 76 w 195"/>
                <a:gd name="T47" fmla="*/ 135 h 198"/>
                <a:gd name="T48" fmla="*/ 84 w 195"/>
                <a:gd name="T49" fmla="*/ 141 h 198"/>
                <a:gd name="T50" fmla="*/ 98 w 195"/>
                <a:gd name="T51" fmla="*/ 143 h 198"/>
                <a:gd name="T52" fmla="*/ 116 w 195"/>
                <a:gd name="T53" fmla="*/ 138 h 198"/>
                <a:gd name="T54" fmla="*/ 123 w 195"/>
                <a:gd name="T55" fmla="*/ 127 h 198"/>
                <a:gd name="T56" fmla="*/ 120 w 195"/>
                <a:gd name="T57" fmla="*/ 118 h 198"/>
                <a:gd name="T58" fmla="*/ 110 w 195"/>
                <a:gd name="T59" fmla="*/ 112 h 198"/>
                <a:gd name="T60" fmla="*/ 93 w 195"/>
                <a:gd name="T61" fmla="*/ 108 h 198"/>
                <a:gd name="T62" fmla="*/ 68 w 195"/>
                <a:gd name="T63" fmla="*/ 101 h 198"/>
                <a:gd name="T64" fmla="*/ 52 w 195"/>
                <a:gd name="T65" fmla="*/ 89 h 198"/>
                <a:gd name="T66" fmla="*/ 46 w 195"/>
                <a:gd name="T67" fmla="*/ 70 h 198"/>
                <a:gd name="T68" fmla="*/ 52 w 195"/>
                <a:gd name="T69" fmla="*/ 51 h 198"/>
                <a:gd name="T70" fmla="*/ 71 w 195"/>
                <a:gd name="T71" fmla="*/ 39 h 198"/>
                <a:gd name="T72" fmla="*/ 98 w 195"/>
                <a:gd name="T73" fmla="*/ 35 h 198"/>
                <a:gd name="T74" fmla="*/ 120 w 195"/>
                <a:gd name="T75" fmla="*/ 37 h 198"/>
                <a:gd name="T76" fmla="*/ 135 w 195"/>
                <a:gd name="T77" fmla="*/ 45 h 198"/>
                <a:gd name="T78" fmla="*/ 144 w 195"/>
                <a:gd name="T79" fmla="*/ 55 h 198"/>
                <a:gd name="T80" fmla="*/ 147 w 195"/>
                <a:gd name="T81" fmla="*/ 66 h 198"/>
                <a:gd name="T82" fmla="*/ 143 w 195"/>
                <a:gd name="T83" fmla="*/ 75 h 198"/>
                <a:gd name="T84" fmla="*/ 134 w 195"/>
                <a:gd name="T85" fmla="*/ 79 h 198"/>
                <a:gd name="T86" fmla="*/ 126 w 195"/>
                <a:gd name="T87" fmla="*/ 76 h 198"/>
                <a:gd name="T88" fmla="*/ 120 w 195"/>
                <a:gd name="T89" fmla="*/ 69 h 198"/>
                <a:gd name="T90" fmla="*/ 112 w 195"/>
                <a:gd name="T91" fmla="*/ 59 h 198"/>
                <a:gd name="T92" fmla="*/ 96 w 195"/>
                <a:gd name="T93" fmla="*/ 55 h 198"/>
                <a:gd name="T94" fmla="*/ 80 w 195"/>
                <a:gd name="T95" fmla="*/ 59 h 198"/>
                <a:gd name="T96" fmla="*/ 74 w 195"/>
                <a:gd name="T97" fmla="*/ 68 h 198"/>
                <a:gd name="T98" fmla="*/ 76 w 195"/>
                <a:gd name="T99" fmla="*/ 73 h 198"/>
                <a:gd name="T100" fmla="*/ 82 w 195"/>
                <a:gd name="T101" fmla="*/ 78 h 198"/>
                <a:gd name="T102" fmla="*/ 89 w 195"/>
                <a:gd name="T103" fmla="*/ 81 h 198"/>
                <a:gd name="T104" fmla="*/ 102 w 195"/>
                <a:gd name="T105" fmla="*/ 84 h 198"/>
                <a:gd name="T106" fmla="*/ 123 w 195"/>
                <a:gd name="T107" fmla="*/ 89 h 198"/>
                <a:gd name="T108" fmla="*/ 139 w 195"/>
                <a:gd name="T109" fmla="*/ 96 h 198"/>
                <a:gd name="T110" fmla="*/ 149 w 195"/>
                <a:gd name="T111" fmla="*/ 108 h 198"/>
                <a:gd name="T112" fmla="*/ 153 w 195"/>
                <a:gd name="T113" fmla="*/ 124 h 198"/>
                <a:gd name="T114" fmla="*/ 146 w 195"/>
                <a:gd name="T115" fmla="*/ 14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5" h="198">
                  <a:moveTo>
                    <a:pt x="190" y="120"/>
                  </a:moveTo>
                  <a:cubicBezTo>
                    <a:pt x="191" y="114"/>
                    <a:pt x="192" y="107"/>
                    <a:pt x="192" y="100"/>
                  </a:cubicBezTo>
                  <a:cubicBezTo>
                    <a:pt x="192" y="49"/>
                    <a:pt x="150" y="7"/>
                    <a:pt x="99" y="7"/>
                  </a:cubicBezTo>
                  <a:cubicBezTo>
                    <a:pt x="93" y="7"/>
                    <a:pt x="88" y="7"/>
                    <a:pt x="83" y="8"/>
                  </a:cubicBezTo>
                  <a:cubicBezTo>
                    <a:pt x="74" y="3"/>
                    <a:pt x="64" y="0"/>
                    <a:pt x="54" y="0"/>
                  </a:cubicBezTo>
                  <a:cubicBezTo>
                    <a:pt x="24" y="0"/>
                    <a:pt x="0" y="24"/>
                    <a:pt x="0" y="54"/>
                  </a:cubicBezTo>
                  <a:cubicBezTo>
                    <a:pt x="0" y="64"/>
                    <a:pt x="2" y="73"/>
                    <a:pt x="7" y="81"/>
                  </a:cubicBezTo>
                  <a:cubicBezTo>
                    <a:pt x="6" y="87"/>
                    <a:pt x="5" y="94"/>
                    <a:pt x="5" y="100"/>
                  </a:cubicBezTo>
                  <a:cubicBezTo>
                    <a:pt x="5" y="152"/>
                    <a:pt x="47" y="193"/>
                    <a:pt x="99" y="193"/>
                  </a:cubicBezTo>
                  <a:cubicBezTo>
                    <a:pt x="104" y="193"/>
                    <a:pt x="110" y="193"/>
                    <a:pt x="116" y="192"/>
                  </a:cubicBezTo>
                  <a:cubicBezTo>
                    <a:pt x="123" y="196"/>
                    <a:pt x="132" y="198"/>
                    <a:pt x="141" y="198"/>
                  </a:cubicBezTo>
                  <a:cubicBezTo>
                    <a:pt x="171" y="198"/>
                    <a:pt x="195" y="174"/>
                    <a:pt x="195" y="144"/>
                  </a:cubicBezTo>
                  <a:cubicBezTo>
                    <a:pt x="195" y="136"/>
                    <a:pt x="193" y="127"/>
                    <a:pt x="190" y="120"/>
                  </a:cubicBezTo>
                  <a:close/>
                  <a:moveTo>
                    <a:pt x="146" y="145"/>
                  </a:moveTo>
                  <a:cubicBezTo>
                    <a:pt x="142" y="151"/>
                    <a:pt x="136" y="156"/>
                    <a:pt x="127" y="159"/>
                  </a:cubicBezTo>
                  <a:cubicBezTo>
                    <a:pt x="119" y="163"/>
                    <a:pt x="109" y="164"/>
                    <a:pt x="98" y="164"/>
                  </a:cubicBezTo>
                  <a:cubicBezTo>
                    <a:pt x="85" y="164"/>
                    <a:pt x="74" y="162"/>
                    <a:pt x="65" y="157"/>
                  </a:cubicBezTo>
                  <a:cubicBezTo>
                    <a:pt x="59" y="154"/>
                    <a:pt x="53" y="149"/>
                    <a:pt x="49" y="144"/>
                  </a:cubicBezTo>
                  <a:cubicBezTo>
                    <a:pt x="46" y="138"/>
                    <a:pt x="44" y="132"/>
                    <a:pt x="44" y="127"/>
                  </a:cubicBezTo>
                  <a:cubicBezTo>
                    <a:pt x="44" y="123"/>
                    <a:pt x="45" y="120"/>
                    <a:pt x="47" y="118"/>
                  </a:cubicBezTo>
                  <a:cubicBezTo>
                    <a:pt x="50" y="116"/>
                    <a:pt x="53" y="114"/>
                    <a:pt x="57" y="114"/>
                  </a:cubicBezTo>
                  <a:cubicBezTo>
                    <a:pt x="60" y="114"/>
                    <a:pt x="63" y="115"/>
                    <a:pt x="65" y="117"/>
                  </a:cubicBezTo>
                  <a:cubicBezTo>
                    <a:pt x="68" y="119"/>
                    <a:pt x="69" y="122"/>
                    <a:pt x="71" y="125"/>
                  </a:cubicBezTo>
                  <a:cubicBezTo>
                    <a:pt x="72" y="129"/>
                    <a:pt x="74" y="132"/>
                    <a:pt x="76" y="135"/>
                  </a:cubicBezTo>
                  <a:cubicBezTo>
                    <a:pt x="78" y="137"/>
                    <a:pt x="81" y="139"/>
                    <a:pt x="84" y="141"/>
                  </a:cubicBezTo>
                  <a:cubicBezTo>
                    <a:pt x="87" y="142"/>
                    <a:pt x="92" y="143"/>
                    <a:pt x="98" y="143"/>
                  </a:cubicBezTo>
                  <a:cubicBezTo>
                    <a:pt x="105" y="143"/>
                    <a:pt x="112" y="142"/>
                    <a:pt x="116" y="138"/>
                  </a:cubicBezTo>
                  <a:cubicBezTo>
                    <a:pt x="121" y="135"/>
                    <a:pt x="123" y="131"/>
                    <a:pt x="123" y="127"/>
                  </a:cubicBezTo>
                  <a:cubicBezTo>
                    <a:pt x="123" y="123"/>
                    <a:pt x="122" y="120"/>
                    <a:pt x="120" y="118"/>
                  </a:cubicBezTo>
                  <a:cubicBezTo>
                    <a:pt x="117" y="115"/>
                    <a:pt x="114" y="114"/>
                    <a:pt x="110" y="112"/>
                  </a:cubicBezTo>
                  <a:cubicBezTo>
                    <a:pt x="105" y="111"/>
                    <a:pt x="100" y="110"/>
                    <a:pt x="93" y="108"/>
                  </a:cubicBezTo>
                  <a:cubicBezTo>
                    <a:pt x="83" y="106"/>
                    <a:pt x="75" y="104"/>
                    <a:pt x="68" y="101"/>
                  </a:cubicBezTo>
                  <a:cubicBezTo>
                    <a:pt x="61" y="98"/>
                    <a:pt x="56" y="94"/>
                    <a:pt x="52" y="89"/>
                  </a:cubicBezTo>
                  <a:cubicBezTo>
                    <a:pt x="48" y="84"/>
                    <a:pt x="46" y="78"/>
                    <a:pt x="46" y="70"/>
                  </a:cubicBezTo>
                  <a:cubicBezTo>
                    <a:pt x="46" y="63"/>
                    <a:pt x="48" y="57"/>
                    <a:pt x="52" y="51"/>
                  </a:cubicBezTo>
                  <a:cubicBezTo>
                    <a:pt x="57" y="46"/>
                    <a:pt x="63" y="42"/>
                    <a:pt x="71" y="39"/>
                  </a:cubicBezTo>
                  <a:cubicBezTo>
                    <a:pt x="78" y="36"/>
                    <a:pt x="87" y="35"/>
                    <a:pt x="98" y="35"/>
                  </a:cubicBezTo>
                  <a:cubicBezTo>
                    <a:pt x="106" y="35"/>
                    <a:pt x="114" y="35"/>
                    <a:pt x="120" y="37"/>
                  </a:cubicBezTo>
                  <a:cubicBezTo>
                    <a:pt x="126" y="39"/>
                    <a:pt x="131" y="42"/>
                    <a:pt x="135" y="45"/>
                  </a:cubicBezTo>
                  <a:cubicBezTo>
                    <a:pt x="139" y="48"/>
                    <a:pt x="142" y="52"/>
                    <a:pt x="144" y="55"/>
                  </a:cubicBezTo>
                  <a:cubicBezTo>
                    <a:pt x="146" y="59"/>
                    <a:pt x="147" y="62"/>
                    <a:pt x="147" y="66"/>
                  </a:cubicBezTo>
                  <a:cubicBezTo>
                    <a:pt x="147" y="69"/>
                    <a:pt x="146" y="72"/>
                    <a:pt x="143" y="75"/>
                  </a:cubicBezTo>
                  <a:cubicBezTo>
                    <a:pt x="141" y="78"/>
                    <a:pt x="137" y="79"/>
                    <a:pt x="134" y="79"/>
                  </a:cubicBezTo>
                  <a:cubicBezTo>
                    <a:pt x="130" y="79"/>
                    <a:pt x="128" y="78"/>
                    <a:pt x="126" y="76"/>
                  </a:cubicBezTo>
                  <a:cubicBezTo>
                    <a:pt x="124" y="75"/>
                    <a:pt x="122" y="72"/>
                    <a:pt x="120" y="69"/>
                  </a:cubicBezTo>
                  <a:cubicBezTo>
                    <a:pt x="118" y="65"/>
                    <a:pt x="115" y="61"/>
                    <a:pt x="112" y="59"/>
                  </a:cubicBezTo>
                  <a:cubicBezTo>
                    <a:pt x="109" y="56"/>
                    <a:pt x="103" y="55"/>
                    <a:pt x="96" y="55"/>
                  </a:cubicBezTo>
                  <a:cubicBezTo>
                    <a:pt x="89" y="55"/>
                    <a:pt x="84" y="56"/>
                    <a:pt x="80" y="59"/>
                  </a:cubicBezTo>
                  <a:cubicBezTo>
                    <a:pt x="76" y="62"/>
                    <a:pt x="74" y="65"/>
                    <a:pt x="74" y="68"/>
                  </a:cubicBezTo>
                  <a:cubicBezTo>
                    <a:pt x="74" y="70"/>
                    <a:pt x="75" y="72"/>
                    <a:pt x="76" y="73"/>
                  </a:cubicBezTo>
                  <a:cubicBezTo>
                    <a:pt x="77" y="75"/>
                    <a:pt x="79" y="76"/>
                    <a:pt x="82" y="78"/>
                  </a:cubicBezTo>
                  <a:cubicBezTo>
                    <a:pt x="84" y="79"/>
                    <a:pt x="87" y="80"/>
                    <a:pt x="89" y="81"/>
                  </a:cubicBezTo>
                  <a:cubicBezTo>
                    <a:pt x="92" y="81"/>
                    <a:pt x="96" y="82"/>
                    <a:pt x="102" y="84"/>
                  </a:cubicBezTo>
                  <a:cubicBezTo>
                    <a:pt x="110" y="85"/>
                    <a:pt x="117" y="87"/>
                    <a:pt x="123" y="89"/>
                  </a:cubicBezTo>
                  <a:cubicBezTo>
                    <a:pt x="129" y="91"/>
                    <a:pt x="134" y="94"/>
                    <a:pt x="139" y="96"/>
                  </a:cubicBezTo>
                  <a:cubicBezTo>
                    <a:pt x="143" y="99"/>
                    <a:pt x="147" y="103"/>
                    <a:pt x="149" y="108"/>
                  </a:cubicBezTo>
                  <a:cubicBezTo>
                    <a:pt x="152" y="112"/>
                    <a:pt x="153" y="118"/>
                    <a:pt x="153" y="124"/>
                  </a:cubicBezTo>
                  <a:cubicBezTo>
                    <a:pt x="153" y="132"/>
                    <a:pt x="151" y="139"/>
                    <a:pt x="146" y="145"/>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31" name="Freeform 44"/>
            <p:cNvSpPr>
              <a:spLocks noEditPoints="1"/>
            </p:cNvSpPr>
            <p:nvPr/>
          </p:nvSpPr>
          <p:spPr bwMode="auto">
            <a:xfrm>
              <a:off x="8819792" y="6029630"/>
              <a:ext cx="1295883" cy="1300965"/>
            </a:xfrm>
            <a:custGeom>
              <a:avLst/>
              <a:gdLst>
                <a:gd name="T0" fmla="*/ 192 w 193"/>
                <a:gd name="T1" fmla="*/ 81 h 194"/>
                <a:gd name="T2" fmla="*/ 191 w 193"/>
                <a:gd name="T3" fmla="*/ 77 h 194"/>
                <a:gd name="T4" fmla="*/ 188 w 193"/>
                <a:gd name="T5" fmla="*/ 75 h 194"/>
                <a:gd name="T6" fmla="*/ 162 w 193"/>
                <a:gd name="T7" fmla="*/ 71 h 194"/>
                <a:gd name="T8" fmla="*/ 157 w 193"/>
                <a:gd name="T9" fmla="*/ 54 h 194"/>
                <a:gd name="T10" fmla="*/ 151 w 193"/>
                <a:gd name="T11" fmla="*/ 34 h 194"/>
                <a:gd name="T12" fmla="*/ 104 w 193"/>
                <a:gd name="T13" fmla="*/ 0 h 194"/>
                <a:gd name="T14" fmla="*/ 61 w 193"/>
                <a:gd name="T15" fmla="*/ 0 h 194"/>
                <a:gd name="T16" fmla="*/ 0 w 193"/>
                <a:gd name="T17" fmla="*/ 61 h 194"/>
                <a:gd name="T18" fmla="*/ 0 w 193"/>
                <a:gd name="T19" fmla="*/ 133 h 194"/>
                <a:gd name="T20" fmla="*/ 61 w 193"/>
                <a:gd name="T21" fmla="*/ 194 h 194"/>
                <a:gd name="T22" fmla="*/ 131 w 193"/>
                <a:gd name="T23" fmla="*/ 194 h 194"/>
                <a:gd name="T24" fmla="*/ 192 w 193"/>
                <a:gd name="T25" fmla="*/ 133 h 194"/>
                <a:gd name="T26" fmla="*/ 193 w 193"/>
                <a:gd name="T27" fmla="*/ 83 h 194"/>
                <a:gd name="T28" fmla="*/ 192 w 193"/>
                <a:gd name="T29" fmla="*/ 81 h 194"/>
                <a:gd name="T30" fmla="*/ 62 w 193"/>
                <a:gd name="T31" fmla="*/ 50 h 194"/>
                <a:gd name="T32" fmla="*/ 96 w 193"/>
                <a:gd name="T33" fmla="*/ 50 h 194"/>
                <a:gd name="T34" fmla="*/ 108 w 193"/>
                <a:gd name="T35" fmla="*/ 62 h 194"/>
                <a:gd name="T36" fmla="*/ 96 w 193"/>
                <a:gd name="T37" fmla="*/ 73 h 194"/>
                <a:gd name="T38" fmla="*/ 62 w 193"/>
                <a:gd name="T39" fmla="*/ 73 h 194"/>
                <a:gd name="T40" fmla="*/ 50 w 193"/>
                <a:gd name="T41" fmla="*/ 62 h 194"/>
                <a:gd name="T42" fmla="*/ 62 w 193"/>
                <a:gd name="T43" fmla="*/ 50 h 194"/>
                <a:gd name="T44" fmla="*/ 131 w 193"/>
                <a:gd name="T45" fmla="*/ 143 h 194"/>
                <a:gd name="T46" fmla="*/ 62 w 193"/>
                <a:gd name="T47" fmla="*/ 143 h 194"/>
                <a:gd name="T48" fmla="*/ 50 w 193"/>
                <a:gd name="T49" fmla="*/ 132 h 194"/>
                <a:gd name="T50" fmla="*/ 62 w 193"/>
                <a:gd name="T51" fmla="*/ 120 h 194"/>
                <a:gd name="T52" fmla="*/ 131 w 193"/>
                <a:gd name="T53" fmla="*/ 120 h 194"/>
                <a:gd name="T54" fmla="*/ 142 w 193"/>
                <a:gd name="T55" fmla="*/ 132 h 194"/>
                <a:gd name="T56" fmla="*/ 131 w 193"/>
                <a:gd name="T57" fmla="*/ 14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194">
                  <a:moveTo>
                    <a:pt x="192" y="81"/>
                  </a:moveTo>
                  <a:cubicBezTo>
                    <a:pt x="191" y="77"/>
                    <a:pt x="191" y="77"/>
                    <a:pt x="191" y="77"/>
                  </a:cubicBezTo>
                  <a:cubicBezTo>
                    <a:pt x="188" y="75"/>
                    <a:pt x="188" y="75"/>
                    <a:pt x="188" y="75"/>
                  </a:cubicBezTo>
                  <a:cubicBezTo>
                    <a:pt x="184" y="72"/>
                    <a:pt x="166" y="75"/>
                    <a:pt x="162" y="71"/>
                  </a:cubicBezTo>
                  <a:cubicBezTo>
                    <a:pt x="158" y="68"/>
                    <a:pt x="158" y="62"/>
                    <a:pt x="157" y="54"/>
                  </a:cubicBezTo>
                  <a:cubicBezTo>
                    <a:pt x="155" y="39"/>
                    <a:pt x="153" y="39"/>
                    <a:pt x="151" y="34"/>
                  </a:cubicBezTo>
                  <a:cubicBezTo>
                    <a:pt x="143" y="16"/>
                    <a:pt x="120" y="2"/>
                    <a:pt x="104" y="0"/>
                  </a:cubicBezTo>
                  <a:cubicBezTo>
                    <a:pt x="61" y="0"/>
                    <a:pt x="61" y="0"/>
                    <a:pt x="61" y="0"/>
                  </a:cubicBezTo>
                  <a:cubicBezTo>
                    <a:pt x="28" y="0"/>
                    <a:pt x="0" y="28"/>
                    <a:pt x="0" y="61"/>
                  </a:cubicBezTo>
                  <a:cubicBezTo>
                    <a:pt x="0" y="133"/>
                    <a:pt x="0" y="133"/>
                    <a:pt x="0" y="133"/>
                  </a:cubicBezTo>
                  <a:cubicBezTo>
                    <a:pt x="0" y="166"/>
                    <a:pt x="28" y="194"/>
                    <a:pt x="61" y="194"/>
                  </a:cubicBezTo>
                  <a:cubicBezTo>
                    <a:pt x="131" y="194"/>
                    <a:pt x="131" y="194"/>
                    <a:pt x="131" y="194"/>
                  </a:cubicBezTo>
                  <a:cubicBezTo>
                    <a:pt x="165" y="194"/>
                    <a:pt x="192" y="166"/>
                    <a:pt x="192" y="133"/>
                  </a:cubicBezTo>
                  <a:cubicBezTo>
                    <a:pt x="193" y="83"/>
                    <a:pt x="193" y="83"/>
                    <a:pt x="193" y="83"/>
                  </a:cubicBezTo>
                  <a:lnTo>
                    <a:pt x="192" y="81"/>
                  </a:lnTo>
                  <a:close/>
                  <a:moveTo>
                    <a:pt x="62" y="50"/>
                  </a:moveTo>
                  <a:cubicBezTo>
                    <a:pt x="96" y="50"/>
                    <a:pt x="96" y="50"/>
                    <a:pt x="96" y="50"/>
                  </a:cubicBezTo>
                  <a:cubicBezTo>
                    <a:pt x="102" y="50"/>
                    <a:pt x="108" y="55"/>
                    <a:pt x="108" y="62"/>
                  </a:cubicBezTo>
                  <a:cubicBezTo>
                    <a:pt x="108" y="68"/>
                    <a:pt x="102" y="73"/>
                    <a:pt x="96" y="73"/>
                  </a:cubicBezTo>
                  <a:cubicBezTo>
                    <a:pt x="62" y="73"/>
                    <a:pt x="62" y="73"/>
                    <a:pt x="62" y="73"/>
                  </a:cubicBezTo>
                  <a:cubicBezTo>
                    <a:pt x="56" y="73"/>
                    <a:pt x="50" y="68"/>
                    <a:pt x="50" y="62"/>
                  </a:cubicBezTo>
                  <a:cubicBezTo>
                    <a:pt x="50" y="55"/>
                    <a:pt x="56" y="50"/>
                    <a:pt x="62" y="50"/>
                  </a:cubicBezTo>
                  <a:close/>
                  <a:moveTo>
                    <a:pt x="131" y="143"/>
                  </a:moveTo>
                  <a:cubicBezTo>
                    <a:pt x="62" y="143"/>
                    <a:pt x="62" y="143"/>
                    <a:pt x="62" y="143"/>
                  </a:cubicBezTo>
                  <a:cubicBezTo>
                    <a:pt x="56" y="143"/>
                    <a:pt x="50" y="138"/>
                    <a:pt x="50" y="132"/>
                  </a:cubicBezTo>
                  <a:cubicBezTo>
                    <a:pt x="50" y="125"/>
                    <a:pt x="56" y="120"/>
                    <a:pt x="62" y="120"/>
                  </a:cubicBezTo>
                  <a:cubicBezTo>
                    <a:pt x="131" y="120"/>
                    <a:pt x="131" y="120"/>
                    <a:pt x="131" y="120"/>
                  </a:cubicBezTo>
                  <a:cubicBezTo>
                    <a:pt x="137" y="120"/>
                    <a:pt x="142" y="125"/>
                    <a:pt x="142" y="132"/>
                  </a:cubicBezTo>
                  <a:cubicBezTo>
                    <a:pt x="142" y="138"/>
                    <a:pt x="137" y="143"/>
                    <a:pt x="131" y="143"/>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grpSp>
          <p:nvGrpSpPr>
            <p:cNvPr id="32" name="Group 31"/>
            <p:cNvGrpSpPr/>
            <p:nvPr>
              <p:custDataLst>
                <p:tags r:id="rId5"/>
              </p:custDataLst>
            </p:nvPr>
          </p:nvGrpSpPr>
          <p:grpSpPr>
            <a:xfrm>
              <a:off x="10659439" y="3453108"/>
              <a:ext cx="1565224" cy="1555058"/>
              <a:chOff x="2189163" y="538163"/>
              <a:chExt cx="977900" cy="971549"/>
            </a:xfrm>
            <a:solidFill>
              <a:schemeClr val="accent5"/>
            </a:solidFill>
          </p:grpSpPr>
          <p:sp>
            <p:nvSpPr>
              <p:cNvPr id="33" name="Freeform 50"/>
              <p:cNvSpPr>
                <a:spLocks/>
              </p:cNvSpPr>
              <p:nvPr/>
            </p:nvSpPr>
            <p:spPr bwMode="auto">
              <a:xfrm>
                <a:off x="2189163" y="538163"/>
                <a:ext cx="733425" cy="677862"/>
              </a:xfrm>
              <a:custGeom>
                <a:avLst/>
                <a:gdLst>
                  <a:gd name="T0" fmla="*/ 75 w 175"/>
                  <a:gd name="T1" fmla="*/ 162 h 162"/>
                  <a:gd name="T2" fmla="*/ 87 w 175"/>
                  <a:gd name="T3" fmla="*/ 152 h 162"/>
                  <a:gd name="T4" fmla="*/ 76 w 175"/>
                  <a:gd name="T5" fmla="*/ 142 h 162"/>
                  <a:gd name="T6" fmla="*/ 69 w 175"/>
                  <a:gd name="T7" fmla="*/ 142 h 162"/>
                  <a:gd name="T8" fmla="*/ 37 w 175"/>
                  <a:gd name="T9" fmla="*/ 109 h 162"/>
                  <a:gd name="T10" fmla="*/ 70 w 175"/>
                  <a:gd name="T11" fmla="*/ 78 h 162"/>
                  <a:gd name="T12" fmla="*/ 114 w 175"/>
                  <a:gd name="T13" fmla="*/ 78 h 162"/>
                  <a:gd name="T14" fmla="*/ 146 w 175"/>
                  <a:gd name="T15" fmla="*/ 110 h 162"/>
                  <a:gd name="T16" fmla="*/ 146 w 175"/>
                  <a:gd name="T17" fmla="*/ 151 h 162"/>
                  <a:gd name="T18" fmla="*/ 158 w 175"/>
                  <a:gd name="T19" fmla="*/ 162 h 162"/>
                  <a:gd name="T20" fmla="*/ 163 w 175"/>
                  <a:gd name="T21" fmla="*/ 162 h 162"/>
                  <a:gd name="T22" fmla="*/ 175 w 175"/>
                  <a:gd name="T23" fmla="*/ 151 h 162"/>
                  <a:gd name="T24" fmla="*/ 175 w 175"/>
                  <a:gd name="T25" fmla="*/ 15 h 162"/>
                  <a:gd name="T26" fmla="*/ 117 w 175"/>
                  <a:gd name="T27" fmla="*/ 0 h 162"/>
                  <a:gd name="T28" fmla="*/ 0 w 175"/>
                  <a:gd name="T29" fmla="*/ 116 h 162"/>
                  <a:gd name="T30" fmla="*/ 10 w 175"/>
                  <a:gd name="T31" fmla="*/ 162 h 162"/>
                  <a:gd name="T32" fmla="*/ 75 w 175"/>
                  <a:gd name="T33"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162">
                    <a:moveTo>
                      <a:pt x="75" y="162"/>
                    </a:moveTo>
                    <a:cubicBezTo>
                      <a:pt x="82" y="162"/>
                      <a:pt x="87" y="158"/>
                      <a:pt x="87" y="152"/>
                    </a:cubicBezTo>
                    <a:cubicBezTo>
                      <a:pt x="87" y="147"/>
                      <a:pt x="82" y="143"/>
                      <a:pt x="76" y="142"/>
                    </a:cubicBezTo>
                    <a:cubicBezTo>
                      <a:pt x="69" y="142"/>
                      <a:pt x="69" y="142"/>
                      <a:pt x="69" y="142"/>
                    </a:cubicBezTo>
                    <a:cubicBezTo>
                      <a:pt x="52" y="141"/>
                      <a:pt x="37" y="126"/>
                      <a:pt x="37" y="109"/>
                    </a:cubicBezTo>
                    <a:cubicBezTo>
                      <a:pt x="37" y="92"/>
                      <a:pt x="52" y="78"/>
                      <a:pt x="70" y="78"/>
                    </a:cubicBezTo>
                    <a:cubicBezTo>
                      <a:pt x="114" y="78"/>
                      <a:pt x="114" y="78"/>
                      <a:pt x="114" y="78"/>
                    </a:cubicBezTo>
                    <a:cubicBezTo>
                      <a:pt x="132" y="78"/>
                      <a:pt x="146" y="92"/>
                      <a:pt x="146" y="110"/>
                    </a:cubicBezTo>
                    <a:cubicBezTo>
                      <a:pt x="146" y="151"/>
                      <a:pt x="146" y="151"/>
                      <a:pt x="146" y="151"/>
                    </a:cubicBezTo>
                    <a:cubicBezTo>
                      <a:pt x="146" y="157"/>
                      <a:pt x="152" y="162"/>
                      <a:pt x="158" y="162"/>
                    </a:cubicBezTo>
                    <a:cubicBezTo>
                      <a:pt x="163" y="162"/>
                      <a:pt x="163" y="162"/>
                      <a:pt x="163" y="162"/>
                    </a:cubicBezTo>
                    <a:cubicBezTo>
                      <a:pt x="169" y="162"/>
                      <a:pt x="175" y="157"/>
                      <a:pt x="175" y="151"/>
                    </a:cubicBezTo>
                    <a:cubicBezTo>
                      <a:pt x="175" y="15"/>
                      <a:pt x="175" y="15"/>
                      <a:pt x="175" y="15"/>
                    </a:cubicBezTo>
                    <a:cubicBezTo>
                      <a:pt x="158" y="5"/>
                      <a:pt x="138" y="0"/>
                      <a:pt x="117" y="0"/>
                    </a:cubicBezTo>
                    <a:cubicBezTo>
                      <a:pt x="52" y="0"/>
                      <a:pt x="0" y="52"/>
                      <a:pt x="0" y="116"/>
                    </a:cubicBezTo>
                    <a:cubicBezTo>
                      <a:pt x="0" y="132"/>
                      <a:pt x="4" y="148"/>
                      <a:pt x="10" y="162"/>
                    </a:cubicBezTo>
                    <a:lnTo>
                      <a:pt x="75" y="1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34" name="Freeform 51"/>
              <p:cNvSpPr>
                <a:spLocks/>
              </p:cNvSpPr>
              <p:nvPr/>
            </p:nvSpPr>
            <p:spPr bwMode="auto">
              <a:xfrm>
                <a:off x="2281238" y="666750"/>
                <a:ext cx="885825" cy="842962"/>
              </a:xfrm>
              <a:custGeom>
                <a:avLst/>
                <a:gdLst>
                  <a:gd name="T0" fmla="*/ 174 w 211"/>
                  <a:gd name="T1" fmla="*/ 0 h 201"/>
                  <a:gd name="T2" fmla="*/ 174 w 211"/>
                  <a:gd name="T3" fmla="*/ 120 h 201"/>
                  <a:gd name="T4" fmla="*/ 141 w 211"/>
                  <a:gd name="T5" fmla="*/ 152 h 201"/>
                  <a:gd name="T6" fmla="*/ 136 w 211"/>
                  <a:gd name="T7" fmla="*/ 152 h 201"/>
                  <a:gd name="T8" fmla="*/ 103 w 211"/>
                  <a:gd name="T9" fmla="*/ 120 h 201"/>
                  <a:gd name="T10" fmla="*/ 103 w 211"/>
                  <a:gd name="T11" fmla="*/ 79 h 201"/>
                  <a:gd name="T12" fmla="*/ 92 w 211"/>
                  <a:gd name="T13" fmla="*/ 67 h 201"/>
                  <a:gd name="T14" fmla="*/ 48 w 211"/>
                  <a:gd name="T15" fmla="*/ 67 h 201"/>
                  <a:gd name="T16" fmla="*/ 36 w 211"/>
                  <a:gd name="T17" fmla="*/ 78 h 201"/>
                  <a:gd name="T18" fmla="*/ 48 w 211"/>
                  <a:gd name="T19" fmla="*/ 90 h 201"/>
                  <a:gd name="T20" fmla="*/ 55 w 211"/>
                  <a:gd name="T21" fmla="*/ 90 h 201"/>
                  <a:gd name="T22" fmla="*/ 86 w 211"/>
                  <a:gd name="T23" fmla="*/ 122 h 201"/>
                  <a:gd name="T24" fmla="*/ 53 w 211"/>
                  <a:gd name="T25" fmla="*/ 152 h 201"/>
                  <a:gd name="T26" fmla="*/ 0 w 211"/>
                  <a:gd name="T27" fmla="*/ 152 h 201"/>
                  <a:gd name="T28" fmla="*/ 95 w 211"/>
                  <a:gd name="T29" fmla="*/ 201 h 201"/>
                  <a:gd name="T30" fmla="*/ 211 w 211"/>
                  <a:gd name="T31" fmla="*/ 85 h 201"/>
                  <a:gd name="T32" fmla="*/ 174 w 211"/>
                  <a:gd name="T33"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1" h="201">
                    <a:moveTo>
                      <a:pt x="174" y="0"/>
                    </a:moveTo>
                    <a:cubicBezTo>
                      <a:pt x="174" y="120"/>
                      <a:pt x="174" y="120"/>
                      <a:pt x="174" y="120"/>
                    </a:cubicBezTo>
                    <a:cubicBezTo>
                      <a:pt x="174" y="138"/>
                      <a:pt x="159" y="152"/>
                      <a:pt x="141" y="152"/>
                    </a:cubicBezTo>
                    <a:cubicBezTo>
                      <a:pt x="136" y="152"/>
                      <a:pt x="136" y="152"/>
                      <a:pt x="136" y="152"/>
                    </a:cubicBezTo>
                    <a:cubicBezTo>
                      <a:pt x="118" y="152"/>
                      <a:pt x="103" y="138"/>
                      <a:pt x="103" y="120"/>
                    </a:cubicBezTo>
                    <a:cubicBezTo>
                      <a:pt x="103" y="79"/>
                      <a:pt x="103" y="79"/>
                      <a:pt x="103" y="79"/>
                    </a:cubicBezTo>
                    <a:cubicBezTo>
                      <a:pt x="103" y="73"/>
                      <a:pt x="98" y="67"/>
                      <a:pt x="92" y="67"/>
                    </a:cubicBezTo>
                    <a:cubicBezTo>
                      <a:pt x="48" y="67"/>
                      <a:pt x="48" y="67"/>
                      <a:pt x="48" y="67"/>
                    </a:cubicBezTo>
                    <a:cubicBezTo>
                      <a:pt x="42" y="67"/>
                      <a:pt x="36" y="72"/>
                      <a:pt x="36" y="78"/>
                    </a:cubicBezTo>
                    <a:cubicBezTo>
                      <a:pt x="36" y="84"/>
                      <a:pt x="42" y="90"/>
                      <a:pt x="48" y="90"/>
                    </a:cubicBezTo>
                    <a:cubicBezTo>
                      <a:pt x="55" y="90"/>
                      <a:pt x="55" y="90"/>
                      <a:pt x="55" y="90"/>
                    </a:cubicBezTo>
                    <a:cubicBezTo>
                      <a:pt x="73" y="91"/>
                      <a:pt x="87" y="106"/>
                      <a:pt x="86" y="122"/>
                    </a:cubicBezTo>
                    <a:cubicBezTo>
                      <a:pt x="86" y="139"/>
                      <a:pt x="71" y="152"/>
                      <a:pt x="53" y="152"/>
                    </a:cubicBezTo>
                    <a:cubicBezTo>
                      <a:pt x="0" y="152"/>
                      <a:pt x="0" y="152"/>
                      <a:pt x="0" y="152"/>
                    </a:cubicBezTo>
                    <a:cubicBezTo>
                      <a:pt x="21" y="182"/>
                      <a:pt x="55" y="201"/>
                      <a:pt x="95" y="201"/>
                    </a:cubicBezTo>
                    <a:cubicBezTo>
                      <a:pt x="159" y="201"/>
                      <a:pt x="211" y="149"/>
                      <a:pt x="211" y="85"/>
                    </a:cubicBezTo>
                    <a:cubicBezTo>
                      <a:pt x="211" y="51"/>
                      <a:pt x="197" y="21"/>
                      <a:pt x="17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grpSp>
        <p:sp>
          <p:nvSpPr>
            <p:cNvPr id="35" name="Freeform 36"/>
            <p:cNvSpPr>
              <a:spLocks/>
            </p:cNvSpPr>
            <p:nvPr/>
          </p:nvSpPr>
          <p:spPr bwMode="auto">
            <a:xfrm>
              <a:off x="12318056" y="5362191"/>
              <a:ext cx="1231071" cy="1122269"/>
            </a:xfrm>
            <a:custGeom>
              <a:avLst/>
              <a:gdLst>
                <a:gd name="T0" fmla="*/ 189 w 255"/>
                <a:gd name="T1" fmla="*/ 10 h 233"/>
                <a:gd name="T2" fmla="*/ 104 w 255"/>
                <a:gd name="T3" fmla="*/ 16 h 233"/>
                <a:gd name="T4" fmla="*/ 18 w 255"/>
                <a:gd name="T5" fmla="*/ 30 h 233"/>
                <a:gd name="T6" fmla="*/ 6 w 255"/>
                <a:gd name="T7" fmla="*/ 30 h 233"/>
                <a:gd name="T8" fmla="*/ 3 w 255"/>
                <a:gd name="T9" fmla="*/ 46 h 233"/>
                <a:gd name="T10" fmla="*/ 115 w 255"/>
                <a:gd name="T11" fmla="*/ 228 h 233"/>
                <a:gd name="T12" fmla="*/ 124 w 255"/>
                <a:gd name="T13" fmla="*/ 233 h 233"/>
                <a:gd name="T14" fmla="*/ 130 w 255"/>
                <a:gd name="T15" fmla="*/ 231 h 233"/>
                <a:gd name="T16" fmla="*/ 134 w 255"/>
                <a:gd name="T17" fmla="*/ 216 h 233"/>
                <a:gd name="T18" fmla="*/ 84 w 255"/>
                <a:gd name="T19" fmla="*/ 135 h 233"/>
                <a:gd name="T20" fmla="*/ 170 w 255"/>
                <a:gd name="T21" fmla="*/ 121 h 233"/>
                <a:gd name="T22" fmla="*/ 255 w 255"/>
                <a:gd name="T23" fmla="*/ 115 h 233"/>
                <a:gd name="T24" fmla="*/ 189 w 255"/>
                <a:gd name="T25" fmla="*/ 1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5" h="233">
                  <a:moveTo>
                    <a:pt x="189" y="10"/>
                  </a:moveTo>
                  <a:cubicBezTo>
                    <a:pt x="189" y="10"/>
                    <a:pt x="146" y="31"/>
                    <a:pt x="104" y="16"/>
                  </a:cubicBezTo>
                  <a:cubicBezTo>
                    <a:pt x="58" y="0"/>
                    <a:pt x="37" y="6"/>
                    <a:pt x="18" y="30"/>
                  </a:cubicBezTo>
                  <a:cubicBezTo>
                    <a:pt x="14" y="28"/>
                    <a:pt x="10" y="28"/>
                    <a:pt x="6" y="30"/>
                  </a:cubicBezTo>
                  <a:cubicBezTo>
                    <a:pt x="1" y="33"/>
                    <a:pt x="0" y="40"/>
                    <a:pt x="3" y="46"/>
                  </a:cubicBezTo>
                  <a:cubicBezTo>
                    <a:pt x="115" y="228"/>
                    <a:pt x="115" y="228"/>
                    <a:pt x="115" y="228"/>
                  </a:cubicBezTo>
                  <a:cubicBezTo>
                    <a:pt x="117" y="231"/>
                    <a:pt x="121" y="233"/>
                    <a:pt x="124" y="233"/>
                  </a:cubicBezTo>
                  <a:cubicBezTo>
                    <a:pt x="126" y="233"/>
                    <a:pt x="128" y="232"/>
                    <a:pt x="130" y="231"/>
                  </a:cubicBezTo>
                  <a:cubicBezTo>
                    <a:pt x="135" y="228"/>
                    <a:pt x="137" y="221"/>
                    <a:pt x="134" y="216"/>
                  </a:cubicBezTo>
                  <a:cubicBezTo>
                    <a:pt x="84" y="135"/>
                    <a:pt x="84" y="135"/>
                    <a:pt x="84" y="135"/>
                  </a:cubicBezTo>
                  <a:cubicBezTo>
                    <a:pt x="104" y="111"/>
                    <a:pt x="124" y="105"/>
                    <a:pt x="170" y="121"/>
                  </a:cubicBezTo>
                  <a:cubicBezTo>
                    <a:pt x="213" y="135"/>
                    <a:pt x="255" y="115"/>
                    <a:pt x="255" y="115"/>
                  </a:cubicBezTo>
                  <a:lnTo>
                    <a:pt x="189" y="1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id-ID">
                <a:solidFill>
                  <a:srgbClr val="58595B"/>
                </a:solidFill>
                <a:latin typeface="+mj-lt"/>
              </a:endParaRPr>
            </a:p>
          </p:txBody>
        </p:sp>
        <p:sp>
          <p:nvSpPr>
            <p:cNvPr id="36" name="Freeform 326"/>
            <p:cNvSpPr>
              <a:spLocks noChangeArrowheads="1"/>
            </p:cNvSpPr>
            <p:nvPr/>
          </p:nvSpPr>
          <p:spPr bwMode="auto">
            <a:xfrm>
              <a:off x="14860018" y="7866732"/>
              <a:ext cx="1122706" cy="1071340"/>
            </a:xfrm>
            <a:custGeom>
              <a:avLst/>
              <a:gdLst>
                <a:gd name="T0" fmla="*/ 1347 w 1348"/>
                <a:gd name="T1" fmla="*/ 786 h 1289"/>
                <a:gd name="T2" fmla="*/ 1347 w 1348"/>
                <a:gd name="T3" fmla="*/ 1288 h 1289"/>
                <a:gd name="T4" fmla="*/ 1054 w 1348"/>
                <a:gd name="T5" fmla="*/ 1288 h 1289"/>
                <a:gd name="T6" fmla="*/ 1054 w 1348"/>
                <a:gd name="T7" fmla="*/ 819 h 1289"/>
                <a:gd name="T8" fmla="*/ 912 w 1348"/>
                <a:gd name="T9" fmla="*/ 627 h 1289"/>
                <a:gd name="T10" fmla="*/ 761 w 1348"/>
                <a:gd name="T11" fmla="*/ 736 h 1289"/>
                <a:gd name="T12" fmla="*/ 753 w 1348"/>
                <a:gd name="T13" fmla="*/ 803 h 1289"/>
                <a:gd name="T14" fmla="*/ 753 w 1348"/>
                <a:gd name="T15" fmla="*/ 1288 h 1289"/>
                <a:gd name="T16" fmla="*/ 468 w 1348"/>
                <a:gd name="T17" fmla="*/ 1288 h 1289"/>
                <a:gd name="T18" fmla="*/ 468 w 1348"/>
                <a:gd name="T19" fmla="*/ 418 h 1289"/>
                <a:gd name="T20" fmla="*/ 753 w 1348"/>
                <a:gd name="T21" fmla="*/ 418 h 1289"/>
                <a:gd name="T22" fmla="*/ 753 w 1348"/>
                <a:gd name="T23" fmla="*/ 543 h 1289"/>
                <a:gd name="T24" fmla="*/ 1012 w 1348"/>
                <a:gd name="T25" fmla="*/ 401 h 1289"/>
                <a:gd name="T26" fmla="*/ 1347 w 1348"/>
                <a:gd name="T27" fmla="*/ 786 h 1289"/>
                <a:gd name="T28" fmla="*/ 167 w 1348"/>
                <a:gd name="T29" fmla="*/ 0 h 1289"/>
                <a:gd name="T30" fmla="*/ 0 w 1348"/>
                <a:gd name="T31" fmla="*/ 151 h 1289"/>
                <a:gd name="T32" fmla="*/ 159 w 1348"/>
                <a:gd name="T33" fmla="*/ 301 h 1289"/>
                <a:gd name="T34" fmla="*/ 167 w 1348"/>
                <a:gd name="T35" fmla="*/ 301 h 1289"/>
                <a:gd name="T36" fmla="*/ 326 w 1348"/>
                <a:gd name="T37" fmla="*/ 151 h 1289"/>
                <a:gd name="T38" fmla="*/ 167 w 1348"/>
                <a:gd name="T39" fmla="*/ 0 h 1289"/>
                <a:gd name="T40" fmla="*/ 17 w 1348"/>
                <a:gd name="T41" fmla="*/ 1288 h 1289"/>
                <a:gd name="T42" fmla="*/ 310 w 1348"/>
                <a:gd name="T43" fmla="*/ 1288 h 1289"/>
                <a:gd name="T44" fmla="*/ 310 w 1348"/>
                <a:gd name="T45" fmla="*/ 418 h 1289"/>
                <a:gd name="T46" fmla="*/ 17 w 1348"/>
                <a:gd name="T47" fmla="*/ 418 h 1289"/>
                <a:gd name="T48" fmla="*/ 17 w 1348"/>
                <a:gd name="T49" fmla="*/ 1288 h 1289"/>
                <a:gd name="T50" fmla="*/ 17 w 1348"/>
                <a:gd name="T51" fmla="*/ 1288 h 1289"/>
                <a:gd name="T52" fmla="*/ 17 w 1348"/>
                <a:gd name="T53" fmla="*/ 1288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48" h="1289">
                  <a:moveTo>
                    <a:pt x="1347" y="786"/>
                  </a:moveTo>
                  <a:cubicBezTo>
                    <a:pt x="1347" y="1288"/>
                    <a:pt x="1347" y="1288"/>
                    <a:pt x="1347" y="1288"/>
                  </a:cubicBezTo>
                  <a:cubicBezTo>
                    <a:pt x="1054" y="1288"/>
                    <a:pt x="1054" y="1288"/>
                    <a:pt x="1054" y="1288"/>
                  </a:cubicBezTo>
                  <a:cubicBezTo>
                    <a:pt x="1054" y="819"/>
                    <a:pt x="1054" y="819"/>
                    <a:pt x="1054" y="819"/>
                  </a:cubicBezTo>
                  <a:cubicBezTo>
                    <a:pt x="1054" y="702"/>
                    <a:pt x="1020" y="627"/>
                    <a:pt x="912" y="627"/>
                  </a:cubicBezTo>
                  <a:cubicBezTo>
                    <a:pt x="836" y="627"/>
                    <a:pt x="786" y="677"/>
                    <a:pt x="761" y="736"/>
                  </a:cubicBezTo>
                  <a:cubicBezTo>
                    <a:pt x="761" y="752"/>
                    <a:pt x="753" y="777"/>
                    <a:pt x="753" y="803"/>
                  </a:cubicBezTo>
                  <a:cubicBezTo>
                    <a:pt x="753" y="1288"/>
                    <a:pt x="753" y="1288"/>
                    <a:pt x="753" y="1288"/>
                  </a:cubicBezTo>
                  <a:cubicBezTo>
                    <a:pt x="468" y="1288"/>
                    <a:pt x="468" y="1288"/>
                    <a:pt x="468" y="1288"/>
                  </a:cubicBezTo>
                  <a:cubicBezTo>
                    <a:pt x="468" y="1288"/>
                    <a:pt x="468" y="502"/>
                    <a:pt x="468" y="418"/>
                  </a:cubicBezTo>
                  <a:cubicBezTo>
                    <a:pt x="753" y="418"/>
                    <a:pt x="753" y="418"/>
                    <a:pt x="753" y="418"/>
                  </a:cubicBezTo>
                  <a:cubicBezTo>
                    <a:pt x="753" y="543"/>
                    <a:pt x="753" y="543"/>
                    <a:pt x="753" y="543"/>
                  </a:cubicBezTo>
                  <a:cubicBezTo>
                    <a:pt x="795" y="485"/>
                    <a:pt x="862" y="401"/>
                    <a:pt x="1012" y="401"/>
                  </a:cubicBezTo>
                  <a:cubicBezTo>
                    <a:pt x="1204" y="401"/>
                    <a:pt x="1347" y="527"/>
                    <a:pt x="1347" y="786"/>
                  </a:cubicBezTo>
                  <a:close/>
                  <a:moveTo>
                    <a:pt x="167" y="0"/>
                  </a:moveTo>
                  <a:cubicBezTo>
                    <a:pt x="67" y="0"/>
                    <a:pt x="0" y="67"/>
                    <a:pt x="0" y="151"/>
                  </a:cubicBezTo>
                  <a:cubicBezTo>
                    <a:pt x="0" y="234"/>
                    <a:pt x="67" y="301"/>
                    <a:pt x="159" y="301"/>
                  </a:cubicBezTo>
                  <a:cubicBezTo>
                    <a:pt x="167" y="301"/>
                    <a:pt x="167" y="301"/>
                    <a:pt x="167" y="301"/>
                  </a:cubicBezTo>
                  <a:cubicBezTo>
                    <a:pt x="268" y="301"/>
                    <a:pt x="326" y="234"/>
                    <a:pt x="326" y="151"/>
                  </a:cubicBezTo>
                  <a:cubicBezTo>
                    <a:pt x="326" y="67"/>
                    <a:pt x="268" y="0"/>
                    <a:pt x="167" y="0"/>
                  </a:cubicBezTo>
                  <a:close/>
                  <a:moveTo>
                    <a:pt x="17" y="1288"/>
                  </a:moveTo>
                  <a:cubicBezTo>
                    <a:pt x="310" y="1288"/>
                    <a:pt x="310" y="1288"/>
                    <a:pt x="310" y="1288"/>
                  </a:cubicBezTo>
                  <a:cubicBezTo>
                    <a:pt x="310" y="418"/>
                    <a:pt x="310" y="418"/>
                    <a:pt x="310" y="418"/>
                  </a:cubicBezTo>
                  <a:cubicBezTo>
                    <a:pt x="17" y="418"/>
                    <a:pt x="17" y="418"/>
                    <a:pt x="17" y="418"/>
                  </a:cubicBezTo>
                  <a:lnTo>
                    <a:pt x="17" y="1288"/>
                  </a:lnTo>
                  <a:close/>
                  <a:moveTo>
                    <a:pt x="17" y="1288"/>
                  </a:moveTo>
                  <a:lnTo>
                    <a:pt x="17" y="1288"/>
                  </a:lnTo>
                  <a:close/>
                </a:path>
              </a:pathLst>
            </a:custGeom>
            <a:solidFill>
              <a:schemeClr val="accent1"/>
            </a:solidFill>
            <a:ln>
              <a:noFill/>
            </a:ln>
            <a:effectLst/>
            <a:extLst/>
          </p:spPr>
          <p:txBody>
            <a:bodyPr wrap="none" lIns="121917" tIns="60958" rIns="121917" bIns="60958" anchor="ctr"/>
            <a:lstStyle/>
            <a:p>
              <a:pPr>
                <a:defRPr/>
              </a:pPr>
              <a:endParaRPr lang="en-US" dirty="0">
                <a:solidFill>
                  <a:srgbClr val="58595B"/>
                </a:solidFill>
                <a:latin typeface="+mj-lt"/>
                <a:ea typeface="SimSun" charset="0"/>
              </a:endParaRPr>
            </a:p>
          </p:txBody>
        </p:sp>
        <p:sp>
          <p:nvSpPr>
            <p:cNvPr id="37" name="AutoShape 64"/>
            <p:cNvSpPr>
              <a:spLocks/>
            </p:cNvSpPr>
            <p:nvPr/>
          </p:nvSpPr>
          <p:spPr bwMode="auto">
            <a:xfrm>
              <a:off x="13614562" y="8470282"/>
              <a:ext cx="784400" cy="781265"/>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0263" y="0"/>
                  </a:moveTo>
                  <a:cubicBezTo>
                    <a:pt x="20630" y="0"/>
                    <a:pt x="20946" y="161"/>
                    <a:pt x="21208" y="481"/>
                  </a:cubicBezTo>
                  <a:cubicBezTo>
                    <a:pt x="21470" y="798"/>
                    <a:pt x="21599" y="1177"/>
                    <a:pt x="21599" y="1618"/>
                  </a:cubicBezTo>
                  <a:lnTo>
                    <a:pt x="21599" y="19981"/>
                  </a:lnTo>
                  <a:cubicBezTo>
                    <a:pt x="21599" y="20422"/>
                    <a:pt x="21470" y="20801"/>
                    <a:pt x="21208" y="21121"/>
                  </a:cubicBezTo>
                  <a:cubicBezTo>
                    <a:pt x="20946" y="21441"/>
                    <a:pt x="20630" y="21599"/>
                    <a:pt x="20263" y="21599"/>
                  </a:cubicBezTo>
                  <a:lnTo>
                    <a:pt x="1346" y="21599"/>
                  </a:lnTo>
                  <a:cubicBezTo>
                    <a:pt x="979" y="21599"/>
                    <a:pt x="663" y="21441"/>
                    <a:pt x="399" y="21121"/>
                  </a:cubicBezTo>
                  <a:cubicBezTo>
                    <a:pt x="132" y="20801"/>
                    <a:pt x="0" y="20422"/>
                    <a:pt x="0" y="19981"/>
                  </a:cubicBezTo>
                  <a:lnTo>
                    <a:pt x="0" y="1618"/>
                  </a:lnTo>
                  <a:cubicBezTo>
                    <a:pt x="0" y="1177"/>
                    <a:pt x="132" y="798"/>
                    <a:pt x="399" y="481"/>
                  </a:cubicBezTo>
                  <a:cubicBezTo>
                    <a:pt x="663" y="161"/>
                    <a:pt x="979" y="0"/>
                    <a:pt x="1346" y="0"/>
                  </a:cubicBezTo>
                  <a:lnTo>
                    <a:pt x="20263" y="0"/>
                  </a:lnTo>
                  <a:close/>
                  <a:moveTo>
                    <a:pt x="19805" y="2252"/>
                  </a:moveTo>
                  <a:lnTo>
                    <a:pt x="8590" y="2252"/>
                  </a:lnTo>
                  <a:lnTo>
                    <a:pt x="8426" y="3545"/>
                  </a:lnTo>
                  <a:lnTo>
                    <a:pt x="1804" y="3545"/>
                  </a:lnTo>
                  <a:lnTo>
                    <a:pt x="1804" y="5501"/>
                  </a:lnTo>
                  <a:lnTo>
                    <a:pt x="19805" y="5501"/>
                  </a:lnTo>
                  <a:lnTo>
                    <a:pt x="19805" y="2252"/>
                  </a:lnTo>
                  <a:close/>
                  <a:moveTo>
                    <a:pt x="19805" y="17746"/>
                  </a:moveTo>
                  <a:lnTo>
                    <a:pt x="1804" y="17746"/>
                  </a:lnTo>
                  <a:lnTo>
                    <a:pt x="1804" y="19350"/>
                  </a:lnTo>
                  <a:lnTo>
                    <a:pt x="19805" y="19350"/>
                  </a:lnTo>
                  <a:lnTo>
                    <a:pt x="19805" y="17746"/>
                  </a:lnTo>
                  <a:close/>
                  <a:moveTo>
                    <a:pt x="3116" y="2743"/>
                  </a:moveTo>
                  <a:lnTo>
                    <a:pt x="6820" y="2743"/>
                  </a:lnTo>
                  <a:lnTo>
                    <a:pt x="6820" y="1436"/>
                  </a:lnTo>
                  <a:lnTo>
                    <a:pt x="3116" y="1436"/>
                  </a:lnTo>
                  <a:lnTo>
                    <a:pt x="3116" y="2743"/>
                  </a:lnTo>
                  <a:close/>
                  <a:moveTo>
                    <a:pt x="6529" y="11631"/>
                  </a:moveTo>
                  <a:cubicBezTo>
                    <a:pt x="6529" y="12342"/>
                    <a:pt x="6639" y="13011"/>
                    <a:pt x="6862" y="13634"/>
                  </a:cubicBezTo>
                  <a:cubicBezTo>
                    <a:pt x="7084" y="14257"/>
                    <a:pt x="7388" y="14800"/>
                    <a:pt x="7775" y="15264"/>
                  </a:cubicBezTo>
                  <a:cubicBezTo>
                    <a:pt x="8162" y="15731"/>
                    <a:pt x="8617" y="16095"/>
                    <a:pt x="9134" y="16359"/>
                  </a:cubicBezTo>
                  <a:cubicBezTo>
                    <a:pt x="9655" y="16630"/>
                    <a:pt x="10211" y="16762"/>
                    <a:pt x="10806" y="16762"/>
                  </a:cubicBezTo>
                  <a:cubicBezTo>
                    <a:pt x="11398" y="16762"/>
                    <a:pt x="11954" y="16630"/>
                    <a:pt x="12470" y="16359"/>
                  </a:cubicBezTo>
                  <a:cubicBezTo>
                    <a:pt x="12984" y="16095"/>
                    <a:pt x="13435" y="15731"/>
                    <a:pt x="13824" y="15264"/>
                  </a:cubicBezTo>
                  <a:cubicBezTo>
                    <a:pt x="14211" y="14800"/>
                    <a:pt x="14515" y="14257"/>
                    <a:pt x="14737" y="13634"/>
                  </a:cubicBezTo>
                  <a:cubicBezTo>
                    <a:pt x="14960" y="13011"/>
                    <a:pt x="15070" y="12342"/>
                    <a:pt x="15070" y="11631"/>
                  </a:cubicBezTo>
                  <a:cubicBezTo>
                    <a:pt x="15070" y="10917"/>
                    <a:pt x="14960" y="10250"/>
                    <a:pt x="14737" y="9625"/>
                  </a:cubicBezTo>
                  <a:cubicBezTo>
                    <a:pt x="14515" y="9002"/>
                    <a:pt x="14211" y="8461"/>
                    <a:pt x="13824" y="8003"/>
                  </a:cubicBezTo>
                  <a:cubicBezTo>
                    <a:pt x="13435" y="7542"/>
                    <a:pt x="12982" y="7178"/>
                    <a:pt x="12463" y="6914"/>
                  </a:cubicBezTo>
                  <a:cubicBezTo>
                    <a:pt x="11944" y="6646"/>
                    <a:pt x="11391" y="6511"/>
                    <a:pt x="10806" y="6511"/>
                  </a:cubicBezTo>
                  <a:cubicBezTo>
                    <a:pt x="10211" y="6511"/>
                    <a:pt x="9655" y="6646"/>
                    <a:pt x="9134" y="6914"/>
                  </a:cubicBezTo>
                  <a:cubicBezTo>
                    <a:pt x="8617" y="7178"/>
                    <a:pt x="8162" y="7542"/>
                    <a:pt x="7775" y="8003"/>
                  </a:cubicBezTo>
                  <a:cubicBezTo>
                    <a:pt x="7388" y="8461"/>
                    <a:pt x="7084" y="9002"/>
                    <a:pt x="6862" y="9625"/>
                  </a:cubicBezTo>
                  <a:cubicBezTo>
                    <a:pt x="6639" y="10250"/>
                    <a:pt x="6529" y="10917"/>
                    <a:pt x="6529" y="11631"/>
                  </a:cubicBezTo>
                  <a:moveTo>
                    <a:pt x="13724" y="11631"/>
                  </a:moveTo>
                  <a:cubicBezTo>
                    <a:pt x="13724" y="12109"/>
                    <a:pt x="13648" y="12565"/>
                    <a:pt x="13501" y="12999"/>
                  </a:cubicBezTo>
                  <a:cubicBezTo>
                    <a:pt x="13352" y="13434"/>
                    <a:pt x="13146" y="13813"/>
                    <a:pt x="12879" y="14127"/>
                  </a:cubicBezTo>
                  <a:cubicBezTo>
                    <a:pt x="12612" y="14439"/>
                    <a:pt x="12301" y="14688"/>
                    <a:pt x="11942" y="14870"/>
                  </a:cubicBezTo>
                  <a:cubicBezTo>
                    <a:pt x="11582" y="15052"/>
                    <a:pt x="11205" y="15144"/>
                    <a:pt x="10806" y="15144"/>
                  </a:cubicBezTo>
                  <a:cubicBezTo>
                    <a:pt x="10407" y="15144"/>
                    <a:pt x="10025" y="15052"/>
                    <a:pt x="9662" y="14870"/>
                  </a:cubicBezTo>
                  <a:cubicBezTo>
                    <a:pt x="9300" y="14688"/>
                    <a:pt x="8987" y="14439"/>
                    <a:pt x="8725" y="14127"/>
                  </a:cubicBezTo>
                  <a:cubicBezTo>
                    <a:pt x="8463" y="13813"/>
                    <a:pt x="8257" y="13440"/>
                    <a:pt x="8103" y="13008"/>
                  </a:cubicBezTo>
                  <a:cubicBezTo>
                    <a:pt x="7951" y="12579"/>
                    <a:pt x="7875" y="12118"/>
                    <a:pt x="7875" y="11631"/>
                  </a:cubicBezTo>
                  <a:cubicBezTo>
                    <a:pt x="7875" y="11152"/>
                    <a:pt x="7951" y="10700"/>
                    <a:pt x="8103" y="10265"/>
                  </a:cubicBezTo>
                  <a:cubicBezTo>
                    <a:pt x="8257" y="9836"/>
                    <a:pt x="8463" y="9460"/>
                    <a:pt x="8725" y="9140"/>
                  </a:cubicBezTo>
                  <a:cubicBezTo>
                    <a:pt x="8987" y="8823"/>
                    <a:pt x="9298" y="8576"/>
                    <a:pt x="9657" y="8394"/>
                  </a:cubicBezTo>
                  <a:cubicBezTo>
                    <a:pt x="10015" y="8218"/>
                    <a:pt x="10399" y="8130"/>
                    <a:pt x="10806" y="8130"/>
                  </a:cubicBezTo>
                  <a:cubicBezTo>
                    <a:pt x="11205" y="8130"/>
                    <a:pt x="11582" y="8218"/>
                    <a:pt x="11942" y="8394"/>
                  </a:cubicBezTo>
                  <a:cubicBezTo>
                    <a:pt x="12301" y="8576"/>
                    <a:pt x="12612" y="8823"/>
                    <a:pt x="12879" y="9140"/>
                  </a:cubicBezTo>
                  <a:cubicBezTo>
                    <a:pt x="13146" y="9460"/>
                    <a:pt x="13352" y="9836"/>
                    <a:pt x="13501" y="10265"/>
                  </a:cubicBezTo>
                  <a:cubicBezTo>
                    <a:pt x="13648" y="10700"/>
                    <a:pt x="13724" y="11152"/>
                    <a:pt x="13724" y="11631"/>
                  </a:cubicBezTo>
                  <a:moveTo>
                    <a:pt x="9692" y="11631"/>
                  </a:moveTo>
                  <a:cubicBezTo>
                    <a:pt x="9692" y="11246"/>
                    <a:pt x="9799" y="10929"/>
                    <a:pt x="10020" y="10682"/>
                  </a:cubicBezTo>
                  <a:cubicBezTo>
                    <a:pt x="10238" y="10432"/>
                    <a:pt x="10500" y="10309"/>
                    <a:pt x="10806" y="10309"/>
                  </a:cubicBezTo>
                  <a:lnTo>
                    <a:pt x="10806" y="10280"/>
                  </a:lnTo>
                  <a:cubicBezTo>
                    <a:pt x="10945" y="10280"/>
                    <a:pt x="11065" y="10224"/>
                    <a:pt x="11163" y="10109"/>
                  </a:cubicBezTo>
                  <a:cubicBezTo>
                    <a:pt x="11261" y="9998"/>
                    <a:pt x="11310" y="9862"/>
                    <a:pt x="11310" y="9704"/>
                  </a:cubicBezTo>
                  <a:cubicBezTo>
                    <a:pt x="11310" y="9533"/>
                    <a:pt x="11261" y="9392"/>
                    <a:pt x="11163" y="9275"/>
                  </a:cubicBezTo>
                  <a:cubicBezTo>
                    <a:pt x="11065" y="9157"/>
                    <a:pt x="10945" y="9096"/>
                    <a:pt x="10806" y="9096"/>
                  </a:cubicBezTo>
                  <a:cubicBezTo>
                    <a:pt x="10228" y="9096"/>
                    <a:pt x="9733" y="9348"/>
                    <a:pt x="9322" y="9848"/>
                  </a:cubicBezTo>
                  <a:cubicBezTo>
                    <a:pt x="8913" y="10350"/>
                    <a:pt x="8708" y="10943"/>
                    <a:pt x="8708" y="11628"/>
                  </a:cubicBezTo>
                  <a:cubicBezTo>
                    <a:pt x="8708" y="11777"/>
                    <a:pt x="8757" y="11913"/>
                    <a:pt x="8854" y="12027"/>
                  </a:cubicBezTo>
                  <a:cubicBezTo>
                    <a:pt x="8952" y="12147"/>
                    <a:pt x="9063" y="12206"/>
                    <a:pt x="9187" y="12206"/>
                  </a:cubicBezTo>
                  <a:cubicBezTo>
                    <a:pt x="9329" y="12206"/>
                    <a:pt x="9447" y="12148"/>
                    <a:pt x="9545" y="12027"/>
                  </a:cubicBezTo>
                  <a:cubicBezTo>
                    <a:pt x="9643" y="11916"/>
                    <a:pt x="9692" y="11780"/>
                    <a:pt x="9692" y="11631"/>
                  </a:cubicBezTo>
                </a:path>
              </a:pathLst>
            </a:custGeom>
            <a:solidFill>
              <a:schemeClr val="accent3"/>
            </a:solidFill>
            <a:ln>
              <a:noFill/>
            </a:ln>
            <a:effectLst/>
            <a:extLst/>
          </p:spPr>
          <p:txBody>
            <a:bodyPr lIns="50799" tIns="50799" rIns="50799" bIns="50799" anchor="ctr"/>
            <a:lstStyle/>
            <a:p>
              <a:pPr defTabSz="457189">
                <a:defRPr/>
              </a:pPr>
              <a:endParaRPr lang="es-ES" sz="2900" dirty="0">
                <a:solidFill>
                  <a:srgbClr val="58595B"/>
                </a:solidFill>
                <a:effectLst>
                  <a:outerShdw blurRad="38100" dist="38100" dir="2700000" algn="tl">
                    <a:srgbClr val="000000"/>
                  </a:outerShdw>
                </a:effectLst>
                <a:latin typeface="+mj-lt"/>
                <a:cs typeface="Gill Sans" charset="0"/>
                <a:sym typeface="Gill Sans" charset="0"/>
              </a:endParaRPr>
            </a:p>
          </p:txBody>
        </p:sp>
        <p:sp>
          <p:nvSpPr>
            <p:cNvPr id="38" name="Freeform 234"/>
            <p:cNvSpPr>
              <a:spLocks noChangeArrowheads="1"/>
            </p:cNvSpPr>
            <p:nvPr/>
          </p:nvSpPr>
          <p:spPr bwMode="auto">
            <a:xfrm>
              <a:off x="13918746" y="4502576"/>
              <a:ext cx="567360" cy="815345"/>
            </a:xfrm>
            <a:custGeom>
              <a:avLst/>
              <a:gdLst>
                <a:gd name="T0" fmla="*/ 499 w 667"/>
                <a:gd name="T1" fmla="*/ 52 h 959"/>
                <a:gd name="T2" fmla="*/ 551 w 667"/>
                <a:gd name="T3" fmla="*/ 104 h 959"/>
                <a:gd name="T4" fmla="*/ 593 w 667"/>
                <a:gd name="T5" fmla="*/ 219 h 959"/>
                <a:gd name="T6" fmla="*/ 562 w 667"/>
                <a:gd name="T7" fmla="*/ 323 h 959"/>
                <a:gd name="T8" fmla="*/ 478 w 667"/>
                <a:gd name="T9" fmla="*/ 396 h 959"/>
                <a:gd name="T10" fmla="*/ 437 w 667"/>
                <a:gd name="T11" fmla="*/ 459 h 959"/>
                <a:gd name="T12" fmla="*/ 478 w 667"/>
                <a:gd name="T13" fmla="*/ 511 h 959"/>
                <a:gd name="T14" fmla="*/ 572 w 667"/>
                <a:gd name="T15" fmla="*/ 583 h 959"/>
                <a:gd name="T16" fmla="*/ 624 w 667"/>
                <a:gd name="T17" fmla="*/ 667 h 959"/>
                <a:gd name="T18" fmla="*/ 614 w 667"/>
                <a:gd name="T19" fmla="*/ 812 h 959"/>
                <a:gd name="T20" fmla="*/ 437 w 667"/>
                <a:gd name="T21" fmla="*/ 937 h 959"/>
                <a:gd name="T22" fmla="*/ 166 w 667"/>
                <a:gd name="T23" fmla="*/ 948 h 959"/>
                <a:gd name="T24" fmla="*/ 20 w 667"/>
                <a:gd name="T25" fmla="*/ 844 h 959"/>
                <a:gd name="T26" fmla="*/ 20 w 667"/>
                <a:gd name="T27" fmla="*/ 698 h 959"/>
                <a:gd name="T28" fmla="*/ 166 w 667"/>
                <a:gd name="T29" fmla="*/ 594 h 959"/>
                <a:gd name="T30" fmla="*/ 301 w 667"/>
                <a:gd name="T31" fmla="*/ 573 h 959"/>
                <a:gd name="T32" fmla="*/ 333 w 667"/>
                <a:gd name="T33" fmla="*/ 531 h 959"/>
                <a:gd name="T34" fmla="*/ 322 w 667"/>
                <a:gd name="T35" fmla="*/ 459 h 959"/>
                <a:gd name="T36" fmla="*/ 312 w 667"/>
                <a:gd name="T37" fmla="*/ 438 h 959"/>
                <a:gd name="T38" fmla="*/ 197 w 667"/>
                <a:gd name="T39" fmla="*/ 417 h 959"/>
                <a:gd name="T40" fmla="*/ 83 w 667"/>
                <a:gd name="T41" fmla="*/ 313 h 959"/>
                <a:gd name="T42" fmla="*/ 93 w 667"/>
                <a:gd name="T43" fmla="*/ 156 h 959"/>
                <a:gd name="T44" fmla="*/ 270 w 667"/>
                <a:gd name="T45" fmla="*/ 21 h 959"/>
                <a:gd name="T46" fmla="*/ 666 w 667"/>
                <a:gd name="T47" fmla="*/ 0 h 959"/>
                <a:gd name="T48" fmla="*/ 551 w 667"/>
                <a:gd name="T49" fmla="*/ 771 h 959"/>
                <a:gd name="T50" fmla="*/ 520 w 667"/>
                <a:gd name="T51" fmla="*/ 687 h 959"/>
                <a:gd name="T52" fmla="*/ 406 w 667"/>
                <a:gd name="T53" fmla="*/ 604 h 959"/>
                <a:gd name="T54" fmla="*/ 374 w 667"/>
                <a:gd name="T55" fmla="*/ 604 h 959"/>
                <a:gd name="T56" fmla="*/ 322 w 667"/>
                <a:gd name="T57" fmla="*/ 604 h 959"/>
                <a:gd name="T58" fmla="*/ 239 w 667"/>
                <a:gd name="T59" fmla="*/ 625 h 959"/>
                <a:gd name="T60" fmla="*/ 166 w 667"/>
                <a:gd name="T61" fmla="*/ 656 h 959"/>
                <a:gd name="T62" fmla="*/ 124 w 667"/>
                <a:gd name="T63" fmla="*/ 750 h 959"/>
                <a:gd name="T64" fmla="*/ 187 w 667"/>
                <a:gd name="T65" fmla="*/ 854 h 959"/>
                <a:gd name="T66" fmla="*/ 353 w 667"/>
                <a:gd name="T67" fmla="*/ 906 h 959"/>
                <a:gd name="T68" fmla="*/ 551 w 667"/>
                <a:gd name="T69" fmla="*/ 771 h 959"/>
                <a:gd name="T70" fmla="*/ 468 w 667"/>
                <a:gd name="T71" fmla="*/ 323 h 959"/>
                <a:gd name="T72" fmla="*/ 468 w 667"/>
                <a:gd name="T73" fmla="*/ 198 h 959"/>
                <a:gd name="T74" fmla="*/ 385 w 667"/>
                <a:gd name="T75" fmla="*/ 73 h 959"/>
                <a:gd name="T76" fmla="*/ 260 w 667"/>
                <a:gd name="T77" fmla="*/ 63 h 959"/>
                <a:gd name="T78" fmla="*/ 197 w 667"/>
                <a:gd name="T79" fmla="*/ 136 h 959"/>
                <a:gd name="T80" fmla="*/ 197 w 667"/>
                <a:gd name="T81" fmla="*/ 250 h 959"/>
                <a:gd name="T82" fmla="*/ 281 w 667"/>
                <a:gd name="T83" fmla="*/ 375 h 959"/>
                <a:gd name="T84" fmla="*/ 406 w 667"/>
                <a:gd name="T85" fmla="*/ 396 h 959"/>
                <a:gd name="T86" fmla="*/ 437 w 667"/>
                <a:gd name="T87" fmla="*/ 365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7" h="959">
                  <a:moveTo>
                    <a:pt x="583" y="52"/>
                  </a:moveTo>
                  <a:cubicBezTo>
                    <a:pt x="499" y="52"/>
                    <a:pt x="499" y="52"/>
                    <a:pt x="499" y="52"/>
                  </a:cubicBezTo>
                  <a:cubicBezTo>
                    <a:pt x="520" y="73"/>
                    <a:pt x="520" y="73"/>
                    <a:pt x="520" y="73"/>
                  </a:cubicBezTo>
                  <a:cubicBezTo>
                    <a:pt x="531" y="84"/>
                    <a:pt x="541" y="94"/>
                    <a:pt x="551" y="104"/>
                  </a:cubicBezTo>
                  <a:cubicBezTo>
                    <a:pt x="562" y="125"/>
                    <a:pt x="572" y="136"/>
                    <a:pt x="583" y="156"/>
                  </a:cubicBezTo>
                  <a:cubicBezTo>
                    <a:pt x="593" y="177"/>
                    <a:pt x="593" y="198"/>
                    <a:pt x="593" y="219"/>
                  </a:cubicBezTo>
                  <a:cubicBezTo>
                    <a:pt x="593" y="240"/>
                    <a:pt x="593" y="261"/>
                    <a:pt x="583" y="281"/>
                  </a:cubicBezTo>
                  <a:cubicBezTo>
                    <a:pt x="572" y="292"/>
                    <a:pt x="572" y="313"/>
                    <a:pt x="562" y="323"/>
                  </a:cubicBezTo>
                  <a:cubicBezTo>
                    <a:pt x="551" y="344"/>
                    <a:pt x="531" y="354"/>
                    <a:pt x="520" y="365"/>
                  </a:cubicBezTo>
                  <a:cubicBezTo>
                    <a:pt x="478" y="396"/>
                    <a:pt x="478" y="396"/>
                    <a:pt x="478" y="396"/>
                  </a:cubicBezTo>
                  <a:cubicBezTo>
                    <a:pt x="468" y="406"/>
                    <a:pt x="458" y="417"/>
                    <a:pt x="458" y="417"/>
                  </a:cubicBezTo>
                  <a:cubicBezTo>
                    <a:pt x="447" y="427"/>
                    <a:pt x="437" y="438"/>
                    <a:pt x="437" y="459"/>
                  </a:cubicBezTo>
                  <a:cubicBezTo>
                    <a:pt x="437" y="469"/>
                    <a:pt x="447" y="479"/>
                    <a:pt x="458" y="490"/>
                  </a:cubicBezTo>
                  <a:cubicBezTo>
                    <a:pt x="468" y="500"/>
                    <a:pt x="478" y="511"/>
                    <a:pt x="478" y="511"/>
                  </a:cubicBezTo>
                  <a:cubicBezTo>
                    <a:pt x="531" y="542"/>
                    <a:pt x="531" y="542"/>
                    <a:pt x="531" y="542"/>
                  </a:cubicBezTo>
                  <a:cubicBezTo>
                    <a:pt x="541" y="552"/>
                    <a:pt x="562" y="573"/>
                    <a:pt x="572" y="583"/>
                  </a:cubicBezTo>
                  <a:cubicBezTo>
                    <a:pt x="583" y="594"/>
                    <a:pt x="593" y="604"/>
                    <a:pt x="603" y="614"/>
                  </a:cubicBezTo>
                  <a:cubicBezTo>
                    <a:pt x="614" y="635"/>
                    <a:pt x="614" y="646"/>
                    <a:pt x="624" y="667"/>
                  </a:cubicBezTo>
                  <a:cubicBezTo>
                    <a:pt x="624" y="677"/>
                    <a:pt x="635" y="698"/>
                    <a:pt x="635" y="719"/>
                  </a:cubicBezTo>
                  <a:cubicBezTo>
                    <a:pt x="635" y="750"/>
                    <a:pt x="624" y="781"/>
                    <a:pt x="614" y="812"/>
                  </a:cubicBezTo>
                  <a:cubicBezTo>
                    <a:pt x="593" y="833"/>
                    <a:pt x="572" y="864"/>
                    <a:pt x="541" y="885"/>
                  </a:cubicBezTo>
                  <a:cubicBezTo>
                    <a:pt x="520" y="906"/>
                    <a:pt x="478" y="927"/>
                    <a:pt x="437" y="937"/>
                  </a:cubicBezTo>
                  <a:cubicBezTo>
                    <a:pt x="395" y="948"/>
                    <a:pt x="343" y="958"/>
                    <a:pt x="291" y="958"/>
                  </a:cubicBezTo>
                  <a:cubicBezTo>
                    <a:pt x="239" y="958"/>
                    <a:pt x="197" y="958"/>
                    <a:pt x="166" y="948"/>
                  </a:cubicBezTo>
                  <a:cubicBezTo>
                    <a:pt x="124" y="937"/>
                    <a:pt x="93" y="917"/>
                    <a:pt x="72" y="906"/>
                  </a:cubicBezTo>
                  <a:cubicBezTo>
                    <a:pt x="51" y="885"/>
                    <a:pt x="31" y="864"/>
                    <a:pt x="20" y="844"/>
                  </a:cubicBezTo>
                  <a:cubicBezTo>
                    <a:pt x="10" y="823"/>
                    <a:pt x="0" y="802"/>
                    <a:pt x="0" y="781"/>
                  </a:cubicBezTo>
                  <a:cubicBezTo>
                    <a:pt x="0" y="760"/>
                    <a:pt x="10" y="729"/>
                    <a:pt x="20" y="698"/>
                  </a:cubicBezTo>
                  <a:cubicBezTo>
                    <a:pt x="41" y="677"/>
                    <a:pt x="62" y="646"/>
                    <a:pt x="103" y="625"/>
                  </a:cubicBezTo>
                  <a:cubicBezTo>
                    <a:pt x="124" y="614"/>
                    <a:pt x="145" y="604"/>
                    <a:pt x="166" y="594"/>
                  </a:cubicBezTo>
                  <a:cubicBezTo>
                    <a:pt x="197" y="594"/>
                    <a:pt x="218" y="583"/>
                    <a:pt x="239" y="583"/>
                  </a:cubicBezTo>
                  <a:cubicBezTo>
                    <a:pt x="260" y="573"/>
                    <a:pt x="281" y="573"/>
                    <a:pt x="301" y="573"/>
                  </a:cubicBezTo>
                  <a:cubicBezTo>
                    <a:pt x="322" y="573"/>
                    <a:pt x="343" y="573"/>
                    <a:pt x="353" y="573"/>
                  </a:cubicBezTo>
                  <a:cubicBezTo>
                    <a:pt x="353" y="552"/>
                    <a:pt x="343" y="542"/>
                    <a:pt x="333" y="531"/>
                  </a:cubicBezTo>
                  <a:cubicBezTo>
                    <a:pt x="322" y="521"/>
                    <a:pt x="322" y="500"/>
                    <a:pt x="322" y="479"/>
                  </a:cubicBezTo>
                  <a:cubicBezTo>
                    <a:pt x="322" y="469"/>
                    <a:pt x="322" y="459"/>
                    <a:pt x="322" y="459"/>
                  </a:cubicBezTo>
                  <a:cubicBezTo>
                    <a:pt x="322" y="448"/>
                    <a:pt x="333" y="438"/>
                    <a:pt x="333" y="438"/>
                  </a:cubicBezTo>
                  <a:cubicBezTo>
                    <a:pt x="322" y="438"/>
                    <a:pt x="322" y="438"/>
                    <a:pt x="312" y="438"/>
                  </a:cubicBezTo>
                  <a:cubicBezTo>
                    <a:pt x="301" y="438"/>
                    <a:pt x="301" y="438"/>
                    <a:pt x="291" y="438"/>
                  </a:cubicBezTo>
                  <a:cubicBezTo>
                    <a:pt x="260" y="438"/>
                    <a:pt x="218" y="427"/>
                    <a:pt x="197" y="417"/>
                  </a:cubicBezTo>
                  <a:cubicBezTo>
                    <a:pt x="166" y="406"/>
                    <a:pt x="145" y="396"/>
                    <a:pt x="124" y="375"/>
                  </a:cubicBezTo>
                  <a:cubicBezTo>
                    <a:pt x="103" y="354"/>
                    <a:pt x="93" y="334"/>
                    <a:pt x="83" y="313"/>
                  </a:cubicBezTo>
                  <a:cubicBezTo>
                    <a:pt x="72" y="292"/>
                    <a:pt x="62" y="261"/>
                    <a:pt x="62" y="240"/>
                  </a:cubicBezTo>
                  <a:cubicBezTo>
                    <a:pt x="62" y="209"/>
                    <a:pt x="72" y="177"/>
                    <a:pt x="93" y="156"/>
                  </a:cubicBezTo>
                  <a:cubicBezTo>
                    <a:pt x="103" y="125"/>
                    <a:pt x="124" y="94"/>
                    <a:pt x="156" y="73"/>
                  </a:cubicBezTo>
                  <a:cubicBezTo>
                    <a:pt x="187" y="42"/>
                    <a:pt x="228" y="21"/>
                    <a:pt x="270" y="21"/>
                  </a:cubicBezTo>
                  <a:cubicBezTo>
                    <a:pt x="312" y="11"/>
                    <a:pt x="353" y="0"/>
                    <a:pt x="395" y="0"/>
                  </a:cubicBezTo>
                  <a:cubicBezTo>
                    <a:pt x="666" y="0"/>
                    <a:pt x="666" y="0"/>
                    <a:pt x="666" y="0"/>
                  </a:cubicBezTo>
                  <a:lnTo>
                    <a:pt x="583" y="52"/>
                  </a:lnTo>
                  <a:close/>
                  <a:moveTo>
                    <a:pt x="551" y="771"/>
                  </a:moveTo>
                  <a:cubicBezTo>
                    <a:pt x="551" y="750"/>
                    <a:pt x="541" y="739"/>
                    <a:pt x="541" y="729"/>
                  </a:cubicBezTo>
                  <a:cubicBezTo>
                    <a:pt x="531" y="708"/>
                    <a:pt x="531" y="698"/>
                    <a:pt x="520" y="687"/>
                  </a:cubicBezTo>
                  <a:cubicBezTo>
                    <a:pt x="510" y="677"/>
                    <a:pt x="489" y="667"/>
                    <a:pt x="468" y="646"/>
                  </a:cubicBezTo>
                  <a:cubicBezTo>
                    <a:pt x="458" y="635"/>
                    <a:pt x="426" y="625"/>
                    <a:pt x="406" y="604"/>
                  </a:cubicBezTo>
                  <a:lnTo>
                    <a:pt x="395" y="604"/>
                  </a:lnTo>
                  <a:cubicBezTo>
                    <a:pt x="374" y="604"/>
                    <a:pt x="374" y="604"/>
                    <a:pt x="374" y="604"/>
                  </a:cubicBezTo>
                  <a:cubicBezTo>
                    <a:pt x="374" y="604"/>
                    <a:pt x="364" y="604"/>
                    <a:pt x="353" y="604"/>
                  </a:cubicBezTo>
                  <a:cubicBezTo>
                    <a:pt x="343" y="604"/>
                    <a:pt x="333" y="604"/>
                    <a:pt x="322" y="604"/>
                  </a:cubicBezTo>
                  <a:cubicBezTo>
                    <a:pt x="312" y="604"/>
                    <a:pt x="291" y="604"/>
                    <a:pt x="281" y="614"/>
                  </a:cubicBezTo>
                  <a:cubicBezTo>
                    <a:pt x="260" y="614"/>
                    <a:pt x="249" y="614"/>
                    <a:pt x="239" y="625"/>
                  </a:cubicBezTo>
                  <a:cubicBezTo>
                    <a:pt x="228" y="625"/>
                    <a:pt x="218" y="625"/>
                    <a:pt x="208" y="635"/>
                  </a:cubicBezTo>
                  <a:cubicBezTo>
                    <a:pt x="187" y="635"/>
                    <a:pt x="176" y="646"/>
                    <a:pt x="166" y="656"/>
                  </a:cubicBezTo>
                  <a:cubicBezTo>
                    <a:pt x="156" y="667"/>
                    <a:pt x="145" y="677"/>
                    <a:pt x="135" y="698"/>
                  </a:cubicBezTo>
                  <a:cubicBezTo>
                    <a:pt x="124" y="708"/>
                    <a:pt x="124" y="729"/>
                    <a:pt x="124" y="750"/>
                  </a:cubicBezTo>
                  <a:cubicBezTo>
                    <a:pt x="124" y="771"/>
                    <a:pt x="124" y="792"/>
                    <a:pt x="135" y="812"/>
                  </a:cubicBezTo>
                  <a:cubicBezTo>
                    <a:pt x="145" y="833"/>
                    <a:pt x="166" y="844"/>
                    <a:pt x="187" y="854"/>
                  </a:cubicBezTo>
                  <a:cubicBezTo>
                    <a:pt x="208" y="875"/>
                    <a:pt x="228" y="885"/>
                    <a:pt x="260" y="896"/>
                  </a:cubicBezTo>
                  <a:cubicBezTo>
                    <a:pt x="281" y="896"/>
                    <a:pt x="322" y="906"/>
                    <a:pt x="353" y="906"/>
                  </a:cubicBezTo>
                  <a:cubicBezTo>
                    <a:pt x="416" y="906"/>
                    <a:pt x="468" y="885"/>
                    <a:pt x="499" y="864"/>
                  </a:cubicBezTo>
                  <a:cubicBezTo>
                    <a:pt x="531" y="844"/>
                    <a:pt x="551" y="802"/>
                    <a:pt x="551" y="771"/>
                  </a:cubicBezTo>
                  <a:close/>
                  <a:moveTo>
                    <a:pt x="437" y="365"/>
                  </a:moveTo>
                  <a:cubicBezTo>
                    <a:pt x="458" y="354"/>
                    <a:pt x="468" y="334"/>
                    <a:pt x="468" y="323"/>
                  </a:cubicBezTo>
                  <a:cubicBezTo>
                    <a:pt x="468" y="302"/>
                    <a:pt x="478" y="292"/>
                    <a:pt x="478" y="271"/>
                  </a:cubicBezTo>
                  <a:cubicBezTo>
                    <a:pt x="478" y="250"/>
                    <a:pt x="468" y="229"/>
                    <a:pt x="468" y="198"/>
                  </a:cubicBezTo>
                  <a:cubicBezTo>
                    <a:pt x="458" y="177"/>
                    <a:pt x="447" y="146"/>
                    <a:pt x="437" y="125"/>
                  </a:cubicBezTo>
                  <a:cubicBezTo>
                    <a:pt x="416" y="104"/>
                    <a:pt x="406" y="84"/>
                    <a:pt x="385" y="73"/>
                  </a:cubicBezTo>
                  <a:cubicBezTo>
                    <a:pt x="364" y="52"/>
                    <a:pt x="333" y="42"/>
                    <a:pt x="312" y="42"/>
                  </a:cubicBezTo>
                  <a:cubicBezTo>
                    <a:pt x="291" y="42"/>
                    <a:pt x="270" y="52"/>
                    <a:pt x="260" y="63"/>
                  </a:cubicBezTo>
                  <a:cubicBezTo>
                    <a:pt x="239" y="63"/>
                    <a:pt x="228" y="73"/>
                    <a:pt x="218" y="84"/>
                  </a:cubicBezTo>
                  <a:cubicBezTo>
                    <a:pt x="208" y="104"/>
                    <a:pt x="197" y="115"/>
                    <a:pt x="197" y="136"/>
                  </a:cubicBezTo>
                  <a:cubicBezTo>
                    <a:pt x="187" y="146"/>
                    <a:pt x="187" y="167"/>
                    <a:pt x="187" y="177"/>
                  </a:cubicBezTo>
                  <a:cubicBezTo>
                    <a:pt x="187" y="198"/>
                    <a:pt x="187" y="219"/>
                    <a:pt x="197" y="250"/>
                  </a:cubicBezTo>
                  <a:cubicBezTo>
                    <a:pt x="208" y="271"/>
                    <a:pt x="208" y="302"/>
                    <a:pt x="228" y="323"/>
                  </a:cubicBezTo>
                  <a:cubicBezTo>
                    <a:pt x="239" y="344"/>
                    <a:pt x="260" y="365"/>
                    <a:pt x="281" y="375"/>
                  </a:cubicBezTo>
                  <a:cubicBezTo>
                    <a:pt x="301" y="396"/>
                    <a:pt x="322" y="396"/>
                    <a:pt x="353" y="396"/>
                  </a:cubicBezTo>
                  <a:cubicBezTo>
                    <a:pt x="364" y="396"/>
                    <a:pt x="385" y="396"/>
                    <a:pt x="406" y="396"/>
                  </a:cubicBezTo>
                  <a:cubicBezTo>
                    <a:pt x="416" y="386"/>
                    <a:pt x="426" y="375"/>
                    <a:pt x="437" y="365"/>
                  </a:cubicBezTo>
                  <a:close/>
                  <a:moveTo>
                    <a:pt x="437" y="365"/>
                  </a:moveTo>
                  <a:lnTo>
                    <a:pt x="437" y="365"/>
                  </a:lnTo>
                  <a:close/>
                </a:path>
              </a:pathLst>
            </a:custGeom>
            <a:solidFill>
              <a:srgbClr val="B2B2B2"/>
            </a:solidFill>
            <a:ln>
              <a:noFill/>
            </a:ln>
            <a:effectLst/>
            <a:extLst/>
          </p:spPr>
          <p:txBody>
            <a:bodyPr wrap="none" lIns="121917" tIns="60958" rIns="121917" bIns="60958" anchor="ctr"/>
            <a:lstStyle/>
            <a:p>
              <a:pPr>
                <a:defRPr/>
              </a:pPr>
              <a:endParaRPr lang="en-US" dirty="0">
                <a:solidFill>
                  <a:srgbClr val="58595B"/>
                </a:solidFill>
                <a:latin typeface="+mj-lt"/>
                <a:ea typeface="SimSun" charset="0"/>
              </a:endParaRPr>
            </a:p>
          </p:txBody>
        </p:sp>
        <p:sp>
          <p:nvSpPr>
            <p:cNvPr id="39" name="Freeform 238"/>
            <p:cNvSpPr>
              <a:spLocks noChangeArrowheads="1"/>
            </p:cNvSpPr>
            <p:nvPr/>
          </p:nvSpPr>
          <p:spPr bwMode="auto">
            <a:xfrm>
              <a:off x="9737637" y="4596884"/>
              <a:ext cx="706141" cy="1375118"/>
            </a:xfrm>
            <a:custGeom>
              <a:avLst/>
              <a:gdLst>
                <a:gd name="T0" fmla="*/ 502 w 503"/>
                <a:gd name="T1" fmla="*/ 351 h 980"/>
                <a:gd name="T2" fmla="*/ 318 w 503"/>
                <a:gd name="T3" fmla="*/ 351 h 980"/>
                <a:gd name="T4" fmla="*/ 318 w 503"/>
                <a:gd name="T5" fmla="*/ 260 h 980"/>
                <a:gd name="T6" fmla="*/ 368 w 503"/>
                <a:gd name="T7" fmla="*/ 176 h 980"/>
                <a:gd name="T8" fmla="*/ 485 w 503"/>
                <a:gd name="T9" fmla="*/ 176 h 980"/>
                <a:gd name="T10" fmla="*/ 485 w 503"/>
                <a:gd name="T11" fmla="*/ 0 h 980"/>
                <a:gd name="T12" fmla="*/ 284 w 503"/>
                <a:gd name="T13" fmla="*/ 0 h 980"/>
                <a:gd name="T14" fmla="*/ 117 w 503"/>
                <a:gd name="T15" fmla="*/ 168 h 980"/>
                <a:gd name="T16" fmla="*/ 117 w 503"/>
                <a:gd name="T17" fmla="*/ 351 h 980"/>
                <a:gd name="T18" fmla="*/ 0 w 503"/>
                <a:gd name="T19" fmla="*/ 351 h 980"/>
                <a:gd name="T20" fmla="*/ 0 w 503"/>
                <a:gd name="T21" fmla="*/ 494 h 980"/>
                <a:gd name="T22" fmla="*/ 117 w 503"/>
                <a:gd name="T23" fmla="*/ 494 h 980"/>
                <a:gd name="T24" fmla="*/ 117 w 503"/>
                <a:gd name="T25" fmla="*/ 979 h 980"/>
                <a:gd name="T26" fmla="*/ 318 w 503"/>
                <a:gd name="T27" fmla="*/ 979 h 980"/>
                <a:gd name="T28" fmla="*/ 318 w 503"/>
                <a:gd name="T29" fmla="*/ 494 h 980"/>
                <a:gd name="T30" fmla="*/ 451 w 503"/>
                <a:gd name="T31" fmla="*/ 494 h 980"/>
                <a:gd name="T32" fmla="*/ 502 w 503"/>
                <a:gd name="T33" fmla="*/ 351 h 980"/>
                <a:gd name="T34" fmla="*/ 502 w 503"/>
                <a:gd name="T35" fmla="*/ 351 h 980"/>
                <a:gd name="T36" fmla="*/ 502 w 503"/>
                <a:gd name="T37" fmla="*/ 351 h 9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3" h="980">
                  <a:moveTo>
                    <a:pt x="502" y="351"/>
                  </a:moveTo>
                  <a:cubicBezTo>
                    <a:pt x="318" y="351"/>
                    <a:pt x="318" y="351"/>
                    <a:pt x="318" y="351"/>
                  </a:cubicBezTo>
                  <a:cubicBezTo>
                    <a:pt x="318" y="260"/>
                    <a:pt x="318" y="260"/>
                    <a:pt x="318" y="260"/>
                  </a:cubicBezTo>
                  <a:cubicBezTo>
                    <a:pt x="318" y="260"/>
                    <a:pt x="309" y="176"/>
                    <a:pt x="368" y="176"/>
                  </a:cubicBezTo>
                  <a:cubicBezTo>
                    <a:pt x="485" y="176"/>
                    <a:pt x="485" y="176"/>
                    <a:pt x="485" y="176"/>
                  </a:cubicBezTo>
                  <a:cubicBezTo>
                    <a:pt x="485" y="0"/>
                    <a:pt x="485" y="0"/>
                    <a:pt x="485" y="0"/>
                  </a:cubicBezTo>
                  <a:cubicBezTo>
                    <a:pt x="284" y="0"/>
                    <a:pt x="284" y="0"/>
                    <a:pt x="284" y="0"/>
                  </a:cubicBezTo>
                  <a:cubicBezTo>
                    <a:pt x="284" y="0"/>
                    <a:pt x="117" y="0"/>
                    <a:pt x="117" y="168"/>
                  </a:cubicBezTo>
                  <a:cubicBezTo>
                    <a:pt x="117" y="209"/>
                    <a:pt x="117" y="268"/>
                    <a:pt x="117" y="351"/>
                  </a:cubicBezTo>
                  <a:cubicBezTo>
                    <a:pt x="0" y="351"/>
                    <a:pt x="0" y="351"/>
                    <a:pt x="0" y="351"/>
                  </a:cubicBezTo>
                  <a:cubicBezTo>
                    <a:pt x="0" y="494"/>
                    <a:pt x="0" y="494"/>
                    <a:pt x="0" y="494"/>
                  </a:cubicBezTo>
                  <a:cubicBezTo>
                    <a:pt x="117" y="494"/>
                    <a:pt x="117" y="494"/>
                    <a:pt x="117" y="494"/>
                  </a:cubicBezTo>
                  <a:cubicBezTo>
                    <a:pt x="117" y="719"/>
                    <a:pt x="117" y="979"/>
                    <a:pt x="117" y="979"/>
                  </a:cubicBezTo>
                  <a:cubicBezTo>
                    <a:pt x="318" y="979"/>
                    <a:pt x="318" y="979"/>
                    <a:pt x="318" y="979"/>
                  </a:cubicBezTo>
                  <a:cubicBezTo>
                    <a:pt x="318" y="494"/>
                    <a:pt x="318" y="494"/>
                    <a:pt x="318" y="494"/>
                  </a:cubicBezTo>
                  <a:cubicBezTo>
                    <a:pt x="451" y="494"/>
                    <a:pt x="451" y="494"/>
                    <a:pt x="451" y="494"/>
                  </a:cubicBezTo>
                  <a:lnTo>
                    <a:pt x="502" y="351"/>
                  </a:lnTo>
                  <a:close/>
                  <a:moveTo>
                    <a:pt x="502" y="351"/>
                  </a:moveTo>
                  <a:lnTo>
                    <a:pt x="502" y="351"/>
                  </a:lnTo>
                  <a:close/>
                </a:path>
              </a:pathLst>
            </a:custGeom>
            <a:solidFill>
              <a:schemeClr val="accent3"/>
            </a:solidFill>
            <a:ln>
              <a:noFill/>
            </a:ln>
            <a:effectLst/>
            <a:extLst/>
          </p:spPr>
          <p:txBody>
            <a:bodyPr wrap="none" lIns="121917" tIns="60958" rIns="121917" bIns="60958" anchor="ctr"/>
            <a:lstStyle/>
            <a:p>
              <a:pPr>
                <a:defRPr/>
              </a:pPr>
              <a:endParaRPr lang="en-US" dirty="0">
                <a:solidFill>
                  <a:srgbClr val="58595B"/>
                </a:solidFill>
                <a:latin typeface="+mj-lt"/>
                <a:ea typeface="SimSun" charset="0"/>
              </a:endParaRPr>
            </a:p>
          </p:txBody>
        </p:sp>
        <p:grpSp>
          <p:nvGrpSpPr>
            <p:cNvPr id="40" name="Group 26"/>
            <p:cNvGrpSpPr>
              <a:grpSpLocks/>
            </p:cNvGrpSpPr>
            <p:nvPr>
              <p:custDataLst>
                <p:tags r:id="rId6"/>
              </p:custDataLst>
            </p:nvPr>
          </p:nvGrpSpPr>
          <p:grpSpPr bwMode="auto">
            <a:xfrm>
              <a:off x="9613237" y="9751481"/>
              <a:ext cx="676323" cy="984426"/>
              <a:chOff x="4294188" y="1712913"/>
              <a:chExt cx="285750" cy="415925"/>
            </a:xfrm>
            <a:solidFill>
              <a:schemeClr val="accent3"/>
            </a:solidFill>
          </p:grpSpPr>
          <p:sp>
            <p:nvSpPr>
              <p:cNvPr id="41" name="Freeform 166"/>
              <p:cNvSpPr>
                <a:spLocks noChangeArrowheads="1"/>
              </p:cNvSpPr>
              <p:nvPr/>
            </p:nvSpPr>
            <p:spPr bwMode="auto">
              <a:xfrm>
                <a:off x="4294188" y="1712913"/>
                <a:ext cx="285750" cy="415925"/>
              </a:xfrm>
              <a:custGeom>
                <a:avLst/>
                <a:gdLst>
                  <a:gd name="T0" fmla="*/ 396 w 793"/>
                  <a:gd name="T1" fmla="*/ 146 h 1157"/>
                  <a:gd name="T2" fmla="*/ 553 w 793"/>
                  <a:gd name="T3" fmla="*/ 209 h 1157"/>
                  <a:gd name="T4" fmla="*/ 615 w 793"/>
                  <a:gd name="T5" fmla="*/ 365 h 1157"/>
                  <a:gd name="T6" fmla="*/ 553 w 793"/>
                  <a:gd name="T7" fmla="*/ 511 h 1157"/>
                  <a:gd name="T8" fmla="*/ 396 w 793"/>
                  <a:gd name="T9" fmla="*/ 709 h 1157"/>
                  <a:gd name="T10" fmla="*/ 240 w 793"/>
                  <a:gd name="T11" fmla="*/ 511 h 1157"/>
                  <a:gd name="T12" fmla="*/ 178 w 793"/>
                  <a:gd name="T13" fmla="*/ 365 h 1157"/>
                  <a:gd name="T14" fmla="*/ 240 w 793"/>
                  <a:gd name="T15" fmla="*/ 209 h 1157"/>
                  <a:gd name="T16" fmla="*/ 396 w 793"/>
                  <a:gd name="T17" fmla="*/ 146 h 1157"/>
                  <a:gd name="T18" fmla="*/ 396 w 793"/>
                  <a:gd name="T19" fmla="*/ 0 h 1157"/>
                  <a:gd name="T20" fmla="*/ 136 w 793"/>
                  <a:gd name="T21" fmla="*/ 105 h 1157"/>
                  <a:gd name="T22" fmla="*/ 136 w 793"/>
                  <a:gd name="T23" fmla="*/ 615 h 1157"/>
                  <a:gd name="T24" fmla="*/ 396 w 793"/>
                  <a:gd name="T25" fmla="*/ 1156 h 1157"/>
                  <a:gd name="T26" fmla="*/ 646 w 793"/>
                  <a:gd name="T27" fmla="*/ 615 h 1157"/>
                  <a:gd name="T28" fmla="*/ 646 w 793"/>
                  <a:gd name="T29" fmla="*/ 105 h 1157"/>
                  <a:gd name="T30" fmla="*/ 396 w 793"/>
                  <a:gd name="T31" fmla="*/ 0 h 1157"/>
                  <a:gd name="T32" fmla="*/ 396 w 793"/>
                  <a:gd name="T33" fmla="*/ 146 h 1157"/>
                  <a:gd name="T34" fmla="*/ 396 w 793"/>
                  <a:gd name="T35" fmla="*/ 0 h 1157"/>
                  <a:gd name="T36" fmla="*/ 396 w 793"/>
                  <a:gd name="T37"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3" h="1157">
                    <a:moveTo>
                      <a:pt x="396" y="146"/>
                    </a:moveTo>
                    <a:cubicBezTo>
                      <a:pt x="448" y="146"/>
                      <a:pt x="511" y="167"/>
                      <a:pt x="553" y="209"/>
                    </a:cubicBezTo>
                    <a:cubicBezTo>
                      <a:pt x="584" y="250"/>
                      <a:pt x="615" y="302"/>
                      <a:pt x="615" y="365"/>
                    </a:cubicBezTo>
                    <a:cubicBezTo>
                      <a:pt x="615" y="417"/>
                      <a:pt x="584" y="469"/>
                      <a:pt x="553" y="511"/>
                    </a:cubicBezTo>
                    <a:cubicBezTo>
                      <a:pt x="542" y="521"/>
                      <a:pt x="469" y="594"/>
                      <a:pt x="396" y="709"/>
                    </a:cubicBezTo>
                    <a:cubicBezTo>
                      <a:pt x="323" y="594"/>
                      <a:pt x="250" y="521"/>
                      <a:pt x="240" y="511"/>
                    </a:cubicBezTo>
                    <a:cubicBezTo>
                      <a:pt x="198" y="469"/>
                      <a:pt x="178" y="417"/>
                      <a:pt x="178" y="365"/>
                    </a:cubicBezTo>
                    <a:cubicBezTo>
                      <a:pt x="178" y="302"/>
                      <a:pt x="198" y="250"/>
                      <a:pt x="240" y="209"/>
                    </a:cubicBezTo>
                    <a:cubicBezTo>
                      <a:pt x="282" y="167"/>
                      <a:pt x="334" y="146"/>
                      <a:pt x="396" y="146"/>
                    </a:cubicBezTo>
                    <a:lnTo>
                      <a:pt x="396" y="0"/>
                    </a:lnTo>
                    <a:cubicBezTo>
                      <a:pt x="303" y="0"/>
                      <a:pt x="209" y="32"/>
                      <a:pt x="136" y="105"/>
                    </a:cubicBezTo>
                    <a:cubicBezTo>
                      <a:pt x="0" y="250"/>
                      <a:pt x="0" y="480"/>
                      <a:pt x="136" y="615"/>
                    </a:cubicBezTo>
                    <a:cubicBezTo>
                      <a:pt x="136" y="615"/>
                      <a:pt x="396" y="865"/>
                      <a:pt x="396" y="1156"/>
                    </a:cubicBezTo>
                    <a:cubicBezTo>
                      <a:pt x="396" y="865"/>
                      <a:pt x="646" y="615"/>
                      <a:pt x="646" y="615"/>
                    </a:cubicBezTo>
                    <a:cubicBezTo>
                      <a:pt x="792" y="480"/>
                      <a:pt x="792" y="250"/>
                      <a:pt x="646" y="105"/>
                    </a:cubicBezTo>
                    <a:cubicBezTo>
                      <a:pt x="584" y="32"/>
                      <a:pt x="490" y="0"/>
                      <a:pt x="396" y="0"/>
                    </a:cubicBezTo>
                    <a:lnTo>
                      <a:pt x="396" y="146"/>
                    </a:lnTo>
                    <a:close/>
                    <a:moveTo>
                      <a:pt x="396" y="0"/>
                    </a:moveTo>
                    <a:lnTo>
                      <a:pt x="396" y="0"/>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dirty="0">
                  <a:solidFill>
                    <a:srgbClr val="58595B"/>
                  </a:solidFill>
                  <a:latin typeface="+mj-lt"/>
                  <a:ea typeface="SimSun" charset="0"/>
                </a:endParaRPr>
              </a:p>
            </p:txBody>
          </p:sp>
          <p:sp>
            <p:nvSpPr>
              <p:cNvPr id="42" name="Freeform 167"/>
              <p:cNvSpPr>
                <a:spLocks noChangeArrowheads="1"/>
              </p:cNvSpPr>
              <p:nvPr/>
            </p:nvSpPr>
            <p:spPr bwMode="auto">
              <a:xfrm>
                <a:off x="4410075" y="1817688"/>
                <a:ext cx="52388" cy="52387"/>
              </a:xfrm>
              <a:custGeom>
                <a:avLst/>
                <a:gdLst>
                  <a:gd name="T0" fmla="*/ 146 w 147"/>
                  <a:gd name="T1" fmla="*/ 73 h 147"/>
                  <a:gd name="T2" fmla="*/ 73 w 147"/>
                  <a:gd name="T3" fmla="*/ 146 h 147"/>
                  <a:gd name="T4" fmla="*/ 0 w 147"/>
                  <a:gd name="T5" fmla="*/ 73 h 147"/>
                  <a:gd name="T6" fmla="*/ 73 w 147"/>
                  <a:gd name="T7" fmla="*/ 0 h 147"/>
                  <a:gd name="T8" fmla="*/ 146 w 147"/>
                  <a:gd name="T9" fmla="*/ 73 h 147"/>
                  <a:gd name="T10" fmla="*/ 146 w 147"/>
                  <a:gd name="T11" fmla="*/ 73 h 147"/>
                  <a:gd name="T12" fmla="*/ 146 w 147"/>
                  <a:gd name="T13" fmla="*/ 73 h 147"/>
                </a:gdLst>
                <a:ahLst/>
                <a:cxnLst>
                  <a:cxn ang="0">
                    <a:pos x="T0" y="T1"/>
                  </a:cxn>
                  <a:cxn ang="0">
                    <a:pos x="T2" y="T3"/>
                  </a:cxn>
                  <a:cxn ang="0">
                    <a:pos x="T4" y="T5"/>
                  </a:cxn>
                  <a:cxn ang="0">
                    <a:pos x="T6" y="T7"/>
                  </a:cxn>
                  <a:cxn ang="0">
                    <a:pos x="T8" y="T9"/>
                  </a:cxn>
                  <a:cxn ang="0">
                    <a:pos x="T10" y="T11"/>
                  </a:cxn>
                  <a:cxn ang="0">
                    <a:pos x="T12" y="T13"/>
                  </a:cxn>
                </a:cxnLst>
                <a:rect l="0" t="0" r="r" b="b"/>
                <a:pathLst>
                  <a:path w="147" h="147">
                    <a:moveTo>
                      <a:pt x="146" y="73"/>
                    </a:moveTo>
                    <a:cubicBezTo>
                      <a:pt x="146" y="104"/>
                      <a:pt x="115" y="146"/>
                      <a:pt x="73" y="146"/>
                    </a:cubicBezTo>
                    <a:cubicBezTo>
                      <a:pt x="32" y="146"/>
                      <a:pt x="0" y="104"/>
                      <a:pt x="0" y="73"/>
                    </a:cubicBezTo>
                    <a:cubicBezTo>
                      <a:pt x="0" y="31"/>
                      <a:pt x="32" y="0"/>
                      <a:pt x="73" y="0"/>
                    </a:cubicBezTo>
                    <a:cubicBezTo>
                      <a:pt x="115" y="0"/>
                      <a:pt x="146" y="31"/>
                      <a:pt x="146" y="73"/>
                    </a:cubicBezTo>
                    <a:close/>
                    <a:moveTo>
                      <a:pt x="146" y="73"/>
                    </a:moveTo>
                    <a:lnTo>
                      <a:pt x="146" y="73"/>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US" dirty="0">
                  <a:solidFill>
                    <a:srgbClr val="58595B"/>
                  </a:solidFill>
                  <a:latin typeface="+mj-lt"/>
                  <a:ea typeface="SimSun" charset="0"/>
                </a:endParaRPr>
              </a:p>
            </p:txBody>
          </p:sp>
        </p:grpSp>
        <p:sp>
          <p:nvSpPr>
            <p:cNvPr id="59" name="Freeform 37"/>
            <p:cNvSpPr>
              <a:spLocks/>
            </p:cNvSpPr>
            <p:nvPr/>
          </p:nvSpPr>
          <p:spPr bwMode="auto">
            <a:xfrm>
              <a:off x="9841253" y="7007893"/>
              <a:ext cx="3946093" cy="6779249"/>
            </a:xfrm>
            <a:custGeom>
              <a:avLst/>
              <a:gdLst>
                <a:gd name="T0" fmla="*/ 470 w 588"/>
                <a:gd name="T1" fmla="*/ 274 h 1010"/>
                <a:gd name="T2" fmla="*/ 543 w 588"/>
                <a:gd name="T3" fmla="*/ 164 h 1010"/>
                <a:gd name="T4" fmla="*/ 588 w 588"/>
                <a:gd name="T5" fmla="*/ 13 h 1010"/>
                <a:gd name="T6" fmla="*/ 580 w 588"/>
                <a:gd name="T7" fmla="*/ 9 h 1010"/>
                <a:gd name="T8" fmla="*/ 531 w 588"/>
                <a:gd name="T9" fmla="*/ 143 h 1010"/>
                <a:gd name="T10" fmla="*/ 456 w 588"/>
                <a:gd name="T11" fmla="*/ 237 h 1010"/>
                <a:gd name="T12" fmla="*/ 454 w 588"/>
                <a:gd name="T13" fmla="*/ 238 h 1010"/>
                <a:gd name="T14" fmla="*/ 310 w 588"/>
                <a:gd name="T15" fmla="*/ 0 h 1010"/>
                <a:gd name="T16" fmla="*/ 272 w 588"/>
                <a:gd name="T17" fmla="*/ 25 h 1010"/>
                <a:gd name="T18" fmla="*/ 401 w 588"/>
                <a:gd name="T19" fmla="*/ 434 h 1010"/>
                <a:gd name="T20" fmla="*/ 234 w 588"/>
                <a:gd name="T21" fmla="*/ 365 h 1010"/>
                <a:gd name="T22" fmla="*/ 106 w 588"/>
                <a:gd name="T23" fmla="*/ 257 h 1010"/>
                <a:gd name="T24" fmla="*/ 12 w 588"/>
                <a:gd name="T25" fmla="*/ 95 h 1010"/>
                <a:gd name="T26" fmla="*/ 0 w 588"/>
                <a:gd name="T27" fmla="*/ 101 h 1010"/>
                <a:gd name="T28" fmla="*/ 90 w 588"/>
                <a:gd name="T29" fmla="*/ 284 h 1010"/>
                <a:gd name="T30" fmla="*/ 218 w 588"/>
                <a:gd name="T31" fmla="*/ 413 h 1010"/>
                <a:gd name="T32" fmla="*/ 406 w 588"/>
                <a:gd name="T33" fmla="*/ 511 h 1010"/>
                <a:gd name="T34" fmla="*/ 331 w 588"/>
                <a:gd name="T35" fmla="*/ 1010 h 1010"/>
                <a:gd name="T36" fmla="*/ 557 w 588"/>
                <a:gd name="T37" fmla="*/ 1010 h 1010"/>
                <a:gd name="T38" fmla="*/ 546 w 588"/>
                <a:gd name="T39" fmla="*/ 509 h 1010"/>
                <a:gd name="T40" fmla="*/ 470 w 588"/>
                <a:gd name="T41" fmla="*/ 274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8" h="1010">
                  <a:moveTo>
                    <a:pt x="470" y="274"/>
                  </a:moveTo>
                  <a:cubicBezTo>
                    <a:pt x="498" y="243"/>
                    <a:pt x="523" y="207"/>
                    <a:pt x="543" y="164"/>
                  </a:cubicBezTo>
                  <a:cubicBezTo>
                    <a:pt x="564" y="120"/>
                    <a:pt x="581" y="71"/>
                    <a:pt x="588" y="13"/>
                  </a:cubicBezTo>
                  <a:cubicBezTo>
                    <a:pt x="580" y="9"/>
                    <a:pt x="580" y="9"/>
                    <a:pt x="580" y="9"/>
                  </a:cubicBezTo>
                  <a:cubicBezTo>
                    <a:pt x="571" y="60"/>
                    <a:pt x="552" y="106"/>
                    <a:pt x="531" y="143"/>
                  </a:cubicBezTo>
                  <a:cubicBezTo>
                    <a:pt x="509" y="181"/>
                    <a:pt x="483" y="212"/>
                    <a:pt x="456" y="237"/>
                  </a:cubicBezTo>
                  <a:cubicBezTo>
                    <a:pt x="455" y="238"/>
                    <a:pt x="455" y="238"/>
                    <a:pt x="454" y="238"/>
                  </a:cubicBezTo>
                  <a:cubicBezTo>
                    <a:pt x="415" y="153"/>
                    <a:pt x="366" y="73"/>
                    <a:pt x="310" y="0"/>
                  </a:cubicBezTo>
                  <a:cubicBezTo>
                    <a:pt x="272" y="25"/>
                    <a:pt x="272" y="25"/>
                    <a:pt x="272" y="25"/>
                  </a:cubicBezTo>
                  <a:cubicBezTo>
                    <a:pt x="346" y="158"/>
                    <a:pt x="386" y="295"/>
                    <a:pt x="401" y="434"/>
                  </a:cubicBezTo>
                  <a:cubicBezTo>
                    <a:pt x="344" y="419"/>
                    <a:pt x="287" y="397"/>
                    <a:pt x="234" y="365"/>
                  </a:cubicBezTo>
                  <a:cubicBezTo>
                    <a:pt x="188" y="337"/>
                    <a:pt x="145" y="301"/>
                    <a:pt x="106" y="257"/>
                  </a:cubicBezTo>
                  <a:cubicBezTo>
                    <a:pt x="68" y="212"/>
                    <a:pt x="32" y="157"/>
                    <a:pt x="12" y="95"/>
                  </a:cubicBezTo>
                  <a:cubicBezTo>
                    <a:pt x="0" y="101"/>
                    <a:pt x="0" y="101"/>
                    <a:pt x="0" y="101"/>
                  </a:cubicBezTo>
                  <a:cubicBezTo>
                    <a:pt x="18" y="172"/>
                    <a:pt x="52" y="232"/>
                    <a:pt x="90" y="284"/>
                  </a:cubicBezTo>
                  <a:cubicBezTo>
                    <a:pt x="128" y="335"/>
                    <a:pt x="172" y="378"/>
                    <a:pt x="218" y="413"/>
                  </a:cubicBezTo>
                  <a:cubicBezTo>
                    <a:pt x="278" y="457"/>
                    <a:pt x="341" y="489"/>
                    <a:pt x="406" y="511"/>
                  </a:cubicBezTo>
                  <a:cubicBezTo>
                    <a:pt x="412" y="679"/>
                    <a:pt x="383" y="847"/>
                    <a:pt x="331" y="1010"/>
                  </a:cubicBezTo>
                  <a:cubicBezTo>
                    <a:pt x="557" y="1010"/>
                    <a:pt x="557" y="1010"/>
                    <a:pt x="557" y="1010"/>
                  </a:cubicBezTo>
                  <a:cubicBezTo>
                    <a:pt x="583" y="820"/>
                    <a:pt x="587" y="695"/>
                    <a:pt x="546" y="509"/>
                  </a:cubicBezTo>
                  <a:cubicBezTo>
                    <a:pt x="528" y="428"/>
                    <a:pt x="503" y="349"/>
                    <a:pt x="470" y="274"/>
                  </a:cubicBezTo>
                  <a:close/>
                </a:path>
              </a:pathLst>
            </a:custGeom>
            <a:solidFill>
              <a:schemeClr val="bg1">
                <a:lumMod val="50000"/>
              </a:schemeClr>
            </a:solidFill>
            <a:ln>
              <a:noFill/>
            </a:ln>
            <a:extLst/>
          </p:spPr>
          <p:txBody>
            <a:bodyPr vert="horz" wrap="square" lIns="91440" tIns="45720" rIns="91440" bIns="45720" numCol="1" anchor="t" anchorCtr="0" compatLnSpc="1">
              <a:prstTxWarp prst="textNoShape">
                <a:avLst/>
              </a:prstTxWarp>
            </a:bodyPr>
            <a:lstStyle/>
            <a:p>
              <a:endParaRPr lang="id-ID"/>
            </a:p>
          </p:txBody>
        </p:sp>
      </p:grpSp>
      <p:sp>
        <p:nvSpPr>
          <p:cNvPr id="69" name="TextBox 68"/>
          <p:cNvSpPr txBox="1"/>
          <p:nvPr/>
        </p:nvSpPr>
        <p:spPr>
          <a:xfrm>
            <a:off x="8808458" y="1381572"/>
            <a:ext cx="3368030" cy="400110"/>
          </a:xfrm>
          <a:prstGeom prst="rect">
            <a:avLst/>
          </a:prstGeom>
          <a:noFill/>
        </p:spPr>
        <p:txBody>
          <a:bodyPr wrap="square" rtlCol="0">
            <a:spAutoFit/>
          </a:bodyPr>
          <a:lstStyle/>
          <a:p>
            <a:pPr algn="r"/>
            <a:r>
              <a:rPr lang="en-US" sz="2000" dirty="0" smtClean="0">
                <a:solidFill>
                  <a:srgbClr val="58595B"/>
                </a:solidFill>
                <a:latin typeface="+mj-lt"/>
                <a:cs typeface="Open Sans Light"/>
              </a:rPr>
              <a:t>Third Factor</a:t>
            </a:r>
            <a:endParaRPr lang="en-US" sz="2000" dirty="0">
              <a:solidFill>
                <a:srgbClr val="58595B"/>
              </a:solidFill>
              <a:latin typeface="+mj-lt"/>
              <a:cs typeface="Open Sans Light"/>
            </a:endParaRPr>
          </a:p>
        </p:txBody>
      </p:sp>
      <p:sp>
        <p:nvSpPr>
          <p:cNvPr id="70" name="TextBox 69"/>
          <p:cNvSpPr txBox="1"/>
          <p:nvPr/>
        </p:nvSpPr>
        <p:spPr>
          <a:xfrm>
            <a:off x="8808458" y="1821871"/>
            <a:ext cx="3368030" cy="1499674"/>
          </a:xfrm>
          <a:prstGeom prst="rect">
            <a:avLst/>
          </a:prstGeom>
          <a:noFill/>
        </p:spPr>
        <p:txBody>
          <a:bodyPr wrap="square" rtlCol="0">
            <a:noAutofit/>
          </a:bodyPr>
          <a:lstStyle/>
          <a:p>
            <a:pPr algn="r">
              <a:lnSpc>
                <a:spcPct val="120000"/>
              </a:lnSpc>
            </a:pPr>
            <a:r>
              <a:rPr lang="en-US" sz="1600" dirty="0">
                <a:solidFill>
                  <a:srgbClr val="58595B"/>
                </a:solidFill>
                <a:latin typeface="Roboto Regular" pitchFamily="2" charset="0"/>
                <a:ea typeface="Roboto Regular" pitchFamily="2" charset="0"/>
                <a:cs typeface="Open Sans Light"/>
              </a:rPr>
              <a:t>Lorem ipsum dolor sit amet, consectetur adipiscing elit. Praesent </a:t>
            </a:r>
            <a:r>
              <a:rPr lang="en-US" sz="1600" dirty="0" err="1">
                <a:solidFill>
                  <a:srgbClr val="58595B"/>
                </a:solidFill>
                <a:latin typeface="Roboto Regular" pitchFamily="2" charset="0"/>
                <a:ea typeface="Roboto Regular" pitchFamily="2" charset="0"/>
                <a:cs typeface="Open Sans Light"/>
              </a:rPr>
              <a:t>molestie</a:t>
            </a:r>
            <a:r>
              <a:rPr lang="en-US" sz="1600" dirty="0">
                <a:solidFill>
                  <a:srgbClr val="58595B"/>
                </a:solidFill>
                <a:latin typeface="Roboto Regular" pitchFamily="2" charset="0"/>
                <a:ea typeface="Roboto Regular" pitchFamily="2" charset="0"/>
                <a:cs typeface="Open Sans Light"/>
              </a:rPr>
              <a:t> </a:t>
            </a:r>
            <a:r>
              <a:rPr lang="en-US" sz="1600" dirty="0" err="1">
                <a:solidFill>
                  <a:srgbClr val="58595B"/>
                </a:solidFill>
                <a:latin typeface="Roboto Regular" pitchFamily="2" charset="0"/>
                <a:ea typeface="Roboto Regular" pitchFamily="2" charset="0"/>
                <a:cs typeface="Open Sans Light"/>
              </a:rPr>
              <a:t>efficitur</a:t>
            </a:r>
            <a:r>
              <a:rPr lang="en-US" sz="1600" dirty="0">
                <a:solidFill>
                  <a:srgbClr val="58595B"/>
                </a:solidFill>
                <a:latin typeface="Roboto Regular" pitchFamily="2" charset="0"/>
                <a:ea typeface="Roboto Regular" pitchFamily="2" charset="0"/>
                <a:cs typeface="Open Sans Light"/>
              </a:rPr>
              <a:t> </a:t>
            </a:r>
            <a:r>
              <a:rPr lang="en-US" sz="1600" dirty="0" err="1">
                <a:solidFill>
                  <a:srgbClr val="58595B"/>
                </a:solidFill>
                <a:latin typeface="Roboto Regular" pitchFamily="2" charset="0"/>
                <a:ea typeface="Roboto Regular" pitchFamily="2" charset="0"/>
                <a:cs typeface="Open Sans Light"/>
              </a:rPr>
              <a:t>est</a:t>
            </a:r>
            <a:r>
              <a:rPr lang="en-US" sz="1600" dirty="0" smtClean="0">
                <a:solidFill>
                  <a:srgbClr val="58595B"/>
                </a:solidFill>
                <a:latin typeface="Roboto Regular" pitchFamily="2" charset="0"/>
                <a:ea typeface="Roboto Regular" pitchFamily="2" charset="0"/>
                <a:cs typeface="Open Sans Light"/>
              </a:rPr>
              <a:t>,</a:t>
            </a:r>
            <a:endParaRPr lang="en-US" sz="1600" dirty="0">
              <a:solidFill>
                <a:srgbClr val="58595B"/>
              </a:solidFill>
              <a:latin typeface="Roboto Regular" pitchFamily="2" charset="0"/>
              <a:ea typeface="Roboto Regular" pitchFamily="2" charset="0"/>
              <a:cs typeface="Open Sans Light"/>
            </a:endParaRPr>
          </a:p>
        </p:txBody>
      </p:sp>
      <p:sp>
        <p:nvSpPr>
          <p:cNvPr id="67" name="TextBox 66"/>
          <p:cNvSpPr txBox="1"/>
          <p:nvPr/>
        </p:nvSpPr>
        <p:spPr>
          <a:xfrm>
            <a:off x="8808458" y="3118386"/>
            <a:ext cx="3368030" cy="400110"/>
          </a:xfrm>
          <a:prstGeom prst="rect">
            <a:avLst/>
          </a:prstGeom>
          <a:noFill/>
        </p:spPr>
        <p:txBody>
          <a:bodyPr wrap="square" rtlCol="0">
            <a:spAutoFit/>
          </a:bodyPr>
          <a:lstStyle/>
          <a:p>
            <a:pPr algn="r"/>
            <a:r>
              <a:rPr lang="en-US" sz="2000" dirty="0" smtClean="0">
                <a:solidFill>
                  <a:srgbClr val="58595B"/>
                </a:solidFill>
                <a:latin typeface="+mj-lt"/>
                <a:cs typeface="Open Sans Light"/>
              </a:rPr>
              <a:t>Forth Factor</a:t>
            </a:r>
            <a:endParaRPr lang="en-US" sz="2000" dirty="0">
              <a:solidFill>
                <a:srgbClr val="58595B"/>
              </a:solidFill>
              <a:latin typeface="+mj-lt"/>
              <a:cs typeface="Open Sans Light"/>
            </a:endParaRPr>
          </a:p>
        </p:txBody>
      </p:sp>
      <p:sp>
        <p:nvSpPr>
          <p:cNvPr id="68" name="TextBox 67"/>
          <p:cNvSpPr txBox="1"/>
          <p:nvPr/>
        </p:nvSpPr>
        <p:spPr>
          <a:xfrm>
            <a:off x="8808458" y="3558685"/>
            <a:ext cx="3368030" cy="1499674"/>
          </a:xfrm>
          <a:prstGeom prst="rect">
            <a:avLst/>
          </a:prstGeom>
          <a:noFill/>
        </p:spPr>
        <p:txBody>
          <a:bodyPr wrap="square" rtlCol="0">
            <a:noAutofit/>
          </a:bodyPr>
          <a:lstStyle/>
          <a:p>
            <a:pPr algn="r">
              <a:lnSpc>
                <a:spcPct val="120000"/>
              </a:lnSpc>
            </a:pPr>
            <a:r>
              <a:rPr lang="en-US" sz="1600" dirty="0">
                <a:solidFill>
                  <a:srgbClr val="58595B"/>
                </a:solidFill>
                <a:latin typeface="Roboto Regular" pitchFamily="2" charset="0"/>
                <a:ea typeface="Roboto Regular" pitchFamily="2" charset="0"/>
                <a:cs typeface="Open Sans Light"/>
              </a:rPr>
              <a:t>Lorem ipsum dolor sit amet, consectetur adipiscing elit. Praesent </a:t>
            </a:r>
            <a:r>
              <a:rPr lang="en-US" sz="1600" dirty="0" err="1">
                <a:solidFill>
                  <a:srgbClr val="58595B"/>
                </a:solidFill>
                <a:latin typeface="Roboto Regular" pitchFamily="2" charset="0"/>
                <a:ea typeface="Roboto Regular" pitchFamily="2" charset="0"/>
                <a:cs typeface="Open Sans Light"/>
              </a:rPr>
              <a:t>molestie</a:t>
            </a:r>
            <a:r>
              <a:rPr lang="en-US" sz="1600" dirty="0">
                <a:solidFill>
                  <a:srgbClr val="58595B"/>
                </a:solidFill>
                <a:latin typeface="Roboto Regular" pitchFamily="2" charset="0"/>
                <a:ea typeface="Roboto Regular" pitchFamily="2" charset="0"/>
                <a:cs typeface="Open Sans Light"/>
              </a:rPr>
              <a:t> </a:t>
            </a:r>
            <a:r>
              <a:rPr lang="en-US" sz="1600" dirty="0" err="1">
                <a:solidFill>
                  <a:srgbClr val="58595B"/>
                </a:solidFill>
                <a:latin typeface="Roboto Regular" pitchFamily="2" charset="0"/>
                <a:ea typeface="Roboto Regular" pitchFamily="2" charset="0"/>
                <a:cs typeface="Open Sans Light"/>
              </a:rPr>
              <a:t>efficitur</a:t>
            </a:r>
            <a:r>
              <a:rPr lang="en-US" sz="1600" dirty="0">
                <a:solidFill>
                  <a:srgbClr val="58595B"/>
                </a:solidFill>
                <a:latin typeface="Roboto Regular" pitchFamily="2" charset="0"/>
                <a:ea typeface="Roboto Regular" pitchFamily="2" charset="0"/>
                <a:cs typeface="Open Sans Light"/>
              </a:rPr>
              <a:t> </a:t>
            </a:r>
            <a:r>
              <a:rPr lang="en-US" sz="1600" dirty="0" err="1">
                <a:solidFill>
                  <a:srgbClr val="58595B"/>
                </a:solidFill>
                <a:latin typeface="Roboto Regular" pitchFamily="2" charset="0"/>
                <a:ea typeface="Roboto Regular" pitchFamily="2" charset="0"/>
                <a:cs typeface="Open Sans Light"/>
              </a:rPr>
              <a:t>est</a:t>
            </a:r>
            <a:r>
              <a:rPr lang="en-US" sz="1600" dirty="0" smtClean="0">
                <a:solidFill>
                  <a:srgbClr val="58595B"/>
                </a:solidFill>
                <a:latin typeface="Roboto Regular" pitchFamily="2" charset="0"/>
                <a:ea typeface="Roboto Regular" pitchFamily="2" charset="0"/>
                <a:cs typeface="Open Sans Light"/>
              </a:rPr>
              <a:t>,</a:t>
            </a:r>
            <a:endParaRPr lang="en-US" sz="1600" dirty="0">
              <a:solidFill>
                <a:srgbClr val="58595B"/>
              </a:solidFill>
              <a:latin typeface="Roboto Regular" pitchFamily="2" charset="0"/>
              <a:ea typeface="Roboto Regular" pitchFamily="2" charset="0"/>
              <a:cs typeface="Open Sans Light"/>
            </a:endParaRPr>
          </a:p>
        </p:txBody>
      </p:sp>
      <p:sp>
        <p:nvSpPr>
          <p:cNvPr id="71"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60_84</a:t>
            </a:r>
            <a:endParaRPr lang="en-US" sz="100" dirty="0" err="1" smtClean="0">
              <a:solidFill>
                <a:srgbClr val="FFFFFF"/>
              </a:solidFill>
            </a:endParaRPr>
          </a:p>
        </p:txBody>
      </p:sp>
    </p:spTree>
    <p:extLst>
      <p:ext uri="{BB962C8B-B14F-4D97-AF65-F5344CB8AC3E}">
        <p14:creationId xmlns:p14="http://schemas.microsoft.com/office/powerpoint/2010/main" val="13979276"/>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ols</a:t>
            </a:r>
            <a:endParaRPr lang="en-US" dirty="0"/>
          </a:p>
        </p:txBody>
      </p:sp>
      <p:sp>
        <p:nvSpPr>
          <p:cNvPr id="38" name="TextBox 37"/>
          <p:cNvSpPr txBox="1"/>
          <p:nvPr/>
        </p:nvSpPr>
        <p:spPr>
          <a:xfrm>
            <a:off x="8057321" y="4988227"/>
            <a:ext cx="3285552" cy="830960"/>
          </a:xfrm>
          <a:prstGeom prst="rect">
            <a:avLst/>
          </a:prstGeom>
          <a:noFill/>
        </p:spPr>
        <p:txBody>
          <a:bodyPr wrap="square" lIns="219419" tIns="109710" rIns="219419" bIns="109710" rtlCol="0">
            <a:spAutoFit/>
          </a:bodyPr>
          <a:lstStyle/>
          <a:p>
            <a:pPr>
              <a:lnSpc>
                <a:spcPct val="110000"/>
              </a:lnSpc>
            </a:pPr>
            <a:r>
              <a:rPr lang="en-US" sz="1200" dirty="0">
                <a:latin typeface="Roboto Regular" pitchFamily="2" charset="0"/>
                <a:ea typeface="Roboto Regular" pitchFamily="2" charset="0"/>
                <a:cs typeface="Calibri Light"/>
              </a:rPr>
              <a:t>Creativity is the key to success in </a:t>
            </a:r>
            <a:r>
              <a:rPr lang="en-US" sz="1200" dirty="0" smtClean="0">
                <a:latin typeface="Roboto Regular" pitchFamily="2" charset="0"/>
                <a:ea typeface="Roboto Regular" pitchFamily="2" charset="0"/>
                <a:cs typeface="Calibri Light"/>
              </a:rPr>
              <a:t>the great and </a:t>
            </a:r>
            <a:r>
              <a:rPr lang="en-US" sz="1200" dirty="0">
                <a:latin typeface="Roboto Regular" pitchFamily="2" charset="0"/>
                <a:ea typeface="Roboto Regular" pitchFamily="2" charset="0"/>
                <a:cs typeface="Calibri Light"/>
              </a:rPr>
              <a:t>primary education where our teachers can bring </a:t>
            </a:r>
            <a:r>
              <a:rPr lang="en-US" sz="1200" dirty="0" smtClean="0">
                <a:latin typeface="Roboto Regular" pitchFamily="2" charset="0"/>
                <a:ea typeface="Roboto Regular" pitchFamily="2" charset="0"/>
                <a:cs typeface="Calibri Light"/>
              </a:rPr>
              <a:t>creativity.</a:t>
            </a:r>
          </a:p>
        </p:txBody>
      </p:sp>
      <p:sp>
        <p:nvSpPr>
          <p:cNvPr id="3" name="Round Same Side Corner Rectangle 2"/>
          <p:cNvSpPr/>
          <p:nvPr/>
        </p:nvSpPr>
        <p:spPr>
          <a:xfrm rot="5400000">
            <a:off x="9812593" y="579847"/>
            <a:ext cx="446189" cy="2285295"/>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050" dirty="0">
              <a:latin typeface="+mj-lt"/>
            </a:endParaRPr>
          </a:p>
        </p:txBody>
      </p:sp>
      <p:sp>
        <p:nvSpPr>
          <p:cNvPr id="4" name="Round Same Side Corner Rectangle 3"/>
          <p:cNvSpPr/>
          <p:nvPr/>
        </p:nvSpPr>
        <p:spPr>
          <a:xfrm rot="5400000">
            <a:off x="9802401" y="2107551"/>
            <a:ext cx="446189" cy="2285295"/>
          </a:xfrm>
          <a:prstGeom prst="round2SameRect">
            <a:avLst>
              <a:gd name="adj1" fmla="val 5000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050" dirty="0">
              <a:latin typeface="+mj-lt"/>
            </a:endParaRPr>
          </a:p>
        </p:txBody>
      </p:sp>
      <p:sp>
        <p:nvSpPr>
          <p:cNvPr id="5" name="Round Same Side Corner Rectangle 4"/>
          <p:cNvSpPr/>
          <p:nvPr/>
        </p:nvSpPr>
        <p:spPr>
          <a:xfrm rot="5400000">
            <a:off x="9812593" y="3560421"/>
            <a:ext cx="446189" cy="2285295"/>
          </a:xfrm>
          <a:prstGeom prst="round2SameRect">
            <a:avLst>
              <a:gd name="adj1" fmla="val 50000"/>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050" dirty="0">
              <a:latin typeface="+mj-lt"/>
            </a:endParaRPr>
          </a:p>
        </p:txBody>
      </p:sp>
      <p:sp>
        <p:nvSpPr>
          <p:cNvPr id="6" name="Round Same Side Corner Rectangle 5"/>
          <p:cNvSpPr/>
          <p:nvPr/>
        </p:nvSpPr>
        <p:spPr>
          <a:xfrm rot="16200000">
            <a:off x="8303681" y="1348387"/>
            <a:ext cx="446189" cy="749232"/>
          </a:xfrm>
          <a:prstGeom prst="round2SameRect">
            <a:avLst>
              <a:gd name="adj1" fmla="val 500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050" dirty="0">
              <a:latin typeface="+mj-lt"/>
            </a:endParaRPr>
          </a:p>
        </p:txBody>
      </p:sp>
      <p:sp>
        <p:nvSpPr>
          <p:cNvPr id="7" name="Round Same Side Corner Rectangle 6"/>
          <p:cNvSpPr/>
          <p:nvPr/>
        </p:nvSpPr>
        <p:spPr>
          <a:xfrm rot="16200000">
            <a:off x="8293392" y="2882506"/>
            <a:ext cx="446189" cy="749232"/>
          </a:xfrm>
          <a:prstGeom prst="round2SameRect">
            <a:avLst>
              <a:gd name="adj1" fmla="val 500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050" dirty="0">
              <a:latin typeface="+mj-lt"/>
            </a:endParaRPr>
          </a:p>
        </p:txBody>
      </p:sp>
      <p:sp>
        <p:nvSpPr>
          <p:cNvPr id="8" name="Round Same Side Corner Rectangle 7"/>
          <p:cNvSpPr/>
          <p:nvPr/>
        </p:nvSpPr>
        <p:spPr>
          <a:xfrm rot="16200000">
            <a:off x="8298490" y="4325956"/>
            <a:ext cx="446189" cy="749232"/>
          </a:xfrm>
          <a:prstGeom prst="round2SameRect">
            <a:avLst>
              <a:gd name="adj1" fmla="val 500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050" dirty="0">
              <a:latin typeface="+mj-lt"/>
            </a:endParaRPr>
          </a:p>
        </p:txBody>
      </p:sp>
      <p:cxnSp>
        <p:nvCxnSpPr>
          <p:cNvPr id="9" name="Straight Connector 8"/>
          <p:cNvCxnSpPr/>
          <p:nvPr/>
        </p:nvCxnSpPr>
        <p:spPr>
          <a:xfrm flipH="1">
            <a:off x="7114897" y="1928100"/>
            <a:ext cx="947024" cy="931491"/>
          </a:xfrm>
          <a:prstGeom prst="line">
            <a:avLst/>
          </a:prstGeom>
          <a:ln w="12700">
            <a:solidFill>
              <a:schemeClr val="tx1">
                <a:lumMod val="9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flipV="1">
            <a:off x="7151846" y="3249124"/>
            <a:ext cx="890738" cy="9213"/>
          </a:xfrm>
          <a:prstGeom prst="line">
            <a:avLst/>
          </a:prstGeom>
          <a:ln w="12700">
            <a:solidFill>
              <a:schemeClr val="tx1">
                <a:lumMod val="9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 name="Round Same Side Corner Rectangle 10"/>
          <p:cNvSpPr/>
          <p:nvPr/>
        </p:nvSpPr>
        <p:spPr>
          <a:xfrm rot="16200000" flipH="1">
            <a:off x="2552553" y="605998"/>
            <a:ext cx="446189" cy="2287418"/>
          </a:xfrm>
          <a:prstGeom prst="round2SameRect">
            <a:avLst>
              <a:gd name="adj1" fmla="val 50000"/>
              <a:gd name="adj2"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050" dirty="0">
              <a:latin typeface="+mj-lt"/>
            </a:endParaRPr>
          </a:p>
        </p:txBody>
      </p:sp>
      <p:sp>
        <p:nvSpPr>
          <p:cNvPr id="12" name="Round Same Side Corner Rectangle 11"/>
          <p:cNvSpPr/>
          <p:nvPr/>
        </p:nvSpPr>
        <p:spPr>
          <a:xfrm rot="16200000" flipH="1">
            <a:off x="2562755" y="2133703"/>
            <a:ext cx="446189" cy="2287418"/>
          </a:xfrm>
          <a:prstGeom prst="round2SameRect">
            <a:avLst>
              <a:gd name="adj1" fmla="val 50000"/>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050" dirty="0">
              <a:latin typeface="+mj-lt"/>
            </a:endParaRPr>
          </a:p>
        </p:txBody>
      </p:sp>
      <p:sp>
        <p:nvSpPr>
          <p:cNvPr id="13" name="Round Same Side Corner Rectangle 12"/>
          <p:cNvSpPr/>
          <p:nvPr/>
        </p:nvSpPr>
        <p:spPr>
          <a:xfrm rot="16200000" flipH="1">
            <a:off x="2552553" y="3586572"/>
            <a:ext cx="446189" cy="2287418"/>
          </a:xfrm>
          <a:prstGeom prst="round2SameRect">
            <a:avLst>
              <a:gd name="adj1" fmla="val 50000"/>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050" dirty="0">
              <a:latin typeface="+mj-lt"/>
            </a:endParaRPr>
          </a:p>
        </p:txBody>
      </p:sp>
      <p:sp>
        <p:nvSpPr>
          <p:cNvPr id="14" name="Round Same Side Corner Rectangle 13"/>
          <p:cNvSpPr/>
          <p:nvPr/>
        </p:nvSpPr>
        <p:spPr>
          <a:xfrm rot="5400000" flipH="1">
            <a:off x="4062880" y="1375252"/>
            <a:ext cx="446189" cy="749929"/>
          </a:xfrm>
          <a:prstGeom prst="round2SameRect">
            <a:avLst>
              <a:gd name="adj1" fmla="val 500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050" dirty="0">
              <a:latin typeface="+mj-lt"/>
            </a:endParaRPr>
          </a:p>
        </p:txBody>
      </p:sp>
      <p:sp>
        <p:nvSpPr>
          <p:cNvPr id="15" name="Round Same Side Corner Rectangle 14"/>
          <p:cNvSpPr/>
          <p:nvPr/>
        </p:nvSpPr>
        <p:spPr>
          <a:xfrm rot="5400000" flipH="1">
            <a:off x="4073178" y="2909371"/>
            <a:ext cx="446189" cy="749929"/>
          </a:xfrm>
          <a:prstGeom prst="round2SameRect">
            <a:avLst>
              <a:gd name="adj1" fmla="val 500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050" dirty="0">
              <a:latin typeface="+mj-lt"/>
            </a:endParaRPr>
          </a:p>
        </p:txBody>
      </p:sp>
      <p:sp>
        <p:nvSpPr>
          <p:cNvPr id="16" name="Round Same Side Corner Rectangle 15"/>
          <p:cNvSpPr/>
          <p:nvPr/>
        </p:nvSpPr>
        <p:spPr>
          <a:xfrm rot="5400000" flipH="1">
            <a:off x="4068075" y="4352821"/>
            <a:ext cx="446189" cy="749929"/>
          </a:xfrm>
          <a:prstGeom prst="round2SameRect">
            <a:avLst>
              <a:gd name="adj1" fmla="val 50000"/>
              <a:gd name="adj2" fmla="val 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9" tIns="109710" rIns="219419" bIns="109710" rtlCol="0" anchor="ctr"/>
          <a:lstStyle/>
          <a:p>
            <a:pPr algn="ctr"/>
            <a:endParaRPr lang="bg-BG" sz="1050" dirty="0">
              <a:latin typeface="+mj-lt"/>
            </a:endParaRPr>
          </a:p>
        </p:txBody>
      </p:sp>
      <p:cxnSp>
        <p:nvCxnSpPr>
          <p:cNvPr id="17" name="Straight Connector 16"/>
          <p:cNvCxnSpPr/>
          <p:nvPr/>
        </p:nvCxnSpPr>
        <p:spPr>
          <a:xfrm>
            <a:off x="4751260" y="1955313"/>
            <a:ext cx="947903" cy="931491"/>
          </a:xfrm>
          <a:prstGeom prst="line">
            <a:avLst/>
          </a:prstGeom>
          <a:ln w="12700">
            <a:solidFill>
              <a:schemeClr val="tx1">
                <a:lumMod val="9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4770615" y="3276337"/>
            <a:ext cx="891565" cy="9213"/>
          </a:xfrm>
          <a:prstGeom prst="line">
            <a:avLst/>
          </a:prstGeom>
          <a:ln w="12700">
            <a:solidFill>
              <a:schemeClr val="tx1">
                <a:lumMod val="9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V="1">
            <a:off x="4764715" y="3652970"/>
            <a:ext cx="947903" cy="916896"/>
          </a:xfrm>
          <a:prstGeom prst="line">
            <a:avLst/>
          </a:prstGeom>
          <a:ln w="12700">
            <a:solidFill>
              <a:schemeClr val="tx1">
                <a:lumMod val="9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flipV="1">
            <a:off x="7122987" y="3652970"/>
            <a:ext cx="919592" cy="904278"/>
          </a:xfrm>
          <a:prstGeom prst="line">
            <a:avLst/>
          </a:prstGeom>
          <a:ln w="12700">
            <a:solidFill>
              <a:schemeClr val="tx1">
                <a:lumMod val="90000"/>
              </a:schemeClr>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1" name="Freeform 3"/>
          <p:cNvSpPr>
            <a:spLocks noChangeArrowheads="1"/>
          </p:cNvSpPr>
          <p:nvPr/>
        </p:nvSpPr>
        <p:spPr bwMode="auto">
          <a:xfrm>
            <a:off x="4092523" y="3145864"/>
            <a:ext cx="357192" cy="287650"/>
          </a:xfrm>
          <a:custGeom>
            <a:avLst/>
            <a:gdLst>
              <a:gd name="T0" fmla="*/ 487 w 497"/>
              <a:gd name="T1" fmla="*/ 71 h 400"/>
              <a:gd name="T2" fmla="*/ 487 w 497"/>
              <a:gd name="T3" fmla="*/ 71 h 400"/>
              <a:gd name="T4" fmla="*/ 372 w 497"/>
              <a:gd name="T5" fmla="*/ 0 h 400"/>
              <a:gd name="T6" fmla="*/ 354 w 497"/>
              <a:gd name="T7" fmla="*/ 0 h 400"/>
              <a:gd name="T8" fmla="*/ 248 w 497"/>
              <a:gd name="T9" fmla="*/ 71 h 400"/>
              <a:gd name="T10" fmla="*/ 142 w 497"/>
              <a:gd name="T11" fmla="*/ 0 h 400"/>
              <a:gd name="T12" fmla="*/ 123 w 497"/>
              <a:gd name="T13" fmla="*/ 0 h 400"/>
              <a:gd name="T14" fmla="*/ 8 w 497"/>
              <a:gd name="T15" fmla="*/ 71 h 400"/>
              <a:gd name="T16" fmla="*/ 0 w 497"/>
              <a:gd name="T17" fmla="*/ 89 h 400"/>
              <a:gd name="T18" fmla="*/ 0 w 497"/>
              <a:gd name="T19" fmla="*/ 382 h 400"/>
              <a:gd name="T20" fmla="*/ 8 w 497"/>
              <a:gd name="T21" fmla="*/ 390 h 400"/>
              <a:gd name="T22" fmla="*/ 26 w 497"/>
              <a:gd name="T23" fmla="*/ 390 h 400"/>
              <a:gd name="T24" fmla="*/ 132 w 497"/>
              <a:gd name="T25" fmla="*/ 328 h 400"/>
              <a:gd name="T26" fmla="*/ 239 w 497"/>
              <a:gd name="T27" fmla="*/ 390 h 400"/>
              <a:gd name="T28" fmla="*/ 257 w 497"/>
              <a:gd name="T29" fmla="*/ 390 h 400"/>
              <a:gd name="T30" fmla="*/ 363 w 497"/>
              <a:gd name="T31" fmla="*/ 328 h 400"/>
              <a:gd name="T32" fmla="*/ 470 w 497"/>
              <a:gd name="T33" fmla="*/ 390 h 400"/>
              <a:gd name="T34" fmla="*/ 478 w 497"/>
              <a:gd name="T35" fmla="*/ 399 h 400"/>
              <a:gd name="T36" fmla="*/ 487 w 497"/>
              <a:gd name="T37" fmla="*/ 390 h 400"/>
              <a:gd name="T38" fmla="*/ 496 w 497"/>
              <a:gd name="T39" fmla="*/ 382 h 400"/>
              <a:gd name="T40" fmla="*/ 496 w 497"/>
              <a:gd name="T41" fmla="*/ 89 h 400"/>
              <a:gd name="T42" fmla="*/ 487 w 497"/>
              <a:gd name="T43" fmla="*/ 71 h 400"/>
              <a:gd name="T44" fmla="*/ 115 w 497"/>
              <a:gd name="T45" fmla="*/ 293 h 400"/>
              <a:gd name="T46" fmla="*/ 115 w 497"/>
              <a:gd name="T47" fmla="*/ 293 h 400"/>
              <a:gd name="T48" fmla="*/ 35 w 497"/>
              <a:gd name="T49" fmla="*/ 346 h 400"/>
              <a:gd name="T50" fmla="*/ 35 w 497"/>
              <a:gd name="T51" fmla="*/ 98 h 400"/>
              <a:gd name="T52" fmla="*/ 115 w 497"/>
              <a:gd name="T53" fmla="*/ 44 h 400"/>
              <a:gd name="T54" fmla="*/ 115 w 497"/>
              <a:gd name="T55" fmla="*/ 293 h 400"/>
              <a:gd name="T56" fmla="*/ 230 w 497"/>
              <a:gd name="T57" fmla="*/ 346 h 400"/>
              <a:gd name="T58" fmla="*/ 230 w 497"/>
              <a:gd name="T59" fmla="*/ 346 h 400"/>
              <a:gd name="T60" fmla="*/ 150 w 497"/>
              <a:gd name="T61" fmla="*/ 293 h 400"/>
              <a:gd name="T62" fmla="*/ 150 w 497"/>
              <a:gd name="T63" fmla="*/ 44 h 400"/>
              <a:gd name="T64" fmla="*/ 230 w 497"/>
              <a:gd name="T65" fmla="*/ 98 h 400"/>
              <a:gd name="T66" fmla="*/ 230 w 497"/>
              <a:gd name="T67" fmla="*/ 346 h 400"/>
              <a:gd name="T68" fmla="*/ 345 w 497"/>
              <a:gd name="T69" fmla="*/ 293 h 400"/>
              <a:gd name="T70" fmla="*/ 345 w 497"/>
              <a:gd name="T71" fmla="*/ 293 h 400"/>
              <a:gd name="T72" fmla="*/ 266 w 497"/>
              <a:gd name="T73" fmla="*/ 346 h 400"/>
              <a:gd name="T74" fmla="*/ 266 w 497"/>
              <a:gd name="T75" fmla="*/ 98 h 400"/>
              <a:gd name="T76" fmla="*/ 345 w 497"/>
              <a:gd name="T77" fmla="*/ 44 h 400"/>
              <a:gd name="T78" fmla="*/ 345 w 497"/>
              <a:gd name="T79" fmla="*/ 293 h 400"/>
              <a:gd name="T80" fmla="*/ 461 w 497"/>
              <a:gd name="T81" fmla="*/ 346 h 400"/>
              <a:gd name="T82" fmla="*/ 461 w 497"/>
              <a:gd name="T83" fmla="*/ 346 h 400"/>
              <a:gd name="T84" fmla="*/ 380 w 497"/>
              <a:gd name="T85" fmla="*/ 293 h 400"/>
              <a:gd name="T86" fmla="*/ 380 w 497"/>
              <a:gd name="T87" fmla="*/ 44 h 400"/>
              <a:gd name="T88" fmla="*/ 461 w 497"/>
              <a:gd name="T89" fmla="*/ 98 h 400"/>
              <a:gd name="T90" fmla="*/ 461 w 497"/>
              <a:gd name="T91" fmla="*/ 3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7" h="400">
                <a:moveTo>
                  <a:pt x="487" y="71"/>
                </a:moveTo>
                <a:lnTo>
                  <a:pt x="487" y="71"/>
                </a:lnTo>
                <a:cubicBezTo>
                  <a:pt x="372" y="0"/>
                  <a:pt x="372" y="0"/>
                  <a:pt x="372" y="0"/>
                </a:cubicBezTo>
                <a:cubicBezTo>
                  <a:pt x="363" y="0"/>
                  <a:pt x="363" y="0"/>
                  <a:pt x="354" y="0"/>
                </a:cubicBezTo>
                <a:cubicBezTo>
                  <a:pt x="248" y="71"/>
                  <a:pt x="248" y="71"/>
                  <a:pt x="248" y="71"/>
                </a:cubicBezTo>
                <a:cubicBezTo>
                  <a:pt x="142" y="0"/>
                  <a:pt x="142" y="0"/>
                  <a:pt x="142" y="0"/>
                </a:cubicBezTo>
                <a:cubicBezTo>
                  <a:pt x="132" y="0"/>
                  <a:pt x="132" y="0"/>
                  <a:pt x="123" y="0"/>
                </a:cubicBezTo>
                <a:cubicBezTo>
                  <a:pt x="8" y="71"/>
                  <a:pt x="8" y="71"/>
                  <a:pt x="8" y="71"/>
                </a:cubicBezTo>
                <a:cubicBezTo>
                  <a:pt x="0" y="80"/>
                  <a:pt x="0" y="80"/>
                  <a:pt x="0" y="89"/>
                </a:cubicBezTo>
                <a:cubicBezTo>
                  <a:pt x="0" y="382"/>
                  <a:pt x="0" y="382"/>
                  <a:pt x="0" y="382"/>
                </a:cubicBezTo>
                <a:cubicBezTo>
                  <a:pt x="0" y="382"/>
                  <a:pt x="0" y="390"/>
                  <a:pt x="8" y="390"/>
                </a:cubicBezTo>
                <a:cubicBezTo>
                  <a:pt x="8" y="399"/>
                  <a:pt x="17" y="399"/>
                  <a:pt x="26" y="390"/>
                </a:cubicBezTo>
                <a:cubicBezTo>
                  <a:pt x="132" y="328"/>
                  <a:pt x="132" y="328"/>
                  <a:pt x="132" y="328"/>
                </a:cubicBezTo>
                <a:cubicBezTo>
                  <a:pt x="239" y="390"/>
                  <a:pt x="239" y="390"/>
                  <a:pt x="239" y="390"/>
                </a:cubicBezTo>
                <a:cubicBezTo>
                  <a:pt x="248" y="399"/>
                  <a:pt x="248" y="399"/>
                  <a:pt x="257" y="390"/>
                </a:cubicBezTo>
                <a:cubicBezTo>
                  <a:pt x="363" y="328"/>
                  <a:pt x="363" y="328"/>
                  <a:pt x="363" y="328"/>
                </a:cubicBezTo>
                <a:cubicBezTo>
                  <a:pt x="470" y="390"/>
                  <a:pt x="470" y="390"/>
                  <a:pt x="470" y="390"/>
                </a:cubicBezTo>
                <a:cubicBezTo>
                  <a:pt x="470" y="399"/>
                  <a:pt x="478" y="399"/>
                  <a:pt x="478" y="399"/>
                </a:cubicBezTo>
                <a:cubicBezTo>
                  <a:pt x="478" y="399"/>
                  <a:pt x="487" y="399"/>
                  <a:pt x="487" y="390"/>
                </a:cubicBezTo>
                <a:cubicBezTo>
                  <a:pt x="496" y="390"/>
                  <a:pt x="496" y="382"/>
                  <a:pt x="496" y="382"/>
                </a:cubicBezTo>
                <a:cubicBezTo>
                  <a:pt x="496" y="89"/>
                  <a:pt x="496" y="89"/>
                  <a:pt x="496" y="89"/>
                </a:cubicBezTo>
                <a:cubicBezTo>
                  <a:pt x="496" y="80"/>
                  <a:pt x="496" y="80"/>
                  <a:pt x="487" y="71"/>
                </a:cubicBezTo>
                <a:close/>
                <a:moveTo>
                  <a:pt x="115" y="293"/>
                </a:moveTo>
                <a:lnTo>
                  <a:pt x="115" y="293"/>
                </a:lnTo>
                <a:cubicBezTo>
                  <a:pt x="35" y="346"/>
                  <a:pt x="35" y="346"/>
                  <a:pt x="35" y="346"/>
                </a:cubicBezTo>
                <a:cubicBezTo>
                  <a:pt x="35" y="98"/>
                  <a:pt x="35" y="98"/>
                  <a:pt x="35" y="98"/>
                </a:cubicBezTo>
                <a:cubicBezTo>
                  <a:pt x="115" y="44"/>
                  <a:pt x="115" y="44"/>
                  <a:pt x="115" y="44"/>
                </a:cubicBezTo>
                <a:lnTo>
                  <a:pt x="115" y="293"/>
                </a:lnTo>
                <a:close/>
                <a:moveTo>
                  <a:pt x="230" y="346"/>
                </a:moveTo>
                <a:lnTo>
                  <a:pt x="230" y="346"/>
                </a:lnTo>
                <a:cubicBezTo>
                  <a:pt x="150" y="293"/>
                  <a:pt x="150" y="293"/>
                  <a:pt x="150" y="293"/>
                </a:cubicBezTo>
                <a:cubicBezTo>
                  <a:pt x="150" y="44"/>
                  <a:pt x="150" y="44"/>
                  <a:pt x="150" y="44"/>
                </a:cubicBezTo>
                <a:cubicBezTo>
                  <a:pt x="230" y="98"/>
                  <a:pt x="230" y="98"/>
                  <a:pt x="230" y="98"/>
                </a:cubicBezTo>
                <a:lnTo>
                  <a:pt x="230" y="346"/>
                </a:lnTo>
                <a:close/>
                <a:moveTo>
                  <a:pt x="345" y="293"/>
                </a:moveTo>
                <a:lnTo>
                  <a:pt x="345" y="293"/>
                </a:lnTo>
                <a:cubicBezTo>
                  <a:pt x="266" y="346"/>
                  <a:pt x="266" y="346"/>
                  <a:pt x="266" y="346"/>
                </a:cubicBezTo>
                <a:cubicBezTo>
                  <a:pt x="266" y="98"/>
                  <a:pt x="266" y="98"/>
                  <a:pt x="266" y="98"/>
                </a:cubicBezTo>
                <a:cubicBezTo>
                  <a:pt x="345" y="44"/>
                  <a:pt x="345" y="44"/>
                  <a:pt x="345" y="44"/>
                </a:cubicBezTo>
                <a:lnTo>
                  <a:pt x="345" y="293"/>
                </a:lnTo>
                <a:close/>
                <a:moveTo>
                  <a:pt x="461" y="346"/>
                </a:moveTo>
                <a:lnTo>
                  <a:pt x="461" y="346"/>
                </a:lnTo>
                <a:cubicBezTo>
                  <a:pt x="380" y="293"/>
                  <a:pt x="380" y="293"/>
                  <a:pt x="380" y="293"/>
                </a:cubicBezTo>
                <a:cubicBezTo>
                  <a:pt x="380" y="44"/>
                  <a:pt x="380" y="44"/>
                  <a:pt x="380" y="44"/>
                </a:cubicBezTo>
                <a:cubicBezTo>
                  <a:pt x="461" y="98"/>
                  <a:pt x="461" y="98"/>
                  <a:pt x="461" y="98"/>
                </a:cubicBezTo>
                <a:lnTo>
                  <a:pt x="461" y="346"/>
                </a:lnTo>
                <a:close/>
              </a:path>
            </a:pathLst>
          </a:custGeom>
          <a:solidFill>
            <a:schemeClr val="bg1"/>
          </a:solidFill>
          <a:ln>
            <a:noFill/>
          </a:ln>
          <a:effectLst/>
          <a:extLst/>
        </p:spPr>
        <p:txBody>
          <a:bodyPr wrap="none" anchor="ctr"/>
          <a:lstStyle/>
          <a:p>
            <a:endParaRPr lang="en-US" sz="1050" dirty="0">
              <a:latin typeface="+mj-lt"/>
            </a:endParaRPr>
          </a:p>
        </p:txBody>
      </p:sp>
      <p:sp>
        <p:nvSpPr>
          <p:cNvPr id="22" name="Freeform 9"/>
          <p:cNvSpPr>
            <a:spLocks noChangeArrowheads="1"/>
          </p:cNvSpPr>
          <p:nvPr/>
        </p:nvSpPr>
        <p:spPr bwMode="auto">
          <a:xfrm>
            <a:off x="8324506" y="1560273"/>
            <a:ext cx="306618" cy="306616"/>
          </a:xfrm>
          <a:custGeom>
            <a:avLst/>
            <a:gdLst>
              <a:gd name="T0" fmla="*/ 212 w 426"/>
              <a:gd name="T1" fmla="*/ 0 h 426"/>
              <a:gd name="T2" fmla="*/ 212 w 426"/>
              <a:gd name="T3" fmla="*/ 0 h 426"/>
              <a:gd name="T4" fmla="*/ 0 w 426"/>
              <a:gd name="T5" fmla="*/ 213 h 426"/>
              <a:gd name="T6" fmla="*/ 212 w 426"/>
              <a:gd name="T7" fmla="*/ 425 h 426"/>
              <a:gd name="T8" fmla="*/ 425 w 426"/>
              <a:gd name="T9" fmla="*/ 213 h 426"/>
              <a:gd name="T10" fmla="*/ 212 w 426"/>
              <a:gd name="T11" fmla="*/ 0 h 426"/>
              <a:gd name="T12" fmla="*/ 229 w 426"/>
              <a:gd name="T13" fmla="*/ 390 h 426"/>
              <a:gd name="T14" fmla="*/ 229 w 426"/>
              <a:gd name="T15" fmla="*/ 390 h 426"/>
              <a:gd name="T16" fmla="*/ 229 w 426"/>
              <a:gd name="T17" fmla="*/ 292 h 426"/>
              <a:gd name="T18" fmla="*/ 194 w 426"/>
              <a:gd name="T19" fmla="*/ 292 h 426"/>
              <a:gd name="T20" fmla="*/ 194 w 426"/>
              <a:gd name="T21" fmla="*/ 390 h 426"/>
              <a:gd name="T22" fmla="*/ 35 w 426"/>
              <a:gd name="T23" fmla="*/ 230 h 426"/>
              <a:gd name="T24" fmla="*/ 132 w 426"/>
              <a:gd name="T25" fmla="*/ 230 h 426"/>
              <a:gd name="T26" fmla="*/ 132 w 426"/>
              <a:gd name="T27" fmla="*/ 195 h 426"/>
              <a:gd name="T28" fmla="*/ 35 w 426"/>
              <a:gd name="T29" fmla="*/ 195 h 426"/>
              <a:gd name="T30" fmla="*/ 194 w 426"/>
              <a:gd name="T31" fmla="*/ 44 h 426"/>
              <a:gd name="T32" fmla="*/ 194 w 426"/>
              <a:gd name="T33" fmla="*/ 142 h 426"/>
              <a:gd name="T34" fmla="*/ 229 w 426"/>
              <a:gd name="T35" fmla="*/ 142 h 426"/>
              <a:gd name="T36" fmla="*/ 229 w 426"/>
              <a:gd name="T37" fmla="*/ 44 h 426"/>
              <a:gd name="T38" fmla="*/ 380 w 426"/>
              <a:gd name="T39" fmla="*/ 195 h 426"/>
              <a:gd name="T40" fmla="*/ 292 w 426"/>
              <a:gd name="T41" fmla="*/ 195 h 426"/>
              <a:gd name="T42" fmla="*/ 292 w 426"/>
              <a:gd name="T43" fmla="*/ 230 h 426"/>
              <a:gd name="T44" fmla="*/ 380 w 426"/>
              <a:gd name="T45" fmla="*/ 230 h 426"/>
              <a:gd name="T46" fmla="*/ 229 w 426"/>
              <a:gd name="T47" fmla="*/ 39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6" h="426">
                <a:moveTo>
                  <a:pt x="212" y="0"/>
                </a:moveTo>
                <a:lnTo>
                  <a:pt x="212" y="0"/>
                </a:lnTo>
                <a:cubicBezTo>
                  <a:pt x="97" y="0"/>
                  <a:pt x="0" y="97"/>
                  <a:pt x="0" y="213"/>
                </a:cubicBezTo>
                <a:cubicBezTo>
                  <a:pt x="0" y="336"/>
                  <a:pt x="97" y="425"/>
                  <a:pt x="212" y="425"/>
                </a:cubicBezTo>
                <a:cubicBezTo>
                  <a:pt x="327" y="425"/>
                  <a:pt x="425" y="336"/>
                  <a:pt x="425" y="213"/>
                </a:cubicBezTo>
                <a:cubicBezTo>
                  <a:pt x="425" y="97"/>
                  <a:pt x="327" y="0"/>
                  <a:pt x="212" y="0"/>
                </a:cubicBezTo>
                <a:close/>
                <a:moveTo>
                  <a:pt x="229" y="390"/>
                </a:moveTo>
                <a:lnTo>
                  <a:pt x="229" y="390"/>
                </a:lnTo>
                <a:cubicBezTo>
                  <a:pt x="229" y="292"/>
                  <a:pt x="229" y="292"/>
                  <a:pt x="229" y="292"/>
                </a:cubicBezTo>
                <a:cubicBezTo>
                  <a:pt x="194" y="292"/>
                  <a:pt x="194" y="292"/>
                  <a:pt x="194" y="292"/>
                </a:cubicBezTo>
                <a:cubicBezTo>
                  <a:pt x="194" y="390"/>
                  <a:pt x="194" y="390"/>
                  <a:pt x="194" y="390"/>
                </a:cubicBezTo>
                <a:cubicBezTo>
                  <a:pt x="114" y="380"/>
                  <a:pt x="44" y="310"/>
                  <a:pt x="35" y="230"/>
                </a:cubicBezTo>
                <a:cubicBezTo>
                  <a:pt x="132" y="230"/>
                  <a:pt x="132" y="230"/>
                  <a:pt x="132" y="230"/>
                </a:cubicBezTo>
                <a:cubicBezTo>
                  <a:pt x="132" y="195"/>
                  <a:pt x="132" y="195"/>
                  <a:pt x="132" y="195"/>
                </a:cubicBezTo>
                <a:cubicBezTo>
                  <a:pt x="35" y="195"/>
                  <a:pt x="35" y="195"/>
                  <a:pt x="35" y="195"/>
                </a:cubicBezTo>
                <a:cubicBezTo>
                  <a:pt x="44" y="115"/>
                  <a:pt x="114" y="53"/>
                  <a:pt x="194" y="44"/>
                </a:cubicBezTo>
                <a:cubicBezTo>
                  <a:pt x="194" y="142"/>
                  <a:pt x="194" y="142"/>
                  <a:pt x="194" y="142"/>
                </a:cubicBezTo>
                <a:cubicBezTo>
                  <a:pt x="229" y="142"/>
                  <a:pt x="229" y="142"/>
                  <a:pt x="229" y="142"/>
                </a:cubicBezTo>
                <a:cubicBezTo>
                  <a:pt x="229" y="44"/>
                  <a:pt x="229" y="44"/>
                  <a:pt x="229" y="44"/>
                </a:cubicBezTo>
                <a:cubicBezTo>
                  <a:pt x="310" y="53"/>
                  <a:pt x="380" y="115"/>
                  <a:pt x="380" y="195"/>
                </a:cubicBezTo>
                <a:cubicBezTo>
                  <a:pt x="292" y="195"/>
                  <a:pt x="292" y="195"/>
                  <a:pt x="292" y="195"/>
                </a:cubicBezTo>
                <a:cubicBezTo>
                  <a:pt x="292" y="230"/>
                  <a:pt x="292" y="230"/>
                  <a:pt x="292" y="230"/>
                </a:cubicBezTo>
                <a:cubicBezTo>
                  <a:pt x="380" y="230"/>
                  <a:pt x="380" y="230"/>
                  <a:pt x="380" y="230"/>
                </a:cubicBezTo>
                <a:cubicBezTo>
                  <a:pt x="380" y="310"/>
                  <a:pt x="310" y="380"/>
                  <a:pt x="229" y="390"/>
                </a:cubicBezTo>
                <a:close/>
              </a:path>
            </a:pathLst>
          </a:custGeom>
          <a:solidFill>
            <a:schemeClr val="bg1"/>
          </a:solidFill>
          <a:ln>
            <a:noFill/>
          </a:ln>
          <a:effectLst/>
          <a:extLst/>
        </p:spPr>
        <p:txBody>
          <a:bodyPr wrap="none" anchor="ctr"/>
          <a:lstStyle/>
          <a:p>
            <a:endParaRPr lang="en-US" sz="1050" dirty="0">
              <a:latin typeface="+mj-lt"/>
            </a:endParaRPr>
          </a:p>
        </p:txBody>
      </p:sp>
      <p:grpSp>
        <p:nvGrpSpPr>
          <p:cNvPr id="23" name="Group 22"/>
          <p:cNvGrpSpPr/>
          <p:nvPr>
            <p:custDataLst>
              <p:tags r:id="rId1"/>
            </p:custDataLst>
          </p:nvPr>
        </p:nvGrpSpPr>
        <p:grpSpPr>
          <a:xfrm>
            <a:off x="5786114" y="2676254"/>
            <a:ext cx="1275284" cy="1275284"/>
            <a:chOff x="11117624" y="5861588"/>
            <a:chExt cx="2127995" cy="2127995"/>
          </a:xfrm>
          <a:solidFill>
            <a:srgbClr val="58595B"/>
          </a:solidFill>
        </p:grpSpPr>
        <p:sp>
          <p:nvSpPr>
            <p:cNvPr id="24" name="Freeform 65"/>
            <p:cNvSpPr>
              <a:spLocks noChangeArrowheads="1"/>
            </p:cNvSpPr>
            <p:nvPr/>
          </p:nvSpPr>
          <p:spPr bwMode="auto">
            <a:xfrm>
              <a:off x="11117624" y="5861588"/>
              <a:ext cx="2127995" cy="2127995"/>
            </a:xfrm>
            <a:custGeom>
              <a:avLst/>
              <a:gdLst>
                <a:gd name="T0" fmla="*/ 381 w 417"/>
                <a:gd name="T1" fmla="*/ 203 h 417"/>
                <a:gd name="T2" fmla="*/ 381 w 417"/>
                <a:gd name="T3" fmla="*/ 203 h 417"/>
                <a:gd name="T4" fmla="*/ 416 w 417"/>
                <a:gd name="T5" fmla="*/ 141 h 417"/>
                <a:gd name="T6" fmla="*/ 408 w 417"/>
                <a:gd name="T7" fmla="*/ 106 h 417"/>
                <a:gd name="T8" fmla="*/ 337 w 417"/>
                <a:gd name="T9" fmla="*/ 79 h 417"/>
                <a:gd name="T10" fmla="*/ 319 w 417"/>
                <a:gd name="T11" fmla="*/ 17 h 417"/>
                <a:gd name="T12" fmla="*/ 275 w 417"/>
                <a:gd name="T13" fmla="*/ 0 h 417"/>
                <a:gd name="T14" fmla="*/ 213 w 417"/>
                <a:gd name="T15" fmla="*/ 35 h 417"/>
                <a:gd name="T16" fmla="*/ 151 w 417"/>
                <a:gd name="T17" fmla="*/ 0 h 417"/>
                <a:gd name="T18" fmla="*/ 107 w 417"/>
                <a:gd name="T19" fmla="*/ 17 h 417"/>
                <a:gd name="T20" fmla="*/ 89 w 417"/>
                <a:gd name="T21" fmla="*/ 79 h 417"/>
                <a:gd name="T22" fmla="*/ 18 w 417"/>
                <a:gd name="T23" fmla="*/ 106 h 417"/>
                <a:gd name="T24" fmla="*/ 0 w 417"/>
                <a:gd name="T25" fmla="*/ 141 h 417"/>
                <a:gd name="T26" fmla="*/ 44 w 417"/>
                <a:gd name="T27" fmla="*/ 203 h 417"/>
                <a:gd name="T28" fmla="*/ 0 w 417"/>
                <a:gd name="T29" fmla="*/ 275 h 417"/>
                <a:gd name="T30" fmla="*/ 18 w 417"/>
                <a:gd name="T31" fmla="*/ 310 h 417"/>
                <a:gd name="T32" fmla="*/ 89 w 417"/>
                <a:gd name="T33" fmla="*/ 328 h 417"/>
                <a:gd name="T34" fmla="*/ 107 w 417"/>
                <a:gd name="T35" fmla="*/ 398 h 417"/>
                <a:gd name="T36" fmla="*/ 151 w 417"/>
                <a:gd name="T37" fmla="*/ 416 h 417"/>
                <a:gd name="T38" fmla="*/ 213 w 417"/>
                <a:gd name="T39" fmla="*/ 372 h 417"/>
                <a:gd name="T40" fmla="*/ 275 w 417"/>
                <a:gd name="T41" fmla="*/ 416 h 417"/>
                <a:gd name="T42" fmla="*/ 319 w 417"/>
                <a:gd name="T43" fmla="*/ 398 h 417"/>
                <a:gd name="T44" fmla="*/ 337 w 417"/>
                <a:gd name="T45" fmla="*/ 328 h 417"/>
                <a:gd name="T46" fmla="*/ 408 w 417"/>
                <a:gd name="T47" fmla="*/ 310 h 417"/>
                <a:gd name="T48" fmla="*/ 416 w 417"/>
                <a:gd name="T49" fmla="*/ 265 h 417"/>
                <a:gd name="T50" fmla="*/ 381 w 417"/>
                <a:gd name="T51" fmla="*/ 203 h 417"/>
                <a:gd name="T52" fmla="*/ 213 w 417"/>
                <a:gd name="T53" fmla="*/ 292 h 417"/>
                <a:gd name="T54" fmla="*/ 213 w 417"/>
                <a:gd name="T55" fmla="*/ 292 h 417"/>
                <a:gd name="T56" fmla="*/ 125 w 417"/>
                <a:gd name="T57" fmla="*/ 203 h 417"/>
                <a:gd name="T58" fmla="*/ 213 w 417"/>
                <a:gd name="T59" fmla="*/ 115 h 417"/>
                <a:gd name="T60" fmla="*/ 301 w 417"/>
                <a:gd name="T61" fmla="*/ 203 h 417"/>
                <a:gd name="T62" fmla="*/ 213 w 417"/>
                <a:gd name="T63" fmla="*/ 29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7" h="417">
                  <a:moveTo>
                    <a:pt x="381" y="203"/>
                  </a:moveTo>
                  <a:lnTo>
                    <a:pt x="381" y="203"/>
                  </a:lnTo>
                  <a:cubicBezTo>
                    <a:pt x="381" y="177"/>
                    <a:pt x="399" y="159"/>
                    <a:pt x="416" y="141"/>
                  </a:cubicBezTo>
                  <a:cubicBezTo>
                    <a:pt x="416" y="132"/>
                    <a:pt x="408" y="115"/>
                    <a:pt x="408" y="106"/>
                  </a:cubicBezTo>
                  <a:cubicBezTo>
                    <a:pt x="372" y="115"/>
                    <a:pt x="354" y="97"/>
                    <a:pt x="337" y="79"/>
                  </a:cubicBezTo>
                  <a:cubicBezTo>
                    <a:pt x="319" y="62"/>
                    <a:pt x="310" y="44"/>
                    <a:pt x="319" y="17"/>
                  </a:cubicBezTo>
                  <a:cubicBezTo>
                    <a:pt x="310" y="9"/>
                    <a:pt x="293" y="0"/>
                    <a:pt x="275" y="0"/>
                  </a:cubicBezTo>
                  <a:cubicBezTo>
                    <a:pt x="266" y="17"/>
                    <a:pt x="240" y="35"/>
                    <a:pt x="213" y="35"/>
                  </a:cubicBezTo>
                  <a:cubicBezTo>
                    <a:pt x="187" y="35"/>
                    <a:pt x="160" y="17"/>
                    <a:pt x="151" y="0"/>
                  </a:cubicBezTo>
                  <a:cubicBezTo>
                    <a:pt x="133" y="0"/>
                    <a:pt x="116" y="9"/>
                    <a:pt x="107" y="17"/>
                  </a:cubicBezTo>
                  <a:cubicBezTo>
                    <a:pt x="116" y="44"/>
                    <a:pt x="107" y="62"/>
                    <a:pt x="89" y="79"/>
                  </a:cubicBezTo>
                  <a:cubicBezTo>
                    <a:pt x="72" y="97"/>
                    <a:pt x="44" y="115"/>
                    <a:pt x="18" y="106"/>
                  </a:cubicBezTo>
                  <a:cubicBezTo>
                    <a:pt x="18" y="115"/>
                    <a:pt x="9" y="132"/>
                    <a:pt x="0" y="141"/>
                  </a:cubicBezTo>
                  <a:cubicBezTo>
                    <a:pt x="27" y="159"/>
                    <a:pt x="44" y="177"/>
                    <a:pt x="44" y="203"/>
                  </a:cubicBezTo>
                  <a:cubicBezTo>
                    <a:pt x="44" y="230"/>
                    <a:pt x="27" y="256"/>
                    <a:pt x="0" y="275"/>
                  </a:cubicBezTo>
                  <a:cubicBezTo>
                    <a:pt x="9" y="283"/>
                    <a:pt x="18" y="301"/>
                    <a:pt x="18" y="310"/>
                  </a:cubicBezTo>
                  <a:cubicBezTo>
                    <a:pt x="44" y="310"/>
                    <a:pt x="72" y="310"/>
                    <a:pt x="89" y="328"/>
                  </a:cubicBezTo>
                  <a:cubicBezTo>
                    <a:pt x="107" y="345"/>
                    <a:pt x="116" y="372"/>
                    <a:pt x="107" y="398"/>
                  </a:cubicBezTo>
                  <a:cubicBezTo>
                    <a:pt x="116" y="407"/>
                    <a:pt x="133" y="407"/>
                    <a:pt x="151" y="416"/>
                  </a:cubicBezTo>
                  <a:cubicBezTo>
                    <a:pt x="160" y="389"/>
                    <a:pt x="187" y="372"/>
                    <a:pt x="213" y="372"/>
                  </a:cubicBezTo>
                  <a:cubicBezTo>
                    <a:pt x="240" y="372"/>
                    <a:pt x="266" y="389"/>
                    <a:pt x="275" y="416"/>
                  </a:cubicBezTo>
                  <a:cubicBezTo>
                    <a:pt x="293" y="407"/>
                    <a:pt x="310" y="407"/>
                    <a:pt x="319" y="398"/>
                  </a:cubicBezTo>
                  <a:cubicBezTo>
                    <a:pt x="310" y="372"/>
                    <a:pt x="319" y="345"/>
                    <a:pt x="337" y="328"/>
                  </a:cubicBezTo>
                  <a:cubicBezTo>
                    <a:pt x="354" y="310"/>
                    <a:pt x="372" y="301"/>
                    <a:pt x="408" y="310"/>
                  </a:cubicBezTo>
                  <a:cubicBezTo>
                    <a:pt x="408" y="292"/>
                    <a:pt x="416" y="283"/>
                    <a:pt x="416" y="265"/>
                  </a:cubicBezTo>
                  <a:cubicBezTo>
                    <a:pt x="399" y="256"/>
                    <a:pt x="381" y="230"/>
                    <a:pt x="381" y="203"/>
                  </a:cubicBezTo>
                  <a:close/>
                  <a:moveTo>
                    <a:pt x="213" y="292"/>
                  </a:moveTo>
                  <a:lnTo>
                    <a:pt x="213" y="292"/>
                  </a:lnTo>
                  <a:cubicBezTo>
                    <a:pt x="160" y="292"/>
                    <a:pt x="125" y="256"/>
                    <a:pt x="125" y="203"/>
                  </a:cubicBezTo>
                  <a:cubicBezTo>
                    <a:pt x="125" y="159"/>
                    <a:pt x="160" y="115"/>
                    <a:pt x="213" y="115"/>
                  </a:cubicBezTo>
                  <a:cubicBezTo>
                    <a:pt x="266" y="115"/>
                    <a:pt x="301" y="159"/>
                    <a:pt x="301" y="203"/>
                  </a:cubicBezTo>
                  <a:cubicBezTo>
                    <a:pt x="301" y="256"/>
                    <a:pt x="266" y="292"/>
                    <a:pt x="213" y="292"/>
                  </a:cubicBezTo>
                  <a:close/>
                </a:path>
              </a:pathLst>
            </a:custGeom>
            <a:grpFill/>
            <a:ln>
              <a:noFill/>
            </a:ln>
            <a:effectLst/>
            <a:extLst/>
          </p:spPr>
          <p:txBody>
            <a:bodyPr wrap="none" anchor="ctr"/>
            <a:lstStyle/>
            <a:p>
              <a:endParaRPr lang="en-US" sz="1050" dirty="0">
                <a:latin typeface="+mj-lt"/>
              </a:endParaRPr>
            </a:p>
          </p:txBody>
        </p:sp>
        <p:sp>
          <p:nvSpPr>
            <p:cNvPr id="25" name="Freeform 67"/>
            <p:cNvSpPr>
              <a:spLocks noChangeArrowheads="1"/>
            </p:cNvSpPr>
            <p:nvPr/>
          </p:nvSpPr>
          <p:spPr bwMode="auto">
            <a:xfrm>
              <a:off x="11998365" y="6543801"/>
              <a:ext cx="543285" cy="638224"/>
            </a:xfrm>
            <a:custGeom>
              <a:avLst/>
              <a:gdLst>
                <a:gd name="T0" fmla="*/ 434 w 453"/>
                <a:gd name="T1" fmla="*/ 186 h 533"/>
                <a:gd name="T2" fmla="*/ 434 w 453"/>
                <a:gd name="T3" fmla="*/ 186 h 533"/>
                <a:gd name="T4" fmla="*/ 44 w 453"/>
                <a:gd name="T5" fmla="*/ 160 h 533"/>
                <a:gd name="T6" fmla="*/ 0 w 453"/>
                <a:gd name="T7" fmla="*/ 178 h 533"/>
                <a:gd name="T8" fmla="*/ 88 w 453"/>
                <a:gd name="T9" fmla="*/ 532 h 533"/>
                <a:gd name="T10" fmla="*/ 141 w 453"/>
                <a:gd name="T11" fmla="*/ 532 h 533"/>
                <a:gd name="T12" fmla="*/ 97 w 453"/>
                <a:gd name="T13" fmla="*/ 355 h 533"/>
                <a:gd name="T14" fmla="*/ 443 w 453"/>
                <a:gd name="T15" fmla="*/ 195 h 533"/>
                <a:gd name="T16" fmla="*/ 434 w 453"/>
                <a:gd name="T17" fmla="*/ 186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3" h="533">
                  <a:moveTo>
                    <a:pt x="434" y="186"/>
                  </a:moveTo>
                  <a:lnTo>
                    <a:pt x="434" y="186"/>
                  </a:lnTo>
                  <a:cubicBezTo>
                    <a:pt x="151" y="301"/>
                    <a:pt x="266" y="0"/>
                    <a:pt x="44" y="160"/>
                  </a:cubicBezTo>
                  <a:cubicBezTo>
                    <a:pt x="0" y="178"/>
                    <a:pt x="0" y="178"/>
                    <a:pt x="0" y="178"/>
                  </a:cubicBezTo>
                  <a:cubicBezTo>
                    <a:pt x="88" y="532"/>
                    <a:pt x="88" y="532"/>
                    <a:pt x="88" y="532"/>
                  </a:cubicBezTo>
                  <a:cubicBezTo>
                    <a:pt x="141" y="532"/>
                    <a:pt x="141" y="532"/>
                    <a:pt x="141" y="532"/>
                  </a:cubicBezTo>
                  <a:cubicBezTo>
                    <a:pt x="97" y="355"/>
                    <a:pt x="97" y="355"/>
                    <a:pt x="97" y="355"/>
                  </a:cubicBezTo>
                  <a:cubicBezTo>
                    <a:pt x="293" y="195"/>
                    <a:pt x="213" y="532"/>
                    <a:pt x="443" y="195"/>
                  </a:cubicBezTo>
                  <a:cubicBezTo>
                    <a:pt x="452" y="195"/>
                    <a:pt x="443" y="186"/>
                    <a:pt x="434" y="186"/>
                  </a:cubicBezTo>
                </a:path>
              </a:pathLst>
            </a:custGeom>
            <a:grpFill/>
            <a:ln>
              <a:noFill/>
            </a:ln>
            <a:effectLst/>
            <a:extLst/>
          </p:spPr>
          <p:txBody>
            <a:bodyPr wrap="none" anchor="ctr"/>
            <a:lstStyle/>
            <a:p>
              <a:endParaRPr lang="en-US" sz="1050" dirty="0">
                <a:latin typeface="+mj-lt"/>
              </a:endParaRPr>
            </a:p>
          </p:txBody>
        </p:sp>
      </p:grpSp>
      <p:sp>
        <p:nvSpPr>
          <p:cNvPr id="26" name="Freeform 70"/>
          <p:cNvSpPr>
            <a:spLocks noChangeArrowheads="1"/>
          </p:cNvSpPr>
          <p:nvPr/>
        </p:nvSpPr>
        <p:spPr bwMode="auto">
          <a:xfrm>
            <a:off x="4103698" y="4577699"/>
            <a:ext cx="357195" cy="319263"/>
          </a:xfrm>
          <a:custGeom>
            <a:avLst/>
            <a:gdLst>
              <a:gd name="T0" fmla="*/ 142 w 497"/>
              <a:gd name="T1" fmla="*/ 275 h 445"/>
              <a:gd name="T2" fmla="*/ 142 w 497"/>
              <a:gd name="T3" fmla="*/ 275 h 445"/>
              <a:gd name="T4" fmla="*/ 142 w 497"/>
              <a:gd name="T5" fmla="*/ 125 h 445"/>
              <a:gd name="T6" fmla="*/ 53 w 497"/>
              <a:gd name="T7" fmla="*/ 125 h 445"/>
              <a:gd name="T8" fmla="*/ 0 w 497"/>
              <a:gd name="T9" fmla="*/ 178 h 445"/>
              <a:gd name="T10" fmla="*/ 0 w 497"/>
              <a:gd name="T11" fmla="*/ 319 h 445"/>
              <a:gd name="T12" fmla="*/ 53 w 497"/>
              <a:gd name="T13" fmla="*/ 373 h 445"/>
              <a:gd name="T14" fmla="*/ 71 w 497"/>
              <a:gd name="T15" fmla="*/ 373 h 445"/>
              <a:gd name="T16" fmla="*/ 71 w 497"/>
              <a:gd name="T17" fmla="*/ 444 h 445"/>
              <a:gd name="T18" fmla="*/ 151 w 497"/>
              <a:gd name="T19" fmla="*/ 373 h 445"/>
              <a:gd name="T20" fmla="*/ 274 w 497"/>
              <a:gd name="T21" fmla="*/ 373 h 445"/>
              <a:gd name="T22" fmla="*/ 319 w 497"/>
              <a:gd name="T23" fmla="*/ 319 h 445"/>
              <a:gd name="T24" fmla="*/ 319 w 497"/>
              <a:gd name="T25" fmla="*/ 275 h 445"/>
              <a:gd name="T26" fmla="*/ 319 w 497"/>
              <a:gd name="T27" fmla="*/ 275 h 445"/>
              <a:gd name="T28" fmla="*/ 142 w 497"/>
              <a:gd name="T29" fmla="*/ 275 h 445"/>
              <a:gd name="T30" fmla="*/ 443 w 497"/>
              <a:gd name="T31" fmla="*/ 0 h 445"/>
              <a:gd name="T32" fmla="*/ 443 w 497"/>
              <a:gd name="T33" fmla="*/ 0 h 445"/>
              <a:gd name="T34" fmla="*/ 221 w 497"/>
              <a:gd name="T35" fmla="*/ 0 h 445"/>
              <a:gd name="T36" fmla="*/ 177 w 497"/>
              <a:gd name="T37" fmla="*/ 54 h 445"/>
              <a:gd name="T38" fmla="*/ 177 w 497"/>
              <a:gd name="T39" fmla="*/ 248 h 445"/>
              <a:gd name="T40" fmla="*/ 346 w 497"/>
              <a:gd name="T41" fmla="*/ 248 h 445"/>
              <a:gd name="T42" fmla="*/ 425 w 497"/>
              <a:gd name="T43" fmla="*/ 319 h 445"/>
              <a:gd name="T44" fmla="*/ 425 w 497"/>
              <a:gd name="T45" fmla="*/ 248 h 445"/>
              <a:gd name="T46" fmla="*/ 443 w 497"/>
              <a:gd name="T47" fmla="*/ 248 h 445"/>
              <a:gd name="T48" fmla="*/ 496 w 497"/>
              <a:gd name="T49" fmla="*/ 195 h 445"/>
              <a:gd name="T50" fmla="*/ 496 w 497"/>
              <a:gd name="T51" fmla="*/ 54 h 445"/>
              <a:gd name="T52" fmla="*/ 443 w 497"/>
              <a:gd name="T53" fmla="*/ 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7" h="445">
                <a:moveTo>
                  <a:pt x="142" y="275"/>
                </a:moveTo>
                <a:lnTo>
                  <a:pt x="142" y="275"/>
                </a:lnTo>
                <a:cubicBezTo>
                  <a:pt x="142" y="125"/>
                  <a:pt x="142" y="125"/>
                  <a:pt x="142" y="125"/>
                </a:cubicBezTo>
                <a:cubicBezTo>
                  <a:pt x="53" y="125"/>
                  <a:pt x="53" y="125"/>
                  <a:pt x="53" y="125"/>
                </a:cubicBezTo>
                <a:cubicBezTo>
                  <a:pt x="18" y="125"/>
                  <a:pt x="0" y="151"/>
                  <a:pt x="0" y="178"/>
                </a:cubicBezTo>
                <a:cubicBezTo>
                  <a:pt x="0" y="319"/>
                  <a:pt x="0" y="319"/>
                  <a:pt x="0" y="319"/>
                </a:cubicBezTo>
                <a:cubicBezTo>
                  <a:pt x="0" y="354"/>
                  <a:pt x="18" y="373"/>
                  <a:pt x="53" y="373"/>
                </a:cubicBezTo>
                <a:cubicBezTo>
                  <a:pt x="71" y="373"/>
                  <a:pt x="71" y="373"/>
                  <a:pt x="71" y="373"/>
                </a:cubicBezTo>
                <a:cubicBezTo>
                  <a:pt x="71" y="444"/>
                  <a:pt x="71" y="444"/>
                  <a:pt x="71" y="444"/>
                </a:cubicBezTo>
                <a:cubicBezTo>
                  <a:pt x="151" y="373"/>
                  <a:pt x="151" y="373"/>
                  <a:pt x="151" y="373"/>
                </a:cubicBezTo>
                <a:cubicBezTo>
                  <a:pt x="274" y="373"/>
                  <a:pt x="274" y="373"/>
                  <a:pt x="274" y="373"/>
                </a:cubicBezTo>
                <a:cubicBezTo>
                  <a:pt x="302" y="373"/>
                  <a:pt x="319" y="354"/>
                  <a:pt x="319" y="319"/>
                </a:cubicBezTo>
                <a:cubicBezTo>
                  <a:pt x="319" y="275"/>
                  <a:pt x="319" y="275"/>
                  <a:pt x="319" y="275"/>
                </a:cubicBezTo>
                <a:lnTo>
                  <a:pt x="319" y="275"/>
                </a:lnTo>
                <a:lnTo>
                  <a:pt x="142" y="275"/>
                </a:lnTo>
                <a:close/>
                <a:moveTo>
                  <a:pt x="443" y="0"/>
                </a:moveTo>
                <a:lnTo>
                  <a:pt x="443" y="0"/>
                </a:lnTo>
                <a:cubicBezTo>
                  <a:pt x="221" y="0"/>
                  <a:pt x="221" y="0"/>
                  <a:pt x="221" y="0"/>
                </a:cubicBezTo>
                <a:cubicBezTo>
                  <a:pt x="195" y="0"/>
                  <a:pt x="177" y="27"/>
                  <a:pt x="177" y="54"/>
                </a:cubicBezTo>
                <a:cubicBezTo>
                  <a:pt x="177" y="248"/>
                  <a:pt x="177" y="248"/>
                  <a:pt x="177" y="248"/>
                </a:cubicBezTo>
                <a:cubicBezTo>
                  <a:pt x="346" y="248"/>
                  <a:pt x="346" y="248"/>
                  <a:pt x="346" y="248"/>
                </a:cubicBezTo>
                <a:cubicBezTo>
                  <a:pt x="425" y="319"/>
                  <a:pt x="425" y="319"/>
                  <a:pt x="425" y="319"/>
                </a:cubicBezTo>
                <a:cubicBezTo>
                  <a:pt x="425" y="248"/>
                  <a:pt x="425" y="248"/>
                  <a:pt x="425" y="248"/>
                </a:cubicBezTo>
                <a:cubicBezTo>
                  <a:pt x="443" y="248"/>
                  <a:pt x="443" y="248"/>
                  <a:pt x="443" y="248"/>
                </a:cubicBezTo>
                <a:cubicBezTo>
                  <a:pt x="470" y="248"/>
                  <a:pt x="496" y="231"/>
                  <a:pt x="496" y="195"/>
                </a:cubicBezTo>
                <a:cubicBezTo>
                  <a:pt x="496" y="54"/>
                  <a:pt x="496" y="54"/>
                  <a:pt x="496" y="54"/>
                </a:cubicBezTo>
                <a:cubicBezTo>
                  <a:pt x="496" y="27"/>
                  <a:pt x="470" y="0"/>
                  <a:pt x="443" y="0"/>
                </a:cubicBezTo>
                <a:close/>
              </a:path>
            </a:pathLst>
          </a:custGeom>
          <a:solidFill>
            <a:schemeClr val="bg1"/>
          </a:solidFill>
          <a:ln>
            <a:noFill/>
          </a:ln>
          <a:effectLst/>
          <a:extLst/>
        </p:spPr>
        <p:txBody>
          <a:bodyPr wrap="none" anchor="ctr"/>
          <a:lstStyle/>
          <a:p>
            <a:endParaRPr lang="en-US" sz="1050" dirty="0">
              <a:latin typeface="+mj-lt"/>
            </a:endParaRPr>
          </a:p>
        </p:txBody>
      </p:sp>
      <p:sp>
        <p:nvSpPr>
          <p:cNvPr id="27" name="Freeform 102"/>
          <p:cNvSpPr>
            <a:spLocks noChangeArrowheads="1"/>
          </p:cNvSpPr>
          <p:nvPr/>
        </p:nvSpPr>
        <p:spPr bwMode="auto">
          <a:xfrm>
            <a:off x="8320038" y="4544954"/>
            <a:ext cx="357195" cy="319260"/>
          </a:xfrm>
          <a:custGeom>
            <a:avLst/>
            <a:gdLst>
              <a:gd name="T0" fmla="*/ 80 w 498"/>
              <a:gd name="T1" fmla="*/ 151 h 445"/>
              <a:gd name="T2" fmla="*/ 80 w 498"/>
              <a:gd name="T3" fmla="*/ 151 h 445"/>
              <a:gd name="T4" fmla="*/ 142 w 498"/>
              <a:gd name="T5" fmla="*/ 169 h 445"/>
              <a:gd name="T6" fmla="*/ 151 w 498"/>
              <a:gd name="T7" fmla="*/ 169 h 445"/>
              <a:gd name="T8" fmla="*/ 195 w 498"/>
              <a:gd name="T9" fmla="*/ 134 h 445"/>
              <a:gd name="T10" fmla="*/ 195 w 498"/>
              <a:gd name="T11" fmla="*/ 125 h 445"/>
              <a:gd name="T12" fmla="*/ 178 w 498"/>
              <a:gd name="T13" fmla="*/ 107 h 445"/>
              <a:gd name="T14" fmla="*/ 275 w 498"/>
              <a:gd name="T15" fmla="*/ 10 h 445"/>
              <a:gd name="T16" fmla="*/ 195 w 498"/>
              <a:gd name="T17" fmla="*/ 0 h 445"/>
              <a:gd name="T18" fmla="*/ 107 w 498"/>
              <a:gd name="T19" fmla="*/ 54 h 445"/>
              <a:gd name="T20" fmla="*/ 72 w 498"/>
              <a:gd name="T21" fmla="*/ 81 h 445"/>
              <a:gd name="T22" fmla="*/ 53 w 498"/>
              <a:gd name="T23" fmla="*/ 116 h 445"/>
              <a:gd name="T24" fmla="*/ 18 w 498"/>
              <a:gd name="T25" fmla="*/ 125 h 445"/>
              <a:gd name="T26" fmla="*/ 0 w 498"/>
              <a:gd name="T27" fmla="*/ 143 h 445"/>
              <a:gd name="T28" fmla="*/ 0 w 498"/>
              <a:gd name="T29" fmla="*/ 151 h 445"/>
              <a:gd name="T30" fmla="*/ 36 w 498"/>
              <a:gd name="T31" fmla="*/ 187 h 445"/>
              <a:gd name="T32" fmla="*/ 53 w 498"/>
              <a:gd name="T33" fmla="*/ 196 h 445"/>
              <a:gd name="T34" fmla="*/ 72 w 498"/>
              <a:gd name="T35" fmla="*/ 178 h 445"/>
              <a:gd name="T36" fmla="*/ 80 w 498"/>
              <a:gd name="T37" fmla="*/ 151 h 445"/>
              <a:gd name="T38" fmla="*/ 222 w 498"/>
              <a:gd name="T39" fmla="*/ 160 h 445"/>
              <a:gd name="T40" fmla="*/ 222 w 498"/>
              <a:gd name="T41" fmla="*/ 160 h 445"/>
              <a:gd name="T42" fmla="*/ 213 w 498"/>
              <a:gd name="T43" fmla="*/ 160 h 445"/>
              <a:gd name="T44" fmla="*/ 178 w 498"/>
              <a:gd name="T45" fmla="*/ 187 h 445"/>
              <a:gd name="T46" fmla="*/ 169 w 498"/>
              <a:gd name="T47" fmla="*/ 204 h 445"/>
              <a:gd name="T48" fmla="*/ 381 w 498"/>
              <a:gd name="T49" fmla="*/ 435 h 445"/>
              <a:gd name="T50" fmla="*/ 399 w 498"/>
              <a:gd name="T51" fmla="*/ 435 h 445"/>
              <a:gd name="T52" fmla="*/ 426 w 498"/>
              <a:gd name="T53" fmla="*/ 417 h 445"/>
              <a:gd name="T54" fmla="*/ 426 w 498"/>
              <a:gd name="T55" fmla="*/ 400 h 445"/>
              <a:gd name="T56" fmla="*/ 222 w 498"/>
              <a:gd name="T57" fmla="*/ 160 h 445"/>
              <a:gd name="T58" fmla="*/ 497 w 498"/>
              <a:gd name="T59" fmla="*/ 63 h 445"/>
              <a:gd name="T60" fmla="*/ 497 w 498"/>
              <a:gd name="T61" fmla="*/ 63 h 445"/>
              <a:gd name="T62" fmla="*/ 479 w 498"/>
              <a:gd name="T63" fmla="*/ 54 h 445"/>
              <a:gd name="T64" fmla="*/ 461 w 498"/>
              <a:gd name="T65" fmla="*/ 89 h 445"/>
              <a:gd name="T66" fmla="*/ 408 w 498"/>
              <a:gd name="T67" fmla="*/ 107 h 445"/>
              <a:gd name="T68" fmla="*/ 399 w 498"/>
              <a:gd name="T69" fmla="*/ 63 h 445"/>
              <a:gd name="T70" fmla="*/ 417 w 498"/>
              <a:gd name="T71" fmla="*/ 19 h 445"/>
              <a:gd name="T72" fmla="*/ 408 w 498"/>
              <a:gd name="T73" fmla="*/ 10 h 445"/>
              <a:gd name="T74" fmla="*/ 337 w 498"/>
              <a:gd name="T75" fmla="*/ 72 h 445"/>
              <a:gd name="T76" fmla="*/ 319 w 498"/>
              <a:gd name="T77" fmla="*/ 151 h 445"/>
              <a:gd name="T78" fmla="*/ 284 w 498"/>
              <a:gd name="T79" fmla="*/ 187 h 445"/>
              <a:gd name="T80" fmla="*/ 319 w 498"/>
              <a:gd name="T81" fmla="*/ 231 h 445"/>
              <a:gd name="T82" fmla="*/ 364 w 498"/>
              <a:gd name="T83" fmla="*/ 187 h 445"/>
              <a:gd name="T84" fmla="*/ 408 w 498"/>
              <a:gd name="T85" fmla="*/ 178 h 445"/>
              <a:gd name="T86" fmla="*/ 488 w 498"/>
              <a:gd name="T87" fmla="*/ 143 h 445"/>
              <a:gd name="T88" fmla="*/ 497 w 498"/>
              <a:gd name="T89" fmla="*/ 63 h 445"/>
              <a:gd name="T90" fmla="*/ 72 w 498"/>
              <a:gd name="T91" fmla="*/ 400 h 445"/>
              <a:gd name="T92" fmla="*/ 72 w 498"/>
              <a:gd name="T93" fmla="*/ 400 h 445"/>
              <a:gd name="T94" fmla="*/ 72 w 498"/>
              <a:gd name="T95" fmla="*/ 417 h 445"/>
              <a:gd name="T96" fmla="*/ 89 w 498"/>
              <a:gd name="T97" fmla="*/ 444 h 445"/>
              <a:gd name="T98" fmla="*/ 107 w 498"/>
              <a:gd name="T99" fmla="*/ 435 h 445"/>
              <a:gd name="T100" fmla="*/ 231 w 498"/>
              <a:gd name="T101" fmla="*/ 320 h 445"/>
              <a:gd name="T102" fmla="*/ 195 w 498"/>
              <a:gd name="T103" fmla="*/ 275 h 445"/>
              <a:gd name="T104" fmla="*/ 72 w 498"/>
              <a:gd name="T105" fmla="*/ 40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chemeClr val="bg1"/>
          </a:solidFill>
          <a:ln>
            <a:noFill/>
          </a:ln>
          <a:effectLst/>
          <a:extLst/>
        </p:spPr>
        <p:txBody>
          <a:bodyPr wrap="none" anchor="ctr"/>
          <a:lstStyle/>
          <a:p>
            <a:endParaRPr lang="en-US" sz="1050" dirty="0">
              <a:latin typeface="+mj-lt"/>
            </a:endParaRPr>
          </a:p>
        </p:txBody>
      </p:sp>
      <p:sp>
        <p:nvSpPr>
          <p:cNvPr id="28" name="Freeform 116"/>
          <p:cNvSpPr>
            <a:spLocks noChangeArrowheads="1"/>
          </p:cNvSpPr>
          <p:nvPr/>
        </p:nvSpPr>
        <p:spPr bwMode="auto">
          <a:xfrm>
            <a:off x="8324506" y="3074593"/>
            <a:ext cx="319263" cy="331904"/>
          </a:xfrm>
          <a:custGeom>
            <a:avLst/>
            <a:gdLst>
              <a:gd name="T0" fmla="*/ 400 w 445"/>
              <a:gd name="T1" fmla="*/ 159 h 462"/>
              <a:gd name="T2" fmla="*/ 400 w 445"/>
              <a:gd name="T3" fmla="*/ 159 h 462"/>
              <a:gd name="T4" fmla="*/ 266 w 445"/>
              <a:gd name="T5" fmla="*/ 8 h 462"/>
              <a:gd name="T6" fmla="*/ 36 w 445"/>
              <a:gd name="T7" fmla="*/ 248 h 462"/>
              <a:gd name="T8" fmla="*/ 9 w 445"/>
              <a:gd name="T9" fmla="*/ 319 h 462"/>
              <a:gd name="T10" fmla="*/ 81 w 445"/>
              <a:gd name="T11" fmla="*/ 355 h 462"/>
              <a:gd name="T12" fmla="*/ 98 w 445"/>
              <a:gd name="T13" fmla="*/ 346 h 462"/>
              <a:gd name="T14" fmla="*/ 134 w 445"/>
              <a:gd name="T15" fmla="*/ 372 h 462"/>
              <a:gd name="T16" fmla="*/ 160 w 445"/>
              <a:gd name="T17" fmla="*/ 434 h 462"/>
              <a:gd name="T18" fmla="*/ 187 w 445"/>
              <a:gd name="T19" fmla="*/ 452 h 462"/>
              <a:gd name="T20" fmla="*/ 240 w 445"/>
              <a:gd name="T21" fmla="*/ 434 h 462"/>
              <a:gd name="T22" fmla="*/ 249 w 445"/>
              <a:gd name="T23" fmla="*/ 416 h 462"/>
              <a:gd name="T24" fmla="*/ 231 w 445"/>
              <a:gd name="T25" fmla="*/ 390 h 462"/>
              <a:gd name="T26" fmla="*/ 204 w 445"/>
              <a:gd name="T27" fmla="*/ 337 h 462"/>
              <a:gd name="T28" fmla="*/ 231 w 445"/>
              <a:gd name="T29" fmla="*/ 310 h 462"/>
              <a:gd name="T30" fmla="*/ 417 w 445"/>
              <a:gd name="T31" fmla="*/ 355 h 462"/>
              <a:gd name="T32" fmla="*/ 400 w 445"/>
              <a:gd name="T33" fmla="*/ 159 h 462"/>
              <a:gd name="T34" fmla="*/ 390 w 445"/>
              <a:gd name="T35" fmla="*/ 310 h 462"/>
              <a:gd name="T36" fmla="*/ 390 w 445"/>
              <a:gd name="T37" fmla="*/ 310 h 462"/>
              <a:gd name="T38" fmla="*/ 302 w 445"/>
              <a:gd name="T39" fmla="*/ 204 h 462"/>
              <a:gd name="T40" fmla="*/ 284 w 445"/>
              <a:gd name="T41" fmla="*/ 62 h 462"/>
              <a:gd name="T42" fmla="*/ 364 w 445"/>
              <a:gd name="T43" fmla="*/ 177 h 462"/>
              <a:gd name="T44" fmla="*/ 390 w 445"/>
              <a:gd name="T45" fmla="*/ 31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5" h="462">
                <a:moveTo>
                  <a:pt x="400" y="159"/>
                </a:moveTo>
                <a:lnTo>
                  <a:pt x="400" y="159"/>
                </a:lnTo>
                <a:cubicBezTo>
                  <a:pt x="364" y="71"/>
                  <a:pt x="302" y="0"/>
                  <a:pt x="266" y="8"/>
                </a:cubicBezTo>
                <a:cubicBezTo>
                  <a:pt x="213" y="36"/>
                  <a:pt x="302" y="142"/>
                  <a:pt x="36" y="248"/>
                </a:cubicBezTo>
                <a:cubicBezTo>
                  <a:pt x="9" y="257"/>
                  <a:pt x="0" y="292"/>
                  <a:pt x="9" y="319"/>
                </a:cubicBezTo>
                <a:cubicBezTo>
                  <a:pt x="18" y="337"/>
                  <a:pt x="53" y="363"/>
                  <a:pt x="81" y="355"/>
                </a:cubicBezTo>
                <a:lnTo>
                  <a:pt x="98" y="346"/>
                </a:lnTo>
                <a:cubicBezTo>
                  <a:pt x="116" y="372"/>
                  <a:pt x="134" y="355"/>
                  <a:pt x="134" y="372"/>
                </a:cubicBezTo>
                <a:cubicBezTo>
                  <a:pt x="143" y="390"/>
                  <a:pt x="160" y="425"/>
                  <a:pt x="160" y="434"/>
                </a:cubicBezTo>
                <a:cubicBezTo>
                  <a:pt x="169" y="443"/>
                  <a:pt x="178" y="461"/>
                  <a:pt x="187" y="452"/>
                </a:cubicBezTo>
                <a:cubicBezTo>
                  <a:pt x="196" y="452"/>
                  <a:pt x="231" y="443"/>
                  <a:pt x="240" y="434"/>
                </a:cubicBezTo>
                <a:cubicBezTo>
                  <a:pt x="257" y="434"/>
                  <a:pt x="257" y="425"/>
                  <a:pt x="249" y="416"/>
                </a:cubicBezTo>
                <a:cubicBezTo>
                  <a:pt x="249" y="408"/>
                  <a:pt x="231" y="399"/>
                  <a:pt x="231" y="390"/>
                </a:cubicBezTo>
                <a:cubicBezTo>
                  <a:pt x="222" y="381"/>
                  <a:pt x="213" y="346"/>
                  <a:pt x="204" y="337"/>
                </a:cubicBezTo>
                <a:cubicBezTo>
                  <a:pt x="196" y="328"/>
                  <a:pt x="213" y="310"/>
                  <a:pt x="231" y="310"/>
                </a:cubicBezTo>
                <a:cubicBezTo>
                  <a:pt x="355" y="302"/>
                  <a:pt x="373" y="372"/>
                  <a:pt x="417" y="355"/>
                </a:cubicBezTo>
                <a:cubicBezTo>
                  <a:pt x="444" y="346"/>
                  <a:pt x="444" y="248"/>
                  <a:pt x="400" y="159"/>
                </a:cubicBezTo>
                <a:close/>
                <a:moveTo>
                  <a:pt x="390" y="310"/>
                </a:moveTo>
                <a:lnTo>
                  <a:pt x="390" y="310"/>
                </a:lnTo>
                <a:cubicBezTo>
                  <a:pt x="381" y="310"/>
                  <a:pt x="328" y="275"/>
                  <a:pt x="302" y="204"/>
                </a:cubicBezTo>
                <a:cubicBezTo>
                  <a:pt x="275" y="133"/>
                  <a:pt x="275" y="62"/>
                  <a:pt x="284" y="62"/>
                </a:cubicBezTo>
                <a:cubicBezTo>
                  <a:pt x="293" y="62"/>
                  <a:pt x="337" y="106"/>
                  <a:pt x="364" y="177"/>
                </a:cubicBezTo>
                <a:cubicBezTo>
                  <a:pt x="400" y="248"/>
                  <a:pt x="390" y="302"/>
                  <a:pt x="390" y="310"/>
                </a:cubicBezTo>
                <a:close/>
              </a:path>
            </a:pathLst>
          </a:custGeom>
          <a:solidFill>
            <a:schemeClr val="bg1"/>
          </a:solidFill>
          <a:ln>
            <a:noFill/>
          </a:ln>
          <a:effectLst/>
          <a:extLst/>
        </p:spPr>
        <p:txBody>
          <a:bodyPr wrap="none" anchor="ctr"/>
          <a:lstStyle/>
          <a:p>
            <a:endParaRPr lang="en-US" sz="1050" dirty="0">
              <a:latin typeface="+mj-lt"/>
            </a:endParaRPr>
          </a:p>
        </p:txBody>
      </p:sp>
      <p:sp>
        <p:nvSpPr>
          <p:cNvPr id="29" name="Freeform 22"/>
          <p:cNvSpPr>
            <a:spLocks noChangeArrowheads="1"/>
          </p:cNvSpPr>
          <p:nvPr/>
        </p:nvSpPr>
        <p:spPr bwMode="auto">
          <a:xfrm>
            <a:off x="4105875" y="1586978"/>
            <a:ext cx="331904" cy="331907"/>
          </a:xfrm>
          <a:custGeom>
            <a:avLst/>
            <a:gdLst>
              <a:gd name="T0" fmla="*/ 230 w 461"/>
              <a:gd name="T1" fmla="*/ 8 h 461"/>
              <a:gd name="T2" fmla="*/ 230 w 461"/>
              <a:gd name="T3" fmla="*/ 8 h 461"/>
              <a:gd name="T4" fmla="*/ 0 w 461"/>
              <a:gd name="T5" fmla="*/ 239 h 461"/>
              <a:gd name="T6" fmla="*/ 230 w 461"/>
              <a:gd name="T7" fmla="*/ 460 h 461"/>
              <a:gd name="T8" fmla="*/ 460 w 461"/>
              <a:gd name="T9" fmla="*/ 230 h 461"/>
              <a:gd name="T10" fmla="*/ 230 w 461"/>
              <a:gd name="T11" fmla="*/ 8 h 461"/>
              <a:gd name="T12" fmla="*/ 230 w 461"/>
              <a:gd name="T13" fmla="*/ 35 h 461"/>
              <a:gd name="T14" fmla="*/ 230 w 461"/>
              <a:gd name="T15" fmla="*/ 35 h 461"/>
              <a:gd name="T16" fmla="*/ 319 w 461"/>
              <a:gd name="T17" fmla="*/ 53 h 461"/>
              <a:gd name="T18" fmla="*/ 291 w 461"/>
              <a:gd name="T19" fmla="*/ 106 h 461"/>
              <a:gd name="T20" fmla="*/ 230 w 461"/>
              <a:gd name="T21" fmla="*/ 97 h 461"/>
              <a:gd name="T22" fmla="*/ 168 w 461"/>
              <a:gd name="T23" fmla="*/ 106 h 461"/>
              <a:gd name="T24" fmla="*/ 141 w 461"/>
              <a:gd name="T25" fmla="*/ 53 h 461"/>
              <a:gd name="T26" fmla="*/ 230 w 461"/>
              <a:gd name="T27" fmla="*/ 35 h 461"/>
              <a:gd name="T28" fmla="*/ 106 w 461"/>
              <a:gd name="T29" fmla="*/ 292 h 461"/>
              <a:gd name="T30" fmla="*/ 106 w 461"/>
              <a:gd name="T31" fmla="*/ 292 h 461"/>
              <a:gd name="T32" fmla="*/ 53 w 461"/>
              <a:gd name="T33" fmla="*/ 327 h 461"/>
              <a:gd name="T34" fmla="*/ 35 w 461"/>
              <a:gd name="T35" fmla="*/ 239 h 461"/>
              <a:gd name="T36" fmla="*/ 53 w 461"/>
              <a:gd name="T37" fmla="*/ 141 h 461"/>
              <a:gd name="T38" fmla="*/ 106 w 461"/>
              <a:gd name="T39" fmla="*/ 167 h 461"/>
              <a:gd name="T40" fmla="*/ 88 w 461"/>
              <a:gd name="T41" fmla="*/ 230 h 461"/>
              <a:gd name="T42" fmla="*/ 106 w 461"/>
              <a:gd name="T43" fmla="*/ 292 h 461"/>
              <a:gd name="T44" fmla="*/ 230 w 461"/>
              <a:gd name="T45" fmla="*/ 433 h 461"/>
              <a:gd name="T46" fmla="*/ 230 w 461"/>
              <a:gd name="T47" fmla="*/ 433 h 461"/>
              <a:gd name="T48" fmla="*/ 141 w 461"/>
              <a:gd name="T49" fmla="*/ 407 h 461"/>
              <a:gd name="T50" fmla="*/ 168 w 461"/>
              <a:gd name="T51" fmla="*/ 354 h 461"/>
              <a:gd name="T52" fmla="*/ 230 w 461"/>
              <a:gd name="T53" fmla="*/ 372 h 461"/>
              <a:gd name="T54" fmla="*/ 291 w 461"/>
              <a:gd name="T55" fmla="*/ 354 h 461"/>
              <a:gd name="T56" fmla="*/ 319 w 461"/>
              <a:gd name="T57" fmla="*/ 407 h 461"/>
              <a:gd name="T58" fmla="*/ 230 w 461"/>
              <a:gd name="T59" fmla="*/ 433 h 461"/>
              <a:gd name="T60" fmla="*/ 230 w 461"/>
              <a:gd name="T61" fmla="*/ 345 h 461"/>
              <a:gd name="T62" fmla="*/ 230 w 461"/>
              <a:gd name="T63" fmla="*/ 345 h 461"/>
              <a:gd name="T64" fmla="*/ 124 w 461"/>
              <a:gd name="T65" fmla="*/ 230 h 461"/>
              <a:gd name="T66" fmla="*/ 230 w 461"/>
              <a:gd name="T67" fmla="*/ 123 h 461"/>
              <a:gd name="T68" fmla="*/ 336 w 461"/>
              <a:gd name="T69" fmla="*/ 230 h 461"/>
              <a:gd name="T70" fmla="*/ 230 w 461"/>
              <a:gd name="T71" fmla="*/ 345 h 461"/>
              <a:gd name="T72" fmla="*/ 354 w 461"/>
              <a:gd name="T73" fmla="*/ 292 h 461"/>
              <a:gd name="T74" fmla="*/ 354 w 461"/>
              <a:gd name="T75" fmla="*/ 292 h 461"/>
              <a:gd name="T76" fmla="*/ 372 w 461"/>
              <a:gd name="T77" fmla="*/ 230 h 461"/>
              <a:gd name="T78" fmla="*/ 354 w 461"/>
              <a:gd name="T79" fmla="*/ 167 h 461"/>
              <a:gd name="T80" fmla="*/ 407 w 461"/>
              <a:gd name="T81" fmla="*/ 141 h 461"/>
              <a:gd name="T82" fmla="*/ 425 w 461"/>
              <a:gd name="T83" fmla="*/ 230 h 461"/>
              <a:gd name="T84" fmla="*/ 407 w 461"/>
              <a:gd name="T85" fmla="*/ 327 h 461"/>
              <a:gd name="T86" fmla="*/ 354 w 461"/>
              <a:gd name="T87" fmla="*/ 292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1" h="461">
                <a:moveTo>
                  <a:pt x="230" y="8"/>
                </a:moveTo>
                <a:lnTo>
                  <a:pt x="230" y="8"/>
                </a:lnTo>
                <a:cubicBezTo>
                  <a:pt x="97" y="8"/>
                  <a:pt x="0" y="106"/>
                  <a:pt x="0" y="239"/>
                </a:cubicBezTo>
                <a:cubicBezTo>
                  <a:pt x="0" y="363"/>
                  <a:pt x="106" y="460"/>
                  <a:pt x="230" y="460"/>
                </a:cubicBezTo>
                <a:cubicBezTo>
                  <a:pt x="363" y="460"/>
                  <a:pt x="460" y="354"/>
                  <a:pt x="460" y="230"/>
                </a:cubicBezTo>
                <a:cubicBezTo>
                  <a:pt x="460" y="106"/>
                  <a:pt x="354" y="0"/>
                  <a:pt x="230" y="8"/>
                </a:cubicBezTo>
                <a:close/>
                <a:moveTo>
                  <a:pt x="230" y="35"/>
                </a:moveTo>
                <a:lnTo>
                  <a:pt x="230" y="35"/>
                </a:lnTo>
                <a:cubicBezTo>
                  <a:pt x="256" y="35"/>
                  <a:pt x="291" y="44"/>
                  <a:pt x="319" y="53"/>
                </a:cubicBezTo>
                <a:cubicBezTo>
                  <a:pt x="291" y="106"/>
                  <a:pt x="291" y="106"/>
                  <a:pt x="291" y="106"/>
                </a:cubicBezTo>
                <a:cubicBezTo>
                  <a:pt x="275" y="97"/>
                  <a:pt x="247" y="97"/>
                  <a:pt x="230" y="97"/>
                </a:cubicBezTo>
                <a:cubicBezTo>
                  <a:pt x="203" y="97"/>
                  <a:pt x="185" y="97"/>
                  <a:pt x="168" y="106"/>
                </a:cubicBezTo>
                <a:cubicBezTo>
                  <a:pt x="141" y="53"/>
                  <a:pt x="141" y="53"/>
                  <a:pt x="141" y="53"/>
                </a:cubicBezTo>
                <a:cubicBezTo>
                  <a:pt x="168" y="44"/>
                  <a:pt x="194" y="35"/>
                  <a:pt x="230" y="35"/>
                </a:cubicBezTo>
                <a:close/>
                <a:moveTo>
                  <a:pt x="106" y="292"/>
                </a:moveTo>
                <a:lnTo>
                  <a:pt x="106" y="292"/>
                </a:lnTo>
                <a:cubicBezTo>
                  <a:pt x="53" y="327"/>
                  <a:pt x="53" y="327"/>
                  <a:pt x="53" y="327"/>
                </a:cubicBezTo>
                <a:cubicBezTo>
                  <a:pt x="35" y="301"/>
                  <a:pt x="35" y="265"/>
                  <a:pt x="35" y="239"/>
                </a:cubicBezTo>
                <a:cubicBezTo>
                  <a:pt x="26" y="204"/>
                  <a:pt x="35" y="167"/>
                  <a:pt x="53" y="141"/>
                </a:cubicBezTo>
                <a:cubicBezTo>
                  <a:pt x="106" y="167"/>
                  <a:pt x="106" y="167"/>
                  <a:pt x="106" y="167"/>
                </a:cubicBezTo>
                <a:cubicBezTo>
                  <a:pt x="97" y="185"/>
                  <a:pt x="88" y="212"/>
                  <a:pt x="88" y="230"/>
                </a:cubicBezTo>
                <a:cubicBezTo>
                  <a:pt x="88" y="257"/>
                  <a:pt x="97" y="274"/>
                  <a:pt x="106" y="292"/>
                </a:cubicBezTo>
                <a:close/>
                <a:moveTo>
                  <a:pt x="230" y="433"/>
                </a:moveTo>
                <a:lnTo>
                  <a:pt x="230" y="433"/>
                </a:lnTo>
                <a:cubicBezTo>
                  <a:pt x="194" y="433"/>
                  <a:pt x="168" y="425"/>
                  <a:pt x="141" y="407"/>
                </a:cubicBezTo>
                <a:cubicBezTo>
                  <a:pt x="168" y="354"/>
                  <a:pt x="168" y="354"/>
                  <a:pt x="168" y="354"/>
                </a:cubicBezTo>
                <a:cubicBezTo>
                  <a:pt x="185" y="363"/>
                  <a:pt x="203" y="372"/>
                  <a:pt x="230" y="372"/>
                </a:cubicBezTo>
                <a:cubicBezTo>
                  <a:pt x="247" y="372"/>
                  <a:pt x="275" y="363"/>
                  <a:pt x="291" y="354"/>
                </a:cubicBezTo>
                <a:cubicBezTo>
                  <a:pt x="319" y="407"/>
                  <a:pt x="319" y="407"/>
                  <a:pt x="319" y="407"/>
                </a:cubicBezTo>
                <a:cubicBezTo>
                  <a:pt x="291" y="425"/>
                  <a:pt x="266" y="433"/>
                  <a:pt x="230" y="433"/>
                </a:cubicBezTo>
                <a:close/>
                <a:moveTo>
                  <a:pt x="230" y="345"/>
                </a:moveTo>
                <a:lnTo>
                  <a:pt x="230" y="345"/>
                </a:lnTo>
                <a:cubicBezTo>
                  <a:pt x="168" y="345"/>
                  <a:pt x="124" y="292"/>
                  <a:pt x="124" y="230"/>
                </a:cubicBezTo>
                <a:cubicBezTo>
                  <a:pt x="124" y="167"/>
                  <a:pt x="168" y="123"/>
                  <a:pt x="230" y="123"/>
                </a:cubicBezTo>
                <a:cubicBezTo>
                  <a:pt x="291" y="123"/>
                  <a:pt x="336" y="167"/>
                  <a:pt x="336" y="230"/>
                </a:cubicBezTo>
                <a:cubicBezTo>
                  <a:pt x="336" y="292"/>
                  <a:pt x="291" y="345"/>
                  <a:pt x="230" y="345"/>
                </a:cubicBezTo>
                <a:close/>
                <a:moveTo>
                  <a:pt x="354" y="292"/>
                </a:moveTo>
                <a:lnTo>
                  <a:pt x="354" y="292"/>
                </a:lnTo>
                <a:cubicBezTo>
                  <a:pt x="363" y="274"/>
                  <a:pt x="372" y="257"/>
                  <a:pt x="372" y="230"/>
                </a:cubicBezTo>
                <a:cubicBezTo>
                  <a:pt x="372" y="212"/>
                  <a:pt x="363" y="185"/>
                  <a:pt x="354" y="167"/>
                </a:cubicBezTo>
                <a:cubicBezTo>
                  <a:pt x="407" y="141"/>
                  <a:pt x="407" y="141"/>
                  <a:pt x="407" y="141"/>
                </a:cubicBezTo>
                <a:cubicBezTo>
                  <a:pt x="416" y="167"/>
                  <a:pt x="425" y="195"/>
                  <a:pt x="425" y="230"/>
                </a:cubicBezTo>
                <a:cubicBezTo>
                  <a:pt x="425" y="265"/>
                  <a:pt x="416" y="292"/>
                  <a:pt x="407" y="327"/>
                </a:cubicBezTo>
                <a:lnTo>
                  <a:pt x="354" y="292"/>
                </a:lnTo>
                <a:close/>
              </a:path>
            </a:pathLst>
          </a:custGeom>
          <a:solidFill>
            <a:schemeClr val="bg1"/>
          </a:solidFill>
          <a:ln>
            <a:noFill/>
          </a:ln>
          <a:effectLst/>
          <a:extLst/>
        </p:spPr>
        <p:txBody>
          <a:bodyPr wrap="none" anchor="ctr"/>
          <a:lstStyle/>
          <a:p>
            <a:endParaRPr lang="en-US" sz="1050" dirty="0">
              <a:latin typeface="+mj-lt"/>
            </a:endParaRPr>
          </a:p>
        </p:txBody>
      </p:sp>
      <p:sp>
        <p:nvSpPr>
          <p:cNvPr id="30" name="TextBox 29"/>
          <p:cNvSpPr txBox="1"/>
          <p:nvPr/>
        </p:nvSpPr>
        <p:spPr>
          <a:xfrm>
            <a:off x="1498416" y="1980907"/>
            <a:ext cx="3285552" cy="830960"/>
          </a:xfrm>
          <a:prstGeom prst="rect">
            <a:avLst/>
          </a:prstGeom>
          <a:noFill/>
        </p:spPr>
        <p:txBody>
          <a:bodyPr wrap="square" lIns="219419" tIns="109710" rIns="219419" bIns="109710" rtlCol="0">
            <a:spAutoFit/>
          </a:bodyPr>
          <a:lstStyle/>
          <a:p>
            <a:pPr>
              <a:lnSpc>
                <a:spcPct val="110000"/>
              </a:lnSpc>
            </a:pPr>
            <a:r>
              <a:rPr lang="en-US" sz="1200" dirty="0">
                <a:latin typeface="Roboto Regular" pitchFamily="2" charset="0"/>
                <a:ea typeface="Roboto Regular" pitchFamily="2" charset="0"/>
                <a:cs typeface="Calibri Light"/>
              </a:rPr>
              <a:t>Creativity is the key to success in </a:t>
            </a:r>
            <a:r>
              <a:rPr lang="en-US" sz="1200" dirty="0" smtClean="0">
                <a:latin typeface="Roboto Regular" pitchFamily="2" charset="0"/>
                <a:ea typeface="Roboto Regular" pitchFamily="2" charset="0"/>
                <a:cs typeface="Calibri Light"/>
              </a:rPr>
              <a:t>the great and </a:t>
            </a:r>
            <a:r>
              <a:rPr lang="en-US" sz="1200" dirty="0">
                <a:latin typeface="Roboto Regular" pitchFamily="2" charset="0"/>
                <a:ea typeface="Roboto Regular" pitchFamily="2" charset="0"/>
                <a:cs typeface="Calibri Light"/>
              </a:rPr>
              <a:t>primary education where our teachers can bring </a:t>
            </a:r>
            <a:r>
              <a:rPr lang="en-US" sz="1200" dirty="0" smtClean="0">
                <a:latin typeface="Roboto Regular" pitchFamily="2" charset="0"/>
                <a:ea typeface="Roboto Regular" pitchFamily="2" charset="0"/>
                <a:cs typeface="Calibri Light"/>
              </a:rPr>
              <a:t>creativity.</a:t>
            </a:r>
          </a:p>
        </p:txBody>
      </p:sp>
      <p:sp>
        <p:nvSpPr>
          <p:cNvPr id="31" name="TextBox 30"/>
          <p:cNvSpPr txBox="1"/>
          <p:nvPr/>
        </p:nvSpPr>
        <p:spPr>
          <a:xfrm>
            <a:off x="1498416" y="3506096"/>
            <a:ext cx="3285552" cy="830960"/>
          </a:xfrm>
          <a:prstGeom prst="rect">
            <a:avLst/>
          </a:prstGeom>
          <a:noFill/>
        </p:spPr>
        <p:txBody>
          <a:bodyPr wrap="square" lIns="219419" tIns="109710" rIns="219419" bIns="109710" rtlCol="0">
            <a:spAutoFit/>
          </a:bodyPr>
          <a:lstStyle/>
          <a:p>
            <a:pPr>
              <a:lnSpc>
                <a:spcPct val="110000"/>
              </a:lnSpc>
            </a:pPr>
            <a:r>
              <a:rPr lang="en-US" sz="1200" dirty="0">
                <a:latin typeface="Roboto Regular" pitchFamily="2" charset="0"/>
                <a:ea typeface="Roboto Regular" pitchFamily="2" charset="0"/>
                <a:cs typeface="Calibri Light"/>
              </a:rPr>
              <a:t>Creativity is the key to success in </a:t>
            </a:r>
            <a:r>
              <a:rPr lang="en-US" sz="1200" dirty="0" smtClean="0">
                <a:latin typeface="Roboto Regular" pitchFamily="2" charset="0"/>
                <a:ea typeface="Roboto Regular" pitchFamily="2" charset="0"/>
                <a:cs typeface="Calibri Light"/>
              </a:rPr>
              <a:t>the great and </a:t>
            </a:r>
            <a:r>
              <a:rPr lang="en-US" sz="1200" dirty="0">
                <a:latin typeface="Roboto Regular" pitchFamily="2" charset="0"/>
                <a:ea typeface="Roboto Regular" pitchFamily="2" charset="0"/>
                <a:cs typeface="Calibri Light"/>
              </a:rPr>
              <a:t>primary education where our teachers can bring </a:t>
            </a:r>
            <a:r>
              <a:rPr lang="en-US" sz="1200" dirty="0" smtClean="0">
                <a:latin typeface="Roboto Regular" pitchFamily="2" charset="0"/>
                <a:ea typeface="Roboto Regular" pitchFamily="2" charset="0"/>
                <a:cs typeface="Calibri Light"/>
              </a:rPr>
              <a:t>creativity.</a:t>
            </a:r>
          </a:p>
        </p:txBody>
      </p:sp>
      <p:sp>
        <p:nvSpPr>
          <p:cNvPr id="32" name="TextBox 31"/>
          <p:cNvSpPr txBox="1"/>
          <p:nvPr/>
        </p:nvSpPr>
        <p:spPr>
          <a:xfrm>
            <a:off x="1498416" y="4968850"/>
            <a:ext cx="3285552" cy="830960"/>
          </a:xfrm>
          <a:prstGeom prst="rect">
            <a:avLst/>
          </a:prstGeom>
          <a:noFill/>
        </p:spPr>
        <p:txBody>
          <a:bodyPr wrap="square" lIns="219419" tIns="109710" rIns="219419" bIns="109710" rtlCol="0">
            <a:spAutoFit/>
          </a:bodyPr>
          <a:lstStyle/>
          <a:p>
            <a:pPr>
              <a:lnSpc>
                <a:spcPct val="110000"/>
              </a:lnSpc>
            </a:pPr>
            <a:r>
              <a:rPr lang="en-US" sz="1200" dirty="0">
                <a:latin typeface="Roboto Regular" pitchFamily="2" charset="0"/>
                <a:ea typeface="Roboto Regular" pitchFamily="2" charset="0"/>
                <a:cs typeface="Calibri Light"/>
              </a:rPr>
              <a:t>Creativity is the key to success in </a:t>
            </a:r>
            <a:r>
              <a:rPr lang="en-US" sz="1200" dirty="0" smtClean="0">
                <a:latin typeface="Roboto Regular" pitchFamily="2" charset="0"/>
                <a:ea typeface="Roboto Regular" pitchFamily="2" charset="0"/>
                <a:cs typeface="Calibri Light"/>
              </a:rPr>
              <a:t>the great and </a:t>
            </a:r>
            <a:r>
              <a:rPr lang="en-US" sz="1200" dirty="0">
                <a:latin typeface="Roboto Regular" pitchFamily="2" charset="0"/>
                <a:ea typeface="Roboto Regular" pitchFamily="2" charset="0"/>
                <a:cs typeface="Calibri Light"/>
              </a:rPr>
              <a:t>primary education where our teachers can bring </a:t>
            </a:r>
            <a:r>
              <a:rPr lang="en-US" sz="1200" dirty="0" smtClean="0">
                <a:latin typeface="Roboto Regular" pitchFamily="2" charset="0"/>
                <a:ea typeface="Roboto Regular" pitchFamily="2" charset="0"/>
                <a:cs typeface="Calibri Light"/>
              </a:rPr>
              <a:t>creativity.</a:t>
            </a:r>
          </a:p>
        </p:txBody>
      </p:sp>
      <p:sp>
        <p:nvSpPr>
          <p:cNvPr id="33" name="Rectangle 32"/>
          <p:cNvSpPr/>
          <p:nvPr/>
        </p:nvSpPr>
        <p:spPr>
          <a:xfrm>
            <a:off x="1915019" y="1525979"/>
            <a:ext cx="1743158" cy="467784"/>
          </a:xfrm>
          <a:prstGeom prst="rect">
            <a:avLst/>
          </a:prstGeom>
        </p:spPr>
        <p:txBody>
          <a:bodyPr wrap="none" lIns="219419" tIns="109710" rIns="219419" bIns="109710">
            <a:spAutoFit/>
          </a:bodyPr>
          <a:lstStyle/>
          <a:p>
            <a:pPr algn="ctr"/>
            <a:r>
              <a:rPr lang="en-US" sz="1600" dirty="0" smtClean="0">
                <a:solidFill>
                  <a:schemeClr val="bg1"/>
                </a:solidFill>
                <a:latin typeface="+mj-lt"/>
                <a:ea typeface="Open Sans Light" panose="020B0306030504020204" pitchFamily="34" charset="0"/>
                <a:cs typeface="Lato Regular"/>
              </a:rPr>
              <a:t>Great Support</a:t>
            </a:r>
            <a:endParaRPr lang="en-US" sz="1600" dirty="0">
              <a:solidFill>
                <a:schemeClr val="bg1"/>
              </a:solidFill>
              <a:latin typeface="+mj-lt"/>
              <a:ea typeface="Open Sans Light" panose="020B0306030504020204" pitchFamily="34" charset="0"/>
              <a:cs typeface="Lato Regular"/>
            </a:endParaRPr>
          </a:p>
        </p:txBody>
      </p:sp>
      <p:sp>
        <p:nvSpPr>
          <p:cNvPr id="34" name="Rectangle 33"/>
          <p:cNvSpPr/>
          <p:nvPr/>
        </p:nvSpPr>
        <p:spPr>
          <a:xfrm>
            <a:off x="1905407" y="3061241"/>
            <a:ext cx="1722320" cy="467784"/>
          </a:xfrm>
          <a:prstGeom prst="rect">
            <a:avLst/>
          </a:prstGeom>
        </p:spPr>
        <p:txBody>
          <a:bodyPr wrap="none" lIns="219419" tIns="109710" rIns="219419" bIns="109710">
            <a:spAutoFit/>
          </a:bodyPr>
          <a:lstStyle/>
          <a:p>
            <a:pPr algn="ctr"/>
            <a:r>
              <a:rPr lang="en-US" sz="1600" dirty="0" smtClean="0">
                <a:solidFill>
                  <a:schemeClr val="bg1"/>
                </a:solidFill>
                <a:latin typeface="+mj-lt"/>
                <a:ea typeface="Open Sans Light" panose="020B0306030504020204" pitchFamily="34" charset="0"/>
                <a:cs typeface="Lato Regular"/>
              </a:rPr>
              <a:t>Get Locations</a:t>
            </a:r>
            <a:endParaRPr lang="en-US" sz="1600" dirty="0">
              <a:solidFill>
                <a:schemeClr val="bg1"/>
              </a:solidFill>
              <a:latin typeface="+mj-lt"/>
              <a:ea typeface="Open Sans Light" panose="020B0306030504020204" pitchFamily="34" charset="0"/>
              <a:cs typeface="Lato Regular"/>
            </a:endParaRPr>
          </a:p>
        </p:txBody>
      </p:sp>
      <p:sp>
        <p:nvSpPr>
          <p:cNvPr id="35" name="Rectangle 34"/>
          <p:cNvSpPr/>
          <p:nvPr/>
        </p:nvSpPr>
        <p:spPr>
          <a:xfrm>
            <a:off x="2019750" y="4504119"/>
            <a:ext cx="1520341" cy="467784"/>
          </a:xfrm>
          <a:prstGeom prst="rect">
            <a:avLst/>
          </a:prstGeom>
        </p:spPr>
        <p:txBody>
          <a:bodyPr wrap="none" lIns="219419" tIns="109710" rIns="219419" bIns="109710">
            <a:spAutoFit/>
          </a:bodyPr>
          <a:lstStyle/>
          <a:p>
            <a:pPr algn="ctr"/>
            <a:r>
              <a:rPr lang="en-US" sz="1600" dirty="0" smtClean="0">
                <a:solidFill>
                  <a:srgbClr val="58595B"/>
                </a:solidFill>
                <a:latin typeface="+mj-lt"/>
                <a:ea typeface="Open Sans Light" panose="020B0306030504020204" pitchFamily="34" charset="0"/>
                <a:cs typeface="Lato Regular"/>
              </a:rPr>
              <a:t>Online Chat</a:t>
            </a:r>
            <a:endParaRPr lang="en-US" sz="1600" dirty="0">
              <a:solidFill>
                <a:srgbClr val="58595B"/>
              </a:solidFill>
              <a:latin typeface="+mj-lt"/>
              <a:ea typeface="Open Sans Light" panose="020B0306030504020204" pitchFamily="34" charset="0"/>
              <a:cs typeface="Lato Regular"/>
            </a:endParaRPr>
          </a:p>
        </p:txBody>
      </p:sp>
      <p:sp>
        <p:nvSpPr>
          <p:cNvPr id="36" name="TextBox 35"/>
          <p:cNvSpPr txBox="1"/>
          <p:nvPr/>
        </p:nvSpPr>
        <p:spPr>
          <a:xfrm>
            <a:off x="8057321" y="2000283"/>
            <a:ext cx="3285552" cy="830960"/>
          </a:xfrm>
          <a:prstGeom prst="rect">
            <a:avLst/>
          </a:prstGeom>
          <a:noFill/>
        </p:spPr>
        <p:txBody>
          <a:bodyPr wrap="square" lIns="219419" tIns="109710" rIns="219419" bIns="109710" rtlCol="0">
            <a:spAutoFit/>
          </a:bodyPr>
          <a:lstStyle/>
          <a:p>
            <a:pPr>
              <a:lnSpc>
                <a:spcPct val="110000"/>
              </a:lnSpc>
            </a:pPr>
            <a:r>
              <a:rPr lang="en-US" sz="1200" dirty="0">
                <a:latin typeface="Roboto Regular" pitchFamily="2" charset="0"/>
                <a:ea typeface="Roboto Regular" pitchFamily="2" charset="0"/>
                <a:cs typeface="Calibri Light"/>
              </a:rPr>
              <a:t>Creativity is the key to success in </a:t>
            </a:r>
            <a:r>
              <a:rPr lang="en-US" sz="1200" dirty="0" smtClean="0">
                <a:latin typeface="Roboto Regular" pitchFamily="2" charset="0"/>
                <a:ea typeface="Roboto Regular" pitchFamily="2" charset="0"/>
                <a:cs typeface="Calibri Light"/>
              </a:rPr>
              <a:t>the great and </a:t>
            </a:r>
            <a:r>
              <a:rPr lang="en-US" sz="1200" dirty="0">
                <a:latin typeface="Roboto Regular" pitchFamily="2" charset="0"/>
                <a:ea typeface="Roboto Regular" pitchFamily="2" charset="0"/>
                <a:cs typeface="Calibri Light"/>
              </a:rPr>
              <a:t>primary education where our teachers can bring </a:t>
            </a:r>
            <a:r>
              <a:rPr lang="en-US" sz="1200" dirty="0" smtClean="0">
                <a:latin typeface="Roboto Regular" pitchFamily="2" charset="0"/>
                <a:ea typeface="Roboto Regular" pitchFamily="2" charset="0"/>
                <a:cs typeface="Calibri Light"/>
              </a:rPr>
              <a:t>creativity.</a:t>
            </a:r>
          </a:p>
        </p:txBody>
      </p:sp>
      <p:sp>
        <p:nvSpPr>
          <p:cNvPr id="37" name="TextBox 36"/>
          <p:cNvSpPr txBox="1"/>
          <p:nvPr/>
        </p:nvSpPr>
        <p:spPr>
          <a:xfrm>
            <a:off x="8057321" y="3525473"/>
            <a:ext cx="3285552" cy="830960"/>
          </a:xfrm>
          <a:prstGeom prst="rect">
            <a:avLst/>
          </a:prstGeom>
          <a:noFill/>
        </p:spPr>
        <p:txBody>
          <a:bodyPr wrap="square" lIns="219419" tIns="109710" rIns="219419" bIns="109710" rtlCol="0">
            <a:spAutoFit/>
          </a:bodyPr>
          <a:lstStyle/>
          <a:p>
            <a:pPr>
              <a:lnSpc>
                <a:spcPct val="110000"/>
              </a:lnSpc>
            </a:pPr>
            <a:r>
              <a:rPr lang="en-US" sz="1200" dirty="0">
                <a:latin typeface="Roboto Regular" pitchFamily="2" charset="0"/>
                <a:ea typeface="Roboto Regular" pitchFamily="2" charset="0"/>
                <a:cs typeface="Calibri Light"/>
              </a:rPr>
              <a:t>Creativity is the key to success in </a:t>
            </a:r>
            <a:r>
              <a:rPr lang="en-US" sz="1200" dirty="0" smtClean="0">
                <a:latin typeface="Roboto Regular" pitchFamily="2" charset="0"/>
                <a:ea typeface="Roboto Regular" pitchFamily="2" charset="0"/>
                <a:cs typeface="Calibri Light"/>
              </a:rPr>
              <a:t>the great and </a:t>
            </a:r>
            <a:r>
              <a:rPr lang="en-US" sz="1200" dirty="0">
                <a:latin typeface="Roboto Regular" pitchFamily="2" charset="0"/>
                <a:ea typeface="Roboto Regular" pitchFamily="2" charset="0"/>
                <a:cs typeface="Calibri Light"/>
              </a:rPr>
              <a:t>primary education where our teachers can bring </a:t>
            </a:r>
            <a:r>
              <a:rPr lang="en-US" sz="1200" dirty="0" smtClean="0">
                <a:latin typeface="Roboto Regular" pitchFamily="2" charset="0"/>
                <a:ea typeface="Roboto Regular" pitchFamily="2" charset="0"/>
                <a:cs typeface="Calibri Light"/>
              </a:rPr>
              <a:t>creativity.</a:t>
            </a:r>
          </a:p>
        </p:txBody>
      </p:sp>
      <p:sp>
        <p:nvSpPr>
          <p:cNvPr id="39" name="Rectangle 38"/>
          <p:cNvSpPr/>
          <p:nvPr/>
        </p:nvSpPr>
        <p:spPr>
          <a:xfrm>
            <a:off x="9177540" y="1509505"/>
            <a:ext cx="1695069" cy="467784"/>
          </a:xfrm>
          <a:prstGeom prst="rect">
            <a:avLst/>
          </a:prstGeom>
        </p:spPr>
        <p:txBody>
          <a:bodyPr wrap="none" lIns="219419" tIns="109710" rIns="219419" bIns="109710">
            <a:spAutoFit/>
          </a:bodyPr>
          <a:lstStyle/>
          <a:p>
            <a:pPr algn="ctr"/>
            <a:r>
              <a:rPr lang="en-US" sz="1600" dirty="0" smtClean="0">
                <a:solidFill>
                  <a:schemeClr val="bg1"/>
                </a:solidFill>
                <a:latin typeface="+mj-lt"/>
                <a:ea typeface="Open Sans Light" panose="020B0306030504020204" pitchFamily="34" charset="0"/>
                <a:cs typeface="Lato Regular"/>
              </a:rPr>
              <a:t>GPS Location</a:t>
            </a:r>
            <a:endParaRPr lang="en-US" sz="1600" dirty="0">
              <a:solidFill>
                <a:schemeClr val="bg1"/>
              </a:solidFill>
              <a:latin typeface="+mj-lt"/>
              <a:ea typeface="Open Sans Light" panose="020B0306030504020204" pitchFamily="34" charset="0"/>
              <a:cs typeface="Lato Regular"/>
            </a:endParaRPr>
          </a:p>
        </p:txBody>
      </p:sp>
      <p:sp>
        <p:nvSpPr>
          <p:cNvPr id="40" name="Rectangle 39"/>
          <p:cNvSpPr/>
          <p:nvPr/>
        </p:nvSpPr>
        <p:spPr>
          <a:xfrm>
            <a:off x="9233650" y="3044766"/>
            <a:ext cx="1542784" cy="467784"/>
          </a:xfrm>
          <a:prstGeom prst="rect">
            <a:avLst/>
          </a:prstGeom>
        </p:spPr>
        <p:txBody>
          <a:bodyPr wrap="none" lIns="219419" tIns="109710" rIns="219419" bIns="109710">
            <a:spAutoFit/>
          </a:bodyPr>
          <a:lstStyle/>
          <a:p>
            <a:pPr algn="ctr"/>
            <a:r>
              <a:rPr lang="en-US" sz="1600" dirty="0" smtClean="0">
                <a:solidFill>
                  <a:srgbClr val="58595B"/>
                </a:solidFill>
                <a:latin typeface="+mj-lt"/>
                <a:ea typeface="Open Sans Light" panose="020B0306030504020204" pitchFamily="34" charset="0"/>
                <a:cs typeface="Lato Regular"/>
              </a:rPr>
              <a:t>Perfect Ads</a:t>
            </a:r>
            <a:endParaRPr lang="en-US" sz="1600" dirty="0">
              <a:solidFill>
                <a:srgbClr val="58595B"/>
              </a:solidFill>
              <a:latin typeface="+mj-lt"/>
              <a:ea typeface="Open Sans Light" panose="020B0306030504020204" pitchFamily="34" charset="0"/>
              <a:cs typeface="Lato Regular"/>
            </a:endParaRPr>
          </a:p>
        </p:txBody>
      </p:sp>
      <p:sp>
        <p:nvSpPr>
          <p:cNvPr id="41" name="Rectangle 40"/>
          <p:cNvSpPr/>
          <p:nvPr/>
        </p:nvSpPr>
        <p:spPr>
          <a:xfrm>
            <a:off x="9299104" y="4487645"/>
            <a:ext cx="1438589" cy="467784"/>
          </a:xfrm>
          <a:prstGeom prst="rect">
            <a:avLst/>
          </a:prstGeom>
        </p:spPr>
        <p:txBody>
          <a:bodyPr wrap="none" lIns="219419" tIns="109710" rIns="219419" bIns="109710">
            <a:spAutoFit/>
          </a:bodyPr>
          <a:lstStyle/>
          <a:p>
            <a:pPr algn="ctr"/>
            <a:r>
              <a:rPr lang="en-US" sz="1600" dirty="0" smtClean="0">
                <a:solidFill>
                  <a:schemeClr val="bg1"/>
                </a:solidFill>
                <a:latin typeface="+mj-lt"/>
                <a:ea typeface="Open Sans Light" panose="020B0306030504020204" pitchFamily="34" charset="0"/>
                <a:cs typeface="Lato Regular"/>
              </a:rPr>
              <a:t>Best Tools</a:t>
            </a:r>
            <a:endParaRPr lang="en-US" sz="1600" dirty="0">
              <a:solidFill>
                <a:schemeClr val="bg1"/>
              </a:solidFill>
              <a:latin typeface="+mj-lt"/>
              <a:ea typeface="Open Sans Light" panose="020B0306030504020204" pitchFamily="34" charset="0"/>
              <a:cs typeface="Lato Regular"/>
            </a:endParaRPr>
          </a:p>
        </p:txBody>
      </p:sp>
      <p:sp>
        <p:nvSpPr>
          <p:cNvPr id="44"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23_84</a:t>
            </a:r>
            <a:endParaRPr lang="en-US" sz="100" dirty="0" err="1" smtClean="0">
              <a:solidFill>
                <a:srgbClr val="FFFFFF"/>
              </a:solidFill>
            </a:endParaRPr>
          </a:p>
        </p:txBody>
      </p:sp>
    </p:spTree>
    <p:extLst>
      <p:ext uri="{BB962C8B-B14F-4D97-AF65-F5344CB8AC3E}">
        <p14:creationId xmlns:p14="http://schemas.microsoft.com/office/powerpoint/2010/main" val="1792261956"/>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iangle diagram</a:t>
            </a:r>
            <a:endParaRPr lang="en-US" dirty="0"/>
          </a:p>
        </p:txBody>
      </p:sp>
      <p:grpSp>
        <p:nvGrpSpPr>
          <p:cNvPr id="163" name="Group 162"/>
          <p:cNvGrpSpPr/>
          <p:nvPr>
            <p:custDataLst>
              <p:tags r:id="rId1"/>
            </p:custDataLst>
          </p:nvPr>
        </p:nvGrpSpPr>
        <p:grpSpPr>
          <a:xfrm>
            <a:off x="4395846" y="1430383"/>
            <a:ext cx="4070743" cy="4644584"/>
            <a:chOff x="8102286" y="3315879"/>
            <a:chExt cx="8160776" cy="9311176"/>
          </a:xfrm>
        </p:grpSpPr>
        <p:grpSp>
          <p:nvGrpSpPr>
            <p:cNvPr id="107" name="그룹 78"/>
            <p:cNvGrpSpPr/>
            <p:nvPr>
              <p:custDataLst>
                <p:tags r:id="rId10"/>
              </p:custDataLst>
            </p:nvPr>
          </p:nvGrpSpPr>
          <p:grpSpPr>
            <a:xfrm>
              <a:off x="8102286" y="3315879"/>
              <a:ext cx="8160776" cy="1368483"/>
              <a:chOff x="4031263" y="1089025"/>
              <a:chExt cx="3061088" cy="513181"/>
            </a:xfrm>
          </p:grpSpPr>
          <p:grpSp>
            <p:nvGrpSpPr>
              <p:cNvPr id="108" name="그룹 81"/>
              <p:cNvGrpSpPr/>
              <p:nvPr/>
            </p:nvGrpSpPr>
            <p:grpSpPr>
              <a:xfrm>
                <a:off x="4031263" y="1089025"/>
                <a:ext cx="3061088" cy="513181"/>
                <a:chOff x="3349626" y="1260475"/>
                <a:chExt cx="2916238" cy="468313"/>
              </a:xfrm>
            </p:grpSpPr>
            <p:sp>
              <p:nvSpPr>
                <p:cNvPr id="110" name="Rectangle 24"/>
                <p:cNvSpPr>
                  <a:spLocks noChangeArrowheads="1"/>
                </p:cNvSpPr>
                <p:nvPr/>
              </p:nvSpPr>
              <p:spPr bwMode="auto">
                <a:xfrm>
                  <a:off x="3556001" y="1576388"/>
                  <a:ext cx="2505075" cy="152400"/>
                </a:xfrm>
                <a:prstGeom prst="rect">
                  <a:avLst/>
                </a:prstGeom>
                <a:solidFill>
                  <a:schemeClr val="accent1">
                    <a:lumMod val="75000"/>
                    <a:lumOff val="25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800"/>
                    </a:spcAft>
                  </a:pPr>
                  <a:endParaRPr lang="ko-KR" altLang="en-US" sz="2000" b="1" dirty="0">
                    <a:solidFill>
                      <a:srgbClr val="58595B"/>
                    </a:solidFill>
                    <a:latin typeface="+mj-lt"/>
                    <a:ea typeface="+mj-ea"/>
                    <a:cs typeface="Roboto condensed"/>
                  </a:endParaRPr>
                </a:p>
              </p:txBody>
            </p:sp>
            <p:sp>
              <p:nvSpPr>
                <p:cNvPr id="111" name="Freeform 25"/>
                <p:cNvSpPr>
                  <a:spLocks/>
                </p:cNvSpPr>
                <p:nvPr/>
              </p:nvSpPr>
              <p:spPr bwMode="auto">
                <a:xfrm>
                  <a:off x="3349626" y="1260475"/>
                  <a:ext cx="206375" cy="468312"/>
                </a:xfrm>
                <a:custGeom>
                  <a:avLst/>
                  <a:gdLst>
                    <a:gd name="T0" fmla="*/ 0 w 130"/>
                    <a:gd name="T1" fmla="*/ 0 h 295"/>
                    <a:gd name="T2" fmla="*/ 0 w 130"/>
                    <a:gd name="T3" fmla="*/ 98 h 295"/>
                    <a:gd name="T4" fmla="*/ 130 w 130"/>
                    <a:gd name="T5" fmla="*/ 295 h 295"/>
                    <a:gd name="T6" fmla="*/ 130 w 130"/>
                    <a:gd name="T7" fmla="*/ 199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8"/>
                      </a:lnTo>
                      <a:lnTo>
                        <a:pt x="130" y="295"/>
                      </a:lnTo>
                      <a:lnTo>
                        <a:pt x="130" y="199"/>
                      </a:lnTo>
                      <a:lnTo>
                        <a:pt x="0" y="0"/>
                      </a:lnTo>
                      <a:close/>
                    </a:path>
                  </a:pathLst>
                </a:custGeom>
                <a:solidFill>
                  <a:schemeClr val="accent1">
                    <a:lumMod val="90000"/>
                    <a:lumOff val="10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800"/>
                    </a:spcAft>
                  </a:pPr>
                  <a:endParaRPr lang="ko-KR" altLang="en-US" sz="2000" b="1" dirty="0">
                    <a:solidFill>
                      <a:srgbClr val="58595B"/>
                    </a:solidFill>
                    <a:latin typeface="+mj-lt"/>
                    <a:ea typeface="+mj-ea"/>
                    <a:cs typeface="Roboto condensed"/>
                  </a:endParaRPr>
                </a:p>
              </p:txBody>
            </p:sp>
            <p:sp>
              <p:nvSpPr>
                <p:cNvPr id="112" name="Freeform 26"/>
                <p:cNvSpPr>
                  <a:spLocks/>
                </p:cNvSpPr>
                <p:nvPr/>
              </p:nvSpPr>
              <p:spPr bwMode="auto">
                <a:xfrm>
                  <a:off x="6061076" y="1260475"/>
                  <a:ext cx="204788" cy="468312"/>
                </a:xfrm>
                <a:custGeom>
                  <a:avLst/>
                  <a:gdLst>
                    <a:gd name="T0" fmla="*/ 129 w 129"/>
                    <a:gd name="T1" fmla="*/ 0 h 295"/>
                    <a:gd name="T2" fmla="*/ 129 w 129"/>
                    <a:gd name="T3" fmla="*/ 98 h 295"/>
                    <a:gd name="T4" fmla="*/ 0 w 129"/>
                    <a:gd name="T5" fmla="*/ 295 h 295"/>
                    <a:gd name="T6" fmla="*/ 0 w 129"/>
                    <a:gd name="T7" fmla="*/ 199 h 295"/>
                    <a:gd name="T8" fmla="*/ 129 w 129"/>
                    <a:gd name="T9" fmla="*/ 0 h 295"/>
                  </a:gdLst>
                  <a:ahLst/>
                  <a:cxnLst>
                    <a:cxn ang="0">
                      <a:pos x="T0" y="T1"/>
                    </a:cxn>
                    <a:cxn ang="0">
                      <a:pos x="T2" y="T3"/>
                    </a:cxn>
                    <a:cxn ang="0">
                      <a:pos x="T4" y="T5"/>
                    </a:cxn>
                    <a:cxn ang="0">
                      <a:pos x="T6" y="T7"/>
                    </a:cxn>
                    <a:cxn ang="0">
                      <a:pos x="T8" y="T9"/>
                    </a:cxn>
                  </a:cxnLst>
                  <a:rect l="0" t="0" r="r" b="b"/>
                  <a:pathLst>
                    <a:path w="129" h="295">
                      <a:moveTo>
                        <a:pt x="129" y="0"/>
                      </a:moveTo>
                      <a:lnTo>
                        <a:pt x="129" y="98"/>
                      </a:lnTo>
                      <a:lnTo>
                        <a:pt x="0" y="295"/>
                      </a:lnTo>
                      <a:lnTo>
                        <a:pt x="0" y="199"/>
                      </a:lnTo>
                      <a:lnTo>
                        <a:pt x="129" y="0"/>
                      </a:lnTo>
                      <a:close/>
                    </a:path>
                  </a:pathLst>
                </a:custGeom>
                <a:solidFill>
                  <a:schemeClr val="accent1">
                    <a:lumMod val="90000"/>
                    <a:lumOff val="10000"/>
                  </a:schemeClr>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800"/>
                    </a:spcAft>
                  </a:pPr>
                  <a:endParaRPr lang="ko-KR" altLang="en-US" sz="2000" b="1" dirty="0">
                    <a:solidFill>
                      <a:srgbClr val="58595B"/>
                    </a:solidFill>
                    <a:latin typeface="+mj-lt"/>
                    <a:ea typeface="+mj-ea"/>
                    <a:cs typeface="Roboto condensed"/>
                  </a:endParaRPr>
                </a:p>
              </p:txBody>
            </p:sp>
            <p:sp>
              <p:nvSpPr>
                <p:cNvPr id="113" name="Freeform 41"/>
                <p:cNvSpPr>
                  <a:spLocks/>
                </p:cNvSpPr>
                <p:nvPr/>
              </p:nvSpPr>
              <p:spPr bwMode="auto">
                <a:xfrm>
                  <a:off x="3349626" y="1260475"/>
                  <a:ext cx="2916238" cy="315912"/>
                </a:xfrm>
                <a:custGeom>
                  <a:avLst/>
                  <a:gdLst>
                    <a:gd name="T0" fmla="*/ 1837 w 1837"/>
                    <a:gd name="T1" fmla="*/ 0 h 199"/>
                    <a:gd name="T2" fmla="*/ 0 w 1837"/>
                    <a:gd name="T3" fmla="*/ 0 h 199"/>
                    <a:gd name="T4" fmla="*/ 130 w 1837"/>
                    <a:gd name="T5" fmla="*/ 199 h 199"/>
                    <a:gd name="T6" fmla="*/ 1708 w 1837"/>
                    <a:gd name="T7" fmla="*/ 199 h 199"/>
                    <a:gd name="T8" fmla="*/ 1837 w 1837"/>
                    <a:gd name="T9" fmla="*/ 0 h 199"/>
                  </a:gdLst>
                  <a:ahLst/>
                  <a:cxnLst>
                    <a:cxn ang="0">
                      <a:pos x="T0" y="T1"/>
                    </a:cxn>
                    <a:cxn ang="0">
                      <a:pos x="T2" y="T3"/>
                    </a:cxn>
                    <a:cxn ang="0">
                      <a:pos x="T4" y="T5"/>
                    </a:cxn>
                    <a:cxn ang="0">
                      <a:pos x="T6" y="T7"/>
                    </a:cxn>
                    <a:cxn ang="0">
                      <a:pos x="T8" y="T9"/>
                    </a:cxn>
                  </a:cxnLst>
                  <a:rect l="0" t="0" r="r" b="b"/>
                  <a:pathLst>
                    <a:path w="1837" h="199">
                      <a:moveTo>
                        <a:pt x="1837" y="0"/>
                      </a:moveTo>
                      <a:lnTo>
                        <a:pt x="0" y="0"/>
                      </a:lnTo>
                      <a:lnTo>
                        <a:pt x="130" y="199"/>
                      </a:lnTo>
                      <a:lnTo>
                        <a:pt x="1708" y="199"/>
                      </a:lnTo>
                      <a:lnTo>
                        <a:pt x="1837" y="0"/>
                      </a:lnTo>
                      <a:close/>
                    </a:path>
                  </a:pathLst>
                </a:custGeom>
                <a:solidFill>
                  <a:schemeClr val="accent1"/>
                </a:solidFill>
                <a:ln w="6350"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800"/>
                    </a:spcAft>
                  </a:pPr>
                  <a:endParaRPr lang="ko-KR" altLang="en-US" sz="2000" b="1" dirty="0">
                    <a:solidFill>
                      <a:srgbClr val="58595B"/>
                    </a:solidFill>
                    <a:latin typeface="+mj-lt"/>
                    <a:ea typeface="+mj-ea"/>
                    <a:cs typeface="Roboto condensed"/>
                  </a:endParaRPr>
                </a:p>
              </p:txBody>
            </p:sp>
          </p:grpSp>
          <p:sp>
            <p:nvSpPr>
              <p:cNvPr id="109" name="TextBox 108"/>
              <p:cNvSpPr txBox="1"/>
              <p:nvPr/>
            </p:nvSpPr>
            <p:spPr>
              <a:xfrm>
                <a:off x="4678363" y="1181884"/>
                <a:ext cx="1766886" cy="193940"/>
              </a:xfrm>
              <a:prstGeom prst="rect">
                <a:avLst/>
              </a:prstGeom>
              <a:noFill/>
              <a:ln>
                <a:noFill/>
              </a:ln>
            </p:spPr>
            <p:txBody>
              <a:bodyPr wrap="square" lIns="72000" tIns="0" rIns="72000" bIns="0" rtlCol="0" anchor="t">
                <a:noAutofit/>
              </a:bodyPr>
              <a:lstStyle/>
              <a:p>
                <a:pPr algn="ctr"/>
                <a:r>
                  <a:rPr lang="en-US" altLang="ko-KR" b="1" dirty="0" smtClean="0">
                    <a:solidFill>
                      <a:srgbClr val="58595B"/>
                    </a:solidFill>
                    <a:latin typeface="+mj-lt"/>
                    <a:cs typeface="Lato"/>
                  </a:rPr>
                  <a:t>Communication</a:t>
                </a:r>
                <a:endParaRPr lang="ko-KR" altLang="en-US" b="1" dirty="0">
                  <a:solidFill>
                    <a:srgbClr val="58595B"/>
                  </a:solidFill>
                  <a:latin typeface="+mj-lt"/>
                  <a:cs typeface="Roboto condensed"/>
                </a:endParaRPr>
              </a:p>
            </p:txBody>
          </p:sp>
        </p:grpSp>
        <p:grpSp>
          <p:nvGrpSpPr>
            <p:cNvPr id="114" name="그룹 79"/>
            <p:cNvGrpSpPr/>
            <p:nvPr>
              <p:custDataLst>
                <p:tags r:id="rId11"/>
              </p:custDataLst>
            </p:nvPr>
          </p:nvGrpSpPr>
          <p:grpSpPr>
            <a:xfrm>
              <a:off x="8679806" y="4714875"/>
              <a:ext cx="7010179" cy="1368480"/>
              <a:chOff x="4247889" y="1602206"/>
              <a:chExt cx="2629502" cy="513180"/>
            </a:xfrm>
          </p:grpSpPr>
          <p:grpSp>
            <p:nvGrpSpPr>
              <p:cNvPr id="115" name="그룹 82"/>
              <p:cNvGrpSpPr/>
              <p:nvPr/>
            </p:nvGrpSpPr>
            <p:grpSpPr>
              <a:xfrm>
                <a:off x="4247889" y="1602206"/>
                <a:ext cx="2629502" cy="513180"/>
                <a:chOff x="3556001" y="1728788"/>
                <a:chExt cx="2505075" cy="468312"/>
              </a:xfrm>
            </p:grpSpPr>
            <p:sp>
              <p:nvSpPr>
                <p:cNvPr id="117" name="Rectangle 27"/>
                <p:cNvSpPr>
                  <a:spLocks noChangeArrowheads="1"/>
                </p:cNvSpPr>
                <p:nvPr/>
              </p:nvSpPr>
              <p:spPr bwMode="auto">
                <a:xfrm>
                  <a:off x="3762376" y="2043113"/>
                  <a:ext cx="2090738" cy="153987"/>
                </a:xfrm>
                <a:prstGeom prst="rect">
                  <a:avLst/>
                </a:prstGeom>
                <a:solidFill>
                  <a:schemeClr val="accent3">
                    <a:lumMod val="75000"/>
                  </a:schemeClr>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18" name="Freeform 28"/>
                <p:cNvSpPr>
                  <a:spLocks/>
                </p:cNvSpPr>
                <p:nvPr/>
              </p:nvSpPr>
              <p:spPr bwMode="auto">
                <a:xfrm>
                  <a:off x="3556001" y="1728788"/>
                  <a:ext cx="206375" cy="468312"/>
                </a:xfrm>
                <a:custGeom>
                  <a:avLst/>
                  <a:gdLst>
                    <a:gd name="T0" fmla="*/ 0 w 130"/>
                    <a:gd name="T1" fmla="*/ 0 h 295"/>
                    <a:gd name="T2" fmla="*/ 0 w 130"/>
                    <a:gd name="T3" fmla="*/ 96 h 295"/>
                    <a:gd name="T4" fmla="*/ 130 w 130"/>
                    <a:gd name="T5" fmla="*/ 295 h 295"/>
                    <a:gd name="T6" fmla="*/ 130 w 130"/>
                    <a:gd name="T7" fmla="*/ 198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6"/>
                      </a:lnTo>
                      <a:lnTo>
                        <a:pt x="130" y="295"/>
                      </a:lnTo>
                      <a:lnTo>
                        <a:pt x="130" y="198"/>
                      </a:lnTo>
                      <a:lnTo>
                        <a:pt x="0" y="0"/>
                      </a:lnTo>
                      <a:close/>
                    </a:path>
                  </a:pathLst>
                </a:custGeom>
                <a:solidFill>
                  <a:srgbClr val="002060"/>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19" name="Freeform 29"/>
                <p:cNvSpPr>
                  <a:spLocks/>
                </p:cNvSpPr>
                <p:nvPr/>
              </p:nvSpPr>
              <p:spPr bwMode="auto">
                <a:xfrm>
                  <a:off x="5853113" y="1728788"/>
                  <a:ext cx="207963" cy="468312"/>
                </a:xfrm>
                <a:custGeom>
                  <a:avLst/>
                  <a:gdLst>
                    <a:gd name="T0" fmla="*/ 131 w 131"/>
                    <a:gd name="T1" fmla="*/ 0 h 295"/>
                    <a:gd name="T2" fmla="*/ 131 w 131"/>
                    <a:gd name="T3" fmla="*/ 96 h 295"/>
                    <a:gd name="T4" fmla="*/ 0 w 131"/>
                    <a:gd name="T5" fmla="*/ 295 h 295"/>
                    <a:gd name="T6" fmla="*/ 0 w 131"/>
                    <a:gd name="T7" fmla="*/ 198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6"/>
                      </a:lnTo>
                      <a:lnTo>
                        <a:pt x="0" y="295"/>
                      </a:lnTo>
                      <a:lnTo>
                        <a:pt x="0" y="198"/>
                      </a:lnTo>
                      <a:lnTo>
                        <a:pt x="131" y="0"/>
                      </a:lnTo>
                      <a:close/>
                    </a:path>
                  </a:pathLst>
                </a:custGeom>
                <a:solidFill>
                  <a:srgbClr val="002060"/>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20" name="Freeform 42"/>
                <p:cNvSpPr>
                  <a:spLocks/>
                </p:cNvSpPr>
                <p:nvPr/>
              </p:nvSpPr>
              <p:spPr bwMode="auto">
                <a:xfrm>
                  <a:off x="3556001" y="1728788"/>
                  <a:ext cx="2505075" cy="314325"/>
                </a:xfrm>
                <a:custGeom>
                  <a:avLst/>
                  <a:gdLst>
                    <a:gd name="T0" fmla="*/ 1578 w 1578"/>
                    <a:gd name="T1" fmla="*/ 0 h 198"/>
                    <a:gd name="T2" fmla="*/ 0 w 1578"/>
                    <a:gd name="T3" fmla="*/ 0 h 198"/>
                    <a:gd name="T4" fmla="*/ 130 w 1578"/>
                    <a:gd name="T5" fmla="*/ 198 h 198"/>
                    <a:gd name="T6" fmla="*/ 1447 w 1578"/>
                    <a:gd name="T7" fmla="*/ 198 h 198"/>
                    <a:gd name="T8" fmla="*/ 1578 w 1578"/>
                    <a:gd name="T9" fmla="*/ 0 h 198"/>
                  </a:gdLst>
                  <a:ahLst/>
                  <a:cxnLst>
                    <a:cxn ang="0">
                      <a:pos x="T0" y="T1"/>
                    </a:cxn>
                    <a:cxn ang="0">
                      <a:pos x="T2" y="T3"/>
                    </a:cxn>
                    <a:cxn ang="0">
                      <a:pos x="T4" y="T5"/>
                    </a:cxn>
                    <a:cxn ang="0">
                      <a:pos x="T6" y="T7"/>
                    </a:cxn>
                    <a:cxn ang="0">
                      <a:pos x="T8" y="T9"/>
                    </a:cxn>
                  </a:cxnLst>
                  <a:rect l="0" t="0" r="r" b="b"/>
                  <a:pathLst>
                    <a:path w="1578" h="198">
                      <a:moveTo>
                        <a:pt x="1578" y="0"/>
                      </a:moveTo>
                      <a:lnTo>
                        <a:pt x="0" y="0"/>
                      </a:lnTo>
                      <a:lnTo>
                        <a:pt x="130" y="198"/>
                      </a:lnTo>
                      <a:lnTo>
                        <a:pt x="1447" y="198"/>
                      </a:lnTo>
                      <a:lnTo>
                        <a:pt x="1578" y="0"/>
                      </a:lnTo>
                      <a:close/>
                    </a:path>
                  </a:pathLst>
                </a:custGeom>
                <a:solidFill>
                  <a:srgbClr val="0070C0"/>
                </a:solidFill>
                <a:ln w="3175">
                  <a:noFill/>
                </a:ln>
              </p:spPr>
              <p:txBody>
                <a:bodyPr vert="horz" wrap="square" lIns="0" tIns="0" rIns="0" bIns="0" numCol="1" anchor="ctr" anchorCtr="0" compatLnSpc="1">
                  <a:prstTxWarp prst="textNoShape">
                    <a:avLst/>
                  </a:prstTxWarp>
                </a:bodyPr>
                <a:lstStyle/>
                <a:p>
                  <a:pPr algn="ctr">
                    <a:spcAft>
                      <a:spcPts val="800"/>
                    </a:spcAft>
                  </a:pPr>
                  <a:endParaRPr lang="ko-KR" altLang="en-US" b="1" dirty="0">
                    <a:solidFill>
                      <a:srgbClr val="58595B"/>
                    </a:solidFill>
                    <a:latin typeface="+mj-lt"/>
                    <a:ea typeface="Roboto Condensed Regular"/>
                    <a:cs typeface="Lato"/>
                  </a:endParaRPr>
                </a:p>
              </p:txBody>
            </p:sp>
          </p:grpSp>
          <p:sp>
            <p:nvSpPr>
              <p:cNvPr id="116" name="TextBox 115"/>
              <p:cNvSpPr txBox="1"/>
              <p:nvPr/>
            </p:nvSpPr>
            <p:spPr>
              <a:xfrm>
                <a:off x="4788030" y="1694646"/>
                <a:ext cx="1547554" cy="193940"/>
              </a:xfrm>
              <a:prstGeom prst="rect">
                <a:avLst/>
              </a:prstGeom>
              <a:noFill/>
              <a:ln>
                <a:noFill/>
              </a:ln>
            </p:spPr>
            <p:txBody>
              <a:bodyPr wrap="square" lIns="72000" tIns="0" rIns="72000" bIns="0" rtlCol="0" anchor="t">
                <a:noAutofit/>
              </a:bodyPr>
              <a:lstStyle/>
              <a:p>
                <a:pPr lvl="0" algn="ctr"/>
                <a:r>
                  <a:rPr lang="en-US" altLang="ko-KR" b="1" dirty="0" smtClean="0">
                    <a:solidFill>
                      <a:srgbClr val="DDDDDD"/>
                    </a:solidFill>
                    <a:latin typeface="+mj-lt"/>
                    <a:cs typeface="Lato"/>
                  </a:rPr>
                  <a:t>Quality</a:t>
                </a:r>
                <a:endParaRPr lang="ko-KR" altLang="en-US" b="1" dirty="0">
                  <a:solidFill>
                    <a:srgbClr val="DDDDDD"/>
                  </a:solidFill>
                  <a:latin typeface="+mj-lt"/>
                  <a:cs typeface="Lato"/>
                </a:endParaRPr>
              </a:p>
            </p:txBody>
          </p:sp>
        </p:grpSp>
        <p:grpSp>
          <p:nvGrpSpPr>
            <p:cNvPr id="121" name="그룹 80"/>
            <p:cNvGrpSpPr/>
            <p:nvPr>
              <p:custDataLst>
                <p:tags r:id="rId12"/>
              </p:custDataLst>
            </p:nvPr>
          </p:nvGrpSpPr>
          <p:grpSpPr>
            <a:xfrm>
              <a:off x="9257323" y="6113871"/>
              <a:ext cx="5850703" cy="1363843"/>
              <a:chOff x="4464514" y="2115386"/>
              <a:chExt cx="2194585" cy="511441"/>
            </a:xfrm>
          </p:grpSpPr>
          <p:grpSp>
            <p:nvGrpSpPr>
              <p:cNvPr id="122" name="그룹 83"/>
              <p:cNvGrpSpPr/>
              <p:nvPr/>
            </p:nvGrpSpPr>
            <p:grpSpPr>
              <a:xfrm>
                <a:off x="4464514" y="2115386"/>
                <a:ext cx="2194585" cy="511441"/>
                <a:chOff x="3762376" y="2197100"/>
                <a:chExt cx="2090738" cy="466725"/>
              </a:xfrm>
            </p:grpSpPr>
            <p:sp>
              <p:nvSpPr>
                <p:cNvPr id="124" name="Rectangle 30"/>
                <p:cNvSpPr>
                  <a:spLocks noChangeArrowheads="1"/>
                </p:cNvSpPr>
                <p:nvPr/>
              </p:nvSpPr>
              <p:spPr bwMode="auto">
                <a:xfrm>
                  <a:off x="3970338" y="2511425"/>
                  <a:ext cx="1674813" cy="152400"/>
                </a:xfrm>
                <a:prstGeom prst="rect">
                  <a:avLst/>
                </a:prstGeom>
                <a:solidFill>
                  <a:schemeClr val="accent3">
                    <a:lumMod val="75000"/>
                  </a:schemeClr>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25" name="Freeform 31"/>
                <p:cNvSpPr>
                  <a:spLocks/>
                </p:cNvSpPr>
                <p:nvPr/>
              </p:nvSpPr>
              <p:spPr bwMode="auto">
                <a:xfrm>
                  <a:off x="3762376" y="2197100"/>
                  <a:ext cx="207963" cy="466725"/>
                </a:xfrm>
                <a:custGeom>
                  <a:avLst/>
                  <a:gdLst>
                    <a:gd name="T0" fmla="*/ 0 w 131"/>
                    <a:gd name="T1" fmla="*/ 0 h 294"/>
                    <a:gd name="T2" fmla="*/ 131 w 131"/>
                    <a:gd name="T3" fmla="*/ 198 h 294"/>
                    <a:gd name="T4" fmla="*/ 131 w 131"/>
                    <a:gd name="T5" fmla="*/ 294 h 294"/>
                    <a:gd name="T6" fmla="*/ 0 w 131"/>
                    <a:gd name="T7" fmla="*/ 96 h 294"/>
                    <a:gd name="T8" fmla="*/ 0 w 131"/>
                    <a:gd name="T9" fmla="*/ 0 h 294"/>
                  </a:gdLst>
                  <a:ahLst/>
                  <a:cxnLst>
                    <a:cxn ang="0">
                      <a:pos x="T0" y="T1"/>
                    </a:cxn>
                    <a:cxn ang="0">
                      <a:pos x="T2" y="T3"/>
                    </a:cxn>
                    <a:cxn ang="0">
                      <a:pos x="T4" y="T5"/>
                    </a:cxn>
                    <a:cxn ang="0">
                      <a:pos x="T6" y="T7"/>
                    </a:cxn>
                    <a:cxn ang="0">
                      <a:pos x="T8" y="T9"/>
                    </a:cxn>
                  </a:cxnLst>
                  <a:rect l="0" t="0" r="r" b="b"/>
                  <a:pathLst>
                    <a:path w="131" h="294">
                      <a:moveTo>
                        <a:pt x="0" y="0"/>
                      </a:moveTo>
                      <a:lnTo>
                        <a:pt x="131" y="198"/>
                      </a:lnTo>
                      <a:lnTo>
                        <a:pt x="131" y="294"/>
                      </a:lnTo>
                      <a:lnTo>
                        <a:pt x="0" y="96"/>
                      </a:lnTo>
                      <a:lnTo>
                        <a:pt x="0" y="0"/>
                      </a:lnTo>
                      <a:close/>
                    </a:path>
                  </a:pathLst>
                </a:custGeom>
                <a:solidFill>
                  <a:schemeClr val="accent3">
                    <a:lumMod val="50000"/>
                  </a:schemeClr>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26" name="Freeform 32"/>
                <p:cNvSpPr>
                  <a:spLocks/>
                </p:cNvSpPr>
                <p:nvPr/>
              </p:nvSpPr>
              <p:spPr bwMode="auto">
                <a:xfrm>
                  <a:off x="5645151" y="2197100"/>
                  <a:ext cx="207963" cy="466725"/>
                </a:xfrm>
                <a:custGeom>
                  <a:avLst/>
                  <a:gdLst>
                    <a:gd name="T0" fmla="*/ 131 w 131"/>
                    <a:gd name="T1" fmla="*/ 0 h 294"/>
                    <a:gd name="T2" fmla="*/ 0 w 131"/>
                    <a:gd name="T3" fmla="*/ 198 h 294"/>
                    <a:gd name="T4" fmla="*/ 0 w 131"/>
                    <a:gd name="T5" fmla="*/ 294 h 294"/>
                    <a:gd name="T6" fmla="*/ 131 w 131"/>
                    <a:gd name="T7" fmla="*/ 96 h 294"/>
                    <a:gd name="T8" fmla="*/ 131 w 131"/>
                    <a:gd name="T9" fmla="*/ 0 h 294"/>
                  </a:gdLst>
                  <a:ahLst/>
                  <a:cxnLst>
                    <a:cxn ang="0">
                      <a:pos x="T0" y="T1"/>
                    </a:cxn>
                    <a:cxn ang="0">
                      <a:pos x="T2" y="T3"/>
                    </a:cxn>
                    <a:cxn ang="0">
                      <a:pos x="T4" y="T5"/>
                    </a:cxn>
                    <a:cxn ang="0">
                      <a:pos x="T6" y="T7"/>
                    </a:cxn>
                    <a:cxn ang="0">
                      <a:pos x="T8" y="T9"/>
                    </a:cxn>
                  </a:cxnLst>
                  <a:rect l="0" t="0" r="r" b="b"/>
                  <a:pathLst>
                    <a:path w="131" h="294">
                      <a:moveTo>
                        <a:pt x="131" y="0"/>
                      </a:moveTo>
                      <a:lnTo>
                        <a:pt x="0" y="198"/>
                      </a:lnTo>
                      <a:lnTo>
                        <a:pt x="0" y="294"/>
                      </a:lnTo>
                      <a:lnTo>
                        <a:pt x="131" y="96"/>
                      </a:lnTo>
                      <a:lnTo>
                        <a:pt x="131" y="0"/>
                      </a:lnTo>
                      <a:close/>
                    </a:path>
                  </a:pathLst>
                </a:custGeom>
                <a:solidFill>
                  <a:schemeClr val="accent3">
                    <a:lumMod val="50000"/>
                  </a:schemeClr>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27" name="Freeform 43"/>
                <p:cNvSpPr>
                  <a:spLocks/>
                </p:cNvSpPr>
                <p:nvPr/>
              </p:nvSpPr>
              <p:spPr bwMode="auto">
                <a:xfrm>
                  <a:off x="3762376" y="2197100"/>
                  <a:ext cx="2090738" cy="314325"/>
                </a:xfrm>
                <a:custGeom>
                  <a:avLst/>
                  <a:gdLst>
                    <a:gd name="T0" fmla="*/ 0 w 1317"/>
                    <a:gd name="T1" fmla="*/ 0 h 198"/>
                    <a:gd name="T2" fmla="*/ 131 w 1317"/>
                    <a:gd name="T3" fmla="*/ 198 h 198"/>
                    <a:gd name="T4" fmla="*/ 1186 w 1317"/>
                    <a:gd name="T5" fmla="*/ 198 h 198"/>
                    <a:gd name="T6" fmla="*/ 1317 w 1317"/>
                    <a:gd name="T7" fmla="*/ 0 h 198"/>
                    <a:gd name="T8" fmla="*/ 0 w 1317"/>
                    <a:gd name="T9" fmla="*/ 0 h 198"/>
                  </a:gdLst>
                  <a:ahLst/>
                  <a:cxnLst>
                    <a:cxn ang="0">
                      <a:pos x="T0" y="T1"/>
                    </a:cxn>
                    <a:cxn ang="0">
                      <a:pos x="T2" y="T3"/>
                    </a:cxn>
                    <a:cxn ang="0">
                      <a:pos x="T4" y="T5"/>
                    </a:cxn>
                    <a:cxn ang="0">
                      <a:pos x="T6" y="T7"/>
                    </a:cxn>
                    <a:cxn ang="0">
                      <a:pos x="T8" y="T9"/>
                    </a:cxn>
                  </a:cxnLst>
                  <a:rect l="0" t="0" r="r" b="b"/>
                  <a:pathLst>
                    <a:path w="1317" h="198">
                      <a:moveTo>
                        <a:pt x="0" y="0"/>
                      </a:moveTo>
                      <a:lnTo>
                        <a:pt x="131" y="198"/>
                      </a:lnTo>
                      <a:lnTo>
                        <a:pt x="1186" y="198"/>
                      </a:lnTo>
                      <a:lnTo>
                        <a:pt x="1317" y="0"/>
                      </a:lnTo>
                      <a:lnTo>
                        <a:pt x="0" y="0"/>
                      </a:lnTo>
                      <a:close/>
                    </a:path>
                  </a:pathLst>
                </a:custGeom>
                <a:solidFill>
                  <a:schemeClr val="accent3"/>
                </a:solidFill>
                <a:ln w="3175">
                  <a:noFill/>
                </a:ln>
              </p:spPr>
              <p:txBody>
                <a:bodyPr vert="horz" wrap="square" lIns="0" tIns="0" rIns="0" bIns="0" numCol="1" anchor="ctr" anchorCtr="0" compatLnSpc="1">
                  <a:prstTxWarp prst="textNoShape">
                    <a:avLst/>
                  </a:prstTxWarp>
                </a:bodyPr>
                <a:lstStyle/>
                <a:p>
                  <a:pPr algn="ctr">
                    <a:spcAft>
                      <a:spcPts val="800"/>
                    </a:spcAft>
                  </a:pPr>
                  <a:endParaRPr lang="ko-KR" altLang="en-US" b="1" dirty="0">
                    <a:solidFill>
                      <a:srgbClr val="58595B"/>
                    </a:solidFill>
                    <a:latin typeface="+mj-lt"/>
                    <a:ea typeface="Roboto Condensed Regular"/>
                    <a:cs typeface="Lato"/>
                  </a:endParaRPr>
                </a:p>
              </p:txBody>
            </p:sp>
          </p:grpSp>
          <p:sp>
            <p:nvSpPr>
              <p:cNvPr id="123" name="TextBox 122"/>
              <p:cNvSpPr txBox="1"/>
              <p:nvPr/>
            </p:nvSpPr>
            <p:spPr>
              <a:xfrm>
                <a:off x="4678363" y="2207409"/>
                <a:ext cx="1766886" cy="193940"/>
              </a:xfrm>
              <a:prstGeom prst="rect">
                <a:avLst/>
              </a:prstGeom>
              <a:noFill/>
              <a:ln>
                <a:noFill/>
              </a:ln>
            </p:spPr>
            <p:txBody>
              <a:bodyPr wrap="square" lIns="72000" tIns="0" rIns="72000" bIns="0" rtlCol="0" anchor="t">
                <a:noAutofit/>
              </a:bodyPr>
              <a:lstStyle/>
              <a:p>
                <a:pPr algn="ctr"/>
                <a:r>
                  <a:rPr lang="en-US" altLang="ko-KR" b="1" dirty="0" smtClean="0">
                    <a:solidFill>
                      <a:srgbClr val="58595B"/>
                    </a:solidFill>
                    <a:latin typeface="+mj-lt"/>
                    <a:cs typeface="Lato"/>
                  </a:rPr>
                  <a:t>Research</a:t>
                </a:r>
                <a:endParaRPr lang="ko-KR" altLang="en-US" b="1" dirty="0">
                  <a:solidFill>
                    <a:srgbClr val="58595B"/>
                  </a:solidFill>
                  <a:latin typeface="+mj-lt"/>
                  <a:cs typeface="Lato"/>
                </a:endParaRPr>
              </a:p>
            </p:txBody>
          </p:sp>
        </p:grpSp>
        <p:grpSp>
          <p:nvGrpSpPr>
            <p:cNvPr id="128" name="그룹 87"/>
            <p:cNvGrpSpPr/>
            <p:nvPr>
              <p:custDataLst>
                <p:tags r:id="rId13"/>
              </p:custDataLst>
            </p:nvPr>
          </p:nvGrpSpPr>
          <p:grpSpPr>
            <a:xfrm>
              <a:off x="9839283" y="7508228"/>
              <a:ext cx="4686782" cy="1368483"/>
              <a:chOff x="4682806" y="2626827"/>
              <a:chExt cx="1758001" cy="513181"/>
            </a:xfrm>
          </p:grpSpPr>
          <p:grpSp>
            <p:nvGrpSpPr>
              <p:cNvPr id="129" name="그룹 84"/>
              <p:cNvGrpSpPr/>
              <p:nvPr/>
            </p:nvGrpSpPr>
            <p:grpSpPr>
              <a:xfrm>
                <a:off x="4682806" y="2626827"/>
                <a:ext cx="1758001" cy="513181"/>
                <a:chOff x="3970338" y="2663825"/>
                <a:chExt cx="1674813" cy="468313"/>
              </a:xfrm>
            </p:grpSpPr>
            <p:sp>
              <p:nvSpPr>
                <p:cNvPr id="131" name="Rectangle 33"/>
                <p:cNvSpPr>
                  <a:spLocks noChangeArrowheads="1"/>
                </p:cNvSpPr>
                <p:nvPr/>
              </p:nvSpPr>
              <p:spPr bwMode="auto">
                <a:xfrm>
                  <a:off x="4176713" y="2979738"/>
                  <a:ext cx="1260475" cy="152400"/>
                </a:xfrm>
                <a:prstGeom prst="rect">
                  <a:avLst/>
                </a:prstGeom>
                <a:solidFill>
                  <a:schemeClr val="accent4">
                    <a:lumMod val="75000"/>
                  </a:schemeClr>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32" name="Freeform 34"/>
                <p:cNvSpPr>
                  <a:spLocks/>
                </p:cNvSpPr>
                <p:nvPr/>
              </p:nvSpPr>
              <p:spPr bwMode="auto">
                <a:xfrm>
                  <a:off x="3970338" y="2663825"/>
                  <a:ext cx="206375" cy="468312"/>
                </a:xfrm>
                <a:custGeom>
                  <a:avLst/>
                  <a:gdLst>
                    <a:gd name="T0" fmla="*/ 0 w 130"/>
                    <a:gd name="T1" fmla="*/ 0 h 295"/>
                    <a:gd name="T2" fmla="*/ 0 w 130"/>
                    <a:gd name="T3" fmla="*/ 97 h 295"/>
                    <a:gd name="T4" fmla="*/ 130 w 130"/>
                    <a:gd name="T5" fmla="*/ 295 h 295"/>
                    <a:gd name="T6" fmla="*/ 130 w 130"/>
                    <a:gd name="T7" fmla="*/ 199 h 295"/>
                    <a:gd name="T8" fmla="*/ 0 w 130"/>
                    <a:gd name="T9" fmla="*/ 0 h 295"/>
                  </a:gdLst>
                  <a:ahLst/>
                  <a:cxnLst>
                    <a:cxn ang="0">
                      <a:pos x="T0" y="T1"/>
                    </a:cxn>
                    <a:cxn ang="0">
                      <a:pos x="T2" y="T3"/>
                    </a:cxn>
                    <a:cxn ang="0">
                      <a:pos x="T4" y="T5"/>
                    </a:cxn>
                    <a:cxn ang="0">
                      <a:pos x="T6" y="T7"/>
                    </a:cxn>
                    <a:cxn ang="0">
                      <a:pos x="T8" y="T9"/>
                    </a:cxn>
                  </a:cxnLst>
                  <a:rect l="0" t="0" r="r" b="b"/>
                  <a:pathLst>
                    <a:path w="130" h="295">
                      <a:moveTo>
                        <a:pt x="0" y="0"/>
                      </a:moveTo>
                      <a:lnTo>
                        <a:pt x="0" y="97"/>
                      </a:lnTo>
                      <a:lnTo>
                        <a:pt x="130" y="295"/>
                      </a:lnTo>
                      <a:lnTo>
                        <a:pt x="130" y="199"/>
                      </a:lnTo>
                      <a:lnTo>
                        <a:pt x="0" y="0"/>
                      </a:lnTo>
                      <a:close/>
                    </a:path>
                  </a:pathLst>
                </a:custGeom>
                <a:solidFill>
                  <a:schemeClr val="accent4">
                    <a:lumMod val="50000"/>
                  </a:schemeClr>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33" name="Freeform 35"/>
                <p:cNvSpPr>
                  <a:spLocks/>
                </p:cNvSpPr>
                <p:nvPr/>
              </p:nvSpPr>
              <p:spPr bwMode="auto">
                <a:xfrm>
                  <a:off x="5437188" y="2663825"/>
                  <a:ext cx="207963" cy="468312"/>
                </a:xfrm>
                <a:custGeom>
                  <a:avLst/>
                  <a:gdLst>
                    <a:gd name="T0" fmla="*/ 131 w 131"/>
                    <a:gd name="T1" fmla="*/ 0 h 295"/>
                    <a:gd name="T2" fmla="*/ 131 w 131"/>
                    <a:gd name="T3" fmla="*/ 97 h 295"/>
                    <a:gd name="T4" fmla="*/ 0 w 131"/>
                    <a:gd name="T5" fmla="*/ 295 h 295"/>
                    <a:gd name="T6" fmla="*/ 0 w 131"/>
                    <a:gd name="T7" fmla="*/ 199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7"/>
                      </a:lnTo>
                      <a:lnTo>
                        <a:pt x="0" y="295"/>
                      </a:lnTo>
                      <a:lnTo>
                        <a:pt x="0" y="199"/>
                      </a:lnTo>
                      <a:lnTo>
                        <a:pt x="131" y="0"/>
                      </a:lnTo>
                      <a:close/>
                    </a:path>
                  </a:pathLst>
                </a:custGeom>
                <a:solidFill>
                  <a:schemeClr val="accent4">
                    <a:lumMod val="50000"/>
                  </a:schemeClr>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34" name="Freeform 44"/>
                <p:cNvSpPr>
                  <a:spLocks/>
                </p:cNvSpPr>
                <p:nvPr/>
              </p:nvSpPr>
              <p:spPr bwMode="auto">
                <a:xfrm>
                  <a:off x="3970338" y="2663825"/>
                  <a:ext cx="1674813" cy="315912"/>
                </a:xfrm>
                <a:custGeom>
                  <a:avLst/>
                  <a:gdLst>
                    <a:gd name="T0" fmla="*/ 130 w 1055"/>
                    <a:gd name="T1" fmla="*/ 199 h 199"/>
                    <a:gd name="T2" fmla="*/ 924 w 1055"/>
                    <a:gd name="T3" fmla="*/ 199 h 199"/>
                    <a:gd name="T4" fmla="*/ 1055 w 1055"/>
                    <a:gd name="T5" fmla="*/ 0 h 199"/>
                    <a:gd name="T6" fmla="*/ 0 w 1055"/>
                    <a:gd name="T7" fmla="*/ 0 h 199"/>
                    <a:gd name="T8" fmla="*/ 130 w 1055"/>
                    <a:gd name="T9" fmla="*/ 199 h 199"/>
                  </a:gdLst>
                  <a:ahLst/>
                  <a:cxnLst>
                    <a:cxn ang="0">
                      <a:pos x="T0" y="T1"/>
                    </a:cxn>
                    <a:cxn ang="0">
                      <a:pos x="T2" y="T3"/>
                    </a:cxn>
                    <a:cxn ang="0">
                      <a:pos x="T4" y="T5"/>
                    </a:cxn>
                    <a:cxn ang="0">
                      <a:pos x="T6" y="T7"/>
                    </a:cxn>
                    <a:cxn ang="0">
                      <a:pos x="T8" y="T9"/>
                    </a:cxn>
                  </a:cxnLst>
                  <a:rect l="0" t="0" r="r" b="b"/>
                  <a:pathLst>
                    <a:path w="1055" h="199">
                      <a:moveTo>
                        <a:pt x="130" y="199"/>
                      </a:moveTo>
                      <a:lnTo>
                        <a:pt x="924" y="199"/>
                      </a:lnTo>
                      <a:lnTo>
                        <a:pt x="1055" y="0"/>
                      </a:lnTo>
                      <a:lnTo>
                        <a:pt x="0" y="0"/>
                      </a:lnTo>
                      <a:lnTo>
                        <a:pt x="130" y="199"/>
                      </a:lnTo>
                      <a:close/>
                    </a:path>
                  </a:pathLst>
                </a:custGeom>
                <a:solidFill>
                  <a:schemeClr val="accent4"/>
                </a:solidFill>
                <a:ln w="3175">
                  <a:noFill/>
                </a:ln>
              </p:spPr>
              <p:txBody>
                <a:bodyPr vert="horz" wrap="square" lIns="0" tIns="0" rIns="0" bIns="0" numCol="1" anchor="ctr" anchorCtr="0" compatLnSpc="1">
                  <a:prstTxWarp prst="textNoShape">
                    <a:avLst/>
                  </a:prstTxWarp>
                </a:bodyPr>
                <a:lstStyle/>
                <a:p>
                  <a:pPr algn="ctr">
                    <a:spcAft>
                      <a:spcPts val="800"/>
                    </a:spcAft>
                  </a:pPr>
                  <a:endParaRPr lang="ko-KR" altLang="en-US" b="1" dirty="0">
                    <a:solidFill>
                      <a:srgbClr val="58595B"/>
                    </a:solidFill>
                    <a:latin typeface="+mj-lt"/>
                    <a:ea typeface="Roboto Condensed Regular"/>
                    <a:cs typeface="Lato"/>
                  </a:endParaRPr>
                </a:p>
              </p:txBody>
            </p:sp>
          </p:grpSp>
          <p:sp>
            <p:nvSpPr>
              <p:cNvPr id="130" name="TextBox 129"/>
              <p:cNvSpPr txBox="1"/>
              <p:nvPr/>
            </p:nvSpPr>
            <p:spPr>
              <a:xfrm>
                <a:off x="4788030" y="2720171"/>
                <a:ext cx="1547554" cy="193940"/>
              </a:xfrm>
              <a:prstGeom prst="rect">
                <a:avLst/>
              </a:prstGeom>
              <a:noFill/>
              <a:ln>
                <a:noFill/>
              </a:ln>
            </p:spPr>
            <p:txBody>
              <a:bodyPr wrap="square" lIns="72000" tIns="0" rIns="72000" bIns="0" rtlCol="0" anchor="t">
                <a:noAutofit/>
              </a:bodyPr>
              <a:lstStyle/>
              <a:p>
                <a:pPr algn="ctr"/>
                <a:r>
                  <a:rPr lang="en-US" altLang="ko-KR" b="1" dirty="0" smtClean="0">
                    <a:solidFill>
                      <a:srgbClr val="58595B"/>
                    </a:solidFill>
                    <a:latin typeface="+mj-lt"/>
                    <a:cs typeface="Lato"/>
                  </a:rPr>
                  <a:t>Gallery</a:t>
                </a:r>
                <a:endParaRPr lang="ko-KR" altLang="en-US" b="1" dirty="0">
                  <a:solidFill>
                    <a:srgbClr val="58595B"/>
                  </a:solidFill>
                  <a:latin typeface="+mj-lt"/>
                  <a:cs typeface="Lato"/>
                </a:endParaRPr>
              </a:p>
            </p:txBody>
          </p:sp>
        </p:grpSp>
        <p:grpSp>
          <p:nvGrpSpPr>
            <p:cNvPr id="135" name="그룹 88"/>
            <p:cNvGrpSpPr/>
            <p:nvPr>
              <p:custDataLst>
                <p:tags r:id="rId14"/>
              </p:custDataLst>
            </p:nvPr>
          </p:nvGrpSpPr>
          <p:grpSpPr>
            <a:xfrm>
              <a:off x="10416801" y="8907224"/>
              <a:ext cx="3527305" cy="1368480"/>
              <a:chOff x="4899432" y="3140008"/>
              <a:chExt cx="1323084" cy="513180"/>
            </a:xfrm>
          </p:grpSpPr>
          <p:grpSp>
            <p:nvGrpSpPr>
              <p:cNvPr id="136" name="그룹 85"/>
              <p:cNvGrpSpPr/>
              <p:nvPr/>
            </p:nvGrpSpPr>
            <p:grpSpPr>
              <a:xfrm>
                <a:off x="4899432" y="3140008"/>
                <a:ext cx="1323084" cy="513180"/>
                <a:chOff x="4176713" y="3132138"/>
                <a:chExt cx="1260476" cy="468312"/>
              </a:xfrm>
            </p:grpSpPr>
            <p:sp>
              <p:nvSpPr>
                <p:cNvPr id="138" name="Rectangle 36"/>
                <p:cNvSpPr>
                  <a:spLocks noChangeArrowheads="1"/>
                </p:cNvSpPr>
                <p:nvPr/>
              </p:nvSpPr>
              <p:spPr bwMode="auto">
                <a:xfrm>
                  <a:off x="4384676" y="3446463"/>
                  <a:ext cx="844550" cy="153987"/>
                </a:xfrm>
                <a:prstGeom prst="rect">
                  <a:avLst/>
                </a:prstGeom>
                <a:solidFill>
                  <a:schemeClr val="accent5">
                    <a:lumMod val="75000"/>
                  </a:schemeClr>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39" name="Freeform 37"/>
                <p:cNvSpPr>
                  <a:spLocks/>
                </p:cNvSpPr>
                <p:nvPr/>
              </p:nvSpPr>
              <p:spPr bwMode="auto">
                <a:xfrm>
                  <a:off x="4176713" y="3132138"/>
                  <a:ext cx="207963" cy="468312"/>
                </a:xfrm>
                <a:custGeom>
                  <a:avLst/>
                  <a:gdLst>
                    <a:gd name="T0" fmla="*/ 0 w 131"/>
                    <a:gd name="T1" fmla="*/ 0 h 295"/>
                    <a:gd name="T2" fmla="*/ 0 w 131"/>
                    <a:gd name="T3" fmla="*/ 96 h 295"/>
                    <a:gd name="T4" fmla="*/ 131 w 131"/>
                    <a:gd name="T5" fmla="*/ 295 h 295"/>
                    <a:gd name="T6" fmla="*/ 131 w 131"/>
                    <a:gd name="T7" fmla="*/ 198 h 295"/>
                    <a:gd name="T8" fmla="*/ 0 w 131"/>
                    <a:gd name="T9" fmla="*/ 0 h 295"/>
                  </a:gdLst>
                  <a:ahLst/>
                  <a:cxnLst>
                    <a:cxn ang="0">
                      <a:pos x="T0" y="T1"/>
                    </a:cxn>
                    <a:cxn ang="0">
                      <a:pos x="T2" y="T3"/>
                    </a:cxn>
                    <a:cxn ang="0">
                      <a:pos x="T4" y="T5"/>
                    </a:cxn>
                    <a:cxn ang="0">
                      <a:pos x="T6" y="T7"/>
                    </a:cxn>
                    <a:cxn ang="0">
                      <a:pos x="T8" y="T9"/>
                    </a:cxn>
                  </a:cxnLst>
                  <a:rect l="0" t="0" r="r" b="b"/>
                  <a:pathLst>
                    <a:path w="131" h="295">
                      <a:moveTo>
                        <a:pt x="0" y="0"/>
                      </a:moveTo>
                      <a:lnTo>
                        <a:pt x="0" y="96"/>
                      </a:lnTo>
                      <a:lnTo>
                        <a:pt x="131" y="295"/>
                      </a:lnTo>
                      <a:lnTo>
                        <a:pt x="131" y="198"/>
                      </a:lnTo>
                      <a:lnTo>
                        <a:pt x="0" y="0"/>
                      </a:lnTo>
                      <a:close/>
                    </a:path>
                  </a:pathLst>
                </a:custGeom>
                <a:solidFill>
                  <a:schemeClr val="accent5">
                    <a:lumMod val="50000"/>
                  </a:schemeClr>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40" name="Freeform 38"/>
                <p:cNvSpPr>
                  <a:spLocks/>
                </p:cNvSpPr>
                <p:nvPr/>
              </p:nvSpPr>
              <p:spPr bwMode="auto">
                <a:xfrm>
                  <a:off x="5229226" y="3132138"/>
                  <a:ext cx="207963" cy="468312"/>
                </a:xfrm>
                <a:custGeom>
                  <a:avLst/>
                  <a:gdLst>
                    <a:gd name="T0" fmla="*/ 131 w 131"/>
                    <a:gd name="T1" fmla="*/ 0 h 295"/>
                    <a:gd name="T2" fmla="*/ 131 w 131"/>
                    <a:gd name="T3" fmla="*/ 96 h 295"/>
                    <a:gd name="T4" fmla="*/ 0 w 131"/>
                    <a:gd name="T5" fmla="*/ 295 h 295"/>
                    <a:gd name="T6" fmla="*/ 0 w 131"/>
                    <a:gd name="T7" fmla="*/ 198 h 295"/>
                    <a:gd name="T8" fmla="*/ 131 w 131"/>
                    <a:gd name="T9" fmla="*/ 0 h 295"/>
                  </a:gdLst>
                  <a:ahLst/>
                  <a:cxnLst>
                    <a:cxn ang="0">
                      <a:pos x="T0" y="T1"/>
                    </a:cxn>
                    <a:cxn ang="0">
                      <a:pos x="T2" y="T3"/>
                    </a:cxn>
                    <a:cxn ang="0">
                      <a:pos x="T4" y="T5"/>
                    </a:cxn>
                    <a:cxn ang="0">
                      <a:pos x="T6" y="T7"/>
                    </a:cxn>
                    <a:cxn ang="0">
                      <a:pos x="T8" y="T9"/>
                    </a:cxn>
                  </a:cxnLst>
                  <a:rect l="0" t="0" r="r" b="b"/>
                  <a:pathLst>
                    <a:path w="131" h="295">
                      <a:moveTo>
                        <a:pt x="131" y="0"/>
                      </a:moveTo>
                      <a:lnTo>
                        <a:pt x="131" y="96"/>
                      </a:lnTo>
                      <a:lnTo>
                        <a:pt x="0" y="295"/>
                      </a:lnTo>
                      <a:lnTo>
                        <a:pt x="0" y="198"/>
                      </a:lnTo>
                      <a:lnTo>
                        <a:pt x="131" y="0"/>
                      </a:lnTo>
                      <a:close/>
                    </a:path>
                  </a:pathLst>
                </a:custGeom>
                <a:solidFill>
                  <a:schemeClr val="accent5">
                    <a:lumMod val="50000"/>
                  </a:schemeClr>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41" name="Freeform 45"/>
                <p:cNvSpPr>
                  <a:spLocks/>
                </p:cNvSpPr>
                <p:nvPr/>
              </p:nvSpPr>
              <p:spPr bwMode="auto">
                <a:xfrm>
                  <a:off x="4176713" y="3132138"/>
                  <a:ext cx="1260475" cy="314325"/>
                </a:xfrm>
                <a:custGeom>
                  <a:avLst/>
                  <a:gdLst>
                    <a:gd name="T0" fmla="*/ 131 w 794"/>
                    <a:gd name="T1" fmla="*/ 198 h 198"/>
                    <a:gd name="T2" fmla="*/ 663 w 794"/>
                    <a:gd name="T3" fmla="*/ 198 h 198"/>
                    <a:gd name="T4" fmla="*/ 794 w 794"/>
                    <a:gd name="T5" fmla="*/ 0 h 198"/>
                    <a:gd name="T6" fmla="*/ 0 w 794"/>
                    <a:gd name="T7" fmla="*/ 0 h 198"/>
                    <a:gd name="T8" fmla="*/ 131 w 794"/>
                    <a:gd name="T9" fmla="*/ 198 h 198"/>
                  </a:gdLst>
                  <a:ahLst/>
                  <a:cxnLst>
                    <a:cxn ang="0">
                      <a:pos x="T0" y="T1"/>
                    </a:cxn>
                    <a:cxn ang="0">
                      <a:pos x="T2" y="T3"/>
                    </a:cxn>
                    <a:cxn ang="0">
                      <a:pos x="T4" y="T5"/>
                    </a:cxn>
                    <a:cxn ang="0">
                      <a:pos x="T6" y="T7"/>
                    </a:cxn>
                    <a:cxn ang="0">
                      <a:pos x="T8" y="T9"/>
                    </a:cxn>
                  </a:cxnLst>
                  <a:rect l="0" t="0" r="r" b="b"/>
                  <a:pathLst>
                    <a:path w="794" h="198">
                      <a:moveTo>
                        <a:pt x="131" y="198"/>
                      </a:moveTo>
                      <a:lnTo>
                        <a:pt x="663" y="198"/>
                      </a:lnTo>
                      <a:lnTo>
                        <a:pt x="794" y="0"/>
                      </a:lnTo>
                      <a:lnTo>
                        <a:pt x="0" y="0"/>
                      </a:lnTo>
                      <a:lnTo>
                        <a:pt x="131" y="198"/>
                      </a:lnTo>
                      <a:close/>
                    </a:path>
                  </a:pathLst>
                </a:custGeom>
                <a:solidFill>
                  <a:schemeClr val="accent5"/>
                </a:solidFill>
                <a:ln w="3175">
                  <a:noFill/>
                </a:ln>
              </p:spPr>
              <p:txBody>
                <a:bodyPr vert="horz" wrap="square" lIns="0" tIns="0" rIns="0" bIns="0" numCol="1" anchor="ctr" anchorCtr="0" compatLnSpc="1">
                  <a:prstTxWarp prst="textNoShape">
                    <a:avLst/>
                  </a:prstTxWarp>
                </a:bodyPr>
                <a:lstStyle/>
                <a:p>
                  <a:pPr algn="ctr">
                    <a:spcAft>
                      <a:spcPts val="800"/>
                    </a:spcAft>
                  </a:pPr>
                  <a:endParaRPr lang="ko-KR" altLang="en-US" b="1" dirty="0">
                    <a:solidFill>
                      <a:srgbClr val="58595B"/>
                    </a:solidFill>
                    <a:latin typeface="+mj-lt"/>
                    <a:ea typeface="Roboto Condensed Regular"/>
                    <a:cs typeface="Lato"/>
                  </a:endParaRPr>
                </a:p>
              </p:txBody>
            </p:sp>
          </p:grpSp>
          <p:sp>
            <p:nvSpPr>
              <p:cNvPr id="137" name="TextBox 136"/>
              <p:cNvSpPr txBox="1"/>
              <p:nvPr/>
            </p:nvSpPr>
            <p:spPr>
              <a:xfrm>
                <a:off x="4967392" y="3232934"/>
                <a:ext cx="1188828" cy="193940"/>
              </a:xfrm>
              <a:prstGeom prst="rect">
                <a:avLst/>
              </a:prstGeom>
              <a:noFill/>
              <a:ln>
                <a:noFill/>
              </a:ln>
            </p:spPr>
            <p:txBody>
              <a:bodyPr wrap="square" lIns="72000" tIns="0" rIns="72000" bIns="0" rtlCol="0" anchor="t">
                <a:noAutofit/>
              </a:bodyPr>
              <a:lstStyle/>
              <a:p>
                <a:pPr algn="ctr"/>
                <a:r>
                  <a:rPr lang="en-US" altLang="ko-KR" b="1" dirty="0" smtClean="0">
                    <a:solidFill>
                      <a:srgbClr val="DDDDDD"/>
                    </a:solidFill>
                    <a:latin typeface="+mj-lt"/>
                    <a:cs typeface="Lato"/>
                  </a:rPr>
                  <a:t>Photos</a:t>
                </a:r>
                <a:endParaRPr lang="ko-KR" altLang="en-US" b="1" dirty="0">
                  <a:solidFill>
                    <a:srgbClr val="DDDDDD"/>
                  </a:solidFill>
                  <a:latin typeface="+mj-lt"/>
                  <a:cs typeface="Lato"/>
                </a:endParaRPr>
              </a:p>
            </p:txBody>
          </p:sp>
        </p:grpSp>
        <p:grpSp>
          <p:nvGrpSpPr>
            <p:cNvPr id="143" name="그룹 95"/>
            <p:cNvGrpSpPr/>
            <p:nvPr/>
          </p:nvGrpSpPr>
          <p:grpSpPr>
            <a:xfrm>
              <a:off x="10119806" y="10307594"/>
              <a:ext cx="4125735" cy="2319461"/>
              <a:chOff x="4788030" y="3653188"/>
              <a:chExt cx="1547554" cy="869798"/>
            </a:xfrm>
          </p:grpSpPr>
          <p:grpSp>
            <p:nvGrpSpPr>
              <p:cNvPr id="145" name="그룹 86"/>
              <p:cNvGrpSpPr/>
              <p:nvPr/>
            </p:nvGrpSpPr>
            <p:grpSpPr>
              <a:xfrm>
                <a:off x="5117724" y="3653188"/>
                <a:ext cx="886499" cy="869798"/>
                <a:chOff x="4384676" y="3600450"/>
                <a:chExt cx="844550" cy="793750"/>
              </a:xfrm>
            </p:grpSpPr>
            <p:sp>
              <p:nvSpPr>
                <p:cNvPr id="147" name="Freeform 39"/>
                <p:cNvSpPr>
                  <a:spLocks/>
                </p:cNvSpPr>
                <p:nvPr/>
              </p:nvSpPr>
              <p:spPr bwMode="auto">
                <a:xfrm>
                  <a:off x="4384676" y="3600450"/>
                  <a:ext cx="422275" cy="793750"/>
                </a:xfrm>
                <a:custGeom>
                  <a:avLst/>
                  <a:gdLst>
                    <a:gd name="T0" fmla="*/ 0 w 266"/>
                    <a:gd name="T1" fmla="*/ 0 h 500"/>
                    <a:gd name="T2" fmla="*/ 0 w 266"/>
                    <a:gd name="T3" fmla="*/ 96 h 500"/>
                    <a:gd name="T4" fmla="*/ 266 w 266"/>
                    <a:gd name="T5" fmla="*/ 500 h 500"/>
                    <a:gd name="T6" fmla="*/ 266 w 266"/>
                    <a:gd name="T7" fmla="*/ 404 h 500"/>
                    <a:gd name="T8" fmla="*/ 0 w 266"/>
                    <a:gd name="T9" fmla="*/ 0 h 500"/>
                  </a:gdLst>
                  <a:ahLst/>
                  <a:cxnLst>
                    <a:cxn ang="0">
                      <a:pos x="T0" y="T1"/>
                    </a:cxn>
                    <a:cxn ang="0">
                      <a:pos x="T2" y="T3"/>
                    </a:cxn>
                    <a:cxn ang="0">
                      <a:pos x="T4" y="T5"/>
                    </a:cxn>
                    <a:cxn ang="0">
                      <a:pos x="T6" y="T7"/>
                    </a:cxn>
                    <a:cxn ang="0">
                      <a:pos x="T8" y="T9"/>
                    </a:cxn>
                  </a:cxnLst>
                  <a:rect l="0" t="0" r="r" b="b"/>
                  <a:pathLst>
                    <a:path w="266" h="500">
                      <a:moveTo>
                        <a:pt x="0" y="0"/>
                      </a:moveTo>
                      <a:lnTo>
                        <a:pt x="0" y="96"/>
                      </a:lnTo>
                      <a:lnTo>
                        <a:pt x="266" y="500"/>
                      </a:lnTo>
                      <a:lnTo>
                        <a:pt x="266" y="404"/>
                      </a:lnTo>
                      <a:lnTo>
                        <a:pt x="0" y="0"/>
                      </a:lnTo>
                      <a:close/>
                    </a:path>
                  </a:pathLst>
                </a:custGeom>
                <a:solidFill>
                  <a:schemeClr val="accent6">
                    <a:lumMod val="50000"/>
                  </a:schemeClr>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48" name="Freeform 40"/>
                <p:cNvSpPr>
                  <a:spLocks/>
                </p:cNvSpPr>
                <p:nvPr/>
              </p:nvSpPr>
              <p:spPr bwMode="auto">
                <a:xfrm>
                  <a:off x="4806951" y="3600450"/>
                  <a:ext cx="422275" cy="793750"/>
                </a:xfrm>
                <a:custGeom>
                  <a:avLst/>
                  <a:gdLst>
                    <a:gd name="T0" fmla="*/ 266 w 266"/>
                    <a:gd name="T1" fmla="*/ 0 h 500"/>
                    <a:gd name="T2" fmla="*/ 266 w 266"/>
                    <a:gd name="T3" fmla="*/ 96 h 500"/>
                    <a:gd name="T4" fmla="*/ 0 w 266"/>
                    <a:gd name="T5" fmla="*/ 500 h 500"/>
                    <a:gd name="T6" fmla="*/ 0 w 266"/>
                    <a:gd name="T7" fmla="*/ 404 h 500"/>
                    <a:gd name="T8" fmla="*/ 266 w 266"/>
                    <a:gd name="T9" fmla="*/ 0 h 500"/>
                  </a:gdLst>
                  <a:ahLst/>
                  <a:cxnLst>
                    <a:cxn ang="0">
                      <a:pos x="T0" y="T1"/>
                    </a:cxn>
                    <a:cxn ang="0">
                      <a:pos x="T2" y="T3"/>
                    </a:cxn>
                    <a:cxn ang="0">
                      <a:pos x="T4" y="T5"/>
                    </a:cxn>
                    <a:cxn ang="0">
                      <a:pos x="T6" y="T7"/>
                    </a:cxn>
                    <a:cxn ang="0">
                      <a:pos x="T8" y="T9"/>
                    </a:cxn>
                  </a:cxnLst>
                  <a:rect l="0" t="0" r="r" b="b"/>
                  <a:pathLst>
                    <a:path w="266" h="500">
                      <a:moveTo>
                        <a:pt x="266" y="0"/>
                      </a:moveTo>
                      <a:lnTo>
                        <a:pt x="266" y="96"/>
                      </a:lnTo>
                      <a:lnTo>
                        <a:pt x="0" y="500"/>
                      </a:lnTo>
                      <a:lnTo>
                        <a:pt x="0" y="404"/>
                      </a:lnTo>
                      <a:lnTo>
                        <a:pt x="266" y="0"/>
                      </a:lnTo>
                      <a:close/>
                    </a:path>
                  </a:pathLst>
                </a:custGeom>
                <a:solidFill>
                  <a:schemeClr val="accent6">
                    <a:lumMod val="50000"/>
                  </a:schemeClr>
                </a:solidFill>
                <a:ln w="3175">
                  <a:noFill/>
                </a:ln>
              </p:spPr>
              <p:txBody>
                <a:bodyPr vert="horz" wrap="square" lIns="91440" tIns="45720" rIns="91440" bIns="45720" numCol="1" anchor="t" anchorCtr="0" compatLnSpc="1">
                  <a:prstTxWarp prst="textNoShape">
                    <a:avLst/>
                  </a:prstTxWarp>
                </a:bodyPr>
                <a:lstStyle/>
                <a:p>
                  <a:endParaRPr lang="ko-KR" altLang="en-US" b="1" dirty="0">
                    <a:solidFill>
                      <a:srgbClr val="58595B"/>
                    </a:solidFill>
                    <a:latin typeface="+mj-lt"/>
                    <a:cs typeface="Lato"/>
                  </a:endParaRPr>
                </a:p>
              </p:txBody>
            </p:sp>
            <p:sp>
              <p:nvSpPr>
                <p:cNvPr id="149" name="Freeform 148"/>
                <p:cNvSpPr>
                  <a:spLocks/>
                </p:cNvSpPr>
                <p:nvPr/>
              </p:nvSpPr>
              <p:spPr bwMode="auto">
                <a:xfrm>
                  <a:off x="4384676" y="3600450"/>
                  <a:ext cx="844550" cy="641350"/>
                </a:xfrm>
                <a:custGeom>
                  <a:avLst/>
                  <a:gdLst>
                    <a:gd name="T0" fmla="*/ 266 w 532"/>
                    <a:gd name="T1" fmla="*/ 404 h 404"/>
                    <a:gd name="T2" fmla="*/ 532 w 532"/>
                    <a:gd name="T3" fmla="*/ 0 h 404"/>
                    <a:gd name="T4" fmla="*/ 0 w 532"/>
                    <a:gd name="T5" fmla="*/ 0 h 404"/>
                    <a:gd name="T6" fmla="*/ 266 w 532"/>
                    <a:gd name="T7" fmla="*/ 404 h 404"/>
                  </a:gdLst>
                  <a:ahLst/>
                  <a:cxnLst>
                    <a:cxn ang="0">
                      <a:pos x="T0" y="T1"/>
                    </a:cxn>
                    <a:cxn ang="0">
                      <a:pos x="T2" y="T3"/>
                    </a:cxn>
                    <a:cxn ang="0">
                      <a:pos x="T4" y="T5"/>
                    </a:cxn>
                    <a:cxn ang="0">
                      <a:pos x="T6" y="T7"/>
                    </a:cxn>
                  </a:cxnLst>
                  <a:rect l="0" t="0" r="r" b="b"/>
                  <a:pathLst>
                    <a:path w="532" h="404">
                      <a:moveTo>
                        <a:pt x="266" y="404"/>
                      </a:moveTo>
                      <a:lnTo>
                        <a:pt x="532" y="0"/>
                      </a:lnTo>
                      <a:lnTo>
                        <a:pt x="0" y="0"/>
                      </a:lnTo>
                      <a:lnTo>
                        <a:pt x="266" y="404"/>
                      </a:lnTo>
                      <a:close/>
                    </a:path>
                  </a:pathLst>
                </a:custGeom>
                <a:solidFill>
                  <a:schemeClr val="accent6"/>
                </a:solidFill>
                <a:ln w="3175">
                  <a:noFill/>
                </a:ln>
              </p:spPr>
              <p:txBody>
                <a:bodyPr vert="horz" wrap="square" lIns="0" tIns="0" rIns="0" bIns="0" numCol="1" anchor="ctr" anchorCtr="0" compatLnSpc="1">
                  <a:prstTxWarp prst="textNoShape">
                    <a:avLst/>
                  </a:prstTxWarp>
                </a:bodyPr>
                <a:lstStyle/>
                <a:p>
                  <a:pPr algn="ctr">
                    <a:spcAft>
                      <a:spcPts val="800"/>
                    </a:spcAft>
                  </a:pPr>
                  <a:endParaRPr lang="ko-KR" altLang="en-US" b="1" dirty="0">
                    <a:solidFill>
                      <a:srgbClr val="58595B"/>
                    </a:solidFill>
                    <a:latin typeface="+mj-lt"/>
                    <a:ea typeface="Roboto Condensed Regular"/>
                    <a:cs typeface="Lato"/>
                  </a:endParaRPr>
                </a:p>
              </p:txBody>
            </p:sp>
          </p:grpSp>
          <p:sp>
            <p:nvSpPr>
              <p:cNvPr id="146" name="TextBox 145"/>
              <p:cNvSpPr txBox="1"/>
              <p:nvPr/>
            </p:nvSpPr>
            <p:spPr>
              <a:xfrm>
                <a:off x="4788030" y="3740934"/>
                <a:ext cx="1547554" cy="193940"/>
              </a:xfrm>
              <a:prstGeom prst="rect">
                <a:avLst/>
              </a:prstGeom>
              <a:noFill/>
              <a:ln>
                <a:noFill/>
              </a:ln>
            </p:spPr>
            <p:txBody>
              <a:bodyPr wrap="square" lIns="72000" tIns="0" rIns="72000" bIns="0" rtlCol="0" anchor="t">
                <a:noAutofit/>
              </a:bodyPr>
              <a:lstStyle/>
              <a:p>
                <a:pPr algn="ctr"/>
                <a:r>
                  <a:rPr lang="en-US" altLang="ko-KR" b="1" dirty="0" smtClean="0">
                    <a:solidFill>
                      <a:srgbClr val="DDDDDD"/>
                    </a:solidFill>
                    <a:latin typeface="+mj-lt"/>
                    <a:cs typeface="Lato"/>
                  </a:rPr>
                  <a:t>Drink</a:t>
                </a:r>
                <a:endParaRPr lang="ko-KR" altLang="en-US" b="1" dirty="0">
                  <a:solidFill>
                    <a:srgbClr val="DDDDDD"/>
                  </a:solidFill>
                  <a:latin typeface="+mj-lt"/>
                  <a:cs typeface="Lato"/>
                </a:endParaRPr>
              </a:p>
            </p:txBody>
          </p:sp>
        </p:grpSp>
      </p:grpSp>
      <p:grpSp>
        <p:nvGrpSpPr>
          <p:cNvPr id="165" name="Group 164"/>
          <p:cNvGrpSpPr/>
          <p:nvPr>
            <p:custDataLst>
              <p:tags r:id="rId2"/>
            </p:custDataLst>
          </p:nvPr>
        </p:nvGrpSpPr>
        <p:grpSpPr>
          <a:xfrm>
            <a:off x="693019" y="1234440"/>
            <a:ext cx="4802942" cy="4103141"/>
            <a:chOff x="1402580" y="3231410"/>
            <a:chExt cx="8717227" cy="7447105"/>
          </a:xfrm>
        </p:grpSpPr>
        <p:cxnSp>
          <p:nvCxnSpPr>
            <p:cNvPr id="81" name="Straight Connector 80"/>
            <p:cNvCxnSpPr/>
            <p:nvPr/>
          </p:nvCxnSpPr>
          <p:spPr>
            <a:xfrm flipH="1">
              <a:off x="6219239" y="7019216"/>
              <a:ext cx="2871204" cy="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82" name="Straight Connector 81"/>
            <p:cNvCxnSpPr/>
            <p:nvPr/>
          </p:nvCxnSpPr>
          <p:spPr>
            <a:xfrm flipH="1">
              <a:off x="6219239" y="4080676"/>
              <a:ext cx="1712618" cy="6325"/>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grpSp>
          <p:nvGrpSpPr>
            <p:cNvPr id="94" name="Group 93"/>
            <p:cNvGrpSpPr/>
            <p:nvPr>
              <p:custDataLst>
                <p:tags r:id="rId7"/>
              </p:custDataLst>
            </p:nvPr>
          </p:nvGrpSpPr>
          <p:grpSpPr>
            <a:xfrm>
              <a:off x="1440490" y="6122415"/>
              <a:ext cx="4754232" cy="1884371"/>
              <a:chOff x="1440490" y="6122415"/>
              <a:chExt cx="4754232" cy="1884371"/>
            </a:xfrm>
          </p:grpSpPr>
          <p:sp>
            <p:nvSpPr>
              <p:cNvPr id="95" name="Oval 94"/>
              <p:cNvSpPr/>
              <p:nvPr/>
            </p:nvSpPr>
            <p:spPr>
              <a:xfrm>
                <a:off x="4882270" y="6345215"/>
                <a:ext cx="1312452" cy="1312794"/>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sz="1050" dirty="0">
                  <a:solidFill>
                    <a:srgbClr val="58595B"/>
                  </a:solidFill>
                  <a:latin typeface="+mj-lt"/>
                </a:endParaRPr>
              </a:p>
            </p:txBody>
          </p:sp>
          <p:sp>
            <p:nvSpPr>
              <p:cNvPr id="96" name="TextBox 95"/>
              <p:cNvSpPr txBox="1"/>
              <p:nvPr/>
            </p:nvSpPr>
            <p:spPr>
              <a:xfrm>
                <a:off x="1440490" y="6122415"/>
                <a:ext cx="3218980" cy="1884371"/>
              </a:xfrm>
              <a:prstGeom prst="rect">
                <a:avLst/>
              </a:prstGeom>
              <a:noFill/>
            </p:spPr>
            <p:txBody>
              <a:bodyPr wrap="square" lIns="0" tIns="121892" rIns="0" bIns="0" rtlCol="0">
                <a:spAutoFit/>
              </a:bodyPr>
              <a:lstStyle/>
              <a:p>
                <a:pPr algn="r"/>
                <a:r>
                  <a:rPr lang="en-US" sz="1600" b="1" dirty="0">
                    <a:solidFill>
                      <a:srgbClr val="58595B"/>
                    </a:solidFill>
                    <a:latin typeface="+mj-lt"/>
                    <a:cs typeface="Lato"/>
                  </a:rPr>
                  <a:t>Research</a:t>
                </a:r>
              </a:p>
              <a:p>
                <a:pPr algn="r"/>
                <a:r>
                  <a:rPr lang="en-US" sz="1200" dirty="0">
                    <a:solidFill>
                      <a:srgbClr val="58595B"/>
                    </a:solidFill>
                    <a:latin typeface="+mj-lt"/>
                    <a:cs typeface="Calibri Light"/>
                  </a:rPr>
                  <a:t>Lorem ipsum dolor sit amet,consectetur adipisicing elit, sed do eiusmod tempor</a:t>
                </a:r>
              </a:p>
            </p:txBody>
          </p:sp>
          <p:grpSp>
            <p:nvGrpSpPr>
              <p:cNvPr id="97" name="Group 96"/>
              <p:cNvGrpSpPr/>
              <p:nvPr/>
            </p:nvGrpSpPr>
            <p:grpSpPr>
              <a:xfrm>
                <a:off x="5300707" y="6639399"/>
                <a:ext cx="512033" cy="748658"/>
                <a:chOff x="527333" y="1217552"/>
                <a:chExt cx="175409" cy="256405"/>
              </a:xfrm>
              <a:solidFill>
                <a:schemeClr val="bg1"/>
              </a:solidFill>
            </p:grpSpPr>
            <p:sp>
              <p:nvSpPr>
                <p:cNvPr id="98" name="Freeform 79"/>
                <p:cNvSpPr>
                  <a:spLocks noEditPoints="1"/>
                </p:cNvSpPr>
                <p:nvPr/>
              </p:nvSpPr>
              <p:spPr bwMode="auto">
                <a:xfrm>
                  <a:off x="527333" y="1217552"/>
                  <a:ext cx="175409" cy="256405"/>
                </a:xfrm>
                <a:custGeom>
                  <a:avLst/>
                  <a:gdLst>
                    <a:gd name="T0" fmla="*/ 80 w 160"/>
                    <a:gd name="T1" fmla="*/ 0 h 234"/>
                    <a:gd name="T2" fmla="*/ 0 w 160"/>
                    <a:gd name="T3" fmla="*/ 81 h 234"/>
                    <a:gd name="T4" fmla="*/ 36 w 160"/>
                    <a:gd name="T5" fmla="*/ 169 h 234"/>
                    <a:gd name="T6" fmla="*/ 80 w 160"/>
                    <a:gd name="T7" fmla="*/ 234 h 234"/>
                    <a:gd name="T8" fmla="*/ 123 w 160"/>
                    <a:gd name="T9" fmla="*/ 169 h 234"/>
                    <a:gd name="T10" fmla="*/ 160 w 160"/>
                    <a:gd name="T11" fmla="*/ 81 h 234"/>
                    <a:gd name="T12" fmla="*/ 80 w 160"/>
                    <a:gd name="T13" fmla="*/ 0 h 234"/>
                    <a:gd name="T14" fmla="*/ 99 w 160"/>
                    <a:gd name="T15" fmla="*/ 199 h 234"/>
                    <a:gd name="T16" fmla="*/ 63 w 160"/>
                    <a:gd name="T17" fmla="*/ 203 h 234"/>
                    <a:gd name="T18" fmla="*/ 58 w 160"/>
                    <a:gd name="T19" fmla="*/ 190 h 234"/>
                    <a:gd name="T20" fmla="*/ 58 w 160"/>
                    <a:gd name="T21" fmla="*/ 189 h 234"/>
                    <a:gd name="T22" fmla="*/ 103 w 160"/>
                    <a:gd name="T23" fmla="*/ 184 h 234"/>
                    <a:gd name="T24" fmla="*/ 101 w 160"/>
                    <a:gd name="T25" fmla="*/ 190 h 234"/>
                    <a:gd name="T26" fmla="*/ 99 w 160"/>
                    <a:gd name="T27" fmla="*/ 199 h 234"/>
                    <a:gd name="T28" fmla="*/ 56 w 160"/>
                    <a:gd name="T29" fmla="*/ 182 h 234"/>
                    <a:gd name="T30" fmla="*/ 52 w 160"/>
                    <a:gd name="T31" fmla="*/ 168 h 234"/>
                    <a:gd name="T32" fmla="*/ 108 w 160"/>
                    <a:gd name="T33" fmla="*/ 168 h 234"/>
                    <a:gd name="T34" fmla="*/ 106 w 160"/>
                    <a:gd name="T35" fmla="*/ 176 h 234"/>
                    <a:gd name="T36" fmla="*/ 56 w 160"/>
                    <a:gd name="T37" fmla="*/ 182 h 234"/>
                    <a:gd name="T38" fmla="*/ 80 w 160"/>
                    <a:gd name="T39" fmla="*/ 220 h 234"/>
                    <a:gd name="T40" fmla="*/ 65 w 160"/>
                    <a:gd name="T41" fmla="*/ 210 h 234"/>
                    <a:gd name="T42" fmla="*/ 96 w 160"/>
                    <a:gd name="T43" fmla="*/ 207 h 234"/>
                    <a:gd name="T44" fmla="*/ 80 w 160"/>
                    <a:gd name="T45" fmla="*/ 220 h 234"/>
                    <a:gd name="T46" fmla="*/ 114 w 160"/>
                    <a:gd name="T47" fmla="*/ 154 h 234"/>
                    <a:gd name="T48" fmla="*/ 46 w 160"/>
                    <a:gd name="T49" fmla="*/ 154 h 234"/>
                    <a:gd name="T50" fmla="*/ 34 w 160"/>
                    <a:gd name="T51" fmla="*/ 130 h 234"/>
                    <a:gd name="T52" fmla="*/ 14 w 160"/>
                    <a:gd name="T53" fmla="*/ 81 h 234"/>
                    <a:gd name="T54" fmla="*/ 80 w 160"/>
                    <a:gd name="T55" fmla="*/ 15 h 234"/>
                    <a:gd name="T56" fmla="*/ 146 w 160"/>
                    <a:gd name="T57" fmla="*/ 81 h 234"/>
                    <a:gd name="T58" fmla="*/ 126 w 160"/>
                    <a:gd name="T59" fmla="*/ 130 h 234"/>
                    <a:gd name="T60" fmla="*/ 114 w 160"/>
                    <a:gd name="T61" fmla="*/ 15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0" h="234">
                      <a:moveTo>
                        <a:pt x="80" y="0"/>
                      </a:moveTo>
                      <a:cubicBezTo>
                        <a:pt x="35" y="0"/>
                        <a:pt x="0" y="36"/>
                        <a:pt x="0" y="81"/>
                      </a:cubicBezTo>
                      <a:cubicBezTo>
                        <a:pt x="0" y="110"/>
                        <a:pt x="26" y="141"/>
                        <a:pt x="36" y="169"/>
                      </a:cubicBezTo>
                      <a:cubicBezTo>
                        <a:pt x="51" y="210"/>
                        <a:pt x="49" y="234"/>
                        <a:pt x="80" y="234"/>
                      </a:cubicBezTo>
                      <a:cubicBezTo>
                        <a:pt x="111" y="234"/>
                        <a:pt x="109" y="210"/>
                        <a:pt x="123" y="169"/>
                      </a:cubicBezTo>
                      <a:cubicBezTo>
                        <a:pt x="133" y="142"/>
                        <a:pt x="160" y="110"/>
                        <a:pt x="160" y="81"/>
                      </a:cubicBezTo>
                      <a:cubicBezTo>
                        <a:pt x="160" y="36"/>
                        <a:pt x="124" y="0"/>
                        <a:pt x="80" y="0"/>
                      </a:cubicBezTo>
                      <a:close/>
                      <a:moveTo>
                        <a:pt x="99" y="199"/>
                      </a:moveTo>
                      <a:cubicBezTo>
                        <a:pt x="63" y="203"/>
                        <a:pt x="63" y="203"/>
                        <a:pt x="63" y="203"/>
                      </a:cubicBezTo>
                      <a:cubicBezTo>
                        <a:pt x="61" y="200"/>
                        <a:pt x="60" y="195"/>
                        <a:pt x="58" y="190"/>
                      </a:cubicBezTo>
                      <a:cubicBezTo>
                        <a:pt x="58" y="190"/>
                        <a:pt x="58" y="189"/>
                        <a:pt x="58" y="189"/>
                      </a:cubicBezTo>
                      <a:cubicBezTo>
                        <a:pt x="103" y="184"/>
                        <a:pt x="103" y="184"/>
                        <a:pt x="103" y="184"/>
                      </a:cubicBezTo>
                      <a:cubicBezTo>
                        <a:pt x="103" y="186"/>
                        <a:pt x="102" y="188"/>
                        <a:pt x="101" y="190"/>
                      </a:cubicBezTo>
                      <a:cubicBezTo>
                        <a:pt x="100" y="193"/>
                        <a:pt x="100" y="196"/>
                        <a:pt x="99" y="199"/>
                      </a:cubicBezTo>
                      <a:close/>
                      <a:moveTo>
                        <a:pt x="56" y="182"/>
                      </a:moveTo>
                      <a:cubicBezTo>
                        <a:pt x="55" y="178"/>
                        <a:pt x="53" y="173"/>
                        <a:pt x="52" y="168"/>
                      </a:cubicBezTo>
                      <a:cubicBezTo>
                        <a:pt x="108" y="168"/>
                        <a:pt x="108" y="168"/>
                        <a:pt x="108" y="168"/>
                      </a:cubicBezTo>
                      <a:cubicBezTo>
                        <a:pt x="107" y="171"/>
                        <a:pt x="106" y="174"/>
                        <a:pt x="106" y="176"/>
                      </a:cubicBezTo>
                      <a:lnTo>
                        <a:pt x="56" y="182"/>
                      </a:lnTo>
                      <a:close/>
                      <a:moveTo>
                        <a:pt x="80" y="220"/>
                      </a:moveTo>
                      <a:cubicBezTo>
                        <a:pt x="72" y="220"/>
                        <a:pt x="69" y="219"/>
                        <a:pt x="65" y="210"/>
                      </a:cubicBezTo>
                      <a:cubicBezTo>
                        <a:pt x="96" y="207"/>
                        <a:pt x="96" y="207"/>
                        <a:pt x="96" y="207"/>
                      </a:cubicBezTo>
                      <a:cubicBezTo>
                        <a:pt x="92" y="219"/>
                        <a:pt x="88" y="220"/>
                        <a:pt x="80" y="220"/>
                      </a:cubicBezTo>
                      <a:close/>
                      <a:moveTo>
                        <a:pt x="114" y="154"/>
                      </a:moveTo>
                      <a:cubicBezTo>
                        <a:pt x="46" y="154"/>
                        <a:pt x="46" y="154"/>
                        <a:pt x="46" y="154"/>
                      </a:cubicBezTo>
                      <a:cubicBezTo>
                        <a:pt x="42" y="146"/>
                        <a:pt x="38" y="138"/>
                        <a:pt x="34" y="130"/>
                      </a:cubicBezTo>
                      <a:cubicBezTo>
                        <a:pt x="24" y="113"/>
                        <a:pt x="14" y="96"/>
                        <a:pt x="14" y="81"/>
                      </a:cubicBezTo>
                      <a:cubicBezTo>
                        <a:pt x="14" y="45"/>
                        <a:pt x="44" y="15"/>
                        <a:pt x="80" y="15"/>
                      </a:cubicBezTo>
                      <a:cubicBezTo>
                        <a:pt x="116" y="15"/>
                        <a:pt x="146" y="45"/>
                        <a:pt x="146" y="81"/>
                      </a:cubicBezTo>
                      <a:cubicBezTo>
                        <a:pt x="146" y="96"/>
                        <a:pt x="136" y="113"/>
                        <a:pt x="126" y="130"/>
                      </a:cubicBezTo>
                      <a:cubicBezTo>
                        <a:pt x="122" y="138"/>
                        <a:pt x="118" y="146"/>
                        <a:pt x="114" y="15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50" dirty="0">
                    <a:solidFill>
                      <a:srgbClr val="58595B"/>
                    </a:solidFill>
                    <a:latin typeface="+mj-lt"/>
                  </a:endParaRPr>
                </a:p>
              </p:txBody>
            </p:sp>
            <p:sp>
              <p:nvSpPr>
                <p:cNvPr id="99" name="Freeform 80"/>
                <p:cNvSpPr>
                  <a:spLocks/>
                </p:cNvSpPr>
                <p:nvPr/>
              </p:nvSpPr>
              <p:spPr bwMode="auto">
                <a:xfrm>
                  <a:off x="566675" y="1258276"/>
                  <a:ext cx="52762" cy="51373"/>
                </a:xfrm>
                <a:custGeom>
                  <a:avLst/>
                  <a:gdLst>
                    <a:gd name="T0" fmla="*/ 44 w 48"/>
                    <a:gd name="T1" fmla="*/ 0 h 47"/>
                    <a:gd name="T2" fmla="*/ 0 w 48"/>
                    <a:gd name="T3" fmla="*/ 44 h 47"/>
                    <a:gd name="T4" fmla="*/ 4 w 48"/>
                    <a:gd name="T5" fmla="*/ 47 h 47"/>
                    <a:gd name="T6" fmla="*/ 7 w 48"/>
                    <a:gd name="T7" fmla="*/ 44 h 47"/>
                    <a:gd name="T8" fmla="*/ 44 w 48"/>
                    <a:gd name="T9" fmla="*/ 7 h 47"/>
                    <a:gd name="T10" fmla="*/ 48 w 48"/>
                    <a:gd name="T11" fmla="*/ 4 h 47"/>
                    <a:gd name="T12" fmla="*/ 44 w 48"/>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48" h="47">
                      <a:moveTo>
                        <a:pt x="44" y="0"/>
                      </a:moveTo>
                      <a:cubicBezTo>
                        <a:pt x="20" y="0"/>
                        <a:pt x="0" y="20"/>
                        <a:pt x="0" y="44"/>
                      </a:cubicBezTo>
                      <a:cubicBezTo>
                        <a:pt x="0" y="46"/>
                        <a:pt x="2" y="47"/>
                        <a:pt x="4" y="47"/>
                      </a:cubicBezTo>
                      <a:cubicBezTo>
                        <a:pt x="6" y="47"/>
                        <a:pt x="7" y="46"/>
                        <a:pt x="7" y="44"/>
                      </a:cubicBezTo>
                      <a:cubicBezTo>
                        <a:pt x="7" y="24"/>
                        <a:pt x="24" y="7"/>
                        <a:pt x="44" y="7"/>
                      </a:cubicBezTo>
                      <a:cubicBezTo>
                        <a:pt x="46" y="7"/>
                        <a:pt x="48" y="6"/>
                        <a:pt x="48" y="4"/>
                      </a:cubicBezTo>
                      <a:cubicBezTo>
                        <a:pt x="48" y="2"/>
                        <a:pt x="46" y="0"/>
                        <a:pt x="44"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50" dirty="0">
                    <a:solidFill>
                      <a:srgbClr val="58595B"/>
                    </a:solidFill>
                    <a:latin typeface="+mj-lt"/>
                  </a:endParaRPr>
                </a:p>
              </p:txBody>
            </p:sp>
          </p:grpSp>
        </p:grpSp>
        <p:grpSp>
          <p:nvGrpSpPr>
            <p:cNvPr id="100" name="Group 99"/>
            <p:cNvGrpSpPr/>
            <p:nvPr>
              <p:custDataLst>
                <p:tags r:id="rId8"/>
              </p:custDataLst>
            </p:nvPr>
          </p:nvGrpSpPr>
          <p:grpSpPr>
            <a:xfrm>
              <a:off x="1402580" y="3231410"/>
              <a:ext cx="4796631" cy="1884371"/>
              <a:chOff x="1402580" y="3231410"/>
              <a:chExt cx="4796631" cy="1884371"/>
            </a:xfrm>
          </p:grpSpPr>
          <p:sp>
            <p:nvSpPr>
              <p:cNvPr id="101" name="Oval 100"/>
              <p:cNvSpPr/>
              <p:nvPr/>
            </p:nvSpPr>
            <p:spPr>
              <a:xfrm>
                <a:off x="4886759" y="3429355"/>
                <a:ext cx="1312452" cy="131279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sz="1050" dirty="0">
                  <a:solidFill>
                    <a:srgbClr val="58595B"/>
                  </a:solidFill>
                  <a:latin typeface="+mj-lt"/>
                </a:endParaRPr>
              </a:p>
            </p:txBody>
          </p:sp>
          <p:sp>
            <p:nvSpPr>
              <p:cNvPr id="102" name="TextBox 101"/>
              <p:cNvSpPr txBox="1"/>
              <p:nvPr/>
            </p:nvSpPr>
            <p:spPr>
              <a:xfrm>
                <a:off x="1402580" y="3231410"/>
                <a:ext cx="3218979" cy="1884371"/>
              </a:xfrm>
              <a:prstGeom prst="rect">
                <a:avLst/>
              </a:prstGeom>
              <a:noFill/>
            </p:spPr>
            <p:txBody>
              <a:bodyPr wrap="square" lIns="0" tIns="121892" rIns="0" bIns="0" rtlCol="0">
                <a:spAutoFit/>
              </a:bodyPr>
              <a:lstStyle/>
              <a:p>
                <a:pPr algn="r"/>
                <a:r>
                  <a:rPr lang="en-US" sz="1600" b="1" dirty="0">
                    <a:solidFill>
                      <a:srgbClr val="58595B"/>
                    </a:solidFill>
                    <a:latin typeface="+mj-lt"/>
                    <a:cs typeface="Lato"/>
                  </a:rPr>
                  <a:t>Communication</a:t>
                </a:r>
              </a:p>
              <a:p>
                <a:pPr algn="r"/>
                <a:r>
                  <a:rPr lang="en-US" sz="1200" dirty="0">
                    <a:solidFill>
                      <a:srgbClr val="58595B"/>
                    </a:solidFill>
                    <a:latin typeface="+mj-lt"/>
                    <a:cs typeface="Calibri Light"/>
                  </a:rPr>
                  <a:t>Lorem ipsum dolor sit amet,consectetur adipisicing elit, sed do eiusmod tempor</a:t>
                </a:r>
              </a:p>
            </p:txBody>
          </p:sp>
          <p:grpSp>
            <p:nvGrpSpPr>
              <p:cNvPr id="103" name="Group 102"/>
              <p:cNvGrpSpPr/>
              <p:nvPr/>
            </p:nvGrpSpPr>
            <p:grpSpPr>
              <a:xfrm>
                <a:off x="5171682" y="3744348"/>
                <a:ext cx="749817" cy="631088"/>
                <a:chOff x="1511296" y="730196"/>
                <a:chExt cx="256867" cy="216138"/>
              </a:xfrm>
              <a:solidFill>
                <a:schemeClr val="bg1"/>
              </a:solidFill>
            </p:grpSpPr>
            <p:sp>
              <p:nvSpPr>
                <p:cNvPr id="104" name="Freeform 81"/>
                <p:cNvSpPr>
                  <a:spLocks noEditPoints="1"/>
                </p:cNvSpPr>
                <p:nvPr/>
              </p:nvSpPr>
              <p:spPr bwMode="auto">
                <a:xfrm>
                  <a:off x="1575166" y="786197"/>
                  <a:ext cx="128202" cy="128202"/>
                </a:xfrm>
                <a:custGeom>
                  <a:avLst/>
                  <a:gdLst>
                    <a:gd name="T0" fmla="*/ 59 w 117"/>
                    <a:gd name="T1" fmla="*/ 0 h 117"/>
                    <a:gd name="T2" fmla="*/ 0 w 117"/>
                    <a:gd name="T3" fmla="*/ 58 h 117"/>
                    <a:gd name="T4" fmla="*/ 59 w 117"/>
                    <a:gd name="T5" fmla="*/ 117 h 117"/>
                    <a:gd name="T6" fmla="*/ 117 w 117"/>
                    <a:gd name="T7" fmla="*/ 58 h 117"/>
                    <a:gd name="T8" fmla="*/ 59 w 117"/>
                    <a:gd name="T9" fmla="*/ 0 h 117"/>
                    <a:gd name="T10" fmla="*/ 92 w 117"/>
                    <a:gd name="T11" fmla="*/ 87 h 117"/>
                    <a:gd name="T12" fmla="*/ 30 w 117"/>
                    <a:gd name="T13" fmla="*/ 92 h 117"/>
                    <a:gd name="T14" fmla="*/ 25 w 117"/>
                    <a:gd name="T15" fmla="*/ 30 h 117"/>
                    <a:gd name="T16" fmla="*/ 87 w 117"/>
                    <a:gd name="T17" fmla="*/ 25 h 117"/>
                    <a:gd name="T18" fmla="*/ 92 w 117"/>
                    <a:gd name="T19" fmla="*/ 8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117">
                      <a:moveTo>
                        <a:pt x="59" y="0"/>
                      </a:moveTo>
                      <a:cubicBezTo>
                        <a:pt x="26" y="0"/>
                        <a:pt x="0" y="26"/>
                        <a:pt x="0" y="58"/>
                      </a:cubicBezTo>
                      <a:cubicBezTo>
                        <a:pt x="0" y="91"/>
                        <a:pt x="26" y="117"/>
                        <a:pt x="59" y="117"/>
                      </a:cubicBezTo>
                      <a:cubicBezTo>
                        <a:pt x="91" y="117"/>
                        <a:pt x="117" y="91"/>
                        <a:pt x="117" y="58"/>
                      </a:cubicBezTo>
                      <a:cubicBezTo>
                        <a:pt x="117" y="26"/>
                        <a:pt x="91" y="0"/>
                        <a:pt x="59" y="0"/>
                      </a:cubicBezTo>
                      <a:close/>
                      <a:moveTo>
                        <a:pt x="92" y="87"/>
                      </a:moveTo>
                      <a:cubicBezTo>
                        <a:pt x="76" y="105"/>
                        <a:pt x="49" y="107"/>
                        <a:pt x="30" y="92"/>
                      </a:cubicBezTo>
                      <a:cubicBezTo>
                        <a:pt x="12" y="76"/>
                        <a:pt x="10" y="48"/>
                        <a:pt x="25" y="30"/>
                      </a:cubicBezTo>
                      <a:cubicBezTo>
                        <a:pt x="41" y="12"/>
                        <a:pt x="69" y="9"/>
                        <a:pt x="87" y="25"/>
                      </a:cubicBezTo>
                      <a:cubicBezTo>
                        <a:pt x="106" y="41"/>
                        <a:pt x="108" y="69"/>
                        <a:pt x="92" y="87"/>
                      </a:cubicBezTo>
                      <a:close/>
                    </a:path>
                  </a:pathLst>
                </a:custGeom>
                <a:solidFill>
                  <a:srgbClr val="5859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50" dirty="0">
                    <a:solidFill>
                      <a:srgbClr val="58595B"/>
                    </a:solidFill>
                    <a:latin typeface="+mj-lt"/>
                  </a:endParaRPr>
                </a:p>
              </p:txBody>
            </p:sp>
            <p:sp>
              <p:nvSpPr>
                <p:cNvPr id="105" name="Freeform 82"/>
                <p:cNvSpPr>
                  <a:spLocks/>
                </p:cNvSpPr>
                <p:nvPr/>
              </p:nvSpPr>
              <p:spPr bwMode="auto">
                <a:xfrm>
                  <a:off x="1608026" y="818132"/>
                  <a:ext cx="35175" cy="36100"/>
                </a:xfrm>
                <a:custGeom>
                  <a:avLst/>
                  <a:gdLst>
                    <a:gd name="T0" fmla="*/ 29 w 32"/>
                    <a:gd name="T1" fmla="*/ 0 h 33"/>
                    <a:gd name="T2" fmla="*/ 0 w 32"/>
                    <a:gd name="T3" fmla="*/ 29 h 33"/>
                    <a:gd name="T4" fmla="*/ 0 w 32"/>
                    <a:gd name="T5" fmla="*/ 29 h 33"/>
                    <a:gd name="T6" fmla="*/ 3 w 32"/>
                    <a:gd name="T7" fmla="*/ 33 h 33"/>
                    <a:gd name="T8" fmla="*/ 7 w 32"/>
                    <a:gd name="T9" fmla="*/ 29 h 33"/>
                    <a:gd name="T10" fmla="*/ 7 w 32"/>
                    <a:gd name="T11" fmla="*/ 29 h 33"/>
                    <a:gd name="T12" fmla="*/ 29 w 32"/>
                    <a:gd name="T13" fmla="*/ 8 h 33"/>
                    <a:gd name="T14" fmla="*/ 32 w 32"/>
                    <a:gd name="T15" fmla="*/ 4 h 33"/>
                    <a:gd name="T16" fmla="*/ 29 w 32"/>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3">
                      <a:moveTo>
                        <a:pt x="29" y="0"/>
                      </a:moveTo>
                      <a:cubicBezTo>
                        <a:pt x="13" y="0"/>
                        <a:pt x="0" y="13"/>
                        <a:pt x="0" y="29"/>
                      </a:cubicBezTo>
                      <a:cubicBezTo>
                        <a:pt x="0" y="29"/>
                        <a:pt x="0" y="29"/>
                        <a:pt x="0" y="29"/>
                      </a:cubicBezTo>
                      <a:cubicBezTo>
                        <a:pt x="0" y="31"/>
                        <a:pt x="1" y="33"/>
                        <a:pt x="3" y="33"/>
                      </a:cubicBezTo>
                      <a:cubicBezTo>
                        <a:pt x="5" y="33"/>
                        <a:pt x="7" y="31"/>
                        <a:pt x="7" y="29"/>
                      </a:cubicBezTo>
                      <a:cubicBezTo>
                        <a:pt x="7" y="29"/>
                        <a:pt x="7" y="29"/>
                        <a:pt x="7" y="29"/>
                      </a:cubicBezTo>
                      <a:cubicBezTo>
                        <a:pt x="7" y="17"/>
                        <a:pt x="17" y="8"/>
                        <a:pt x="29" y="8"/>
                      </a:cubicBezTo>
                      <a:cubicBezTo>
                        <a:pt x="31" y="8"/>
                        <a:pt x="32" y="6"/>
                        <a:pt x="32" y="4"/>
                      </a:cubicBezTo>
                      <a:cubicBezTo>
                        <a:pt x="32" y="2"/>
                        <a:pt x="31" y="0"/>
                        <a:pt x="2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50" dirty="0">
                    <a:solidFill>
                      <a:srgbClr val="58595B"/>
                    </a:solidFill>
                    <a:latin typeface="+mj-lt"/>
                  </a:endParaRPr>
                </a:p>
              </p:txBody>
            </p:sp>
            <p:sp>
              <p:nvSpPr>
                <p:cNvPr id="106" name="Freeform 83"/>
                <p:cNvSpPr>
                  <a:spLocks noEditPoints="1"/>
                </p:cNvSpPr>
                <p:nvPr/>
              </p:nvSpPr>
              <p:spPr bwMode="auto">
                <a:xfrm>
                  <a:off x="1511296" y="730196"/>
                  <a:ext cx="256867" cy="216138"/>
                </a:xfrm>
                <a:custGeom>
                  <a:avLst/>
                  <a:gdLst>
                    <a:gd name="T0" fmla="*/ 215 w 234"/>
                    <a:gd name="T1" fmla="*/ 44 h 197"/>
                    <a:gd name="T2" fmla="*/ 184 w 234"/>
                    <a:gd name="T3" fmla="*/ 39 h 197"/>
                    <a:gd name="T4" fmla="*/ 174 w 234"/>
                    <a:gd name="T5" fmla="*/ 14 h 197"/>
                    <a:gd name="T6" fmla="*/ 153 w 234"/>
                    <a:gd name="T7" fmla="*/ 0 h 197"/>
                    <a:gd name="T8" fmla="*/ 80 w 234"/>
                    <a:gd name="T9" fmla="*/ 0 h 197"/>
                    <a:gd name="T10" fmla="*/ 60 w 234"/>
                    <a:gd name="T11" fmla="*/ 14 h 197"/>
                    <a:gd name="T12" fmla="*/ 50 w 234"/>
                    <a:gd name="T13" fmla="*/ 39 h 197"/>
                    <a:gd name="T14" fmla="*/ 18 w 234"/>
                    <a:gd name="T15" fmla="*/ 44 h 197"/>
                    <a:gd name="T16" fmla="*/ 0 w 234"/>
                    <a:gd name="T17" fmla="*/ 66 h 197"/>
                    <a:gd name="T18" fmla="*/ 0 w 234"/>
                    <a:gd name="T19" fmla="*/ 175 h 197"/>
                    <a:gd name="T20" fmla="*/ 22 w 234"/>
                    <a:gd name="T21" fmla="*/ 197 h 197"/>
                    <a:gd name="T22" fmla="*/ 212 w 234"/>
                    <a:gd name="T23" fmla="*/ 197 h 197"/>
                    <a:gd name="T24" fmla="*/ 234 w 234"/>
                    <a:gd name="T25" fmla="*/ 175 h 197"/>
                    <a:gd name="T26" fmla="*/ 234 w 234"/>
                    <a:gd name="T27" fmla="*/ 66 h 197"/>
                    <a:gd name="T28" fmla="*/ 215 w 234"/>
                    <a:gd name="T29" fmla="*/ 44 h 197"/>
                    <a:gd name="T30" fmla="*/ 219 w 234"/>
                    <a:gd name="T31" fmla="*/ 175 h 197"/>
                    <a:gd name="T32" fmla="*/ 212 w 234"/>
                    <a:gd name="T33" fmla="*/ 182 h 197"/>
                    <a:gd name="T34" fmla="*/ 22 w 234"/>
                    <a:gd name="T35" fmla="*/ 182 h 197"/>
                    <a:gd name="T36" fmla="*/ 14 w 234"/>
                    <a:gd name="T37" fmla="*/ 175 h 197"/>
                    <a:gd name="T38" fmla="*/ 14 w 234"/>
                    <a:gd name="T39" fmla="*/ 66 h 197"/>
                    <a:gd name="T40" fmla="*/ 21 w 234"/>
                    <a:gd name="T41" fmla="*/ 58 h 197"/>
                    <a:gd name="T42" fmla="*/ 60 w 234"/>
                    <a:gd name="T43" fmla="*/ 52 h 197"/>
                    <a:gd name="T44" fmla="*/ 73 w 234"/>
                    <a:gd name="T45" fmla="*/ 19 h 197"/>
                    <a:gd name="T46" fmla="*/ 80 w 234"/>
                    <a:gd name="T47" fmla="*/ 15 h 197"/>
                    <a:gd name="T48" fmla="*/ 153 w 234"/>
                    <a:gd name="T49" fmla="*/ 15 h 197"/>
                    <a:gd name="T50" fmla="*/ 160 w 234"/>
                    <a:gd name="T51" fmla="*/ 19 h 197"/>
                    <a:gd name="T52" fmla="*/ 173 w 234"/>
                    <a:gd name="T53" fmla="*/ 52 h 197"/>
                    <a:gd name="T54" fmla="*/ 213 w 234"/>
                    <a:gd name="T55" fmla="*/ 58 h 197"/>
                    <a:gd name="T56" fmla="*/ 219 w 234"/>
                    <a:gd name="T57" fmla="*/ 66 h 197"/>
                    <a:gd name="T58" fmla="*/ 219 w 234"/>
                    <a:gd name="T59" fmla="*/ 17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4" h="197">
                      <a:moveTo>
                        <a:pt x="215" y="44"/>
                      </a:moveTo>
                      <a:cubicBezTo>
                        <a:pt x="184" y="39"/>
                        <a:pt x="184" y="39"/>
                        <a:pt x="184" y="39"/>
                      </a:cubicBezTo>
                      <a:cubicBezTo>
                        <a:pt x="174" y="14"/>
                        <a:pt x="174" y="14"/>
                        <a:pt x="174" y="14"/>
                      </a:cubicBezTo>
                      <a:cubicBezTo>
                        <a:pt x="170" y="5"/>
                        <a:pt x="162" y="0"/>
                        <a:pt x="153" y="0"/>
                      </a:cubicBezTo>
                      <a:cubicBezTo>
                        <a:pt x="80" y="0"/>
                        <a:pt x="80" y="0"/>
                        <a:pt x="80" y="0"/>
                      </a:cubicBezTo>
                      <a:cubicBezTo>
                        <a:pt x="71" y="0"/>
                        <a:pt x="63" y="5"/>
                        <a:pt x="60" y="14"/>
                      </a:cubicBezTo>
                      <a:cubicBezTo>
                        <a:pt x="50" y="39"/>
                        <a:pt x="50" y="39"/>
                        <a:pt x="50" y="39"/>
                      </a:cubicBezTo>
                      <a:cubicBezTo>
                        <a:pt x="18" y="44"/>
                        <a:pt x="18" y="44"/>
                        <a:pt x="18" y="44"/>
                      </a:cubicBezTo>
                      <a:cubicBezTo>
                        <a:pt x="8" y="46"/>
                        <a:pt x="0" y="55"/>
                        <a:pt x="0" y="66"/>
                      </a:cubicBezTo>
                      <a:cubicBezTo>
                        <a:pt x="0" y="175"/>
                        <a:pt x="0" y="175"/>
                        <a:pt x="0" y="175"/>
                      </a:cubicBezTo>
                      <a:cubicBezTo>
                        <a:pt x="0" y="187"/>
                        <a:pt x="10" y="197"/>
                        <a:pt x="22" y="197"/>
                      </a:cubicBezTo>
                      <a:cubicBezTo>
                        <a:pt x="212" y="197"/>
                        <a:pt x="212" y="197"/>
                        <a:pt x="212" y="197"/>
                      </a:cubicBezTo>
                      <a:cubicBezTo>
                        <a:pt x="224" y="197"/>
                        <a:pt x="234" y="187"/>
                        <a:pt x="234" y="175"/>
                      </a:cubicBezTo>
                      <a:cubicBezTo>
                        <a:pt x="234" y="66"/>
                        <a:pt x="234" y="66"/>
                        <a:pt x="234" y="66"/>
                      </a:cubicBezTo>
                      <a:cubicBezTo>
                        <a:pt x="234" y="55"/>
                        <a:pt x="226" y="46"/>
                        <a:pt x="215" y="44"/>
                      </a:cubicBezTo>
                      <a:close/>
                      <a:moveTo>
                        <a:pt x="219" y="175"/>
                      </a:moveTo>
                      <a:cubicBezTo>
                        <a:pt x="219" y="179"/>
                        <a:pt x="216" y="182"/>
                        <a:pt x="212" y="182"/>
                      </a:cubicBezTo>
                      <a:cubicBezTo>
                        <a:pt x="22" y="182"/>
                        <a:pt x="22" y="182"/>
                        <a:pt x="22" y="182"/>
                      </a:cubicBezTo>
                      <a:cubicBezTo>
                        <a:pt x="18" y="182"/>
                        <a:pt x="14" y="179"/>
                        <a:pt x="14" y="175"/>
                      </a:cubicBezTo>
                      <a:cubicBezTo>
                        <a:pt x="14" y="66"/>
                        <a:pt x="14" y="66"/>
                        <a:pt x="14" y="66"/>
                      </a:cubicBezTo>
                      <a:cubicBezTo>
                        <a:pt x="14" y="62"/>
                        <a:pt x="17" y="59"/>
                        <a:pt x="21" y="58"/>
                      </a:cubicBezTo>
                      <a:cubicBezTo>
                        <a:pt x="60" y="52"/>
                        <a:pt x="60" y="52"/>
                        <a:pt x="60" y="52"/>
                      </a:cubicBezTo>
                      <a:cubicBezTo>
                        <a:pt x="73" y="19"/>
                        <a:pt x="73" y="19"/>
                        <a:pt x="73" y="19"/>
                      </a:cubicBezTo>
                      <a:cubicBezTo>
                        <a:pt x="75" y="16"/>
                        <a:pt x="77" y="15"/>
                        <a:pt x="80" y="15"/>
                      </a:cubicBezTo>
                      <a:cubicBezTo>
                        <a:pt x="153" y="15"/>
                        <a:pt x="153" y="15"/>
                        <a:pt x="153" y="15"/>
                      </a:cubicBezTo>
                      <a:cubicBezTo>
                        <a:pt x="156" y="15"/>
                        <a:pt x="159" y="16"/>
                        <a:pt x="160" y="19"/>
                      </a:cubicBezTo>
                      <a:cubicBezTo>
                        <a:pt x="173" y="52"/>
                        <a:pt x="173" y="52"/>
                        <a:pt x="173" y="52"/>
                      </a:cubicBezTo>
                      <a:cubicBezTo>
                        <a:pt x="213" y="58"/>
                        <a:pt x="213" y="58"/>
                        <a:pt x="213" y="58"/>
                      </a:cubicBezTo>
                      <a:cubicBezTo>
                        <a:pt x="216" y="59"/>
                        <a:pt x="219" y="62"/>
                        <a:pt x="219" y="66"/>
                      </a:cubicBezTo>
                      <a:lnTo>
                        <a:pt x="219" y="175"/>
                      </a:lnTo>
                      <a:close/>
                    </a:path>
                  </a:pathLst>
                </a:custGeom>
                <a:solidFill>
                  <a:srgbClr val="5859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50" dirty="0">
                    <a:solidFill>
                      <a:srgbClr val="58595B"/>
                    </a:solidFill>
                    <a:latin typeface="+mj-lt"/>
                  </a:endParaRPr>
                </a:p>
              </p:txBody>
            </p:sp>
          </p:grpSp>
        </p:grpSp>
        <p:cxnSp>
          <p:nvCxnSpPr>
            <p:cNvPr id="150" name="Straight Connector 149"/>
            <p:cNvCxnSpPr/>
            <p:nvPr/>
          </p:nvCxnSpPr>
          <p:spPr>
            <a:xfrm flipH="1" flipV="1">
              <a:off x="6278269" y="9649735"/>
              <a:ext cx="3841538" cy="19512"/>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grpSp>
          <p:nvGrpSpPr>
            <p:cNvPr id="151" name="Group 150"/>
            <p:cNvGrpSpPr/>
            <p:nvPr>
              <p:custDataLst>
                <p:tags r:id="rId9"/>
              </p:custDataLst>
            </p:nvPr>
          </p:nvGrpSpPr>
          <p:grpSpPr>
            <a:xfrm>
              <a:off x="1461609" y="8794144"/>
              <a:ext cx="4796631" cy="1884371"/>
              <a:chOff x="1461609" y="8794144"/>
              <a:chExt cx="4796631" cy="1884371"/>
            </a:xfrm>
          </p:grpSpPr>
          <p:sp>
            <p:nvSpPr>
              <p:cNvPr id="152" name="Oval 151"/>
              <p:cNvSpPr/>
              <p:nvPr/>
            </p:nvSpPr>
            <p:spPr>
              <a:xfrm>
                <a:off x="4945788" y="8992089"/>
                <a:ext cx="1312452" cy="1312794"/>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sz="1050" dirty="0">
                  <a:solidFill>
                    <a:srgbClr val="58595B"/>
                  </a:solidFill>
                  <a:latin typeface="+mj-lt"/>
                </a:endParaRPr>
              </a:p>
            </p:txBody>
          </p:sp>
          <p:sp>
            <p:nvSpPr>
              <p:cNvPr id="153" name="TextBox 152"/>
              <p:cNvSpPr txBox="1"/>
              <p:nvPr/>
            </p:nvSpPr>
            <p:spPr>
              <a:xfrm>
                <a:off x="1461609" y="8794144"/>
                <a:ext cx="3218979" cy="1884371"/>
              </a:xfrm>
              <a:prstGeom prst="rect">
                <a:avLst/>
              </a:prstGeom>
              <a:noFill/>
            </p:spPr>
            <p:txBody>
              <a:bodyPr wrap="square" lIns="0" tIns="121892" rIns="0" bIns="0" rtlCol="0">
                <a:spAutoFit/>
              </a:bodyPr>
              <a:lstStyle/>
              <a:p>
                <a:pPr algn="r"/>
                <a:r>
                  <a:rPr lang="en-US" sz="1600" b="1" dirty="0">
                    <a:solidFill>
                      <a:srgbClr val="58595B"/>
                    </a:solidFill>
                    <a:latin typeface="+mj-lt"/>
                    <a:cs typeface="Lato"/>
                  </a:rPr>
                  <a:t>Communication</a:t>
                </a:r>
              </a:p>
              <a:p>
                <a:pPr algn="r"/>
                <a:r>
                  <a:rPr lang="en-US" sz="1200" dirty="0">
                    <a:solidFill>
                      <a:srgbClr val="58595B"/>
                    </a:solidFill>
                    <a:latin typeface="+mj-lt"/>
                    <a:cs typeface="Calibri Light"/>
                  </a:rPr>
                  <a:t>Lorem ipsum dolor sit amet,consectetur adipisicing elit, sed do eiusmod tempor</a:t>
                </a:r>
              </a:p>
            </p:txBody>
          </p:sp>
          <p:grpSp>
            <p:nvGrpSpPr>
              <p:cNvPr id="154" name="Group 153"/>
              <p:cNvGrpSpPr/>
              <p:nvPr/>
            </p:nvGrpSpPr>
            <p:grpSpPr>
              <a:xfrm>
                <a:off x="5230711" y="9307082"/>
                <a:ext cx="749817" cy="631088"/>
                <a:chOff x="1511296" y="730196"/>
                <a:chExt cx="256867" cy="216138"/>
              </a:xfrm>
              <a:solidFill>
                <a:schemeClr val="bg1"/>
              </a:solidFill>
            </p:grpSpPr>
            <p:sp>
              <p:nvSpPr>
                <p:cNvPr id="155" name="Freeform 81"/>
                <p:cNvSpPr>
                  <a:spLocks noEditPoints="1"/>
                </p:cNvSpPr>
                <p:nvPr/>
              </p:nvSpPr>
              <p:spPr bwMode="auto">
                <a:xfrm>
                  <a:off x="1575166" y="786197"/>
                  <a:ext cx="128202" cy="128202"/>
                </a:xfrm>
                <a:custGeom>
                  <a:avLst/>
                  <a:gdLst>
                    <a:gd name="T0" fmla="*/ 59 w 117"/>
                    <a:gd name="T1" fmla="*/ 0 h 117"/>
                    <a:gd name="T2" fmla="*/ 0 w 117"/>
                    <a:gd name="T3" fmla="*/ 58 h 117"/>
                    <a:gd name="T4" fmla="*/ 59 w 117"/>
                    <a:gd name="T5" fmla="*/ 117 h 117"/>
                    <a:gd name="T6" fmla="*/ 117 w 117"/>
                    <a:gd name="T7" fmla="*/ 58 h 117"/>
                    <a:gd name="T8" fmla="*/ 59 w 117"/>
                    <a:gd name="T9" fmla="*/ 0 h 117"/>
                    <a:gd name="T10" fmla="*/ 92 w 117"/>
                    <a:gd name="T11" fmla="*/ 87 h 117"/>
                    <a:gd name="T12" fmla="*/ 30 w 117"/>
                    <a:gd name="T13" fmla="*/ 92 h 117"/>
                    <a:gd name="T14" fmla="*/ 25 w 117"/>
                    <a:gd name="T15" fmla="*/ 30 h 117"/>
                    <a:gd name="T16" fmla="*/ 87 w 117"/>
                    <a:gd name="T17" fmla="*/ 25 h 117"/>
                    <a:gd name="T18" fmla="*/ 92 w 117"/>
                    <a:gd name="T19" fmla="*/ 8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7" h="117">
                      <a:moveTo>
                        <a:pt x="59" y="0"/>
                      </a:moveTo>
                      <a:cubicBezTo>
                        <a:pt x="26" y="0"/>
                        <a:pt x="0" y="26"/>
                        <a:pt x="0" y="58"/>
                      </a:cubicBezTo>
                      <a:cubicBezTo>
                        <a:pt x="0" y="91"/>
                        <a:pt x="26" y="117"/>
                        <a:pt x="59" y="117"/>
                      </a:cubicBezTo>
                      <a:cubicBezTo>
                        <a:pt x="91" y="117"/>
                        <a:pt x="117" y="91"/>
                        <a:pt x="117" y="58"/>
                      </a:cubicBezTo>
                      <a:cubicBezTo>
                        <a:pt x="117" y="26"/>
                        <a:pt x="91" y="0"/>
                        <a:pt x="59" y="0"/>
                      </a:cubicBezTo>
                      <a:close/>
                      <a:moveTo>
                        <a:pt x="92" y="87"/>
                      </a:moveTo>
                      <a:cubicBezTo>
                        <a:pt x="76" y="105"/>
                        <a:pt x="49" y="107"/>
                        <a:pt x="30" y="92"/>
                      </a:cubicBezTo>
                      <a:cubicBezTo>
                        <a:pt x="12" y="76"/>
                        <a:pt x="10" y="48"/>
                        <a:pt x="25" y="30"/>
                      </a:cubicBezTo>
                      <a:cubicBezTo>
                        <a:pt x="41" y="12"/>
                        <a:pt x="69" y="9"/>
                        <a:pt x="87" y="25"/>
                      </a:cubicBezTo>
                      <a:cubicBezTo>
                        <a:pt x="106" y="41"/>
                        <a:pt x="108" y="69"/>
                        <a:pt x="92" y="8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50" dirty="0">
                    <a:solidFill>
                      <a:srgbClr val="58595B"/>
                    </a:solidFill>
                    <a:latin typeface="+mj-lt"/>
                  </a:endParaRPr>
                </a:p>
              </p:txBody>
            </p:sp>
            <p:sp>
              <p:nvSpPr>
                <p:cNvPr id="156" name="Freeform 82"/>
                <p:cNvSpPr>
                  <a:spLocks/>
                </p:cNvSpPr>
                <p:nvPr/>
              </p:nvSpPr>
              <p:spPr bwMode="auto">
                <a:xfrm>
                  <a:off x="1608026" y="818132"/>
                  <a:ext cx="35175" cy="36100"/>
                </a:xfrm>
                <a:custGeom>
                  <a:avLst/>
                  <a:gdLst>
                    <a:gd name="T0" fmla="*/ 29 w 32"/>
                    <a:gd name="T1" fmla="*/ 0 h 33"/>
                    <a:gd name="T2" fmla="*/ 0 w 32"/>
                    <a:gd name="T3" fmla="*/ 29 h 33"/>
                    <a:gd name="T4" fmla="*/ 0 w 32"/>
                    <a:gd name="T5" fmla="*/ 29 h 33"/>
                    <a:gd name="T6" fmla="*/ 3 w 32"/>
                    <a:gd name="T7" fmla="*/ 33 h 33"/>
                    <a:gd name="T8" fmla="*/ 7 w 32"/>
                    <a:gd name="T9" fmla="*/ 29 h 33"/>
                    <a:gd name="T10" fmla="*/ 7 w 32"/>
                    <a:gd name="T11" fmla="*/ 29 h 33"/>
                    <a:gd name="T12" fmla="*/ 29 w 32"/>
                    <a:gd name="T13" fmla="*/ 8 h 33"/>
                    <a:gd name="T14" fmla="*/ 32 w 32"/>
                    <a:gd name="T15" fmla="*/ 4 h 33"/>
                    <a:gd name="T16" fmla="*/ 29 w 32"/>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3">
                      <a:moveTo>
                        <a:pt x="29" y="0"/>
                      </a:moveTo>
                      <a:cubicBezTo>
                        <a:pt x="13" y="0"/>
                        <a:pt x="0" y="13"/>
                        <a:pt x="0" y="29"/>
                      </a:cubicBezTo>
                      <a:cubicBezTo>
                        <a:pt x="0" y="29"/>
                        <a:pt x="0" y="29"/>
                        <a:pt x="0" y="29"/>
                      </a:cubicBezTo>
                      <a:cubicBezTo>
                        <a:pt x="0" y="31"/>
                        <a:pt x="1" y="33"/>
                        <a:pt x="3" y="33"/>
                      </a:cubicBezTo>
                      <a:cubicBezTo>
                        <a:pt x="5" y="33"/>
                        <a:pt x="7" y="31"/>
                        <a:pt x="7" y="29"/>
                      </a:cubicBezTo>
                      <a:cubicBezTo>
                        <a:pt x="7" y="29"/>
                        <a:pt x="7" y="29"/>
                        <a:pt x="7" y="29"/>
                      </a:cubicBezTo>
                      <a:cubicBezTo>
                        <a:pt x="7" y="17"/>
                        <a:pt x="17" y="8"/>
                        <a:pt x="29" y="8"/>
                      </a:cubicBezTo>
                      <a:cubicBezTo>
                        <a:pt x="31" y="8"/>
                        <a:pt x="32" y="6"/>
                        <a:pt x="32" y="4"/>
                      </a:cubicBezTo>
                      <a:cubicBezTo>
                        <a:pt x="32" y="2"/>
                        <a:pt x="31" y="0"/>
                        <a:pt x="2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50" dirty="0">
                    <a:solidFill>
                      <a:srgbClr val="58595B"/>
                    </a:solidFill>
                    <a:latin typeface="+mj-lt"/>
                  </a:endParaRPr>
                </a:p>
              </p:txBody>
            </p:sp>
            <p:sp>
              <p:nvSpPr>
                <p:cNvPr id="157" name="Freeform 83"/>
                <p:cNvSpPr>
                  <a:spLocks noEditPoints="1"/>
                </p:cNvSpPr>
                <p:nvPr/>
              </p:nvSpPr>
              <p:spPr bwMode="auto">
                <a:xfrm>
                  <a:off x="1511296" y="730196"/>
                  <a:ext cx="256867" cy="216138"/>
                </a:xfrm>
                <a:custGeom>
                  <a:avLst/>
                  <a:gdLst>
                    <a:gd name="T0" fmla="*/ 215 w 234"/>
                    <a:gd name="T1" fmla="*/ 44 h 197"/>
                    <a:gd name="T2" fmla="*/ 184 w 234"/>
                    <a:gd name="T3" fmla="*/ 39 h 197"/>
                    <a:gd name="T4" fmla="*/ 174 w 234"/>
                    <a:gd name="T5" fmla="*/ 14 h 197"/>
                    <a:gd name="T6" fmla="*/ 153 w 234"/>
                    <a:gd name="T7" fmla="*/ 0 h 197"/>
                    <a:gd name="T8" fmla="*/ 80 w 234"/>
                    <a:gd name="T9" fmla="*/ 0 h 197"/>
                    <a:gd name="T10" fmla="*/ 60 w 234"/>
                    <a:gd name="T11" fmla="*/ 14 h 197"/>
                    <a:gd name="T12" fmla="*/ 50 w 234"/>
                    <a:gd name="T13" fmla="*/ 39 h 197"/>
                    <a:gd name="T14" fmla="*/ 18 w 234"/>
                    <a:gd name="T15" fmla="*/ 44 h 197"/>
                    <a:gd name="T16" fmla="*/ 0 w 234"/>
                    <a:gd name="T17" fmla="*/ 66 h 197"/>
                    <a:gd name="T18" fmla="*/ 0 w 234"/>
                    <a:gd name="T19" fmla="*/ 175 h 197"/>
                    <a:gd name="T20" fmla="*/ 22 w 234"/>
                    <a:gd name="T21" fmla="*/ 197 h 197"/>
                    <a:gd name="T22" fmla="*/ 212 w 234"/>
                    <a:gd name="T23" fmla="*/ 197 h 197"/>
                    <a:gd name="T24" fmla="*/ 234 w 234"/>
                    <a:gd name="T25" fmla="*/ 175 h 197"/>
                    <a:gd name="T26" fmla="*/ 234 w 234"/>
                    <a:gd name="T27" fmla="*/ 66 h 197"/>
                    <a:gd name="T28" fmla="*/ 215 w 234"/>
                    <a:gd name="T29" fmla="*/ 44 h 197"/>
                    <a:gd name="T30" fmla="*/ 219 w 234"/>
                    <a:gd name="T31" fmla="*/ 175 h 197"/>
                    <a:gd name="T32" fmla="*/ 212 w 234"/>
                    <a:gd name="T33" fmla="*/ 182 h 197"/>
                    <a:gd name="T34" fmla="*/ 22 w 234"/>
                    <a:gd name="T35" fmla="*/ 182 h 197"/>
                    <a:gd name="T36" fmla="*/ 14 w 234"/>
                    <a:gd name="T37" fmla="*/ 175 h 197"/>
                    <a:gd name="T38" fmla="*/ 14 w 234"/>
                    <a:gd name="T39" fmla="*/ 66 h 197"/>
                    <a:gd name="T40" fmla="*/ 21 w 234"/>
                    <a:gd name="T41" fmla="*/ 58 h 197"/>
                    <a:gd name="T42" fmla="*/ 60 w 234"/>
                    <a:gd name="T43" fmla="*/ 52 h 197"/>
                    <a:gd name="T44" fmla="*/ 73 w 234"/>
                    <a:gd name="T45" fmla="*/ 19 h 197"/>
                    <a:gd name="T46" fmla="*/ 80 w 234"/>
                    <a:gd name="T47" fmla="*/ 15 h 197"/>
                    <a:gd name="T48" fmla="*/ 153 w 234"/>
                    <a:gd name="T49" fmla="*/ 15 h 197"/>
                    <a:gd name="T50" fmla="*/ 160 w 234"/>
                    <a:gd name="T51" fmla="*/ 19 h 197"/>
                    <a:gd name="T52" fmla="*/ 173 w 234"/>
                    <a:gd name="T53" fmla="*/ 52 h 197"/>
                    <a:gd name="T54" fmla="*/ 213 w 234"/>
                    <a:gd name="T55" fmla="*/ 58 h 197"/>
                    <a:gd name="T56" fmla="*/ 219 w 234"/>
                    <a:gd name="T57" fmla="*/ 66 h 197"/>
                    <a:gd name="T58" fmla="*/ 219 w 234"/>
                    <a:gd name="T59" fmla="*/ 17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4" h="197">
                      <a:moveTo>
                        <a:pt x="215" y="44"/>
                      </a:moveTo>
                      <a:cubicBezTo>
                        <a:pt x="184" y="39"/>
                        <a:pt x="184" y="39"/>
                        <a:pt x="184" y="39"/>
                      </a:cubicBezTo>
                      <a:cubicBezTo>
                        <a:pt x="174" y="14"/>
                        <a:pt x="174" y="14"/>
                        <a:pt x="174" y="14"/>
                      </a:cubicBezTo>
                      <a:cubicBezTo>
                        <a:pt x="170" y="5"/>
                        <a:pt x="162" y="0"/>
                        <a:pt x="153" y="0"/>
                      </a:cubicBezTo>
                      <a:cubicBezTo>
                        <a:pt x="80" y="0"/>
                        <a:pt x="80" y="0"/>
                        <a:pt x="80" y="0"/>
                      </a:cubicBezTo>
                      <a:cubicBezTo>
                        <a:pt x="71" y="0"/>
                        <a:pt x="63" y="5"/>
                        <a:pt x="60" y="14"/>
                      </a:cubicBezTo>
                      <a:cubicBezTo>
                        <a:pt x="50" y="39"/>
                        <a:pt x="50" y="39"/>
                        <a:pt x="50" y="39"/>
                      </a:cubicBezTo>
                      <a:cubicBezTo>
                        <a:pt x="18" y="44"/>
                        <a:pt x="18" y="44"/>
                        <a:pt x="18" y="44"/>
                      </a:cubicBezTo>
                      <a:cubicBezTo>
                        <a:pt x="8" y="46"/>
                        <a:pt x="0" y="55"/>
                        <a:pt x="0" y="66"/>
                      </a:cubicBezTo>
                      <a:cubicBezTo>
                        <a:pt x="0" y="175"/>
                        <a:pt x="0" y="175"/>
                        <a:pt x="0" y="175"/>
                      </a:cubicBezTo>
                      <a:cubicBezTo>
                        <a:pt x="0" y="187"/>
                        <a:pt x="10" y="197"/>
                        <a:pt x="22" y="197"/>
                      </a:cubicBezTo>
                      <a:cubicBezTo>
                        <a:pt x="212" y="197"/>
                        <a:pt x="212" y="197"/>
                        <a:pt x="212" y="197"/>
                      </a:cubicBezTo>
                      <a:cubicBezTo>
                        <a:pt x="224" y="197"/>
                        <a:pt x="234" y="187"/>
                        <a:pt x="234" y="175"/>
                      </a:cubicBezTo>
                      <a:cubicBezTo>
                        <a:pt x="234" y="66"/>
                        <a:pt x="234" y="66"/>
                        <a:pt x="234" y="66"/>
                      </a:cubicBezTo>
                      <a:cubicBezTo>
                        <a:pt x="234" y="55"/>
                        <a:pt x="226" y="46"/>
                        <a:pt x="215" y="44"/>
                      </a:cubicBezTo>
                      <a:close/>
                      <a:moveTo>
                        <a:pt x="219" y="175"/>
                      </a:moveTo>
                      <a:cubicBezTo>
                        <a:pt x="219" y="179"/>
                        <a:pt x="216" y="182"/>
                        <a:pt x="212" y="182"/>
                      </a:cubicBezTo>
                      <a:cubicBezTo>
                        <a:pt x="22" y="182"/>
                        <a:pt x="22" y="182"/>
                        <a:pt x="22" y="182"/>
                      </a:cubicBezTo>
                      <a:cubicBezTo>
                        <a:pt x="18" y="182"/>
                        <a:pt x="14" y="179"/>
                        <a:pt x="14" y="175"/>
                      </a:cubicBezTo>
                      <a:cubicBezTo>
                        <a:pt x="14" y="66"/>
                        <a:pt x="14" y="66"/>
                        <a:pt x="14" y="66"/>
                      </a:cubicBezTo>
                      <a:cubicBezTo>
                        <a:pt x="14" y="62"/>
                        <a:pt x="17" y="59"/>
                        <a:pt x="21" y="58"/>
                      </a:cubicBezTo>
                      <a:cubicBezTo>
                        <a:pt x="60" y="52"/>
                        <a:pt x="60" y="52"/>
                        <a:pt x="60" y="52"/>
                      </a:cubicBezTo>
                      <a:cubicBezTo>
                        <a:pt x="73" y="19"/>
                        <a:pt x="73" y="19"/>
                        <a:pt x="73" y="19"/>
                      </a:cubicBezTo>
                      <a:cubicBezTo>
                        <a:pt x="75" y="16"/>
                        <a:pt x="77" y="15"/>
                        <a:pt x="80" y="15"/>
                      </a:cubicBezTo>
                      <a:cubicBezTo>
                        <a:pt x="153" y="15"/>
                        <a:pt x="153" y="15"/>
                        <a:pt x="153" y="15"/>
                      </a:cubicBezTo>
                      <a:cubicBezTo>
                        <a:pt x="156" y="15"/>
                        <a:pt x="159" y="16"/>
                        <a:pt x="160" y="19"/>
                      </a:cubicBezTo>
                      <a:cubicBezTo>
                        <a:pt x="173" y="52"/>
                        <a:pt x="173" y="52"/>
                        <a:pt x="173" y="52"/>
                      </a:cubicBezTo>
                      <a:cubicBezTo>
                        <a:pt x="213" y="58"/>
                        <a:pt x="213" y="58"/>
                        <a:pt x="213" y="58"/>
                      </a:cubicBezTo>
                      <a:cubicBezTo>
                        <a:pt x="216" y="59"/>
                        <a:pt x="219" y="62"/>
                        <a:pt x="219" y="66"/>
                      </a:cubicBezTo>
                      <a:lnTo>
                        <a:pt x="219" y="1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50" dirty="0">
                    <a:solidFill>
                      <a:srgbClr val="58595B"/>
                    </a:solidFill>
                    <a:latin typeface="+mj-lt"/>
                  </a:endParaRPr>
                </a:p>
              </p:txBody>
            </p:sp>
          </p:grpSp>
        </p:grpSp>
      </p:grpSp>
      <p:grpSp>
        <p:nvGrpSpPr>
          <p:cNvPr id="164" name="Group 163"/>
          <p:cNvGrpSpPr/>
          <p:nvPr>
            <p:custDataLst>
              <p:tags r:id="rId3"/>
            </p:custDataLst>
          </p:nvPr>
        </p:nvGrpSpPr>
        <p:grpSpPr>
          <a:xfrm>
            <a:off x="6737258" y="1869497"/>
            <a:ext cx="5630002" cy="4138455"/>
            <a:chOff x="13362630" y="4405766"/>
            <a:chExt cx="9692412" cy="7124618"/>
          </a:xfrm>
        </p:grpSpPr>
        <p:cxnSp>
          <p:nvCxnSpPr>
            <p:cNvPr id="79" name="Straight Connector 78"/>
            <p:cNvCxnSpPr/>
            <p:nvPr/>
          </p:nvCxnSpPr>
          <p:spPr>
            <a:xfrm>
              <a:off x="14560188" y="8185198"/>
              <a:ext cx="3659777" cy="7549"/>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cxnSp>
          <p:nvCxnSpPr>
            <p:cNvPr id="80" name="Straight Connector 79"/>
            <p:cNvCxnSpPr/>
            <p:nvPr/>
          </p:nvCxnSpPr>
          <p:spPr>
            <a:xfrm>
              <a:off x="15952837" y="5380272"/>
              <a:ext cx="2244848" cy="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grpSp>
          <p:nvGrpSpPr>
            <p:cNvPr id="83" name="Group 82"/>
            <p:cNvGrpSpPr/>
            <p:nvPr>
              <p:custDataLst>
                <p:tags r:id="rId4"/>
              </p:custDataLst>
            </p:nvPr>
          </p:nvGrpSpPr>
          <p:grpSpPr>
            <a:xfrm>
              <a:off x="18283626" y="7293056"/>
              <a:ext cx="4771416" cy="1798806"/>
              <a:chOff x="18283626" y="7293056"/>
              <a:chExt cx="4771416" cy="1798806"/>
            </a:xfrm>
          </p:grpSpPr>
          <p:sp>
            <p:nvSpPr>
              <p:cNvPr id="84" name="TextBox 83"/>
              <p:cNvSpPr txBox="1"/>
              <p:nvPr/>
            </p:nvSpPr>
            <p:spPr>
              <a:xfrm>
                <a:off x="19836062" y="7293056"/>
                <a:ext cx="3218980" cy="1798806"/>
              </a:xfrm>
              <a:prstGeom prst="rect">
                <a:avLst/>
              </a:prstGeom>
              <a:noFill/>
            </p:spPr>
            <p:txBody>
              <a:bodyPr wrap="square" lIns="0" tIns="121892" rIns="0" bIns="0" rtlCol="0">
                <a:spAutoFit/>
              </a:bodyPr>
              <a:lstStyle/>
              <a:p>
                <a:r>
                  <a:rPr lang="en-US" sz="1600" b="1" dirty="0">
                    <a:solidFill>
                      <a:srgbClr val="58595B"/>
                    </a:solidFill>
                    <a:latin typeface="+mj-lt"/>
                    <a:cs typeface="Lato"/>
                  </a:rPr>
                  <a:t>Picture</a:t>
                </a:r>
              </a:p>
              <a:p>
                <a:r>
                  <a:rPr lang="en-US" sz="1200" dirty="0">
                    <a:solidFill>
                      <a:srgbClr val="58595B"/>
                    </a:solidFill>
                    <a:latin typeface="+mj-lt"/>
                    <a:cs typeface="Calibri Light"/>
                  </a:rPr>
                  <a:t>Lorem ipsum dolor sit amet,consectetur adipisicing elit, sed do eiusmod tempor</a:t>
                </a:r>
              </a:p>
            </p:txBody>
          </p:sp>
          <p:sp>
            <p:nvSpPr>
              <p:cNvPr id="85" name="Oval 84"/>
              <p:cNvSpPr/>
              <p:nvPr/>
            </p:nvSpPr>
            <p:spPr>
              <a:xfrm>
                <a:off x="18283626" y="7490604"/>
                <a:ext cx="1312454" cy="1312794"/>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82843" tIns="91422" rIns="182843" bIns="91422" rtlCol="0" anchor="ctr"/>
              <a:lstStyle/>
              <a:p>
                <a:pPr algn="ctr"/>
                <a:r>
                  <a:rPr lang="en-US" sz="1050" dirty="0" smtClean="0">
                    <a:solidFill>
                      <a:srgbClr val="58595B"/>
                    </a:solidFill>
                    <a:latin typeface="+mj-lt"/>
                  </a:rPr>
                  <a:t> </a:t>
                </a:r>
                <a:endParaRPr lang="en-US" sz="1050" dirty="0">
                  <a:solidFill>
                    <a:srgbClr val="58595B"/>
                  </a:solidFill>
                  <a:latin typeface="+mj-lt"/>
                </a:endParaRPr>
              </a:p>
            </p:txBody>
          </p:sp>
          <p:grpSp>
            <p:nvGrpSpPr>
              <p:cNvPr id="86" name="Group 85"/>
              <p:cNvGrpSpPr/>
              <p:nvPr/>
            </p:nvGrpSpPr>
            <p:grpSpPr>
              <a:xfrm>
                <a:off x="18603219" y="7760598"/>
                <a:ext cx="699824" cy="748658"/>
                <a:chOff x="494476" y="2241785"/>
                <a:chExt cx="239742" cy="256405"/>
              </a:xfrm>
              <a:solidFill>
                <a:schemeClr val="bg1"/>
              </a:solidFill>
            </p:grpSpPr>
            <p:sp>
              <p:nvSpPr>
                <p:cNvPr id="87" name="Freeform 67"/>
                <p:cNvSpPr>
                  <a:spLocks noEditPoints="1"/>
                </p:cNvSpPr>
                <p:nvPr/>
              </p:nvSpPr>
              <p:spPr bwMode="auto">
                <a:xfrm>
                  <a:off x="494476" y="2241785"/>
                  <a:ext cx="239742" cy="256405"/>
                </a:xfrm>
                <a:custGeom>
                  <a:avLst/>
                  <a:gdLst>
                    <a:gd name="T0" fmla="*/ 190 w 219"/>
                    <a:gd name="T1" fmla="*/ 0 h 234"/>
                    <a:gd name="T2" fmla="*/ 30 w 219"/>
                    <a:gd name="T3" fmla="*/ 0 h 234"/>
                    <a:gd name="T4" fmla="*/ 0 w 219"/>
                    <a:gd name="T5" fmla="*/ 29 h 234"/>
                    <a:gd name="T6" fmla="*/ 0 w 219"/>
                    <a:gd name="T7" fmla="*/ 205 h 234"/>
                    <a:gd name="T8" fmla="*/ 30 w 219"/>
                    <a:gd name="T9" fmla="*/ 234 h 234"/>
                    <a:gd name="T10" fmla="*/ 190 w 219"/>
                    <a:gd name="T11" fmla="*/ 234 h 234"/>
                    <a:gd name="T12" fmla="*/ 219 w 219"/>
                    <a:gd name="T13" fmla="*/ 205 h 234"/>
                    <a:gd name="T14" fmla="*/ 219 w 219"/>
                    <a:gd name="T15" fmla="*/ 29 h 234"/>
                    <a:gd name="T16" fmla="*/ 190 w 219"/>
                    <a:gd name="T17" fmla="*/ 0 h 234"/>
                    <a:gd name="T18" fmla="*/ 205 w 219"/>
                    <a:gd name="T19" fmla="*/ 205 h 234"/>
                    <a:gd name="T20" fmla="*/ 190 w 219"/>
                    <a:gd name="T21" fmla="*/ 219 h 234"/>
                    <a:gd name="T22" fmla="*/ 30 w 219"/>
                    <a:gd name="T23" fmla="*/ 219 h 234"/>
                    <a:gd name="T24" fmla="*/ 15 w 219"/>
                    <a:gd name="T25" fmla="*/ 205 h 234"/>
                    <a:gd name="T26" fmla="*/ 15 w 219"/>
                    <a:gd name="T27" fmla="*/ 29 h 234"/>
                    <a:gd name="T28" fmla="*/ 30 w 219"/>
                    <a:gd name="T29" fmla="*/ 15 h 234"/>
                    <a:gd name="T30" fmla="*/ 190 w 219"/>
                    <a:gd name="T31" fmla="*/ 15 h 234"/>
                    <a:gd name="T32" fmla="*/ 205 w 219"/>
                    <a:gd name="T33" fmla="*/ 29 h 234"/>
                    <a:gd name="T34" fmla="*/ 205 w 219"/>
                    <a:gd name="T35" fmla="*/ 20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9" h="234">
                      <a:moveTo>
                        <a:pt x="190" y="0"/>
                      </a:moveTo>
                      <a:cubicBezTo>
                        <a:pt x="30" y="0"/>
                        <a:pt x="30" y="0"/>
                        <a:pt x="30" y="0"/>
                      </a:cubicBezTo>
                      <a:cubicBezTo>
                        <a:pt x="13" y="0"/>
                        <a:pt x="0" y="13"/>
                        <a:pt x="0" y="29"/>
                      </a:cubicBezTo>
                      <a:cubicBezTo>
                        <a:pt x="0" y="205"/>
                        <a:pt x="0" y="205"/>
                        <a:pt x="0" y="205"/>
                      </a:cubicBezTo>
                      <a:cubicBezTo>
                        <a:pt x="0" y="221"/>
                        <a:pt x="13" y="234"/>
                        <a:pt x="30" y="234"/>
                      </a:cubicBezTo>
                      <a:cubicBezTo>
                        <a:pt x="190" y="234"/>
                        <a:pt x="190" y="234"/>
                        <a:pt x="190" y="234"/>
                      </a:cubicBezTo>
                      <a:cubicBezTo>
                        <a:pt x="206" y="234"/>
                        <a:pt x="219" y="221"/>
                        <a:pt x="219" y="205"/>
                      </a:cubicBezTo>
                      <a:cubicBezTo>
                        <a:pt x="219" y="29"/>
                        <a:pt x="219" y="29"/>
                        <a:pt x="219" y="29"/>
                      </a:cubicBezTo>
                      <a:cubicBezTo>
                        <a:pt x="219" y="13"/>
                        <a:pt x="206" y="0"/>
                        <a:pt x="190" y="0"/>
                      </a:cubicBezTo>
                      <a:close/>
                      <a:moveTo>
                        <a:pt x="205" y="205"/>
                      </a:moveTo>
                      <a:cubicBezTo>
                        <a:pt x="205" y="213"/>
                        <a:pt x="198" y="219"/>
                        <a:pt x="190" y="219"/>
                      </a:cubicBezTo>
                      <a:cubicBezTo>
                        <a:pt x="30" y="219"/>
                        <a:pt x="30" y="219"/>
                        <a:pt x="30" y="219"/>
                      </a:cubicBezTo>
                      <a:cubicBezTo>
                        <a:pt x="21" y="219"/>
                        <a:pt x="15" y="213"/>
                        <a:pt x="15" y="205"/>
                      </a:cubicBezTo>
                      <a:cubicBezTo>
                        <a:pt x="15" y="29"/>
                        <a:pt x="15" y="29"/>
                        <a:pt x="15" y="29"/>
                      </a:cubicBezTo>
                      <a:cubicBezTo>
                        <a:pt x="15" y="21"/>
                        <a:pt x="21" y="15"/>
                        <a:pt x="30" y="15"/>
                      </a:cubicBezTo>
                      <a:cubicBezTo>
                        <a:pt x="190" y="15"/>
                        <a:pt x="190" y="15"/>
                        <a:pt x="190" y="15"/>
                      </a:cubicBezTo>
                      <a:cubicBezTo>
                        <a:pt x="198" y="15"/>
                        <a:pt x="205" y="21"/>
                        <a:pt x="205" y="29"/>
                      </a:cubicBezTo>
                      <a:lnTo>
                        <a:pt x="205" y="20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50" dirty="0">
                    <a:solidFill>
                      <a:srgbClr val="58595B"/>
                    </a:solidFill>
                    <a:latin typeface="+mj-lt"/>
                  </a:endParaRPr>
                </a:p>
              </p:txBody>
            </p:sp>
            <p:sp>
              <p:nvSpPr>
                <p:cNvPr id="88" name="Freeform 68"/>
                <p:cNvSpPr>
                  <a:spLocks noEditPoints="1"/>
                </p:cNvSpPr>
                <p:nvPr/>
              </p:nvSpPr>
              <p:spPr bwMode="auto">
                <a:xfrm>
                  <a:off x="527337" y="2273716"/>
                  <a:ext cx="175411" cy="160601"/>
                </a:xfrm>
                <a:custGeom>
                  <a:avLst/>
                  <a:gdLst>
                    <a:gd name="T0" fmla="*/ 153 w 160"/>
                    <a:gd name="T1" fmla="*/ 0 h 147"/>
                    <a:gd name="T2" fmla="*/ 7 w 160"/>
                    <a:gd name="T3" fmla="*/ 0 h 147"/>
                    <a:gd name="T4" fmla="*/ 0 w 160"/>
                    <a:gd name="T5" fmla="*/ 8 h 147"/>
                    <a:gd name="T6" fmla="*/ 0 w 160"/>
                    <a:gd name="T7" fmla="*/ 139 h 147"/>
                    <a:gd name="T8" fmla="*/ 7 w 160"/>
                    <a:gd name="T9" fmla="*/ 147 h 147"/>
                    <a:gd name="T10" fmla="*/ 153 w 160"/>
                    <a:gd name="T11" fmla="*/ 147 h 147"/>
                    <a:gd name="T12" fmla="*/ 160 w 160"/>
                    <a:gd name="T13" fmla="*/ 139 h 147"/>
                    <a:gd name="T14" fmla="*/ 160 w 160"/>
                    <a:gd name="T15" fmla="*/ 8 h 147"/>
                    <a:gd name="T16" fmla="*/ 153 w 160"/>
                    <a:gd name="T17" fmla="*/ 0 h 147"/>
                    <a:gd name="T18" fmla="*/ 153 w 160"/>
                    <a:gd name="T19" fmla="*/ 8 h 147"/>
                    <a:gd name="T20" fmla="*/ 153 w 160"/>
                    <a:gd name="T21" fmla="*/ 109 h 147"/>
                    <a:gd name="T22" fmla="*/ 129 w 160"/>
                    <a:gd name="T23" fmla="*/ 83 h 147"/>
                    <a:gd name="T24" fmla="*/ 124 w 160"/>
                    <a:gd name="T25" fmla="*/ 81 h 147"/>
                    <a:gd name="T26" fmla="*/ 118 w 160"/>
                    <a:gd name="T27" fmla="*/ 83 h 147"/>
                    <a:gd name="T28" fmla="*/ 99 w 160"/>
                    <a:gd name="T29" fmla="*/ 105 h 147"/>
                    <a:gd name="T30" fmla="*/ 42 w 160"/>
                    <a:gd name="T31" fmla="*/ 39 h 147"/>
                    <a:gd name="T32" fmla="*/ 36 w 160"/>
                    <a:gd name="T33" fmla="*/ 37 h 147"/>
                    <a:gd name="T34" fmla="*/ 31 w 160"/>
                    <a:gd name="T35" fmla="*/ 39 h 147"/>
                    <a:gd name="T36" fmla="*/ 7 w 160"/>
                    <a:gd name="T37" fmla="*/ 67 h 147"/>
                    <a:gd name="T38" fmla="*/ 7 w 160"/>
                    <a:gd name="T39" fmla="*/ 8 h 147"/>
                    <a:gd name="T40" fmla="*/ 153 w 160"/>
                    <a:gd name="T41" fmla="*/ 8 h 147"/>
                    <a:gd name="T42" fmla="*/ 7 w 160"/>
                    <a:gd name="T43" fmla="*/ 78 h 147"/>
                    <a:gd name="T44" fmla="*/ 36 w 160"/>
                    <a:gd name="T45" fmla="*/ 44 h 147"/>
                    <a:gd name="T46" fmla="*/ 95 w 160"/>
                    <a:gd name="T47" fmla="*/ 111 h 147"/>
                    <a:gd name="T48" fmla="*/ 99 w 160"/>
                    <a:gd name="T49" fmla="*/ 116 h 147"/>
                    <a:gd name="T50" fmla="*/ 119 w 160"/>
                    <a:gd name="T51" fmla="*/ 139 h 147"/>
                    <a:gd name="T52" fmla="*/ 7 w 160"/>
                    <a:gd name="T53" fmla="*/ 139 h 147"/>
                    <a:gd name="T54" fmla="*/ 7 w 160"/>
                    <a:gd name="T55" fmla="*/ 78 h 147"/>
                    <a:gd name="T56" fmla="*/ 129 w 160"/>
                    <a:gd name="T57" fmla="*/ 139 h 147"/>
                    <a:gd name="T58" fmla="*/ 104 w 160"/>
                    <a:gd name="T59" fmla="*/ 110 h 147"/>
                    <a:gd name="T60" fmla="*/ 124 w 160"/>
                    <a:gd name="T61" fmla="*/ 88 h 147"/>
                    <a:gd name="T62" fmla="*/ 153 w 160"/>
                    <a:gd name="T63" fmla="*/ 120 h 147"/>
                    <a:gd name="T64" fmla="*/ 153 w 160"/>
                    <a:gd name="T65" fmla="*/ 139 h 147"/>
                    <a:gd name="T66" fmla="*/ 129 w 160"/>
                    <a:gd name="T67" fmla="*/ 13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0" h="147">
                      <a:moveTo>
                        <a:pt x="153" y="0"/>
                      </a:moveTo>
                      <a:cubicBezTo>
                        <a:pt x="7" y="0"/>
                        <a:pt x="7" y="0"/>
                        <a:pt x="7" y="0"/>
                      </a:cubicBezTo>
                      <a:cubicBezTo>
                        <a:pt x="3" y="0"/>
                        <a:pt x="0" y="4"/>
                        <a:pt x="0" y="8"/>
                      </a:cubicBezTo>
                      <a:cubicBezTo>
                        <a:pt x="0" y="139"/>
                        <a:pt x="0" y="139"/>
                        <a:pt x="0" y="139"/>
                      </a:cubicBezTo>
                      <a:cubicBezTo>
                        <a:pt x="0" y="143"/>
                        <a:pt x="3" y="147"/>
                        <a:pt x="7" y="147"/>
                      </a:cubicBezTo>
                      <a:cubicBezTo>
                        <a:pt x="153" y="147"/>
                        <a:pt x="153" y="147"/>
                        <a:pt x="153" y="147"/>
                      </a:cubicBezTo>
                      <a:cubicBezTo>
                        <a:pt x="157" y="147"/>
                        <a:pt x="160" y="143"/>
                        <a:pt x="160" y="139"/>
                      </a:cubicBezTo>
                      <a:cubicBezTo>
                        <a:pt x="160" y="8"/>
                        <a:pt x="160" y="8"/>
                        <a:pt x="160" y="8"/>
                      </a:cubicBezTo>
                      <a:cubicBezTo>
                        <a:pt x="160" y="4"/>
                        <a:pt x="157" y="0"/>
                        <a:pt x="153" y="0"/>
                      </a:cubicBezTo>
                      <a:close/>
                      <a:moveTo>
                        <a:pt x="153" y="8"/>
                      </a:moveTo>
                      <a:cubicBezTo>
                        <a:pt x="153" y="109"/>
                        <a:pt x="153" y="109"/>
                        <a:pt x="153" y="109"/>
                      </a:cubicBezTo>
                      <a:cubicBezTo>
                        <a:pt x="129" y="83"/>
                        <a:pt x="129" y="83"/>
                        <a:pt x="129" y="83"/>
                      </a:cubicBezTo>
                      <a:cubicBezTo>
                        <a:pt x="128" y="82"/>
                        <a:pt x="126" y="81"/>
                        <a:pt x="124" y="81"/>
                      </a:cubicBezTo>
                      <a:cubicBezTo>
                        <a:pt x="122" y="81"/>
                        <a:pt x="120" y="82"/>
                        <a:pt x="118" y="83"/>
                      </a:cubicBezTo>
                      <a:cubicBezTo>
                        <a:pt x="99" y="105"/>
                        <a:pt x="99" y="105"/>
                        <a:pt x="99" y="105"/>
                      </a:cubicBezTo>
                      <a:cubicBezTo>
                        <a:pt x="42" y="39"/>
                        <a:pt x="42" y="39"/>
                        <a:pt x="42" y="39"/>
                      </a:cubicBezTo>
                      <a:cubicBezTo>
                        <a:pt x="40" y="38"/>
                        <a:pt x="38" y="37"/>
                        <a:pt x="36" y="37"/>
                      </a:cubicBezTo>
                      <a:cubicBezTo>
                        <a:pt x="34" y="37"/>
                        <a:pt x="32" y="38"/>
                        <a:pt x="31" y="39"/>
                      </a:cubicBezTo>
                      <a:cubicBezTo>
                        <a:pt x="7" y="67"/>
                        <a:pt x="7" y="67"/>
                        <a:pt x="7" y="67"/>
                      </a:cubicBezTo>
                      <a:cubicBezTo>
                        <a:pt x="7" y="8"/>
                        <a:pt x="7" y="8"/>
                        <a:pt x="7" y="8"/>
                      </a:cubicBezTo>
                      <a:lnTo>
                        <a:pt x="153" y="8"/>
                      </a:lnTo>
                      <a:close/>
                      <a:moveTo>
                        <a:pt x="7" y="78"/>
                      </a:moveTo>
                      <a:cubicBezTo>
                        <a:pt x="36" y="44"/>
                        <a:pt x="36" y="44"/>
                        <a:pt x="36" y="44"/>
                      </a:cubicBezTo>
                      <a:cubicBezTo>
                        <a:pt x="95" y="111"/>
                        <a:pt x="95" y="111"/>
                        <a:pt x="95" y="111"/>
                      </a:cubicBezTo>
                      <a:cubicBezTo>
                        <a:pt x="99" y="116"/>
                        <a:pt x="99" y="116"/>
                        <a:pt x="99" y="116"/>
                      </a:cubicBezTo>
                      <a:cubicBezTo>
                        <a:pt x="119" y="139"/>
                        <a:pt x="119" y="139"/>
                        <a:pt x="119" y="139"/>
                      </a:cubicBezTo>
                      <a:cubicBezTo>
                        <a:pt x="7" y="139"/>
                        <a:pt x="7" y="139"/>
                        <a:pt x="7" y="139"/>
                      </a:cubicBezTo>
                      <a:lnTo>
                        <a:pt x="7" y="78"/>
                      </a:lnTo>
                      <a:close/>
                      <a:moveTo>
                        <a:pt x="129" y="139"/>
                      </a:moveTo>
                      <a:cubicBezTo>
                        <a:pt x="104" y="110"/>
                        <a:pt x="104" y="110"/>
                        <a:pt x="104" y="110"/>
                      </a:cubicBezTo>
                      <a:cubicBezTo>
                        <a:pt x="124" y="88"/>
                        <a:pt x="124" y="88"/>
                        <a:pt x="124" y="88"/>
                      </a:cubicBezTo>
                      <a:cubicBezTo>
                        <a:pt x="153" y="120"/>
                        <a:pt x="153" y="120"/>
                        <a:pt x="153" y="120"/>
                      </a:cubicBezTo>
                      <a:cubicBezTo>
                        <a:pt x="153" y="139"/>
                        <a:pt x="153" y="139"/>
                        <a:pt x="153" y="139"/>
                      </a:cubicBezTo>
                      <a:lnTo>
                        <a:pt x="129" y="13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50" dirty="0">
                    <a:solidFill>
                      <a:srgbClr val="58595B"/>
                    </a:solidFill>
                    <a:latin typeface="+mj-lt"/>
                  </a:endParaRPr>
                </a:p>
              </p:txBody>
            </p:sp>
            <p:sp>
              <p:nvSpPr>
                <p:cNvPr id="89" name="Freeform 69"/>
                <p:cNvSpPr>
                  <a:spLocks noEditPoints="1"/>
                </p:cNvSpPr>
                <p:nvPr/>
              </p:nvSpPr>
              <p:spPr bwMode="auto">
                <a:xfrm>
                  <a:off x="622677" y="2297776"/>
                  <a:ext cx="48134" cy="48134"/>
                </a:xfrm>
                <a:custGeom>
                  <a:avLst/>
                  <a:gdLst>
                    <a:gd name="T0" fmla="*/ 22 w 44"/>
                    <a:gd name="T1" fmla="*/ 44 h 44"/>
                    <a:gd name="T2" fmla="*/ 44 w 44"/>
                    <a:gd name="T3" fmla="*/ 22 h 44"/>
                    <a:gd name="T4" fmla="*/ 22 w 44"/>
                    <a:gd name="T5" fmla="*/ 0 h 44"/>
                    <a:gd name="T6" fmla="*/ 0 w 44"/>
                    <a:gd name="T7" fmla="*/ 22 h 44"/>
                    <a:gd name="T8" fmla="*/ 22 w 44"/>
                    <a:gd name="T9" fmla="*/ 44 h 44"/>
                    <a:gd name="T10" fmla="*/ 22 w 44"/>
                    <a:gd name="T11" fmla="*/ 8 h 44"/>
                    <a:gd name="T12" fmla="*/ 37 w 44"/>
                    <a:gd name="T13" fmla="*/ 22 h 44"/>
                    <a:gd name="T14" fmla="*/ 22 w 44"/>
                    <a:gd name="T15" fmla="*/ 37 h 44"/>
                    <a:gd name="T16" fmla="*/ 7 w 44"/>
                    <a:gd name="T17" fmla="*/ 22 h 44"/>
                    <a:gd name="T18" fmla="*/ 22 w 44"/>
                    <a:gd name="T19"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44"/>
                      </a:moveTo>
                      <a:cubicBezTo>
                        <a:pt x="34" y="44"/>
                        <a:pt x="44" y="34"/>
                        <a:pt x="44" y="22"/>
                      </a:cubicBezTo>
                      <a:cubicBezTo>
                        <a:pt x="44" y="10"/>
                        <a:pt x="34" y="0"/>
                        <a:pt x="22" y="0"/>
                      </a:cubicBezTo>
                      <a:cubicBezTo>
                        <a:pt x="10" y="0"/>
                        <a:pt x="0" y="10"/>
                        <a:pt x="0" y="22"/>
                      </a:cubicBezTo>
                      <a:cubicBezTo>
                        <a:pt x="0" y="34"/>
                        <a:pt x="10" y="44"/>
                        <a:pt x="22" y="44"/>
                      </a:cubicBezTo>
                      <a:close/>
                      <a:moveTo>
                        <a:pt x="22" y="8"/>
                      </a:moveTo>
                      <a:cubicBezTo>
                        <a:pt x="30" y="8"/>
                        <a:pt x="37" y="14"/>
                        <a:pt x="37" y="22"/>
                      </a:cubicBezTo>
                      <a:cubicBezTo>
                        <a:pt x="37" y="30"/>
                        <a:pt x="30" y="37"/>
                        <a:pt x="22" y="37"/>
                      </a:cubicBezTo>
                      <a:cubicBezTo>
                        <a:pt x="14" y="37"/>
                        <a:pt x="7" y="30"/>
                        <a:pt x="7" y="22"/>
                      </a:cubicBezTo>
                      <a:cubicBezTo>
                        <a:pt x="7" y="14"/>
                        <a:pt x="14" y="8"/>
                        <a:pt x="22"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1050" dirty="0">
                    <a:solidFill>
                      <a:srgbClr val="58595B"/>
                    </a:solidFill>
                    <a:latin typeface="+mj-lt"/>
                  </a:endParaRPr>
                </a:p>
              </p:txBody>
            </p:sp>
          </p:grpSp>
        </p:grpSp>
        <p:grpSp>
          <p:nvGrpSpPr>
            <p:cNvPr id="90" name="Group 89"/>
            <p:cNvGrpSpPr/>
            <p:nvPr>
              <p:custDataLst>
                <p:tags r:id="rId5"/>
              </p:custDataLst>
            </p:nvPr>
          </p:nvGrpSpPr>
          <p:grpSpPr>
            <a:xfrm>
              <a:off x="18283626" y="4405766"/>
              <a:ext cx="4771416" cy="1798806"/>
              <a:chOff x="18283626" y="4405766"/>
              <a:chExt cx="4771416" cy="1798806"/>
            </a:xfrm>
          </p:grpSpPr>
          <p:sp>
            <p:nvSpPr>
              <p:cNvPr id="91" name="Oval 90"/>
              <p:cNvSpPr/>
              <p:nvPr/>
            </p:nvSpPr>
            <p:spPr>
              <a:xfrm>
                <a:off x="18283626" y="4603314"/>
                <a:ext cx="1312452" cy="1312794"/>
              </a:xfrm>
              <a:prstGeom prst="ellipse">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sz="1050" dirty="0">
                  <a:solidFill>
                    <a:srgbClr val="58595B"/>
                  </a:solidFill>
                  <a:latin typeface="+mj-lt"/>
                </a:endParaRPr>
              </a:p>
            </p:txBody>
          </p:sp>
          <p:sp>
            <p:nvSpPr>
              <p:cNvPr id="92" name="TextBox 91"/>
              <p:cNvSpPr txBox="1"/>
              <p:nvPr/>
            </p:nvSpPr>
            <p:spPr>
              <a:xfrm>
                <a:off x="19836062" y="4405766"/>
                <a:ext cx="3218980" cy="1798806"/>
              </a:xfrm>
              <a:prstGeom prst="rect">
                <a:avLst/>
              </a:prstGeom>
              <a:noFill/>
            </p:spPr>
            <p:txBody>
              <a:bodyPr wrap="square" lIns="0" tIns="121892" rIns="0" bIns="0" rtlCol="0">
                <a:spAutoFit/>
              </a:bodyPr>
              <a:lstStyle/>
              <a:p>
                <a:r>
                  <a:rPr lang="en-US" sz="1600" b="1" dirty="0">
                    <a:solidFill>
                      <a:srgbClr val="58595B"/>
                    </a:solidFill>
                    <a:latin typeface="+mj-lt"/>
                    <a:cs typeface="Lato"/>
                  </a:rPr>
                  <a:t>Quality</a:t>
                </a:r>
              </a:p>
              <a:p>
                <a:r>
                  <a:rPr lang="en-US" sz="1200" dirty="0">
                    <a:solidFill>
                      <a:srgbClr val="58595B"/>
                    </a:solidFill>
                    <a:latin typeface="+mj-lt"/>
                    <a:cs typeface="Calibri Light"/>
                  </a:rPr>
                  <a:t>Lorem ipsum dolor sit amet,consectetur adipisicing elit, sed do eiusmod tempor</a:t>
                </a:r>
              </a:p>
            </p:txBody>
          </p:sp>
          <p:sp>
            <p:nvSpPr>
              <p:cNvPr id="93" name="Freeform 73"/>
              <p:cNvSpPr>
                <a:spLocks noEditPoints="1"/>
              </p:cNvSpPr>
              <p:nvPr/>
            </p:nvSpPr>
            <p:spPr bwMode="auto">
              <a:xfrm>
                <a:off x="18610647" y="4873308"/>
                <a:ext cx="656595" cy="748658"/>
              </a:xfrm>
              <a:custGeom>
                <a:avLst/>
                <a:gdLst>
                  <a:gd name="T0" fmla="*/ 191 w 205"/>
                  <a:gd name="T1" fmla="*/ 37 h 234"/>
                  <a:gd name="T2" fmla="*/ 182 w 205"/>
                  <a:gd name="T3" fmla="*/ 10 h 234"/>
                  <a:gd name="T4" fmla="*/ 168 w 205"/>
                  <a:gd name="T5" fmla="*/ 0 h 234"/>
                  <a:gd name="T6" fmla="*/ 37 w 205"/>
                  <a:gd name="T7" fmla="*/ 0 h 234"/>
                  <a:gd name="T8" fmla="*/ 23 w 205"/>
                  <a:gd name="T9" fmla="*/ 10 h 234"/>
                  <a:gd name="T10" fmla="*/ 14 w 205"/>
                  <a:gd name="T11" fmla="*/ 37 h 234"/>
                  <a:gd name="T12" fmla="*/ 0 w 205"/>
                  <a:gd name="T13" fmla="*/ 51 h 234"/>
                  <a:gd name="T14" fmla="*/ 0 w 205"/>
                  <a:gd name="T15" fmla="*/ 73 h 234"/>
                  <a:gd name="T16" fmla="*/ 15 w 205"/>
                  <a:gd name="T17" fmla="*/ 88 h 234"/>
                  <a:gd name="T18" fmla="*/ 22 w 205"/>
                  <a:gd name="T19" fmla="*/ 88 h 234"/>
                  <a:gd name="T20" fmla="*/ 22 w 205"/>
                  <a:gd name="T21" fmla="*/ 89 h 234"/>
                  <a:gd name="T22" fmla="*/ 37 w 205"/>
                  <a:gd name="T23" fmla="*/ 221 h 234"/>
                  <a:gd name="T24" fmla="*/ 51 w 205"/>
                  <a:gd name="T25" fmla="*/ 234 h 234"/>
                  <a:gd name="T26" fmla="*/ 153 w 205"/>
                  <a:gd name="T27" fmla="*/ 234 h 234"/>
                  <a:gd name="T28" fmla="*/ 168 w 205"/>
                  <a:gd name="T29" fmla="*/ 221 h 234"/>
                  <a:gd name="T30" fmla="*/ 183 w 205"/>
                  <a:gd name="T31" fmla="*/ 89 h 234"/>
                  <a:gd name="T32" fmla="*/ 182 w 205"/>
                  <a:gd name="T33" fmla="*/ 88 h 234"/>
                  <a:gd name="T34" fmla="*/ 190 w 205"/>
                  <a:gd name="T35" fmla="*/ 88 h 234"/>
                  <a:gd name="T36" fmla="*/ 205 w 205"/>
                  <a:gd name="T37" fmla="*/ 73 h 234"/>
                  <a:gd name="T38" fmla="*/ 205 w 205"/>
                  <a:gd name="T39" fmla="*/ 51 h 234"/>
                  <a:gd name="T40" fmla="*/ 191 w 205"/>
                  <a:gd name="T41" fmla="*/ 37 h 234"/>
                  <a:gd name="T42" fmla="*/ 37 w 205"/>
                  <a:gd name="T43" fmla="*/ 14 h 234"/>
                  <a:gd name="T44" fmla="*/ 168 w 205"/>
                  <a:gd name="T45" fmla="*/ 14 h 234"/>
                  <a:gd name="T46" fmla="*/ 175 w 205"/>
                  <a:gd name="T47" fmla="*/ 36 h 234"/>
                  <a:gd name="T48" fmla="*/ 29 w 205"/>
                  <a:gd name="T49" fmla="*/ 36 h 234"/>
                  <a:gd name="T50" fmla="*/ 37 w 205"/>
                  <a:gd name="T51" fmla="*/ 14 h 234"/>
                  <a:gd name="T52" fmla="*/ 51 w 205"/>
                  <a:gd name="T53" fmla="*/ 219 h 234"/>
                  <a:gd name="T54" fmla="*/ 49 w 205"/>
                  <a:gd name="T55" fmla="*/ 197 h 234"/>
                  <a:gd name="T56" fmla="*/ 156 w 205"/>
                  <a:gd name="T57" fmla="*/ 197 h 234"/>
                  <a:gd name="T58" fmla="*/ 153 w 205"/>
                  <a:gd name="T59" fmla="*/ 219 h 234"/>
                  <a:gd name="T60" fmla="*/ 51 w 205"/>
                  <a:gd name="T61" fmla="*/ 219 h 234"/>
                  <a:gd name="T62" fmla="*/ 157 w 205"/>
                  <a:gd name="T63" fmla="*/ 190 h 234"/>
                  <a:gd name="T64" fmla="*/ 48 w 205"/>
                  <a:gd name="T65" fmla="*/ 190 h 234"/>
                  <a:gd name="T66" fmla="*/ 40 w 205"/>
                  <a:gd name="T67" fmla="*/ 117 h 234"/>
                  <a:gd name="T68" fmla="*/ 165 w 205"/>
                  <a:gd name="T69" fmla="*/ 117 h 234"/>
                  <a:gd name="T70" fmla="*/ 157 w 205"/>
                  <a:gd name="T71" fmla="*/ 190 h 234"/>
                  <a:gd name="T72" fmla="*/ 166 w 205"/>
                  <a:gd name="T73" fmla="*/ 109 h 234"/>
                  <a:gd name="T74" fmla="*/ 39 w 205"/>
                  <a:gd name="T75" fmla="*/ 109 h 234"/>
                  <a:gd name="T76" fmla="*/ 37 w 205"/>
                  <a:gd name="T77" fmla="*/ 88 h 234"/>
                  <a:gd name="T78" fmla="*/ 168 w 205"/>
                  <a:gd name="T79" fmla="*/ 88 h 234"/>
                  <a:gd name="T80" fmla="*/ 166 w 205"/>
                  <a:gd name="T81" fmla="*/ 109 h 234"/>
                  <a:gd name="T82" fmla="*/ 190 w 205"/>
                  <a:gd name="T83" fmla="*/ 73 h 234"/>
                  <a:gd name="T84" fmla="*/ 15 w 205"/>
                  <a:gd name="T85" fmla="*/ 73 h 234"/>
                  <a:gd name="T86" fmla="*/ 15 w 205"/>
                  <a:gd name="T87" fmla="*/ 51 h 234"/>
                  <a:gd name="T88" fmla="*/ 190 w 205"/>
                  <a:gd name="T89" fmla="*/ 51 h 234"/>
                  <a:gd name="T90" fmla="*/ 190 w 205"/>
                  <a:gd name="T91" fmla="*/ 7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34">
                    <a:moveTo>
                      <a:pt x="191" y="37"/>
                    </a:moveTo>
                    <a:cubicBezTo>
                      <a:pt x="182" y="10"/>
                      <a:pt x="182" y="10"/>
                      <a:pt x="182" y="10"/>
                    </a:cubicBezTo>
                    <a:cubicBezTo>
                      <a:pt x="180" y="4"/>
                      <a:pt x="174" y="0"/>
                      <a:pt x="168" y="0"/>
                    </a:cubicBezTo>
                    <a:cubicBezTo>
                      <a:pt x="37" y="0"/>
                      <a:pt x="37" y="0"/>
                      <a:pt x="37" y="0"/>
                    </a:cubicBezTo>
                    <a:cubicBezTo>
                      <a:pt x="30" y="0"/>
                      <a:pt x="25" y="4"/>
                      <a:pt x="23" y="10"/>
                    </a:cubicBezTo>
                    <a:cubicBezTo>
                      <a:pt x="14" y="37"/>
                      <a:pt x="14" y="37"/>
                      <a:pt x="14" y="37"/>
                    </a:cubicBezTo>
                    <a:cubicBezTo>
                      <a:pt x="6" y="37"/>
                      <a:pt x="0" y="43"/>
                      <a:pt x="0" y="51"/>
                    </a:cubicBezTo>
                    <a:cubicBezTo>
                      <a:pt x="0" y="73"/>
                      <a:pt x="0" y="73"/>
                      <a:pt x="0" y="73"/>
                    </a:cubicBezTo>
                    <a:cubicBezTo>
                      <a:pt x="0" y="81"/>
                      <a:pt x="7" y="88"/>
                      <a:pt x="15" y="88"/>
                    </a:cubicBezTo>
                    <a:cubicBezTo>
                      <a:pt x="22" y="88"/>
                      <a:pt x="22" y="88"/>
                      <a:pt x="22" y="88"/>
                    </a:cubicBezTo>
                    <a:cubicBezTo>
                      <a:pt x="22" y="88"/>
                      <a:pt x="22" y="89"/>
                      <a:pt x="22" y="89"/>
                    </a:cubicBezTo>
                    <a:cubicBezTo>
                      <a:pt x="37" y="221"/>
                      <a:pt x="37" y="221"/>
                      <a:pt x="37" y="221"/>
                    </a:cubicBezTo>
                    <a:cubicBezTo>
                      <a:pt x="37" y="228"/>
                      <a:pt x="44" y="234"/>
                      <a:pt x="51" y="234"/>
                    </a:cubicBezTo>
                    <a:cubicBezTo>
                      <a:pt x="153" y="234"/>
                      <a:pt x="153" y="234"/>
                      <a:pt x="153" y="234"/>
                    </a:cubicBezTo>
                    <a:cubicBezTo>
                      <a:pt x="161" y="234"/>
                      <a:pt x="167" y="228"/>
                      <a:pt x="168" y="221"/>
                    </a:cubicBezTo>
                    <a:cubicBezTo>
                      <a:pt x="183" y="89"/>
                      <a:pt x="183" y="89"/>
                      <a:pt x="183" y="89"/>
                    </a:cubicBezTo>
                    <a:cubicBezTo>
                      <a:pt x="183" y="89"/>
                      <a:pt x="182" y="88"/>
                      <a:pt x="182" y="88"/>
                    </a:cubicBezTo>
                    <a:cubicBezTo>
                      <a:pt x="190" y="88"/>
                      <a:pt x="190" y="88"/>
                      <a:pt x="190" y="88"/>
                    </a:cubicBezTo>
                    <a:cubicBezTo>
                      <a:pt x="198" y="88"/>
                      <a:pt x="205" y="81"/>
                      <a:pt x="205" y="73"/>
                    </a:cubicBezTo>
                    <a:cubicBezTo>
                      <a:pt x="205" y="51"/>
                      <a:pt x="205" y="51"/>
                      <a:pt x="205" y="51"/>
                    </a:cubicBezTo>
                    <a:cubicBezTo>
                      <a:pt x="205" y="43"/>
                      <a:pt x="198" y="37"/>
                      <a:pt x="191" y="37"/>
                    </a:cubicBezTo>
                    <a:close/>
                    <a:moveTo>
                      <a:pt x="37" y="14"/>
                    </a:moveTo>
                    <a:cubicBezTo>
                      <a:pt x="168" y="14"/>
                      <a:pt x="168" y="14"/>
                      <a:pt x="168" y="14"/>
                    </a:cubicBezTo>
                    <a:cubicBezTo>
                      <a:pt x="175" y="36"/>
                      <a:pt x="175" y="36"/>
                      <a:pt x="175" y="36"/>
                    </a:cubicBezTo>
                    <a:cubicBezTo>
                      <a:pt x="29" y="36"/>
                      <a:pt x="29" y="36"/>
                      <a:pt x="29" y="36"/>
                    </a:cubicBezTo>
                    <a:lnTo>
                      <a:pt x="37" y="14"/>
                    </a:lnTo>
                    <a:close/>
                    <a:moveTo>
                      <a:pt x="51" y="219"/>
                    </a:moveTo>
                    <a:cubicBezTo>
                      <a:pt x="49" y="197"/>
                      <a:pt x="49" y="197"/>
                      <a:pt x="49" y="197"/>
                    </a:cubicBezTo>
                    <a:cubicBezTo>
                      <a:pt x="156" y="197"/>
                      <a:pt x="156" y="197"/>
                      <a:pt x="156" y="197"/>
                    </a:cubicBezTo>
                    <a:cubicBezTo>
                      <a:pt x="153" y="219"/>
                      <a:pt x="153" y="219"/>
                      <a:pt x="153" y="219"/>
                    </a:cubicBezTo>
                    <a:lnTo>
                      <a:pt x="51" y="219"/>
                    </a:lnTo>
                    <a:close/>
                    <a:moveTo>
                      <a:pt x="157" y="190"/>
                    </a:moveTo>
                    <a:cubicBezTo>
                      <a:pt x="48" y="190"/>
                      <a:pt x="48" y="190"/>
                      <a:pt x="48" y="190"/>
                    </a:cubicBezTo>
                    <a:cubicBezTo>
                      <a:pt x="40" y="117"/>
                      <a:pt x="40" y="117"/>
                      <a:pt x="40" y="117"/>
                    </a:cubicBezTo>
                    <a:cubicBezTo>
                      <a:pt x="165" y="117"/>
                      <a:pt x="165" y="117"/>
                      <a:pt x="165" y="117"/>
                    </a:cubicBezTo>
                    <a:lnTo>
                      <a:pt x="157" y="190"/>
                    </a:lnTo>
                    <a:close/>
                    <a:moveTo>
                      <a:pt x="166" y="109"/>
                    </a:moveTo>
                    <a:cubicBezTo>
                      <a:pt x="39" y="109"/>
                      <a:pt x="39" y="109"/>
                      <a:pt x="39" y="109"/>
                    </a:cubicBezTo>
                    <a:cubicBezTo>
                      <a:pt x="37" y="88"/>
                      <a:pt x="37" y="88"/>
                      <a:pt x="37" y="88"/>
                    </a:cubicBezTo>
                    <a:cubicBezTo>
                      <a:pt x="168" y="88"/>
                      <a:pt x="168" y="88"/>
                      <a:pt x="168" y="88"/>
                    </a:cubicBezTo>
                    <a:lnTo>
                      <a:pt x="166" y="109"/>
                    </a:lnTo>
                    <a:close/>
                    <a:moveTo>
                      <a:pt x="190" y="73"/>
                    </a:moveTo>
                    <a:cubicBezTo>
                      <a:pt x="15" y="73"/>
                      <a:pt x="15" y="73"/>
                      <a:pt x="15" y="73"/>
                    </a:cubicBezTo>
                    <a:cubicBezTo>
                      <a:pt x="15" y="51"/>
                      <a:pt x="15" y="51"/>
                      <a:pt x="15" y="51"/>
                    </a:cubicBezTo>
                    <a:cubicBezTo>
                      <a:pt x="190" y="51"/>
                      <a:pt x="190" y="51"/>
                      <a:pt x="190" y="51"/>
                    </a:cubicBezTo>
                    <a:lnTo>
                      <a:pt x="190" y="73"/>
                    </a:lnTo>
                    <a:close/>
                  </a:path>
                </a:pathLst>
              </a:custGeom>
              <a:solidFill>
                <a:schemeClr val="bg1"/>
              </a:solidFill>
              <a:ln>
                <a:noFill/>
              </a:ln>
            </p:spPr>
            <p:txBody>
              <a:bodyPr vert="horz" wrap="square" lIns="182843" tIns="91422" rIns="182843" bIns="91422" numCol="1" anchor="t" anchorCtr="0" compatLnSpc="1">
                <a:prstTxWarp prst="textNoShape">
                  <a:avLst/>
                </a:prstTxWarp>
              </a:bodyPr>
              <a:lstStyle/>
              <a:p>
                <a:endParaRPr lang="id-ID" sz="1050" dirty="0">
                  <a:solidFill>
                    <a:srgbClr val="58595B"/>
                  </a:solidFill>
                  <a:latin typeface="+mj-lt"/>
                </a:endParaRPr>
              </a:p>
            </p:txBody>
          </p:sp>
        </p:grpSp>
        <p:cxnSp>
          <p:nvCxnSpPr>
            <p:cNvPr id="158" name="Straight Connector 157"/>
            <p:cNvCxnSpPr/>
            <p:nvPr/>
          </p:nvCxnSpPr>
          <p:spPr>
            <a:xfrm>
              <a:off x="13362630" y="10994548"/>
              <a:ext cx="4801358" cy="0"/>
            </a:xfrm>
            <a:prstGeom prst="line">
              <a:avLst/>
            </a:prstGeom>
            <a:ln>
              <a:solidFill>
                <a:schemeClr val="bg1">
                  <a:lumMod val="65000"/>
                </a:schemeClr>
              </a:solidFill>
              <a:prstDash val="sysDash"/>
              <a:headEnd type="arrow" w="sm" len="sm"/>
              <a:tailEnd type="none" w="sm" len="sm"/>
            </a:ln>
          </p:spPr>
          <p:style>
            <a:lnRef idx="1">
              <a:schemeClr val="dk1"/>
            </a:lnRef>
            <a:fillRef idx="0">
              <a:schemeClr val="dk1"/>
            </a:fillRef>
            <a:effectRef idx="0">
              <a:schemeClr val="dk1"/>
            </a:effectRef>
            <a:fontRef idx="minor">
              <a:schemeClr val="tx1"/>
            </a:fontRef>
          </p:style>
        </p:cxnSp>
        <p:grpSp>
          <p:nvGrpSpPr>
            <p:cNvPr id="159" name="Group 158"/>
            <p:cNvGrpSpPr/>
            <p:nvPr>
              <p:custDataLst>
                <p:tags r:id="rId6"/>
              </p:custDataLst>
            </p:nvPr>
          </p:nvGrpSpPr>
          <p:grpSpPr>
            <a:xfrm>
              <a:off x="18249929" y="10020042"/>
              <a:ext cx="4771416" cy="1510342"/>
              <a:chOff x="18249929" y="10020042"/>
              <a:chExt cx="4771416" cy="1510342"/>
            </a:xfrm>
          </p:grpSpPr>
          <p:sp>
            <p:nvSpPr>
              <p:cNvPr id="160" name="Oval 159"/>
              <p:cNvSpPr/>
              <p:nvPr/>
            </p:nvSpPr>
            <p:spPr>
              <a:xfrm>
                <a:off x="18249929" y="10217590"/>
                <a:ext cx="1312452" cy="131279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243785" tIns="121892" rIns="243785" bIns="121892" rtlCol="0" anchor="ctr"/>
              <a:lstStyle/>
              <a:p>
                <a:pPr algn="ctr"/>
                <a:endParaRPr lang="en-US" sz="1050" dirty="0">
                  <a:solidFill>
                    <a:srgbClr val="58595B"/>
                  </a:solidFill>
                  <a:latin typeface="+mj-lt"/>
                </a:endParaRPr>
              </a:p>
            </p:txBody>
          </p:sp>
          <p:sp>
            <p:nvSpPr>
              <p:cNvPr id="161" name="TextBox 160"/>
              <p:cNvSpPr txBox="1"/>
              <p:nvPr/>
            </p:nvSpPr>
            <p:spPr>
              <a:xfrm>
                <a:off x="19802365" y="10020042"/>
                <a:ext cx="3218980" cy="1498997"/>
              </a:xfrm>
              <a:prstGeom prst="rect">
                <a:avLst/>
              </a:prstGeom>
              <a:noFill/>
            </p:spPr>
            <p:txBody>
              <a:bodyPr wrap="square" lIns="0" tIns="121892" rIns="0" bIns="0" rtlCol="0">
                <a:spAutoFit/>
              </a:bodyPr>
              <a:lstStyle/>
              <a:p>
                <a:r>
                  <a:rPr lang="en-US" sz="1600" b="1" dirty="0">
                    <a:solidFill>
                      <a:srgbClr val="58595B"/>
                    </a:solidFill>
                    <a:latin typeface="+mj-lt"/>
                    <a:cs typeface="Lato"/>
                  </a:rPr>
                  <a:t>Quality</a:t>
                </a:r>
              </a:p>
              <a:p>
                <a:r>
                  <a:rPr lang="en-US" sz="1200" dirty="0">
                    <a:solidFill>
                      <a:srgbClr val="58595B"/>
                    </a:solidFill>
                    <a:latin typeface="+mj-lt"/>
                    <a:cs typeface="Calibri Light"/>
                  </a:rPr>
                  <a:t>Lorem ipsum dolor sit amet,consectetur adipisicing elit, sed </a:t>
                </a:r>
                <a:r>
                  <a:rPr lang="en-US" sz="1200" dirty="0" smtClean="0">
                    <a:solidFill>
                      <a:srgbClr val="58595B"/>
                    </a:solidFill>
                    <a:latin typeface="+mj-lt"/>
                    <a:cs typeface="Calibri Light"/>
                  </a:rPr>
                  <a:t>do</a:t>
                </a:r>
                <a:endParaRPr lang="en-US" sz="1200" dirty="0">
                  <a:solidFill>
                    <a:srgbClr val="58595B"/>
                  </a:solidFill>
                  <a:latin typeface="+mj-lt"/>
                  <a:cs typeface="Calibri Light"/>
                </a:endParaRPr>
              </a:p>
            </p:txBody>
          </p:sp>
          <p:sp>
            <p:nvSpPr>
              <p:cNvPr id="162" name="Freeform 73"/>
              <p:cNvSpPr>
                <a:spLocks noEditPoints="1"/>
              </p:cNvSpPr>
              <p:nvPr/>
            </p:nvSpPr>
            <p:spPr bwMode="auto">
              <a:xfrm>
                <a:off x="18576950" y="10487584"/>
                <a:ext cx="656595" cy="748658"/>
              </a:xfrm>
              <a:custGeom>
                <a:avLst/>
                <a:gdLst>
                  <a:gd name="T0" fmla="*/ 191 w 205"/>
                  <a:gd name="T1" fmla="*/ 37 h 234"/>
                  <a:gd name="T2" fmla="*/ 182 w 205"/>
                  <a:gd name="T3" fmla="*/ 10 h 234"/>
                  <a:gd name="T4" fmla="*/ 168 w 205"/>
                  <a:gd name="T5" fmla="*/ 0 h 234"/>
                  <a:gd name="T6" fmla="*/ 37 w 205"/>
                  <a:gd name="T7" fmla="*/ 0 h 234"/>
                  <a:gd name="T8" fmla="*/ 23 w 205"/>
                  <a:gd name="T9" fmla="*/ 10 h 234"/>
                  <a:gd name="T10" fmla="*/ 14 w 205"/>
                  <a:gd name="T11" fmla="*/ 37 h 234"/>
                  <a:gd name="T12" fmla="*/ 0 w 205"/>
                  <a:gd name="T13" fmla="*/ 51 h 234"/>
                  <a:gd name="T14" fmla="*/ 0 w 205"/>
                  <a:gd name="T15" fmla="*/ 73 h 234"/>
                  <a:gd name="T16" fmla="*/ 15 w 205"/>
                  <a:gd name="T17" fmla="*/ 88 h 234"/>
                  <a:gd name="T18" fmla="*/ 22 w 205"/>
                  <a:gd name="T19" fmla="*/ 88 h 234"/>
                  <a:gd name="T20" fmla="*/ 22 w 205"/>
                  <a:gd name="T21" fmla="*/ 89 h 234"/>
                  <a:gd name="T22" fmla="*/ 37 w 205"/>
                  <a:gd name="T23" fmla="*/ 221 h 234"/>
                  <a:gd name="T24" fmla="*/ 51 w 205"/>
                  <a:gd name="T25" fmla="*/ 234 h 234"/>
                  <a:gd name="T26" fmla="*/ 153 w 205"/>
                  <a:gd name="T27" fmla="*/ 234 h 234"/>
                  <a:gd name="T28" fmla="*/ 168 w 205"/>
                  <a:gd name="T29" fmla="*/ 221 h 234"/>
                  <a:gd name="T30" fmla="*/ 183 w 205"/>
                  <a:gd name="T31" fmla="*/ 89 h 234"/>
                  <a:gd name="T32" fmla="*/ 182 w 205"/>
                  <a:gd name="T33" fmla="*/ 88 h 234"/>
                  <a:gd name="T34" fmla="*/ 190 w 205"/>
                  <a:gd name="T35" fmla="*/ 88 h 234"/>
                  <a:gd name="T36" fmla="*/ 205 w 205"/>
                  <a:gd name="T37" fmla="*/ 73 h 234"/>
                  <a:gd name="T38" fmla="*/ 205 w 205"/>
                  <a:gd name="T39" fmla="*/ 51 h 234"/>
                  <a:gd name="T40" fmla="*/ 191 w 205"/>
                  <a:gd name="T41" fmla="*/ 37 h 234"/>
                  <a:gd name="T42" fmla="*/ 37 w 205"/>
                  <a:gd name="T43" fmla="*/ 14 h 234"/>
                  <a:gd name="T44" fmla="*/ 168 w 205"/>
                  <a:gd name="T45" fmla="*/ 14 h 234"/>
                  <a:gd name="T46" fmla="*/ 175 w 205"/>
                  <a:gd name="T47" fmla="*/ 36 h 234"/>
                  <a:gd name="T48" fmla="*/ 29 w 205"/>
                  <a:gd name="T49" fmla="*/ 36 h 234"/>
                  <a:gd name="T50" fmla="*/ 37 w 205"/>
                  <a:gd name="T51" fmla="*/ 14 h 234"/>
                  <a:gd name="T52" fmla="*/ 51 w 205"/>
                  <a:gd name="T53" fmla="*/ 219 h 234"/>
                  <a:gd name="T54" fmla="*/ 49 w 205"/>
                  <a:gd name="T55" fmla="*/ 197 h 234"/>
                  <a:gd name="T56" fmla="*/ 156 w 205"/>
                  <a:gd name="T57" fmla="*/ 197 h 234"/>
                  <a:gd name="T58" fmla="*/ 153 w 205"/>
                  <a:gd name="T59" fmla="*/ 219 h 234"/>
                  <a:gd name="T60" fmla="*/ 51 w 205"/>
                  <a:gd name="T61" fmla="*/ 219 h 234"/>
                  <a:gd name="T62" fmla="*/ 157 w 205"/>
                  <a:gd name="T63" fmla="*/ 190 h 234"/>
                  <a:gd name="T64" fmla="*/ 48 w 205"/>
                  <a:gd name="T65" fmla="*/ 190 h 234"/>
                  <a:gd name="T66" fmla="*/ 40 w 205"/>
                  <a:gd name="T67" fmla="*/ 117 h 234"/>
                  <a:gd name="T68" fmla="*/ 165 w 205"/>
                  <a:gd name="T69" fmla="*/ 117 h 234"/>
                  <a:gd name="T70" fmla="*/ 157 w 205"/>
                  <a:gd name="T71" fmla="*/ 190 h 234"/>
                  <a:gd name="T72" fmla="*/ 166 w 205"/>
                  <a:gd name="T73" fmla="*/ 109 h 234"/>
                  <a:gd name="T74" fmla="*/ 39 w 205"/>
                  <a:gd name="T75" fmla="*/ 109 h 234"/>
                  <a:gd name="T76" fmla="*/ 37 w 205"/>
                  <a:gd name="T77" fmla="*/ 88 h 234"/>
                  <a:gd name="T78" fmla="*/ 168 w 205"/>
                  <a:gd name="T79" fmla="*/ 88 h 234"/>
                  <a:gd name="T80" fmla="*/ 166 w 205"/>
                  <a:gd name="T81" fmla="*/ 109 h 234"/>
                  <a:gd name="T82" fmla="*/ 190 w 205"/>
                  <a:gd name="T83" fmla="*/ 73 h 234"/>
                  <a:gd name="T84" fmla="*/ 15 w 205"/>
                  <a:gd name="T85" fmla="*/ 73 h 234"/>
                  <a:gd name="T86" fmla="*/ 15 w 205"/>
                  <a:gd name="T87" fmla="*/ 51 h 234"/>
                  <a:gd name="T88" fmla="*/ 190 w 205"/>
                  <a:gd name="T89" fmla="*/ 51 h 234"/>
                  <a:gd name="T90" fmla="*/ 190 w 205"/>
                  <a:gd name="T91" fmla="*/ 73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34">
                    <a:moveTo>
                      <a:pt x="191" y="37"/>
                    </a:moveTo>
                    <a:cubicBezTo>
                      <a:pt x="182" y="10"/>
                      <a:pt x="182" y="10"/>
                      <a:pt x="182" y="10"/>
                    </a:cubicBezTo>
                    <a:cubicBezTo>
                      <a:pt x="180" y="4"/>
                      <a:pt x="174" y="0"/>
                      <a:pt x="168" y="0"/>
                    </a:cubicBezTo>
                    <a:cubicBezTo>
                      <a:pt x="37" y="0"/>
                      <a:pt x="37" y="0"/>
                      <a:pt x="37" y="0"/>
                    </a:cubicBezTo>
                    <a:cubicBezTo>
                      <a:pt x="30" y="0"/>
                      <a:pt x="25" y="4"/>
                      <a:pt x="23" y="10"/>
                    </a:cubicBezTo>
                    <a:cubicBezTo>
                      <a:pt x="14" y="37"/>
                      <a:pt x="14" y="37"/>
                      <a:pt x="14" y="37"/>
                    </a:cubicBezTo>
                    <a:cubicBezTo>
                      <a:pt x="6" y="37"/>
                      <a:pt x="0" y="43"/>
                      <a:pt x="0" y="51"/>
                    </a:cubicBezTo>
                    <a:cubicBezTo>
                      <a:pt x="0" y="73"/>
                      <a:pt x="0" y="73"/>
                      <a:pt x="0" y="73"/>
                    </a:cubicBezTo>
                    <a:cubicBezTo>
                      <a:pt x="0" y="81"/>
                      <a:pt x="7" y="88"/>
                      <a:pt x="15" y="88"/>
                    </a:cubicBezTo>
                    <a:cubicBezTo>
                      <a:pt x="22" y="88"/>
                      <a:pt x="22" y="88"/>
                      <a:pt x="22" y="88"/>
                    </a:cubicBezTo>
                    <a:cubicBezTo>
                      <a:pt x="22" y="88"/>
                      <a:pt x="22" y="89"/>
                      <a:pt x="22" y="89"/>
                    </a:cubicBezTo>
                    <a:cubicBezTo>
                      <a:pt x="37" y="221"/>
                      <a:pt x="37" y="221"/>
                      <a:pt x="37" y="221"/>
                    </a:cubicBezTo>
                    <a:cubicBezTo>
                      <a:pt x="37" y="228"/>
                      <a:pt x="44" y="234"/>
                      <a:pt x="51" y="234"/>
                    </a:cubicBezTo>
                    <a:cubicBezTo>
                      <a:pt x="153" y="234"/>
                      <a:pt x="153" y="234"/>
                      <a:pt x="153" y="234"/>
                    </a:cubicBezTo>
                    <a:cubicBezTo>
                      <a:pt x="161" y="234"/>
                      <a:pt x="167" y="228"/>
                      <a:pt x="168" y="221"/>
                    </a:cubicBezTo>
                    <a:cubicBezTo>
                      <a:pt x="183" y="89"/>
                      <a:pt x="183" y="89"/>
                      <a:pt x="183" y="89"/>
                    </a:cubicBezTo>
                    <a:cubicBezTo>
                      <a:pt x="183" y="89"/>
                      <a:pt x="182" y="88"/>
                      <a:pt x="182" y="88"/>
                    </a:cubicBezTo>
                    <a:cubicBezTo>
                      <a:pt x="190" y="88"/>
                      <a:pt x="190" y="88"/>
                      <a:pt x="190" y="88"/>
                    </a:cubicBezTo>
                    <a:cubicBezTo>
                      <a:pt x="198" y="88"/>
                      <a:pt x="205" y="81"/>
                      <a:pt x="205" y="73"/>
                    </a:cubicBezTo>
                    <a:cubicBezTo>
                      <a:pt x="205" y="51"/>
                      <a:pt x="205" y="51"/>
                      <a:pt x="205" y="51"/>
                    </a:cubicBezTo>
                    <a:cubicBezTo>
                      <a:pt x="205" y="43"/>
                      <a:pt x="198" y="37"/>
                      <a:pt x="191" y="37"/>
                    </a:cubicBezTo>
                    <a:close/>
                    <a:moveTo>
                      <a:pt x="37" y="14"/>
                    </a:moveTo>
                    <a:cubicBezTo>
                      <a:pt x="168" y="14"/>
                      <a:pt x="168" y="14"/>
                      <a:pt x="168" y="14"/>
                    </a:cubicBezTo>
                    <a:cubicBezTo>
                      <a:pt x="175" y="36"/>
                      <a:pt x="175" y="36"/>
                      <a:pt x="175" y="36"/>
                    </a:cubicBezTo>
                    <a:cubicBezTo>
                      <a:pt x="29" y="36"/>
                      <a:pt x="29" y="36"/>
                      <a:pt x="29" y="36"/>
                    </a:cubicBezTo>
                    <a:lnTo>
                      <a:pt x="37" y="14"/>
                    </a:lnTo>
                    <a:close/>
                    <a:moveTo>
                      <a:pt x="51" y="219"/>
                    </a:moveTo>
                    <a:cubicBezTo>
                      <a:pt x="49" y="197"/>
                      <a:pt x="49" y="197"/>
                      <a:pt x="49" y="197"/>
                    </a:cubicBezTo>
                    <a:cubicBezTo>
                      <a:pt x="156" y="197"/>
                      <a:pt x="156" y="197"/>
                      <a:pt x="156" y="197"/>
                    </a:cubicBezTo>
                    <a:cubicBezTo>
                      <a:pt x="153" y="219"/>
                      <a:pt x="153" y="219"/>
                      <a:pt x="153" y="219"/>
                    </a:cubicBezTo>
                    <a:lnTo>
                      <a:pt x="51" y="219"/>
                    </a:lnTo>
                    <a:close/>
                    <a:moveTo>
                      <a:pt x="157" y="190"/>
                    </a:moveTo>
                    <a:cubicBezTo>
                      <a:pt x="48" y="190"/>
                      <a:pt x="48" y="190"/>
                      <a:pt x="48" y="190"/>
                    </a:cubicBezTo>
                    <a:cubicBezTo>
                      <a:pt x="40" y="117"/>
                      <a:pt x="40" y="117"/>
                      <a:pt x="40" y="117"/>
                    </a:cubicBezTo>
                    <a:cubicBezTo>
                      <a:pt x="165" y="117"/>
                      <a:pt x="165" y="117"/>
                      <a:pt x="165" y="117"/>
                    </a:cubicBezTo>
                    <a:lnTo>
                      <a:pt x="157" y="190"/>
                    </a:lnTo>
                    <a:close/>
                    <a:moveTo>
                      <a:pt x="166" y="109"/>
                    </a:moveTo>
                    <a:cubicBezTo>
                      <a:pt x="39" y="109"/>
                      <a:pt x="39" y="109"/>
                      <a:pt x="39" y="109"/>
                    </a:cubicBezTo>
                    <a:cubicBezTo>
                      <a:pt x="37" y="88"/>
                      <a:pt x="37" y="88"/>
                      <a:pt x="37" y="88"/>
                    </a:cubicBezTo>
                    <a:cubicBezTo>
                      <a:pt x="168" y="88"/>
                      <a:pt x="168" y="88"/>
                      <a:pt x="168" y="88"/>
                    </a:cubicBezTo>
                    <a:lnTo>
                      <a:pt x="166" y="109"/>
                    </a:lnTo>
                    <a:close/>
                    <a:moveTo>
                      <a:pt x="190" y="73"/>
                    </a:moveTo>
                    <a:cubicBezTo>
                      <a:pt x="15" y="73"/>
                      <a:pt x="15" y="73"/>
                      <a:pt x="15" y="73"/>
                    </a:cubicBezTo>
                    <a:cubicBezTo>
                      <a:pt x="15" y="51"/>
                      <a:pt x="15" y="51"/>
                      <a:pt x="15" y="51"/>
                    </a:cubicBezTo>
                    <a:cubicBezTo>
                      <a:pt x="190" y="51"/>
                      <a:pt x="190" y="51"/>
                      <a:pt x="190" y="51"/>
                    </a:cubicBezTo>
                    <a:lnTo>
                      <a:pt x="190" y="73"/>
                    </a:lnTo>
                    <a:close/>
                  </a:path>
                </a:pathLst>
              </a:custGeom>
              <a:solidFill>
                <a:schemeClr val="bg1"/>
              </a:solidFill>
              <a:ln>
                <a:noFill/>
              </a:ln>
            </p:spPr>
            <p:txBody>
              <a:bodyPr vert="horz" wrap="square" lIns="182843" tIns="91422" rIns="182843" bIns="91422" numCol="1" anchor="t" anchorCtr="0" compatLnSpc="1">
                <a:prstTxWarp prst="textNoShape">
                  <a:avLst/>
                </a:prstTxWarp>
              </a:bodyPr>
              <a:lstStyle/>
              <a:p>
                <a:endParaRPr lang="id-ID" sz="1050" dirty="0">
                  <a:solidFill>
                    <a:srgbClr val="58595B"/>
                  </a:solidFill>
                  <a:latin typeface="+mj-lt"/>
                </a:endParaRPr>
              </a:p>
            </p:txBody>
          </p:sp>
        </p:grpSp>
      </p:grpSp>
      <p:sp>
        <p:nvSpPr>
          <p:cNvPr id="166"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163_84 165_84 164_84</a:t>
            </a:r>
            <a:endParaRPr lang="en-US" sz="100" dirty="0" err="1" smtClean="0">
              <a:solidFill>
                <a:srgbClr val="FFFFFF"/>
              </a:solidFill>
            </a:endParaRPr>
          </a:p>
        </p:txBody>
      </p:sp>
    </p:spTree>
    <p:extLst>
      <p:ext uri="{BB962C8B-B14F-4D97-AF65-F5344CB8AC3E}">
        <p14:creationId xmlns:p14="http://schemas.microsoft.com/office/powerpoint/2010/main" val="21953010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ll width bullet points</a:t>
            </a:r>
            <a:endParaRPr lang="en-US" dirty="0"/>
          </a:p>
        </p:txBody>
      </p:sp>
      <p:sp>
        <p:nvSpPr>
          <p:cNvPr id="3"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4_89</a:t>
            </a:r>
            <a:endParaRPr lang="en-US" sz="100" dirty="0" err="1" smtClean="0">
              <a:solidFill>
                <a:srgbClr val="FFFFFF"/>
              </a:solidFill>
            </a:endParaRPr>
          </a:p>
        </p:txBody>
      </p:sp>
      <p:sp>
        <p:nvSpPr>
          <p:cNvPr id="4" name="Subtitle 2"/>
          <p:cNvSpPr txBox="1">
            <a:spLocks/>
          </p:cNvSpPr>
          <p:nvPr>
            <p:custDataLst>
              <p:tags r:id="rId1"/>
            </p:custDataLst>
          </p:nvPr>
        </p:nvSpPr>
        <p:spPr>
          <a:xfrm>
            <a:off x="634048" y="1103403"/>
            <a:ext cx="11673776" cy="4985980"/>
          </a:xfrm>
          <a:prstGeom prst="rect">
            <a:avLst/>
          </a:prstGeom>
        </p:spPr>
        <p:txBody>
          <a:bodyPr wrap="square">
            <a:noAutofit/>
          </a:bodyPr>
          <a:lstStyle>
            <a:lvl1pPr marL="271463" marR="0" indent="-271463" algn="l" defTabSz="981075"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tx1"/>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182563" indent="-182563">
              <a:spcBef>
                <a:spcPts val="4150"/>
              </a:spcBef>
              <a:spcAft>
                <a:spcPts val="0"/>
              </a:spcAft>
              <a:buClrTx/>
              <a:buSzPct val="100000"/>
            </a:pPr>
            <a:r>
              <a:rPr lang="en-US" dirty="0" smtClean="0">
                <a:latin typeface="Roboto Regular" pitchFamily="2" charset="0"/>
                <a:ea typeface="Roboto Regular" pitchFamily="2" charset="0"/>
                <a:cs typeface="Source Sans Pro ExtraLight"/>
              </a:rPr>
              <a:t>Lorem ipsum dolor sit </a:t>
            </a:r>
            <a:r>
              <a:rPr lang="en-US" dirty="0" err="1" smtClean="0">
                <a:latin typeface="Roboto Regular" pitchFamily="2" charset="0"/>
                <a:ea typeface="Roboto Regular" pitchFamily="2" charset="0"/>
                <a:cs typeface="Source Sans Pro ExtraLight"/>
              </a:rPr>
              <a:t>ame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consectetur</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adipiscing</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eli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Donec</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mauris</a:t>
            </a:r>
            <a:r>
              <a:rPr lang="en-US" dirty="0" smtClean="0">
                <a:latin typeface="Roboto Regular" pitchFamily="2" charset="0"/>
                <a:ea typeface="Roboto Regular" pitchFamily="2" charset="0"/>
                <a:cs typeface="Source Sans Pro ExtraLight"/>
              </a:rPr>
              <a:t> lorem, </a:t>
            </a:r>
            <a:r>
              <a:rPr lang="en-US" dirty="0" err="1" smtClean="0">
                <a:latin typeface="Roboto Regular" pitchFamily="2" charset="0"/>
                <a:ea typeface="Roboto Regular" pitchFamily="2" charset="0"/>
                <a:cs typeface="Source Sans Pro ExtraLight"/>
              </a:rPr>
              <a:t>vestibulum</a:t>
            </a:r>
            <a:r>
              <a:rPr lang="en-US" dirty="0" smtClean="0">
                <a:latin typeface="Roboto Regular" pitchFamily="2" charset="0"/>
                <a:ea typeface="Roboto Regular" pitchFamily="2" charset="0"/>
                <a:cs typeface="Source Sans Pro ExtraLight"/>
              </a:rPr>
              <a:t> ac </a:t>
            </a:r>
            <a:r>
              <a:rPr lang="en-US" dirty="0" err="1" smtClean="0">
                <a:latin typeface="Roboto Regular" pitchFamily="2" charset="0"/>
                <a:ea typeface="Roboto Regular" pitchFamily="2" charset="0"/>
                <a:cs typeface="Source Sans Pro ExtraLight"/>
              </a:rPr>
              <a:t>rutrum</a:t>
            </a:r>
            <a:r>
              <a:rPr lang="en-US" dirty="0" smtClean="0">
                <a:latin typeface="Roboto Regular" pitchFamily="2" charset="0"/>
                <a:ea typeface="Roboto Regular" pitchFamily="2" charset="0"/>
                <a:cs typeface="Source Sans Pro ExtraLight"/>
              </a:rPr>
              <a:t> id, </a:t>
            </a:r>
            <a:r>
              <a:rPr lang="en-US" dirty="0" err="1" smtClean="0">
                <a:latin typeface="Roboto Regular" pitchFamily="2" charset="0"/>
                <a:ea typeface="Roboto Regular" pitchFamily="2" charset="0"/>
                <a:cs typeface="Source Sans Pro ExtraLight"/>
              </a:rPr>
              <a:t>suscipit</a:t>
            </a:r>
            <a:r>
              <a:rPr lang="en-US" dirty="0" smtClean="0">
                <a:latin typeface="Roboto Regular" pitchFamily="2" charset="0"/>
                <a:ea typeface="Roboto Regular" pitchFamily="2" charset="0"/>
                <a:cs typeface="Source Sans Pro ExtraLight"/>
              </a:rPr>
              <a:t> in dui. </a:t>
            </a:r>
            <a:r>
              <a:rPr lang="en-US" dirty="0" err="1" smtClean="0">
                <a:latin typeface="Roboto Regular" pitchFamily="2" charset="0"/>
                <a:ea typeface="Roboto Regular" pitchFamily="2" charset="0"/>
                <a:cs typeface="Source Sans Pro ExtraLight"/>
              </a:rPr>
              <a:t>Donec</a:t>
            </a:r>
            <a:r>
              <a:rPr lang="en-US" dirty="0" smtClean="0">
                <a:latin typeface="Roboto Regular" pitchFamily="2" charset="0"/>
                <a:ea typeface="Roboto Regular" pitchFamily="2" charset="0"/>
                <a:cs typeface="Source Sans Pro ExtraLight"/>
              </a:rPr>
              <a:t> vitae </a:t>
            </a:r>
            <a:r>
              <a:rPr lang="en-US" dirty="0" err="1" smtClean="0">
                <a:latin typeface="Roboto Regular" pitchFamily="2" charset="0"/>
                <a:ea typeface="Roboto Regular" pitchFamily="2" charset="0"/>
                <a:cs typeface="Source Sans Pro ExtraLight"/>
              </a:rPr>
              <a:t>dapibu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tellu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Vestibulum</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nunc</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sem</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finibu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qui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elementum</a:t>
            </a:r>
            <a:r>
              <a:rPr lang="en-US" dirty="0" smtClean="0">
                <a:latin typeface="Roboto Regular" pitchFamily="2" charset="0"/>
                <a:ea typeface="Roboto Regular" pitchFamily="2" charset="0"/>
                <a:cs typeface="Source Sans Pro ExtraLight"/>
              </a:rPr>
              <a:t> ac, </a:t>
            </a:r>
            <a:r>
              <a:rPr lang="en-US" dirty="0" err="1" smtClean="0">
                <a:latin typeface="Roboto Regular" pitchFamily="2" charset="0"/>
                <a:ea typeface="Roboto Regular" pitchFamily="2" charset="0"/>
                <a:cs typeface="Source Sans Pro ExtraLight"/>
              </a:rPr>
              <a:t>varius</a:t>
            </a:r>
            <a:r>
              <a:rPr lang="en-US" dirty="0" smtClean="0">
                <a:latin typeface="Roboto Regular" pitchFamily="2" charset="0"/>
                <a:ea typeface="Roboto Regular" pitchFamily="2" charset="0"/>
                <a:cs typeface="Source Sans Pro ExtraLight"/>
              </a:rPr>
              <a:t> ac </a:t>
            </a:r>
            <a:r>
              <a:rPr lang="en-US" dirty="0" err="1" smtClean="0">
                <a:latin typeface="Roboto Regular" pitchFamily="2" charset="0"/>
                <a:ea typeface="Roboto Regular" pitchFamily="2" charset="0"/>
                <a:cs typeface="Source Sans Pro ExtraLight"/>
              </a:rPr>
              <a:t>tellus</a:t>
            </a:r>
            <a:r>
              <a:rPr lang="en-US" dirty="0" smtClean="0">
                <a:latin typeface="Roboto Regular" pitchFamily="2" charset="0"/>
                <a:ea typeface="Roboto Regular" pitchFamily="2" charset="0"/>
                <a:cs typeface="Source Sans Pro ExtraLight"/>
              </a:rPr>
              <a:t>. Nam </a:t>
            </a:r>
            <a:r>
              <a:rPr lang="en-US" dirty="0" err="1" smtClean="0">
                <a:latin typeface="Roboto Regular" pitchFamily="2" charset="0"/>
                <a:ea typeface="Roboto Regular" pitchFamily="2" charset="0"/>
                <a:cs typeface="Source Sans Pro ExtraLight"/>
              </a:rPr>
              <a:t>faucibu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faucibu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venenati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Donec</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nec</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arcu</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veli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Fusce</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viverra</a:t>
            </a:r>
            <a:r>
              <a:rPr lang="en-US" dirty="0" smtClean="0">
                <a:latin typeface="Roboto Regular" pitchFamily="2" charset="0"/>
                <a:ea typeface="Roboto Regular" pitchFamily="2" charset="0"/>
                <a:cs typeface="Source Sans Pro ExtraLight"/>
              </a:rPr>
              <a:t>, dui vitae </a:t>
            </a:r>
            <a:r>
              <a:rPr lang="en-US" dirty="0" err="1" smtClean="0">
                <a:latin typeface="Roboto Regular" pitchFamily="2" charset="0"/>
                <a:ea typeface="Roboto Regular" pitchFamily="2" charset="0"/>
                <a:cs typeface="Source Sans Pro ExtraLight"/>
              </a:rPr>
              <a:t>euismod</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molli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tortor</a:t>
            </a:r>
            <a:r>
              <a:rPr lang="en-US" dirty="0" smtClean="0">
                <a:latin typeface="Roboto Regular" pitchFamily="2" charset="0"/>
                <a:ea typeface="Roboto Regular" pitchFamily="2" charset="0"/>
                <a:cs typeface="Source Sans Pro ExtraLight"/>
              </a:rPr>
              <a:t> magna </a:t>
            </a:r>
            <a:r>
              <a:rPr lang="en-US" dirty="0" err="1" smtClean="0">
                <a:latin typeface="Roboto Regular" pitchFamily="2" charset="0"/>
                <a:ea typeface="Roboto Regular" pitchFamily="2" charset="0"/>
                <a:cs typeface="Source Sans Pro ExtraLight"/>
              </a:rPr>
              <a:t>egesta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nunc</a:t>
            </a:r>
            <a:r>
              <a:rPr lang="en-US" dirty="0" smtClean="0">
                <a:latin typeface="Roboto Regular" pitchFamily="2" charset="0"/>
                <a:ea typeface="Roboto Regular" pitchFamily="2" charset="0"/>
                <a:cs typeface="Source Sans Pro ExtraLight"/>
              </a:rPr>
              <a:t>, et </a:t>
            </a:r>
            <a:r>
              <a:rPr lang="en-US" dirty="0" err="1" smtClean="0">
                <a:latin typeface="Roboto Regular" pitchFamily="2" charset="0"/>
                <a:ea typeface="Roboto Regular" pitchFamily="2" charset="0"/>
                <a:cs typeface="Source Sans Pro ExtraLight"/>
              </a:rPr>
              <a:t>suscipi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nunc</a:t>
            </a:r>
            <a:r>
              <a:rPr lang="en-US" dirty="0" smtClean="0">
                <a:latin typeface="Roboto Regular" pitchFamily="2" charset="0"/>
                <a:ea typeface="Roboto Regular" pitchFamily="2" charset="0"/>
                <a:cs typeface="Source Sans Pro ExtraLight"/>
              </a:rPr>
              <a:t> ex </a:t>
            </a:r>
            <a:r>
              <a:rPr lang="en-US" dirty="0" err="1" smtClean="0">
                <a:latin typeface="Roboto Regular" pitchFamily="2" charset="0"/>
                <a:ea typeface="Roboto Regular" pitchFamily="2" charset="0"/>
                <a:cs typeface="Source Sans Pro ExtraLight"/>
              </a:rPr>
              <a:t>qui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nunc</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Pellentesque</a:t>
            </a:r>
            <a:r>
              <a:rPr lang="en-US" dirty="0" smtClean="0">
                <a:latin typeface="Roboto Regular" pitchFamily="2" charset="0"/>
                <a:ea typeface="Roboto Regular" pitchFamily="2" charset="0"/>
                <a:cs typeface="Source Sans Pro ExtraLight"/>
              </a:rPr>
              <a:t> habitant </a:t>
            </a:r>
            <a:r>
              <a:rPr lang="en-US" dirty="0" err="1" smtClean="0">
                <a:latin typeface="Roboto Regular" pitchFamily="2" charset="0"/>
                <a:ea typeface="Roboto Regular" pitchFamily="2" charset="0"/>
                <a:cs typeface="Source Sans Pro ExtraLight"/>
              </a:rPr>
              <a:t>morbi</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tristique</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senectus</a:t>
            </a:r>
            <a:r>
              <a:rPr lang="en-US" dirty="0" smtClean="0">
                <a:latin typeface="Roboto Regular" pitchFamily="2" charset="0"/>
                <a:ea typeface="Roboto Regular" pitchFamily="2" charset="0"/>
                <a:cs typeface="Source Sans Pro ExtraLight"/>
              </a:rPr>
              <a:t> et </a:t>
            </a:r>
            <a:r>
              <a:rPr lang="en-US" dirty="0" err="1" smtClean="0">
                <a:latin typeface="Roboto Regular" pitchFamily="2" charset="0"/>
                <a:ea typeface="Roboto Regular" pitchFamily="2" charset="0"/>
                <a:cs typeface="Source Sans Pro ExtraLight"/>
              </a:rPr>
              <a:t>netus</a:t>
            </a:r>
            <a:r>
              <a:rPr lang="en-US" dirty="0" smtClean="0">
                <a:latin typeface="Roboto Regular" pitchFamily="2" charset="0"/>
                <a:ea typeface="Roboto Regular" pitchFamily="2" charset="0"/>
                <a:cs typeface="Source Sans Pro ExtraLight"/>
              </a:rPr>
              <a:t> et </a:t>
            </a:r>
            <a:r>
              <a:rPr lang="en-US" dirty="0" err="1" smtClean="0">
                <a:latin typeface="Roboto Regular" pitchFamily="2" charset="0"/>
                <a:ea typeface="Roboto Regular" pitchFamily="2" charset="0"/>
                <a:cs typeface="Source Sans Pro ExtraLight"/>
              </a:rPr>
              <a:t>malesuada</a:t>
            </a:r>
            <a:r>
              <a:rPr lang="en-US" dirty="0" smtClean="0">
                <a:latin typeface="Roboto Regular" pitchFamily="2" charset="0"/>
                <a:ea typeface="Roboto Regular" pitchFamily="2" charset="0"/>
                <a:cs typeface="Source Sans Pro ExtraLight"/>
              </a:rPr>
              <a:t> fames ac </a:t>
            </a:r>
            <a:r>
              <a:rPr lang="en-US" dirty="0" err="1" smtClean="0">
                <a:latin typeface="Roboto Regular" pitchFamily="2" charset="0"/>
                <a:ea typeface="Roboto Regular" pitchFamily="2" charset="0"/>
                <a:cs typeface="Source Sans Pro ExtraLight"/>
              </a:rPr>
              <a:t>turpi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egestas</a:t>
            </a:r>
            <a:r>
              <a:rPr lang="en-US" dirty="0" smtClean="0">
                <a:latin typeface="Roboto Regular" pitchFamily="2" charset="0"/>
                <a:ea typeface="Roboto Regular" pitchFamily="2" charset="0"/>
                <a:cs typeface="Source Sans Pro ExtraLight"/>
              </a:rPr>
              <a:t>. Integer </a:t>
            </a:r>
            <a:r>
              <a:rPr lang="en-US" dirty="0" err="1" smtClean="0">
                <a:latin typeface="Roboto Regular" pitchFamily="2" charset="0"/>
                <a:ea typeface="Roboto Regular" pitchFamily="2" charset="0"/>
                <a:cs typeface="Source Sans Pro ExtraLight"/>
              </a:rPr>
              <a:t>ege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auctor</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nunc</a:t>
            </a:r>
            <a:r>
              <a:rPr lang="en-US" dirty="0" smtClean="0">
                <a:latin typeface="Roboto Regular" pitchFamily="2" charset="0"/>
                <a:ea typeface="Roboto Regular" pitchFamily="2" charset="0"/>
                <a:cs typeface="Source Sans Pro ExtraLight"/>
              </a:rPr>
              <a:t>. Maecenas </a:t>
            </a:r>
            <a:r>
              <a:rPr lang="en-US" dirty="0" err="1" smtClean="0">
                <a:latin typeface="Roboto Regular" pitchFamily="2" charset="0"/>
                <a:ea typeface="Roboto Regular" pitchFamily="2" charset="0"/>
                <a:cs typeface="Source Sans Pro ExtraLight"/>
              </a:rPr>
              <a:t>tincidun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eleifend</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consequa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Nulla</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efficitur</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urna</a:t>
            </a:r>
            <a:r>
              <a:rPr lang="en-US" dirty="0" smtClean="0">
                <a:latin typeface="Roboto Regular" pitchFamily="2" charset="0"/>
                <a:ea typeface="Roboto Regular" pitchFamily="2" charset="0"/>
                <a:cs typeface="Source Sans Pro ExtraLight"/>
              </a:rPr>
              <a:t> et </a:t>
            </a:r>
            <a:r>
              <a:rPr lang="en-US" dirty="0" err="1" smtClean="0">
                <a:latin typeface="Roboto Regular" pitchFamily="2" charset="0"/>
                <a:ea typeface="Roboto Regular" pitchFamily="2" charset="0"/>
                <a:cs typeface="Source Sans Pro ExtraLight"/>
              </a:rPr>
              <a:t>massa</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dapibus</a:t>
            </a:r>
            <a:r>
              <a:rPr lang="en-US" dirty="0" smtClean="0">
                <a:latin typeface="Roboto Regular" pitchFamily="2" charset="0"/>
                <a:ea typeface="Roboto Regular" pitchFamily="2" charset="0"/>
                <a:cs typeface="Source Sans Pro ExtraLight"/>
              </a:rPr>
              <a:t> maximus. Maecenas sit </a:t>
            </a:r>
            <a:r>
              <a:rPr lang="en-US" dirty="0" err="1" smtClean="0">
                <a:latin typeface="Roboto Regular" pitchFamily="2" charset="0"/>
                <a:ea typeface="Roboto Regular" pitchFamily="2" charset="0"/>
                <a:cs typeface="Source Sans Pro ExtraLight"/>
              </a:rPr>
              <a:t>ame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risu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pretium</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sagittis</a:t>
            </a:r>
            <a:r>
              <a:rPr lang="en-US" dirty="0" smtClean="0">
                <a:latin typeface="Roboto Regular" pitchFamily="2" charset="0"/>
                <a:ea typeface="Roboto Regular" pitchFamily="2" charset="0"/>
                <a:cs typeface="Source Sans Pro ExtraLight"/>
              </a:rPr>
              <a:t> dui </a:t>
            </a:r>
            <a:r>
              <a:rPr lang="en-US" dirty="0" err="1" smtClean="0">
                <a:latin typeface="Roboto Regular" pitchFamily="2" charset="0"/>
                <a:ea typeface="Roboto Regular" pitchFamily="2" charset="0"/>
                <a:cs typeface="Source Sans Pro ExtraLight"/>
              </a:rPr>
              <a:t>u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consectetur</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puru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Phasellu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auctor</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consectetur</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arcu</a:t>
            </a:r>
            <a:r>
              <a:rPr lang="en-US" dirty="0" smtClean="0">
                <a:latin typeface="Roboto Regular" pitchFamily="2" charset="0"/>
                <a:ea typeface="Roboto Regular" pitchFamily="2" charset="0"/>
                <a:cs typeface="Source Sans Pro ExtraLight"/>
              </a:rPr>
              <a:t> a </a:t>
            </a:r>
            <a:r>
              <a:rPr lang="en-US" dirty="0" err="1" smtClean="0">
                <a:latin typeface="Roboto Regular" pitchFamily="2" charset="0"/>
                <a:ea typeface="Roboto Regular" pitchFamily="2" charset="0"/>
                <a:cs typeface="Source Sans Pro ExtraLight"/>
              </a:rPr>
              <a:t>consequa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Vestibulum</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congue</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sed</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orci</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efficitur</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finibus</a:t>
            </a:r>
            <a:r>
              <a:rPr lang="en-US" dirty="0" smtClean="0">
                <a:latin typeface="Roboto Regular" pitchFamily="2" charset="0"/>
                <a:ea typeface="Roboto Regular" pitchFamily="2" charset="0"/>
                <a:cs typeface="Source Sans Pro ExtraLight"/>
              </a:rPr>
              <a:t>. Integer </a:t>
            </a:r>
            <a:r>
              <a:rPr lang="en-US" dirty="0" err="1" smtClean="0">
                <a:latin typeface="Roboto Regular" pitchFamily="2" charset="0"/>
                <a:ea typeface="Roboto Regular" pitchFamily="2" charset="0"/>
                <a:cs typeface="Source Sans Pro ExtraLight"/>
              </a:rPr>
              <a:t>malesuada</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finibus</a:t>
            </a:r>
            <a:r>
              <a:rPr lang="en-US" dirty="0" smtClean="0">
                <a:latin typeface="Roboto Regular" pitchFamily="2" charset="0"/>
                <a:ea typeface="Roboto Regular" pitchFamily="2" charset="0"/>
                <a:cs typeface="Source Sans Pro ExtraLight"/>
              </a:rPr>
              <a:t> ligula, </a:t>
            </a:r>
            <a:r>
              <a:rPr lang="en-US" dirty="0" err="1" smtClean="0">
                <a:latin typeface="Roboto Regular" pitchFamily="2" charset="0"/>
                <a:ea typeface="Roboto Regular" pitchFamily="2" charset="0"/>
                <a:cs typeface="Source Sans Pro ExtraLight"/>
              </a:rPr>
              <a:t>alique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loborti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nulla</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commodo</a:t>
            </a:r>
            <a:r>
              <a:rPr lang="en-US" dirty="0" smtClean="0">
                <a:latin typeface="Roboto Regular" pitchFamily="2" charset="0"/>
                <a:ea typeface="Roboto Regular" pitchFamily="2" charset="0"/>
                <a:cs typeface="Source Sans Pro ExtraLight"/>
              </a:rPr>
              <a:t> vel.</a:t>
            </a:r>
          </a:p>
          <a:p>
            <a:pPr marL="182563" indent="-182563">
              <a:spcBef>
                <a:spcPts val="4150"/>
              </a:spcBef>
              <a:spcAft>
                <a:spcPts val="0"/>
              </a:spcAft>
              <a:buClrTx/>
              <a:buSzPct val="100000"/>
            </a:pPr>
            <a:r>
              <a:rPr lang="en-US" dirty="0" err="1" smtClean="0">
                <a:latin typeface="Roboto Regular" pitchFamily="2" charset="0"/>
                <a:ea typeface="Roboto Regular" pitchFamily="2" charset="0"/>
                <a:cs typeface="Source Sans Pro ExtraLight"/>
              </a:rPr>
              <a:t>Nulla</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variu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vehicula</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augue</a:t>
            </a:r>
            <a:r>
              <a:rPr lang="en-US" dirty="0" smtClean="0">
                <a:latin typeface="Roboto Regular" pitchFamily="2" charset="0"/>
                <a:ea typeface="Roboto Regular" pitchFamily="2" charset="0"/>
                <a:cs typeface="Source Sans Pro ExtraLight"/>
              </a:rPr>
              <a:t>, id </a:t>
            </a:r>
            <a:r>
              <a:rPr lang="en-US" dirty="0" err="1" smtClean="0">
                <a:latin typeface="Roboto Regular" pitchFamily="2" charset="0"/>
                <a:ea typeface="Roboto Regular" pitchFamily="2" charset="0"/>
                <a:cs typeface="Source Sans Pro ExtraLight"/>
              </a:rPr>
              <a:t>placerat</a:t>
            </a:r>
            <a:r>
              <a:rPr lang="en-US" dirty="0" smtClean="0">
                <a:latin typeface="Roboto Regular" pitchFamily="2" charset="0"/>
                <a:ea typeface="Roboto Regular" pitchFamily="2" charset="0"/>
                <a:cs typeface="Source Sans Pro ExtraLight"/>
              </a:rPr>
              <a:t> nisi </a:t>
            </a:r>
            <a:r>
              <a:rPr lang="en-US" dirty="0" err="1" smtClean="0">
                <a:latin typeface="Roboto Regular" pitchFamily="2" charset="0"/>
                <a:ea typeface="Roboto Regular" pitchFamily="2" charset="0"/>
                <a:cs typeface="Source Sans Pro ExtraLight"/>
              </a:rPr>
              <a:t>luctus</a:t>
            </a:r>
            <a:r>
              <a:rPr lang="en-US" dirty="0" smtClean="0">
                <a:latin typeface="Roboto Regular" pitchFamily="2" charset="0"/>
                <a:ea typeface="Roboto Regular" pitchFamily="2" charset="0"/>
                <a:cs typeface="Source Sans Pro ExtraLight"/>
              </a:rPr>
              <a:t> a. </a:t>
            </a:r>
            <a:r>
              <a:rPr lang="en-US" dirty="0" err="1" smtClean="0">
                <a:latin typeface="Roboto Regular" pitchFamily="2" charset="0"/>
                <a:ea typeface="Roboto Regular" pitchFamily="2" charset="0"/>
                <a:cs typeface="Source Sans Pro ExtraLight"/>
              </a:rPr>
              <a:t>Suspendisse</a:t>
            </a:r>
            <a:r>
              <a:rPr lang="en-US" dirty="0" smtClean="0">
                <a:latin typeface="Roboto Regular" pitchFamily="2" charset="0"/>
                <a:ea typeface="Roboto Regular" pitchFamily="2" charset="0"/>
                <a:cs typeface="Source Sans Pro ExtraLight"/>
              </a:rPr>
              <a:t> magna </a:t>
            </a:r>
            <a:r>
              <a:rPr lang="en-US" dirty="0" err="1" smtClean="0">
                <a:latin typeface="Roboto Regular" pitchFamily="2" charset="0"/>
                <a:ea typeface="Roboto Regular" pitchFamily="2" charset="0"/>
                <a:cs typeface="Source Sans Pro ExtraLight"/>
              </a:rPr>
              <a:t>tellus</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imperdiet</a:t>
            </a:r>
            <a:r>
              <a:rPr lang="en-US" dirty="0" smtClean="0">
                <a:latin typeface="Roboto Regular" pitchFamily="2" charset="0"/>
                <a:ea typeface="Roboto Regular" pitchFamily="2" charset="0"/>
                <a:cs typeface="Source Sans Pro ExtraLight"/>
              </a:rPr>
              <a:t> id </a:t>
            </a:r>
            <a:r>
              <a:rPr lang="en-US" dirty="0" err="1" smtClean="0">
                <a:latin typeface="Roboto Regular" pitchFamily="2" charset="0"/>
                <a:ea typeface="Roboto Regular" pitchFamily="2" charset="0"/>
                <a:cs typeface="Source Sans Pro ExtraLight"/>
              </a:rPr>
              <a:t>turpis</a:t>
            </a:r>
            <a:r>
              <a:rPr lang="en-US" dirty="0" smtClean="0">
                <a:latin typeface="Roboto Regular" pitchFamily="2" charset="0"/>
                <a:ea typeface="Roboto Regular" pitchFamily="2" charset="0"/>
                <a:cs typeface="Source Sans Pro ExtraLight"/>
              </a:rPr>
              <a:t> in, gravida </a:t>
            </a:r>
            <a:r>
              <a:rPr lang="en-US" dirty="0" err="1" smtClean="0">
                <a:latin typeface="Roboto Regular" pitchFamily="2" charset="0"/>
                <a:ea typeface="Roboto Regular" pitchFamily="2" charset="0"/>
                <a:cs typeface="Source Sans Pro ExtraLight"/>
              </a:rPr>
              <a:t>fermentum</a:t>
            </a:r>
            <a:r>
              <a:rPr lang="en-US" dirty="0" smtClean="0">
                <a:latin typeface="Roboto Regular" pitchFamily="2" charset="0"/>
                <a:ea typeface="Roboto Regular" pitchFamily="2" charset="0"/>
                <a:cs typeface="Source Sans Pro ExtraLight"/>
              </a:rPr>
              <a:t> sem. Integer </a:t>
            </a:r>
            <a:r>
              <a:rPr lang="en-US" dirty="0" err="1" smtClean="0">
                <a:latin typeface="Roboto Regular" pitchFamily="2" charset="0"/>
                <a:ea typeface="Roboto Regular" pitchFamily="2" charset="0"/>
                <a:cs typeface="Source Sans Pro ExtraLight"/>
              </a:rPr>
              <a:t>commodo</a:t>
            </a:r>
            <a:r>
              <a:rPr lang="en-US" dirty="0" smtClean="0">
                <a:latin typeface="Roboto Regular" pitchFamily="2" charset="0"/>
                <a:ea typeface="Roboto Regular" pitchFamily="2" charset="0"/>
                <a:cs typeface="Source Sans Pro ExtraLight"/>
              </a:rPr>
              <a:t> pharetra dui a </a:t>
            </a:r>
            <a:r>
              <a:rPr lang="en-US" dirty="0" err="1" smtClean="0">
                <a:latin typeface="Roboto Regular" pitchFamily="2" charset="0"/>
                <a:ea typeface="Roboto Regular" pitchFamily="2" charset="0"/>
                <a:cs typeface="Source Sans Pro ExtraLight"/>
              </a:rPr>
              <a:t>congue</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Vivamus</a:t>
            </a:r>
            <a:r>
              <a:rPr lang="en-US" dirty="0" smtClean="0">
                <a:latin typeface="Roboto Regular" pitchFamily="2" charset="0"/>
                <a:ea typeface="Roboto Regular" pitchFamily="2" charset="0"/>
                <a:cs typeface="Source Sans Pro ExtraLight"/>
              </a:rPr>
              <a:t> in </a:t>
            </a:r>
            <a:r>
              <a:rPr lang="en-US" dirty="0" err="1" smtClean="0">
                <a:latin typeface="Roboto Regular" pitchFamily="2" charset="0"/>
                <a:ea typeface="Roboto Regular" pitchFamily="2" charset="0"/>
                <a:cs typeface="Source Sans Pro ExtraLight"/>
              </a:rPr>
              <a:t>commodo</a:t>
            </a:r>
            <a:r>
              <a:rPr lang="en-US" dirty="0" smtClean="0">
                <a:latin typeface="Roboto Regular" pitchFamily="2" charset="0"/>
                <a:ea typeface="Roboto Regular" pitchFamily="2" charset="0"/>
                <a:cs typeface="Source Sans Pro ExtraLight"/>
              </a:rPr>
              <a:t> dui. Nunc </a:t>
            </a:r>
            <a:r>
              <a:rPr lang="en-US" dirty="0" err="1" smtClean="0">
                <a:latin typeface="Roboto Regular" pitchFamily="2" charset="0"/>
                <a:ea typeface="Roboto Regular" pitchFamily="2" charset="0"/>
                <a:cs typeface="Source Sans Pro ExtraLight"/>
              </a:rPr>
              <a:t>fringilla</a:t>
            </a:r>
            <a:r>
              <a:rPr lang="en-US" dirty="0" smtClean="0">
                <a:latin typeface="Roboto Regular" pitchFamily="2" charset="0"/>
                <a:ea typeface="Roboto Regular" pitchFamily="2" charset="0"/>
                <a:cs typeface="Source Sans Pro ExtraLight"/>
              </a:rPr>
              <a:t> ex </a:t>
            </a:r>
            <a:r>
              <a:rPr lang="en-US" dirty="0" err="1" smtClean="0">
                <a:latin typeface="Roboto Regular" pitchFamily="2" charset="0"/>
                <a:ea typeface="Roboto Regular" pitchFamily="2" charset="0"/>
                <a:cs typeface="Source Sans Pro ExtraLight"/>
              </a:rPr>
              <a:t>sapien</a:t>
            </a:r>
            <a:r>
              <a:rPr lang="en-US" dirty="0" smtClean="0">
                <a:latin typeface="Roboto Regular" pitchFamily="2" charset="0"/>
                <a:ea typeface="Roboto Regular" pitchFamily="2" charset="0"/>
                <a:cs typeface="Source Sans Pro ExtraLight"/>
              </a:rPr>
              <a:t>, et </a:t>
            </a:r>
            <a:r>
              <a:rPr lang="en-US" dirty="0" err="1" smtClean="0">
                <a:latin typeface="Roboto Regular" pitchFamily="2" charset="0"/>
                <a:ea typeface="Roboto Regular" pitchFamily="2" charset="0"/>
                <a:cs typeface="Source Sans Pro ExtraLight"/>
              </a:rPr>
              <a:t>laoree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era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pretium</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ultricies</a:t>
            </a:r>
            <a:r>
              <a:rPr lang="en-US" dirty="0" smtClean="0">
                <a:latin typeface="Roboto Regular" pitchFamily="2" charset="0"/>
                <a:ea typeface="Roboto Regular" pitchFamily="2" charset="0"/>
                <a:cs typeface="Source Sans Pro ExtraLight"/>
              </a:rPr>
              <a:t>. In </a:t>
            </a:r>
            <a:r>
              <a:rPr lang="en-US" dirty="0" err="1" smtClean="0">
                <a:latin typeface="Roboto Regular" pitchFamily="2" charset="0"/>
                <a:ea typeface="Roboto Regular" pitchFamily="2" charset="0"/>
                <a:cs typeface="Source Sans Pro ExtraLight"/>
              </a:rPr>
              <a:t>hac</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habitasse</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platea</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dictumst</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Donec</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lacinia</a:t>
            </a:r>
            <a:r>
              <a:rPr lang="en-US" dirty="0" smtClean="0">
                <a:latin typeface="Roboto Regular" pitchFamily="2" charset="0"/>
                <a:ea typeface="Roboto Regular" pitchFamily="2" charset="0"/>
                <a:cs typeface="Source Sans Pro ExtraLight"/>
              </a:rPr>
              <a:t> </a:t>
            </a:r>
            <a:r>
              <a:rPr lang="en-US" dirty="0" err="1" smtClean="0">
                <a:latin typeface="Roboto Regular" pitchFamily="2" charset="0"/>
                <a:ea typeface="Roboto Regular" pitchFamily="2" charset="0"/>
                <a:cs typeface="Source Sans Pro ExtraLight"/>
              </a:rPr>
              <a:t>efficitur</a:t>
            </a:r>
            <a:r>
              <a:rPr lang="en-US" dirty="0" smtClean="0">
                <a:latin typeface="Roboto Regular" pitchFamily="2" charset="0"/>
                <a:ea typeface="Roboto Regular" pitchFamily="2" charset="0"/>
                <a:cs typeface="Source Sans Pro ExtraLight"/>
              </a:rPr>
              <a:t> dictum.</a:t>
            </a:r>
          </a:p>
          <a:p>
            <a:pPr marL="182563" indent="-182563">
              <a:spcBef>
                <a:spcPts val="4150"/>
              </a:spcBef>
              <a:spcAft>
                <a:spcPts val="0"/>
              </a:spcAft>
              <a:buClrTx/>
              <a:buSzPct val="100000"/>
            </a:pPr>
            <a:r>
              <a:rPr lang="en-US" dirty="0" err="1">
                <a:latin typeface="Roboto Regular" pitchFamily="2" charset="0"/>
                <a:ea typeface="Roboto Regular" pitchFamily="2" charset="0"/>
                <a:cs typeface="Source Sans Pro ExtraLight"/>
              </a:rPr>
              <a:t>Nulla</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variu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vehicula</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augue</a:t>
            </a:r>
            <a:r>
              <a:rPr lang="en-US" dirty="0">
                <a:latin typeface="Roboto Regular" pitchFamily="2" charset="0"/>
                <a:ea typeface="Roboto Regular" pitchFamily="2" charset="0"/>
                <a:cs typeface="Source Sans Pro ExtraLight"/>
              </a:rPr>
              <a:t>, id </a:t>
            </a:r>
            <a:r>
              <a:rPr lang="en-US" dirty="0" err="1">
                <a:latin typeface="Roboto Regular" pitchFamily="2" charset="0"/>
                <a:ea typeface="Roboto Regular" pitchFamily="2" charset="0"/>
                <a:cs typeface="Source Sans Pro ExtraLight"/>
              </a:rPr>
              <a:t>placerat</a:t>
            </a:r>
            <a:r>
              <a:rPr lang="en-US" dirty="0">
                <a:latin typeface="Roboto Regular" pitchFamily="2" charset="0"/>
                <a:ea typeface="Roboto Regular" pitchFamily="2" charset="0"/>
                <a:cs typeface="Source Sans Pro ExtraLight"/>
              </a:rPr>
              <a:t> nisi </a:t>
            </a:r>
            <a:r>
              <a:rPr lang="en-US" dirty="0" err="1">
                <a:latin typeface="Roboto Regular" pitchFamily="2" charset="0"/>
                <a:ea typeface="Roboto Regular" pitchFamily="2" charset="0"/>
                <a:cs typeface="Source Sans Pro ExtraLight"/>
              </a:rPr>
              <a:t>luctus</a:t>
            </a:r>
            <a:r>
              <a:rPr lang="en-US" dirty="0">
                <a:latin typeface="Roboto Regular" pitchFamily="2" charset="0"/>
                <a:ea typeface="Roboto Regular" pitchFamily="2" charset="0"/>
                <a:cs typeface="Source Sans Pro ExtraLight"/>
              </a:rPr>
              <a:t> a. </a:t>
            </a:r>
            <a:r>
              <a:rPr lang="en-US" dirty="0" err="1">
                <a:latin typeface="Roboto Regular" pitchFamily="2" charset="0"/>
                <a:ea typeface="Roboto Regular" pitchFamily="2" charset="0"/>
                <a:cs typeface="Source Sans Pro ExtraLight"/>
              </a:rPr>
              <a:t>Suspendisse</a:t>
            </a:r>
            <a:r>
              <a:rPr lang="en-US" dirty="0">
                <a:latin typeface="Roboto Regular" pitchFamily="2" charset="0"/>
                <a:ea typeface="Roboto Regular" pitchFamily="2" charset="0"/>
                <a:cs typeface="Source Sans Pro ExtraLight"/>
              </a:rPr>
              <a:t> magna </a:t>
            </a:r>
            <a:r>
              <a:rPr lang="en-US" dirty="0" err="1">
                <a:latin typeface="Roboto Regular" pitchFamily="2" charset="0"/>
                <a:ea typeface="Roboto Regular" pitchFamily="2" charset="0"/>
                <a:cs typeface="Source Sans Pro ExtraLight"/>
              </a:rPr>
              <a:t>tellus</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imperdiet</a:t>
            </a:r>
            <a:r>
              <a:rPr lang="en-US" dirty="0">
                <a:latin typeface="Roboto Regular" pitchFamily="2" charset="0"/>
                <a:ea typeface="Roboto Regular" pitchFamily="2" charset="0"/>
                <a:cs typeface="Source Sans Pro ExtraLight"/>
              </a:rPr>
              <a:t> id </a:t>
            </a:r>
            <a:r>
              <a:rPr lang="en-US" dirty="0" err="1">
                <a:latin typeface="Roboto Regular" pitchFamily="2" charset="0"/>
                <a:ea typeface="Roboto Regular" pitchFamily="2" charset="0"/>
                <a:cs typeface="Source Sans Pro ExtraLight"/>
              </a:rPr>
              <a:t>turpis</a:t>
            </a:r>
            <a:r>
              <a:rPr lang="en-US" dirty="0">
                <a:latin typeface="Roboto Regular" pitchFamily="2" charset="0"/>
                <a:ea typeface="Roboto Regular" pitchFamily="2" charset="0"/>
                <a:cs typeface="Source Sans Pro ExtraLight"/>
              </a:rPr>
              <a:t> in, gravida </a:t>
            </a:r>
            <a:r>
              <a:rPr lang="en-US" dirty="0" err="1">
                <a:latin typeface="Roboto Regular" pitchFamily="2" charset="0"/>
                <a:ea typeface="Roboto Regular" pitchFamily="2" charset="0"/>
                <a:cs typeface="Source Sans Pro ExtraLight"/>
              </a:rPr>
              <a:t>fermentum</a:t>
            </a:r>
            <a:r>
              <a:rPr lang="en-US" dirty="0">
                <a:latin typeface="Roboto Regular" pitchFamily="2" charset="0"/>
                <a:ea typeface="Roboto Regular" pitchFamily="2" charset="0"/>
                <a:cs typeface="Source Sans Pro ExtraLight"/>
              </a:rPr>
              <a:t> sem. Integer </a:t>
            </a:r>
            <a:r>
              <a:rPr lang="en-US" dirty="0" err="1">
                <a:latin typeface="Roboto Regular" pitchFamily="2" charset="0"/>
                <a:ea typeface="Roboto Regular" pitchFamily="2" charset="0"/>
                <a:cs typeface="Source Sans Pro ExtraLight"/>
              </a:rPr>
              <a:t>commodo</a:t>
            </a:r>
            <a:r>
              <a:rPr lang="en-US" dirty="0">
                <a:latin typeface="Roboto Regular" pitchFamily="2" charset="0"/>
                <a:ea typeface="Roboto Regular" pitchFamily="2" charset="0"/>
                <a:cs typeface="Source Sans Pro ExtraLight"/>
              </a:rPr>
              <a:t> pharetra dui a </a:t>
            </a:r>
            <a:r>
              <a:rPr lang="en-US" dirty="0" err="1">
                <a:latin typeface="Roboto Regular" pitchFamily="2" charset="0"/>
                <a:ea typeface="Roboto Regular" pitchFamily="2" charset="0"/>
                <a:cs typeface="Source Sans Pro ExtraLight"/>
              </a:rPr>
              <a:t>congue</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Vivamus</a:t>
            </a:r>
            <a:r>
              <a:rPr lang="en-US" dirty="0">
                <a:latin typeface="Roboto Regular" pitchFamily="2" charset="0"/>
                <a:ea typeface="Roboto Regular" pitchFamily="2" charset="0"/>
                <a:cs typeface="Source Sans Pro ExtraLight"/>
              </a:rPr>
              <a:t> in </a:t>
            </a:r>
            <a:r>
              <a:rPr lang="en-US" dirty="0" err="1">
                <a:latin typeface="Roboto Regular" pitchFamily="2" charset="0"/>
                <a:ea typeface="Roboto Regular" pitchFamily="2" charset="0"/>
                <a:cs typeface="Source Sans Pro ExtraLight"/>
              </a:rPr>
              <a:t>commodo</a:t>
            </a:r>
            <a:r>
              <a:rPr lang="en-US" dirty="0">
                <a:latin typeface="Roboto Regular" pitchFamily="2" charset="0"/>
                <a:ea typeface="Roboto Regular" pitchFamily="2" charset="0"/>
                <a:cs typeface="Source Sans Pro ExtraLight"/>
              </a:rPr>
              <a:t> dui. Nunc </a:t>
            </a:r>
            <a:r>
              <a:rPr lang="en-US" dirty="0" err="1">
                <a:latin typeface="Roboto Regular" pitchFamily="2" charset="0"/>
                <a:ea typeface="Roboto Regular" pitchFamily="2" charset="0"/>
                <a:cs typeface="Source Sans Pro ExtraLight"/>
              </a:rPr>
              <a:t>fringilla</a:t>
            </a:r>
            <a:r>
              <a:rPr lang="en-US" dirty="0">
                <a:latin typeface="Roboto Regular" pitchFamily="2" charset="0"/>
                <a:ea typeface="Roboto Regular" pitchFamily="2" charset="0"/>
                <a:cs typeface="Source Sans Pro ExtraLight"/>
              </a:rPr>
              <a:t> ex </a:t>
            </a:r>
            <a:r>
              <a:rPr lang="en-US" dirty="0" err="1">
                <a:latin typeface="Roboto Regular" pitchFamily="2" charset="0"/>
                <a:ea typeface="Roboto Regular" pitchFamily="2" charset="0"/>
                <a:cs typeface="Source Sans Pro ExtraLight"/>
              </a:rPr>
              <a:t>sapien</a:t>
            </a:r>
            <a:r>
              <a:rPr lang="en-US" dirty="0">
                <a:latin typeface="Roboto Regular" pitchFamily="2" charset="0"/>
                <a:ea typeface="Roboto Regular" pitchFamily="2" charset="0"/>
                <a:cs typeface="Source Sans Pro ExtraLight"/>
              </a:rPr>
              <a:t>, et </a:t>
            </a:r>
            <a:r>
              <a:rPr lang="en-US" dirty="0" err="1">
                <a:latin typeface="Roboto Regular" pitchFamily="2" charset="0"/>
                <a:ea typeface="Roboto Regular" pitchFamily="2" charset="0"/>
                <a:cs typeface="Source Sans Pro ExtraLight"/>
              </a:rPr>
              <a:t>laoreet</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erat</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retium</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ultricies</a:t>
            </a:r>
            <a:r>
              <a:rPr lang="en-US" dirty="0">
                <a:latin typeface="Roboto Regular" pitchFamily="2" charset="0"/>
                <a:ea typeface="Roboto Regular" pitchFamily="2" charset="0"/>
                <a:cs typeface="Source Sans Pro ExtraLight"/>
              </a:rPr>
              <a:t>. In </a:t>
            </a:r>
            <a:r>
              <a:rPr lang="en-US" dirty="0" err="1">
                <a:latin typeface="Roboto Regular" pitchFamily="2" charset="0"/>
                <a:ea typeface="Roboto Regular" pitchFamily="2" charset="0"/>
                <a:cs typeface="Source Sans Pro ExtraLight"/>
              </a:rPr>
              <a:t>hac</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habitasse</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platea</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dictumst</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Donec</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lacinia</a:t>
            </a:r>
            <a:r>
              <a:rPr lang="en-US" dirty="0">
                <a:latin typeface="Roboto Regular" pitchFamily="2" charset="0"/>
                <a:ea typeface="Roboto Regular" pitchFamily="2" charset="0"/>
                <a:cs typeface="Source Sans Pro ExtraLight"/>
              </a:rPr>
              <a:t> </a:t>
            </a:r>
            <a:r>
              <a:rPr lang="en-US" dirty="0" err="1">
                <a:latin typeface="Roboto Regular" pitchFamily="2" charset="0"/>
                <a:ea typeface="Roboto Regular" pitchFamily="2" charset="0"/>
                <a:cs typeface="Source Sans Pro ExtraLight"/>
              </a:rPr>
              <a:t>efficitur</a:t>
            </a:r>
            <a:r>
              <a:rPr lang="en-US" dirty="0">
                <a:latin typeface="Roboto Regular" pitchFamily="2" charset="0"/>
                <a:ea typeface="Roboto Regular" pitchFamily="2" charset="0"/>
                <a:cs typeface="Source Sans Pro ExtraLight"/>
              </a:rPr>
              <a:t> dictum</a:t>
            </a:r>
          </a:p>
        </p:txBody>
      </p:sp>
    </p:spTree>
    <p:extLst>
      <p:ext uri="{BB962C8B-B14F-4D97-AF65-F5344CB8AC3E}">
        <p14:creationId xmlns:p14="http://schemas.microsoft.com/office/powerpoint/2010/main" val="40695855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Freeform 26"/>
          <p:cNvSpPr>
            <a:spLocks noEditPoints="1"/>
          </p:cNvSpPr>
          <p:nvPr/>
        </p:nvSpPr>
        <p:spPr bwMode="auto">
          <a:xfrm rot="2700000">
            <a:off x="916719" y="1701219"/>
            <a:ext cx="262790" cy="483845"/>
          </a:xfrm>
          <a:custGeom>
            <a:avLst/>
            <a:gdLst>
              <a:gd name="T0" fmla="*/ 482 w 579"/>
              <a:gd name="T1" fmla="*/ 367 h 1073"/>
              <a:gd name="T2" fmla="*/ 482 w 579"/>
              <a:gd name="T3" fmla="*/ 148 h 1073"/>
              <a:gd name="T4" fmla="*/ 525 w 579"/>
              <a:gd name="T5" fmla="*/ 79 h 1073"/>
              <a:gd name="T6" fmla="*/ 447 w 579"/>
              <a:gd name="T7" fmla="*/ 0 h 1073"/>
              <a:gd name="T8" fmla="*/ 132 w 579"/>
              <a:gd name="T9" fmla="*/ 0 h 1073"/>
              <a:gd name="T10" fmla="*/ 54 w 579"/>
              <a:gd name="T11" fmla="*/ 79 h 1073"/>
              <a:gd name="T12" fmla="*/ 96 w 579"/>
              <a:gd name="T13" fmla="*/ 148 h 1073"/>
              <a:gd name="T14" fmla="*/ 96 w 579"/>
              <a:gd name="T15" fmla="*/ 367 h 1073"/>
              <a:gd name="T16" fmla="*/ 0 w 579"/>
              <a:gd name="T17" fmla="*/ 583 h 1073"/>
              <a:gd name="T18" fmla="*/ 0 w 579"/>
              <a:gd name="T19" fmla="*/ 612 h 1073"/>
              <a:gd name="T20" fmla="*/ 224 w 579"/>
              <a:gd name="T21" fmla="*/ 612 h 1073"/>
              <a:gd name="T22" fmla="*/ 224 w 579"/>
              <a:gd name="T23" fmla="*/ 923 h 1073"/>
              <a:gd name="T24" fmla="*/ 289 w 579"/>
              <a:gd name="T25" fmla="*/ 1073 h 1073"/>
              <a:gd name="T26" fmla="*/ 355 w 579"/>
              <a:gd name="T27" fmla="*/ 923 h 1073"/>
              <a:gd name="T28" fmla="*/ 355 w 579"/>
              <a:gd name="T29" fmla="*/ 612 h 1073"/>
              <a:gd name="T30" fmla="*/ 579 w 579"/>
              <a:gd name="T31" fmla="*/ 612 h 1073"/>
              <a:gd name="T32" fmla="*/ 579 w 579"/>
              <a:gd name="T33" fmla="*/ 583 h 1073"/>
              <a:gd name="T34" fmla="*/ 482 w 579"/>
              <a:gd name="T35" fmla="*/ 367 h 1073"/>
              <a:gd name="T36" fmla="*/ 132 w 579"/>
              <a:gd name="T37" fmla="*/ 58 h 1073"/>
              <a:gd name="T38" fmla="*/ 447 w 579"/>
              <a:gd name="T39" fmla="*/ 58 h 1073"/>
              <a:gd name="T40" fmla="*/ 467 w 579"/>
              <a:gd name="T41" fmla="*/ 79 h 1073"/>
              <a:gd name="T42" fmla="*/ 449 w 579"/>
              <a:gd name="T43" fmla="*/ 99 h 1073"/>
              <a:gd name="T44" fmla="*/ 436 w 579"/>
              <a:gd name="T45" fmla="*/ 101 h 1073"/>
              <a:gd name="T46" fmla="*/ 143 w 579"/>
              <a:gd name="T47" fmla="*/ 101 h 1073"/>
              <a:gd name="T48" fmla="*/ 129 w 579"/>
              <a:gd name="T49" fmla="*/ 99 h 1073"/>
              <a:gd name="T50" fmla="*/ 111 w 579"/>
              <a:gd name="T51" fmla="*/ 79 h 1073"/>
              <a:gd name="T52" fmla="*/ 132 w 579"/>
              <a:gd name="T53" fmla="*/ 58 h 1073"/>
              <a:gd name="T54" fmla="*/ 424 w 579"/>
              <a:gd name="T55" fmla="*/ 370 h 1073"/>
              <a:gd name="T56" fmla="*/ 154 w 579"/>
              <a:gd name="T57" fmla="*/ 370 h 1073"/>
              <a:gd name="T58" fmla="*/ 154 w 579"/>
              <a:gd name="T59" fmla="*/ 130 h 1073"/>
              <a:gd name="T60" fmla="*/ 424 w 579"/>
              <a:gd name="T61" fmla="*/ 130 h 1073"/>
              <a:gd name="T62" fmla="*/ 424 w 579"/>
              <a:gd name="T63" fmla="*/ 370 h 1073"/>
              <a:gd name="T64" fmla="*/ 297 w 579"/>
              <a:gd name="T65" fmla="*/ 911 h 1073"/>
              <a:gd name="T66" fmla="*/ 289 w 579"/>
              <a:gd name="T67" fmla="*/ 928 h 1073"/>
              <a:gd name="T68" fmla="*/ 282 w 579"/>
              <a:gd name="T69" fmla="*/ 911 h 1073"/>
              <a:gd name="T70" fmla="*/ 282 w 579"/>
              <a:gd name="T71" fmla="*/ 612 h 1073"/>
              <a:gd name="T72" fmla="*/ 297 w 579"/>
              <a:gd name="T73" fmla="*/ 612 h 1073"/>
              <a:gd name="T74" fmla="*/ 297 w 579"/>
              <a:gd name="T75" fmla="*/ 911 h 1073"/>
              <a:gd name="T76" fmla="*/ 355 w 579"/>
              <a:gd name="T77" fmla="*/ 554 h 1073"/>
              <a:gd name="T78" fmla="*/ 224 w 579"/>
              <a:gd name="T79" fmla="*/ 554 h 1073"/>
              <a:gd name="T80" fmla="*/ 59 w 579"/>
              <a:gd name="T81" fmla="*/ 554 h 1073"/>
              <a:gd name="T82" fmla="*/ 144 w 579"/>
              <a:gd name="T83" fmla="*/ 403 h 1073"/>
              <a:gd name="T84" fmla="*/ 149 w 579"/>
              <a:gd name="T85" fmla="*/ 399 h 1073"/>
              <a:gd name="T86" fmla="*/ 430 w 579"/>
              <a:gd name="T87" fmla="*/ 399 h 1073"/>
              <a:gd name="T88" fmla="*/ 435 w 579"/>
              <a:gd name="T89" fmla="*/ 403 h 1073"/>
              <a:gd name="T90" fmla="*/ 519 w 579"/>
              <a:gd name="T91" fmla="*/ 554 h 1073"/>
              <a:gd name="T92" fmla="*/ 355 w 579"/>
              <a:gd name="T93" fmla="*/ 55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9" h="1073">
                <a:moveTo>
                  <a:pt x="482" y="367"/>
                </a:moveTo>
                <a:cubicBezTo>
                  <a:pt x="482" y="148"/>
                  <a:pt x="482" y="148"/>
                  <a:pt x="482" y="148"/>
                </a:cubicBezTo>
                <a:cubicBezTo>
                  <a:pt x="508" y="135"/>
                  <a:pt x="525" y="109"/>
                  <a:pt x="525" y="79"/>
                </a:cubicBezTo>
                <a:cubicBezTo>
                  <a:pt x="525" y="35"/>
                  <a:pt x="490" y="0"/>
                  <a:pt x="447" y="0"/>
                </a:cubicBezTo>
                <a:cubicBezTo>
                  <a:pt x="132" y="0"/>
                  <a:pt x="132" y="0"/>
                  <a:pt x="132" y="0"/>
                </a:cubicBezTo>
                <a:cubicBezTo>
                  <a:pt x="89" y="0"/>
                  <a:pt x="54" y="35"/>
                  <a:pt x="54" y="79"/>
                </a:cubicBezTo>
                <a:cubicBezTo>
                  <a:pt x="54" y="109"/>
                  <a:pt x="71" y="135"/>
                  <a:pt x="96" y="148"/>
                </a:cubicBezTo>
                <a:cubicBezTo>
                  <a:pt x="96" y="367"/>
                  <a:pt x="96" y="367"/>
                  <a:pt x="96" y="367"/>
                </a:cubicBezTo>
                <a:cubicBezTo>
                  <a:pt x="35" y="422"/>
                  <a:pt x="0" y="500"/>
                  <a:pt x="0" y="583"/>
                </a:cubicBezTo>
                <a:cubicBezTo>
                  <a:pt x="0" y="612"/>
                  <a:pt x="0" y="612"/>
                  <a:pt x="0" y="612"/>
                </a:cubicBezTo>
                <a:cubicBezTo>
                  <a:pt x="224" y="612"/>
                  <a:pt x="224" y="612"/>
                  <a:pt x="224" y="612"/>
                </a:cubicBezTo>
                <a:cubicBezTo>
                  <a:pt x="224" y="923"/>
                  <a:pt x="224" y="923"/>
                  <a:pt x="224" y="923"/>
                </a:cubicBezTo>
                <a:cubicBezTo>
                  <a:pt x="289" y="1073"/>
                  <a:pt x="289" y="1073"/>
                  <a:pt x="289" y="1073"/>
                </a:cubicBezTo>
                <a:cubicBezTo>
                  <a:pt x="355" y="923"/>
                  <a:pt x="355" y="923"/>
                  <a:pt x="355" y="923"/>
                </a:cubicBezTo>
                <a:cubicBezTo>
                  <a:pt x="355" y="612"/>
                  <a:pt x="355" y="612"/>
                  <a:pt x="355" y="612"/>
                </a:cubicBezTo>
                <a:cubicBezTo>
                  <a:pt x="579" y="612"/>
                  <a:pt x="579" y="612"/>
                  <a:pt x="579" y="612"/>
                </a:cubicBezTo>
                <a:cubicBezTo>
                  <a:pt x="579" y="583"/>
                  <a:pt x="579" y="583"/>
                  <a:pt x="579" y="583"/>
                </a:cubicBezTo>
                <a:cubicBezTo>
                  <a:pt x="579" y="500"/>
                  <a:pt x="544" y="422"/>
                  <a:pt x="482" y="367"/>
                </a:cubicBezTo>
                <a:close/>
                <a:moveTo>
                  <a:pt x="132" y="58"/>
                </a:moveTo>
                <a:cubicBezTo>
                  <a:pt x="447" y="58"/>
                  <a:pt x="447" y="58"/>
                  <a:pt x="447" y="58"/>
                </a:cubicBezTo>
                <a:cubicBezTo>
                  <a:pt x="458" y="58"/>
                  <a:pt x="467" y="67"/>
                  <a:pt x="467" y="79"/>
                </a:cubicBezTo>
                <a:cubicBezTo>
                  <a:pt x="467" y="89"/>
                  <a:pt x="459" y="97"/>
                  <a:pt x="449" y="99"/>
                </a:cubicBezTo>
                <a:cubicBezTo>
                  <a:pt x="436" y="101"/>
                  <a:pt x="436" y="101"/>
                  <a:pt x="436" y="101"/>
                </a:cubicBezTo>
                <a:cubicBezTo>
                  <a:pt x="143" y="101"/>
                  <a:pt x="143" y="101"/>
                  <a:pt x="143" y="101"/>
                </a:cubicBezTo>
                <a:cubicBezTo>
                  <a:pt x="129" y="99"/>
                  <a:pt x="129" y="99"/>
                  <a:pt x="129" y="99"/>
                </a:cubicBezTo>
                <a:cubicBezTo>
                  <a:pt x="119" y="97"/>
                  <a:pt x="111" y="89"/>
                  <a:pt x="111" y="79"/>
                </a:cubicBezTo>
                <a:cubicBezTo>
                  <a:pt x="111" y="67"/>
                  <a:pt x="121" y="58"/>
                  <a:pt x="132" y="58"/>
                </a:cubicBezTo>
                <a:close/>
                <a:moveTo>
                  <a:pt x="424" y="370"/>
                </a:moveTo>
                <a:cubicBezTo>
                  <a:pt x="154" y="370"/>
                  <a:pt x="154" y="370"/>
                  <a:pt x="154" y="370"/>
                </a:cubicBezTo>
                <a:cubicBezTo>
                  <a:pt x="154" y="130"/>
                  <a:pt x="154" y="130"/>
                  <a:pt x="154" y="130"/>
                </a:cubicBezTo>
                <a:cubicBezTo>
                  <a:pt x="424" y="130"/>
                  <a:pt x="424" y="130"/>
                  <a:pt x="424" y="130"/>
                </a:cubicBezTo>
                <a:lnTo>
                  <a:pt x="424" y="370"/>
                </a:lnTo>
                <a:close/>
                <a:moveTo>
                  <a:pt x="297" y="911"/>
                </a:moveTo>
                <a:cubicBezTo>
                  <a:pt x="289" y="928"/>
                  <a:pt x="289" y="928"/>
                  <a:pt x="289" y="928"/>
                </a:cubicBezTo>
                <a:cubicBezTo>
                  <a:pt x="282" y="911"/>
                  <a:pt x="282" y="911"/>
                  <a:pt x="282" y="911"/>
                </a:cubicBezTo>
                <a:cubicBezTo>
                  <a:pt x="282" y="612"/>
                  <a:pt x="282" y="612"/>
                  <a:pt x="282" y="612"/>
                </a:cubicBezTo>
                <a:cubicBezTo>
                  <a:pt x="297" y="612"/>
                  <a:pt x="297" y="612"/>
                  <a:pt x="297" y="612"/>
                </a:cubicBezTo>
                <a:lnTo>
                  <a:pt x="297" y="911"/>
                </a:lnTo>
                <a:close/>
                <a:moveTo>
                  <a:pt x="355" y="554"/>
                </a:moveTo>
                <a:cubicBezTo>
                  <a:pt x="224" y="554"/>
                  <a:pt x="224" y="554"/>
                  <a:pt x="224" y="554"/>
                </a:cubicBezTo>
                <a:cubicBezTo>
                  <a:pt x="59" y="554"/>
                  <a:pt x="59" y="554"/>
                  <a:pt x="59" y="554"/>
                </a:cubicBezTo>
                <a:cubicBezTo>
                  <a:pt x="67" y="495"/>
                  <a:pt x="97" y="441"/>
                  <a:pt x="144" y="403"/>
                </a:cubicBezTo>
                <a:cubicBezTo>
                  <a:pt x="149" y="399"/>
                  <a:pt x="149" y="399"/>
                  <a:pt x="149" y="399"/>
                </a:cubicBezTo>
                <a:cubicBezTo>
                  <a:pt x="430" y="399"/>
                  <a:pt x="430" y="399"/>
                  <a:pt x="430" y="399"/>
                </a:cubicBezTo>
                <a:cubicBezTo>
                  <a:pt x="435" y="403"/>
                  <a:pt x="435" y="403"/>
                  <a:pt x="435" y="403"/>
                </a:cubicBezTo>
                <a:cubicBezTo>
                  <a:pt x="482" y="441"/>
                  <a:pt x="512" y="495"/>
                  <a:pt x="519" y="554"/>
                </a:cubicBezTo>
                <a:lnTo>
                  <a:pt x="355" y="554"/>
                </a:lnTo>
                <a:close/>
              </a:path>
            </a:pathLst>
          </a:custGeom>
          <a:solidFill>
            <a:srgbClr val="41B5E8"/>
          </a:solidFill>
          <a:ln>
            <a:noFill/>
          </a:ln>
        </p:spPr>
        <p:txBody>
          <a:bodyPr vert="horz" wrap="square" lIns="96289" tIns="48145" rIns="96289" bIns="48145" numCol="1" anchor="t" anchorCtr="0" compatLnSpc="1">
            <a:prstTxWarp prst="textNoShape">
              <a:avLst/>
            </a:prstTxWarp>
          </a:bodyPr>
          <a:lstStyle/>
          <a:p>
            <a:endParaRPr lang="id-ID" sz="948" dirty="0">
              <a:solidFill>
                <a:schemeClr val="bg1">
                  <a:lumMod val="95000"/>
                </a:schemeClr>
              </a:solidFill>
              <a:latin typeface="Calibri Light"/>
            </a:endParaRPr>
          </a:p>
        </p:txBody>
      </p:sp>
      <p:grpSp>
        <p:nvGrpSpPr>
          <p:cNvPr id="66" name="Group 65"/>
          <p:cNvGrpSpPr/>
          <p:nvPr>
            <p:custDataLst>
              <p:tags r:id="rId1"/>
            </p:custDataLst>
          </p:nvPr>
        </p:nvGrpSpPr>
        <p:grpSpPr>
          <a:xfrm>
            <a:off x="847041" y="3467065"/>
            <a:ext cx="402147" cy="382788"/>
            <a:chOff x="6719888" y="887413"/>
            <a:chExt cx="492125" cy="468312"/>
          </a:xfrm>
          <a:solidFill>
            <a:srgbClr val="41B5E8"/>
          </a:solidFill>
        </p:grpSpPr>
        <p:sp>
          <p:nvSpPr>
            <p:cNvPr id="67" name="Freeform 13"/>
            <p:cNvSpPr>
              <a:spLocks noEditPoints="1"/>
            </p:cNvSpPr>
            <p:nvPr/>
          </p:nvSpPr>
          <p:spPr bwMode="auto">
            <a:xfrm>
              <a:off x="6719888" y="887413"/>
              <a:ext cx="492125" cy="468312"/>
            </a:xfrm>
            <a:custGeom>
              <a:avLst/>
              <a:gdLst>
                <a:gd name="T0" fmla="*/ 117 w 128"/>
                <a:gd name="T1" fmla="*/ 0 h 122"/>
                <a:gd name="T2" fmla="*/ 11 w 128"/>
                <a:gd name="T3" fmla="*/ 0 h 122"/>
                <a:gd name="T4" fmla="*/ 0 w 128"/>
                <a:gd name="T5" fmla="*/ 11 h 122"/>
                <a:gd name="T6" fmla="*/ 0 w 128"/>
                <a:gd name="T7" fmla="*/ 93 h 122"/>
                <a:gd name="T8" fmla="*/ 11 w 128"/>
                <a:gd name="T9" fmla="*/ 104 h 122"/>
                <a:gd name="T10" fmla="*/ 43 w 128"/>
                <a:gd name="T11" fmla="*/ 104 h 122"/>
                <a:gd name="T12" fmla="*/ 38 w 128"/>
                <a:gd name="T13" fmla="*/ 110 h 122"/>
                <a:gd name="T14" fmla="*/ 35 w 128"/>
                <a:gd name="T15" fmla="*/ 113 h 122"/>
                <a:gd name="T16" fmla="*/ 34 w 128"/>
                <a:gd name="T17" fmla="*/ 118 h 122"/>
                <a:gd name="T18" fmla="*/ 42 w 128"/>
                <a:gd name="T19" fmla="*/ 122 h 122"/>
                <a:gd name="T20" fmla="*/ 86 w 128"/>
                <a:gd name="T21" fmla="*/ 122 h 122"/>
                <a:gd name="T22" fmla="*/ 94 w 128"/>
                <a:gd name="T23" fmla="*/ 118 h 122"/>
                <a:gd name="T24" fmla="*/ 94 w 128"/>
                <a:gd name="T25" fmla="*/ 113 h 122"/>
                <a:gd name="T26" fmla="*/ 91 w 128"/>
                <a:gd name="T27" fmla="*/ 110 h 122"/>
                <a:gd name="T28" fmla="*/ 85 w 128"/>
                <a:gd name="T29" fmla="*/ 104 h 122"/>
                <a:gd name="T30" fmla="*/ 117 w 128"/>
                <a:gd name="T31" fmla="*/ 104 h 122"/>
                <a:gd name="T32" fmla="*/ 128 w 128"/>
                <a:gd name="T33" fmla="*/ 93 h 122"/>
                <a:gd name="T34" fmla="*/ 128 w 128"/>
                <a:gd name="T35" fmla="*/ 11 h 122"/>
                <a:gd name="T36" fmla="*/ 117 w 128"/>
                <a:gd name="T37" fmla="*/ 0 h 122"/>
                <a:gd name="T38" fmla="*/ 88 w 128"/>
                <a:gd name="T39" fmla="*/ 113 h 122"/>
                <a:gd name="T40" fmla="*/ 90 w 128"/>
                <a:gd name="T41" fmla="*/ 116 h 122"/>
                <a:gd name="T42" fmla="*/ 90 w 128"/>
                <a:gd name="T43" fmla="*/ 116 h 122"/>
                <a:gd name="T44" fmla="*/ 86 w 128"/>
                <a:gd name="T45" fmla="*/ 118 h 122"/>
                <a:gd name="T46" fmla="*/ 42 w 128"/>
                <a:gd name="T47" fmla="*/ 118 h 122"/>
                <a:gd name="T48" fmla="*/ 38 w 128"/>
                <a:gd name="T49" fmla="*/ 116 h 122"/>
                <a:gd name="T50" fmla="*/ 38 w 128"/>
                <a:gd name="T51" fmla="*/ 116 h 122"/>
                <a:gd name="T52" fmla="*/ 38 w 128"/>
                <a:gd name="T53" fmla="*/ 116 h 122"/>
                <a:gd name="T54" fmla="*/ 40 w 128"/>
                <a:gd name="T55" fmla="*/ 113 h 122"/>
                <a:gd name="T56" fmla="*/ 48 w 128"/>
                <a:gd name="T57" fmla="*/ 104 h 122"/>
                <a:gd name="T58" fmla="*/ 80 w 128"/>
                <a:gd name="T59" fmla="*/ 104 h 122"/>
                <a:gd name="T60" fmla="*/ 88 w 128"/>
                <a:gd name="T61" fmla="*/ 113 h 122"/>
                <a:gd name="T62" fmla="*/ 120 w 128"/>
                <a:gd name="T63" fmla="*/ 93 h 122"/>
                <a:gd name="T64" fmla="*/ 117 w 128"/>
                <a:gd name="T65" fmla="*/ 96 h 122"/>
                <a:gd name="T66" fmla="*/ 11 w 128"/>
                <a:gd name="T67" fmla="*/ 96 h 122"/>
                <a:gd name="T68" fmla="*/ 8 w 128"/>
                <a:gd name="T69" fmla="*/ 93 h 122"/>
                <a:gd name="T70" fmla="*/ 8 w 128"/>
                <a:gd name="T71" fmla="*/ 11 h 122"/>
                <a:gd name="T72" fmla="*/ 11 w 128"/>
                <a:gd name="T73" fmla="*/ 8 h 122"/>
                <a:gd name="T74" fmla="*/ 117 w 128"/>
                <a:gd name="T75" fmla="*/ 8 h 122"/>
                <a:gd name="T76" fmla="*/ 120 w 128"/>
                <a:gd name="T77" fmla="*/ 11 h 122"/>
                <a:gd name="T78" fmla="*/ 120 w 128"/>
                <a:gd name="T79" fmla="*/ 93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2">
                  <a:moveTo>
                    <a:pt x="117" y="0"/>
                  </a:moveTo>
                  <a:cubicBezTo>
                    <a:pt x="11" y="0"/>
                    <a:pt x="11" y="0"/>
                    <a:pt x="11" y="0"/>
                  </a:cubicBezTo>
                  <a:cubicBezTo>
                    <a:pt x="5" y="0"/>
                    <a:pt x="0" y="5"/>
                    <a:pt x="0" y="11"/>
                  </a:cubicBezTo>
                  <a:cubicBezTo>
                    <a:pt x="0" y="93"/>
                    <a:pt x="0" y="93"/>
                    <a:pt x="0" y="93"/>
                  </a:cubicBezTo>
                  <a:cubicBezTo>
                    <a:pt x="0" y="99"/>
                    <a:pt x="5" y="104"/>
                    <a:pt x="11" y="104"/>
                  </a:cubicBezTo>
                  <a:cubicBezTo>
                    <a:pt x="43" y="104"/>
                    <a:pt x="43" y="104"/>
                    <a:pt x="43" y="104"/>
                  </a:cubicBezTo>
                  <a:cubicBezTo>
                    <a:pt x="42" y="106"/>
                    <a:pt x="39" y="109"/>
                    <a:pt x="38" y="110"/>
                  </a:cubicBezTo>
                  <a:cubicBezTo>
                    <a:pt x="36" y="111"/>
                    <a:pt x="35" y="112"/>
                    <a:pt x="35" y="113"/>
                  </a:cubicBezTo>
                  <a:cubicBezTo>
                    <a:pt x="34" y="114"/>
                    <a:pt x="33" y="116"/>
                    <a:pt x="34" y="118"/>
                  </a:cubicBezTo>
                  <a:cubicBezTo>
                    <a:pt x="35" y="120"/>
                    <a:pt x="37" y="122"/>
                    <a:pt x="42" y="122"/>
                  </a:cubicBezTo>
                  <a:cubicBezTo>
                    <a:pt x="86" y="122"/>
                    <a:pt x="86" y="122"/>
                    <a:pt x="86" y="122"/>
                  </a:cubicBezTo>
                  <a:cubicBezTo>
                    <a:pt x="91" y="122"/>
                    <a:pt x="93" y="120"/>
                    <a:pt x="94" y="118"/>
                  </a:cubicBezTo>
                  <a:cubicBezTo>
                    <a:pt x="95" y="116"/>
                    <a:pt x="95" y="114"/>
                    <a:pt x="94" y="113"/>
                  </a:cubicBezTo>
                  <a:cubicBezTo>
                    <a:pt x="93" y="112"/>
                    <a:pt x="92" y="111"/>
                    <a:pt x="91" y="110"/>
                  </a:cubicBezTo>
                  <a:cubicBezTo>
                    <a:pt x="89" y="109"/>
                    <a:pt x="87" y="106"/>
                    <a:pt x="85" y="104"/>
                  </a:cubicBezTo>
                  <a:cubicBezTo>
                    <a:pt x="117" y="104"/>
                    <a:pt x="117" y="104"/>
                    <a:pt x="117" y="104"/>
                  </a:cubicBezTo>
                  <a:cubicBezTo>
                    <a:pt x="123" y="104"/>
                    <a:pt x="128" y="99"/>
                    <a:pt x="128" y="93"/>
                  </a:cubicBezTo>
                  <a:cubicBezTo>
                    <a:pt x="128" y="11"/>
                    <a:pt x="128" y="11"/>
                    <a:pt x="128" y="11"/>
                  </a:cubicBezTo>
                  <a:cubicBezTo>
                    <a:pt x="128" y="5"/>
                    <a:pt x="123" y="0"/>
                    <a:pt x="117" y="0"/>
                  </a:cubicBezTo>
                  <a:close/>
                  <a:moveTo>
                    <a:pt x="88" y="113"/>
                  </a:moveTo>
                  <a:cubicBezTo>
                    <a:pt x="89" y="114"/>
                    <a:pt x="90" y="115"/>
                    <a:pt x="90" y="116"/>
                  </a:cubicBezTo>
                  <a:cubicBezTo>
                    <a:pt x="90" y="116"/>
                    <a:pt x="91" y="116"/>
                    <a:pt x="90" y="116"/>
                  </a:cubicBezTo>
                  <a:cubicBezTo>
                    <a:pt x="90" y="117"/>
                    <a:pt x="88" y="118"/>
                    <a:pt x="86" y="118"/>
                  </a:cubicBezTo>
                  <a:cubicBezTo>
                    <a:pt x="42" y="118"/>
                    <a:pt x="42" y="118"/>
                    <a:pt x="42" y="118"/>
                  </a:cubicBezTo>
                  <a:cubicBezTo>
                    <a:pt x="40" y="118"/>
                    <a:pt x="38" y="117"/>
                    <a:pt x="38" y="116"/>
                  </a:cubicBezTo>
                  <a:cubicBezTo>
                    <a:pt x="38" y="116"/>
                    <a:pt x="38" y="116"/>
                    <a:pt x="38" y="116"/>
                  </a:cubicBezTo>
                  <a:cubicBezTo>
                    <a:pt x="38" y="116"/>
                    <a:pt x="38" y="116"/>
                    <a:pt x="38" y="116"/>
                  </a:cubicBezTo>
                  <a:cubicBezTo>
                    <a:pt x="38" y="115"/>
                    <a:pt x="39" y="114"/>
                    <a:pt x="40" y="113"/>
                  </a:cubicBezTo>
                  <a:cubicBezTo>
                    <a:pt x="44" y="109"/>
                    <a:pt x="47" y="106"/>
                    <a:pt x="48" y="104"/>
                  </a:cubicBezTo>
                  <a:cubicBezTo>
                    <a:pt x="80" y="104"/>
                    <a:pt x="80" y="104"/>
                    <a:pt x="80" y="104"/>
                  </a:cubicBezTo>
                  <a:cubicBezTo>
                    <a:pt x="82" y="106"/>
                    <a:pt x="84" y="109"/>
                    <a:pt x="88" y="113"/>
                  </a:cubicBezTo>
                  <a:close/>
                  <a:moveTo>
                    <a:pt x="120" y="93"/>
                  </a:moveTo>
                  <a:cubicBezTo>
                    <a:pt x="120" y="95"/>
                    <a:pt x="119" y="96"/>
                    <a:pt x="117" y="96"/>
                  </a:cubicBezTo>
                  <a:cubicBezTo>
                    <a:pt x="11" y="96"/>
                    <a:pt x="11" y="96"/>
                    <a:pt x="11" y="96"/>
                  </a:cubicBezTo>
                  <a:cubicBezTo>
                    <a:pt x="9" y="96"/>
                    <a:pt x="8" y="95"/>
                    <a:pt x="8" y="93"/>
                  </a:cubicBezTo>
                  <a:cubicBezTo>
                    <a:pt x="8" y="11"/>
                    <a:pt x="8" y="11"/>
                    <a:pt x="8" y="11"/>
                  </a:cubicBezTo>
                  <a:cubicBezTo>
                    <a:pt x="8" y="9"/>
                    <a:pt x="9" y="8"/>
                    <a:pt x="11" y="8"/>
                  </a:cubicBezTo>
                  <a:cubicBezTo>
                    <a:pt x="117" y="8"/>
                    <a:pt x="117" y="8"/>
                    <a:pt x="117" y="8"/>
                  </a:cubicBezTo>
                  <a:cubicBezTo>
                    <a:pt x="119" y="8"/>
                    <a:pt x="120" y="9"/>
                    <a:pt x="120" y="11"/>
                  </a:cubicBezTo>
                  <a:lnTo>
                    <a:pt x="120" y="9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sp>
          <p:nvSpPr>
            <p:cNvPr id="68" name="Freeform 14"/>
            <p:cNvSpPr>
              <a:spLocks noEditPoints="1"/>
            </p:cNvSpPr>
            <p:nvPr/>
          </p:nvSpPr>
          <p:spPr bwMode="auto">
            <a:xfrm>
              <a:off x="6781801" y="947738"/>
              <a:ext cx="368300" cy="247650"/>
            </a:xfrm>
            <a:custGeom>
              <a:avLst/>
              <a:gdLst>
                <a:gd name="T0" fmla="*/ 89 w 96"/>
                <a:gd name="T1" fmla="*/ 0 h 64"/>
                <a:gd name="T2" fmla="*/ 7 w 96"/>
                <a:gd name="T3" fmla="*/ 0 h 64"/>
                <a:gd name="T4" fmla="*/ 0 w 96"/>
                <a:gd name="T5" fmla="*/ 7 h 64"/>
                <a:gd name="T6" fmla="*/ 0 w 96"/>
                <a:gd name="T7" fmla="*/ 57 h 64"/>
                <a:gd name="T8" fmla="*/ 7 w 96"/>
                <a:gd name="T9" fmla="*/ 64 h 64"/>
                <a:gd name="T10" fmla="*/ 89 w 96"/>
                <a:gd name="T11" fmla="*/ 64 h 64"/>
                <a:gd name="T12" fmla="*/ 96 w 96"/>
                <a:gd name="T13" fmla="*/ 57 h 64"/>
                <a:gd name="T14" fmla="*/ 96 w 96"/>
                <a:gd name="T15" fmla="*/ 7 h 64"/>
                <a:gd name="T16" fmla="*/ 89 w 96"/>
                <a:gd name="T17" fmla="*/ 0 h 64"/>
                <a:gd name="T18" fmla="*/ 92 w 96"/>
                <a:gd name="T19" fmla="*/ 57 h 64"/>
                <a:gd name="T20" fmla="*/ 89 w 96"/>
                <a:gd name="T21" fmla="*/ 60 h 64"/>
                <a:gd name="T22" fmla="*/ 7 w 96"/>
                <a:gd name="T23" fmla="*/ 60 h 64"/>
                <a:gd name="T24" fmla="*/ 4 w 96"/>
                <a:gd name="T25" fmla="*/ 57 h 64"/>
                <a:gd name="T26" fmla="*/ 4 w 96"/>
                <a:gd name="T27" fmla="*/ 7 h 64"/>
                <a:gd name="T28" fmla="*/ 7 w 96"/>
                <a:gd name="T29" fmla="*/ 4 h 64"/>
                <a:gd name="T30" fmla="*/ 89 w 96"/>
                <a:gd name="T31" fmla="*/ 4 h 64"/>
                <a:gd name="T32" fmla="*/ 92 w 96"/>
                <a:gd name="T33" fmla="*/ 7 h 64"/>
                <a:gd name="T34" fmla="*/ 92 w 96"/>
                <a:gd name="T35" fmla="*/ 5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64">
                  <a:moveTo>
                    <a:pt x="89" y="0"/>
                  </a:moveTo>
                  <a:cubicBezTo>
                    <a:pt x="7" y="0"/>
                    <a:pt x="7" y="0"/>
                    <a:pt x="7" y="0"/>
                  </a:cubicBezTo>
                  <a:cubicBezTo>
                    <a:pt x="3" y="0"/>
                    <a:pt x="0" y="3"/>
                    <a:pt x="0" y="7"/>
                  </a:cubicBezTo>
                  <a:cubicBezTo>
                    <a:pt x="0" y="57"/>
                    <a:pt x="0" y="57"/>
                    <a:pt x="0" y="57"/>
                  </a:cubicBezTo>
                  <a:cubicBezTo>
                    <a:pt x="0" y="61"/>
                    <a:pt x="3" y="64"/>
                    <a:pt x="7" y="64"/>
                  </a:cubicBezTo>
                  <a:cubicBezTo>
                    <a:pt x="89" y="64"/>
                    <a:pt x="89" y="64"/>
                    <a:pt x="89" y="64"/>
                  </a:cubicBezTo>
                  <a:cubicBezTo>
                    <a:pt x="93" y="64"/>
                    <a:pt x="96" y="61"/>
                    <a:pt x="96" y="57"/>
                  </a:cubicBezTo>
                  <a:cubicBezTo>
                    <a:pt x="96" y="7"/>
                    <a:pt x="96" y="7"/>
                    <a:pt x="96" y="7"/>
                  </a:cubicBezTo>
                  <a:cubicBezTo>
                    <a:pt x="96" y="3"/>
                    <a:pt x="93" y="0"/>
                    <a:pt x="89" y="0"/>
                  </a:cubicBezTo>
                  <a:close/>
                  <a:moveTo>
                    <a:pt x="92" y="57"/>
                  </a:moveTo>
                  <a:cubicBezTo>
                    <a:pt x="92" y="59"/>
                    <a:pt x="91" y="60"/>
                    <a:pt x="89" y="60"/>
                  </a:cubicBezTo>
                  <a:cubicBezTo>
                    <a:pt x="7" y="60"/>
                    <a:pt x="7" y="60"/>
                    <a:pt x="7" y="60"/>
                  </a:cubicBezTo>
                  <a:cubicBezTo>
                    <a:pt x="5" y="60"/>
                    <a:pt x="4" y="59"/>
                    <a:pt x="4" y="57"/>
                  </a:cubicBezTo>
                  <a:cubicBezTo>
                    <a:pt x="4" y="7"/>
                    <a:pt x="4" y="7"/>
                    <a:pt x="4" y="7"/>
                  </a:cubicBezTo>
                  <a:cubicBezTo>
                    <a:pt x="4" y="5"/>
                    <a:pt x="5" y="4"/>
                    <a:pt x="7" y="4"/>
                  </a:cubicBezTo>
                  <a:cubicBezTo>
                    <a:pt x="89" y="4"/>
                    <a:pt x="89" y="4"/>
                    <a:pt x="89" y="4"/>
                  </a:cubicBezTo>
                  <a:cubicBezTo>
                    <a:pt x="91" y="4"/>
                    <a:pt x="92" y="5"/>
                    <a:pt x="92" y="7"/>
                  </a:cubicBezTo>
                  <a:lnTo>
                    <a:pt x="92" y="5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sp>
          <p:nvSpPr>
            <p:cNvPr id="69" name="Freeform 15"/>
            <p:cNvSpPr>
              <a:spLocks noEditPoints="1"/>
            </p:cNvSpPr>
            <p:nvPr/>
          </p:nvSpPr>
          <p:spPr bwMode="auto">
            <a:xfrm>
              <a:off x="6943726" y="1201738"/>
              <a:ext cx="46038" cy="47625"/>
            </a:xfrm>
            <a:custGeom>
              <a:avLst/>
              <a:gdLst>
                <a:gd name="T0" fmla="*/ 6 w 12"/>
                <a:gd name="T1" fmla="*/ 0 h 12"/>
                <a:gd name="T2" fmla="*/ 0 w 12"/>
                <a:gd name="T3" fmla="*/ 6 h 12"/>
                <a:gd name="T4" fmla="*/ 6 w 12"/>
                <a:gd name="T5" fmla="*/ 12 h 12"/>
                <a:gd name="T6" fmla="*/ 12 w 12"/>
                <a:gd name="T7" fmla="*/ 6 h 12"/>
                <a:gd name="T8" fmla="*/ 6 w 12"/>
                <a:gd name="T9" fmla="*/ 0 h 12"/>
                <a:gd name="T10" fmla="*/ 6 w 12"/>
                <a:gd name="T11" fmla="*/ 8 h 12"/>
                <a:gd name="T12" fmla="*/ 4 w 12"/>
                <a:gd name="T13" fmla="*/ 6 h 12"/>
                <a:gd name="T14" fmla="*/ 6 w 12"/>
                <a:gd name="T15" fmla="*/ 4 h 12"/>
                <a:gd name="T16" fmla="*/ 8 w 12"/>
                <a:gd name="T17" fmla="*/ 6 h 12"/>
                <a:gd name="T18" fmla="*/ 6 w 12"/>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0"/>
                  </a:moveTo>
                  <a:cubicBezTo>
                    <a:pt x="3" y="0"/>
                    <a:pt x="0" y="3"/>
                    <a:pt x="0" y="6"/>
                  </a:cubicBezTo>
                  <a:cubicBezTo>
                    <a:pt x="0" y="9"/>
                    <a:pt x="3" y="12"/>
                    <a:pt x="6" y="12"/>
                  </a:cubicBezTo>
                  <a:cubicBezTo>
                    <a:pt x="9" y="12"/>
                    <a:pt x="12" y="9"/>
                    <a:pt x="12" y="6"/>
                  </a:cubicBezTo>
                  <a:cubicBezTo>
                    <a:pt x="12" y="3"/>
                    <a:pt x="9" y="0"/>
                    <a:pt x="6" y="0"/>
                  </a:cubicBezTo>
                  <a:close/>
                  <a:moveTo>
                    <a:pt x="6" y="8"/>
                  </a:moveTo>
                  <a:cubicBezTo>
                    <a:pt x="5" y="8"/>
                    <a:pt x="4" y="7"/>
                    <a:pt x="4" y="6"/>
                  </a:cubicBezTo>
                  <a:cubicBezTo>
                    <a:pt x="4" y="5"/>
                    <a:pt x="5" y="4"/>
                    <a:pt x="6" y="4"/>
                  </a:cubicBezTo>
                  <a:cubicBezTo>
                    <a:pt x="7" y="4"/>
                    <a:pt x="8" y="5"/>
                    <a:pt x="8" y="6"/>
                  </a:cubicBezTo>
                  <a:cubicBezTo>
                    <a:pt x="8" y="7"/>
                    <a:pt x="7" y="8"/>
                    <a:pt x="6" y="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sp>
          <p:nvSpPr>
            <p:cNvPr id="70" name="Freeform 16"/>
            <p:cNvSpPr>
              <a:spLocks/>
            </p:cNvSpPr>
            <p:nvPr/>
          </p:nvSpPr>
          <p:spPr bwMode="auto">
            <a:xfrm>
              <a:off x="6881813" y="1044575"/>
              <a:ext cx="61913" cy="65087"/>
            </a:xfrm>
            <a:custGeom>
              <a:avLst/>
              <a:gdLst>
                <a:gd name="T0" fmla="*/ 0 w 39"/>
                <a:gd name="T1" fmla="*/ 24 h 41"/>
                <a:gd name="T2" fmla="*/ 39 w 39"/>
                <a:gd name="T3" fmla="*/ 41 h 41"/>
                <a:gd name="T4" fmla="*/ 39 w 39"/>
                <a:gd name="T5" fmla="*/ 32 h 41"/>
                <a:gd name="T6" fmla="*/ 12 w 39"/>
                <a:gd name="T7" fmla="*/ 19 h 41"/>
                <a:gd name="T8" fmla="*/ 39 w 39"/>
                <a:gd name="T9" fmla="*/ 10 h 41"/>
                <a:gd name="T10" fmla="*/ 39 w 39"/>
                <a:gd name="T11" fmla="*/ 0 h 41"/>
                <a:gd name="T12" fmla="*/ 0 w 39"/>
                <a:gd name="T13" fmla="*/ 17 h 41"/>
                <a:gd name="T14" fmla="*/ 0 w 39"/>
                <a:gd name="T15" fmla="*/ 24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41">
                  <a:moveTo>
                    <a:pt x="0" y="24"/>
                  </a:moveTo>
                  <a:lnTo>
                    <a:pt x="39" y="41"/>
                  </a:lnTo>
                  <a:lnTo>
                    <a:pt x="39" y="32"/>
                  </a:lnTo>
                  <a:lnTo>
                    <a:pt x="12" y="19"/>
                  </a:lnTo>
                  <a:lnTo>
                    <a:pt x="39" y="10"/>
                  </a:lnTo>
                  <a:lnTo>
                    <a:pt x="39" y="0"/>
                  </a:lnTo>
                  <a:lnTo>
                    <a:pt x="0" y="17"/>
                  </a:lnTo>
                  <a:lnTo>
                    <a:pt x="0" y="2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sp>
          <p:nvSpPr>
            <p:cNvPr id="71" name="Freeform 17"/>
            <p:cNvSpPr>
              <a:spLocks/>
            </p:cNvSpPr>
            <p:nvPr/>
          </p:nvSpPr>
          <p:spPr bwMode="auto">
            <a:xfrm>
              <a:off x="6950076" y="1033463"/>
              <a:ext cx="31750" cy="87312"/>
            </a:xfrm>
            <a:custGeom>
              <a:avLst/>
              <a:gdLst>
                <a:gd name="T0" fmla="*/ 7 w 8"/>
                <a:gd name="T1" fmla="*/ 0 h 23"/>
                <a:gd name="T2" fmla="*/ 5 w 8"/>
                <a:gd name="T3" fmla="*/ 0 h 23"/>
                <a:gd name="T4" fmla="*/ 5 w 8"/>
                <a:gd name="T5" fmla="*/ 2 h 23"/>
                <a:gd name="T6" fmla="*/ 0 w 8"/>
                <a:gd name="T7" fmla="*/ 20 h 23"/>
                <a:gd name="T8" fmla="*/ 0 w 8"/>
                <a:gd name="T9" fmla="*/ 22 h 23"/>
                <a:gd name="T10" fmla="*/ 2 w 8"/>
                <a:gd name="T11" fmla="*/ 23 h 23"/>
                <a:gd name="T12" fmla="*/ 3 w 8"/>
                <a:gd name="T13" fmla="*/ 23 h 23"/>
                <a:gd name="T14" fmla="*/ 3 w 8"/>
                <a:gd name="T15" fmla="*/ 22 h 23"/>
                <a:gd name="T16" fmla="*/ 4 w 8"/>
                <a:gd name="T17" fmla="*/ 21 h 23"/>
                <a:gd name="T18" fmla="*/ 8 w 8"/>
                <a:gd name="T19" fmla="*/ 3 h 23"/>
                <a:gd name="T20" fmla="*/ 8 w 8"/>
                <a:gd name="T21" fmla="*/ 1 h 23"/>
                <a:gd name="T22" fmla="*/ 8 w 8"/>
                <a:gd name="T23" fmla="*/ 0 h 23"/>
                <a:gd name="T24" fmla="*/ 7 w 8"/>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3">
                  <a:moveTo>
                    <a:pt x="7" y="0"/>
                  </a:moveTo>
                  <a:cubicBezTo>
                    <a:pt x="6" y="0"/>
                    <a:pt x="6" y="0"/>
                    <a:pt x="5" y="0"/>
                  </a:cubicBezTo>
                  <a:cubicBezTo>
                    <a:pt x="5" y="0"/>
                    <a:pt x="5" y="1"/>
                    <a:pt x="5" y="2"/>
                  </a:cubicBezTo>
                  <a:cubicBezTo>
                    <a:pt x="0" y="20"/>
                    <a:pt x="0" y="20"/>
                    <a:pt x="0" y="20"/>
                  </a:cubicBezTo>
                  <a:cubicBezTo>
                    <a:pt x="0" y="21"/>
                    <a:pt x="0" y="22"/>
                    <a:pt x="0" y="22"/>
                  </a:cubicBezTo>
                  <a:cubicBezTo>
                    <a:pt x="0" y="23"/>
                    <a:pt x="1" y="23"/>
                    <a:pt x="2" y="23"/>
                  </a:cubicBezTo>
                  <a:cubicBezTo>
                    <a:pt x="2" y="23"/>
                    <a:pt x="2" y="23"/>
                    <a:pt x="3" y="23"/>
                  </a:cubicBezTo>
                  <a:cubicBezTo>
                    <a:pt x="3" y="23"/>
                    <a:pt x="3" y="22"/>
                    <a:pt x="3" y="22"/>
                  </a:cubicBezTo>
                  <a:cubicBezTo>
                    <a:pt x="3" y="22"/>
                    <a:pt x="3" y="21"/>
                    <a:pt x="4" y="21"/>
                  </a:cubicBezTo>
                  <a:cubicBezTo>
                    <a:pt x="8" y="3"/>
                    <a:pt x="8" y="3"/>
                    <a:pt x="8" y="3"/>
                  </a:cubicBezTo>
                  <a:cubicBezTo>
                    <a:pt x="8" y="2"/>
                    <a:pt x="8" y="1"/>
                    <a:pt x="8" y="1"/>
                  </a:cubicBezTo>
                  <a:cubicBezTo>
                    <a:pt x="8" y="0"/>
                    <a:pt x="8" y="0"/>
                    <a:pt x="8" y="0"/>
                  </a:cubicBezTo>
                  <a:cubicBezTo>
                    <a:pt x="8" y="0"/>
                    <a:pt x="7" y="0"/>
                    <a:pt x="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sp>
          <p:nvSpPr>
            <p:cNvPr id="72" name="Freeform 18"/>
            <p:cNvSpPr>
              <a:spLocks/>
            </p:cNvSpPr>
            <p:nvPr/>
          </p:nvSpPr>
          <p:spPr bwMode="auto">
            <a:xfrm>
              <a:off x="6989763" y="1044575"/>
              <a:ext cx="60325" cy="65087"/>
            </a:xfrm>
            <a:custGeom>
              <a:avLst/>
              <a:gdLst>
                <a:gd name="T0" fmla="*/ 0 w 38"/>
                <a:gd name="T1" fmla="*/ 10 h 41"/>
                <a:gd name="T2" fmla="*/ 26 w 38"/>
                <a:gd name="T3" fmla="*/ 19 h 41"/>
                <a:gd name="T4" fmla="*/ 0 w 38"/>
                <a:gd name="T5" fmla="*/ 32 h 41"/>
                <a:gd name="T6" fmla="*/ 0 w 38"/>
                <a:gd name="T7" fmla="*/ 41 h 41"/>
                <a:gd name="T8" fmla="*/ 38 w 38"/>
                <a:gd name="T9" fmla="*/ 24 h 41"/>
                <a:gd name="T10" fmla="*/ 38 w 38"/>
                <a:gd name="T11" fmla="*/ 17 h 41"/>
                <a:gd name="T12" fmla="*/ 0 w 38"/>
                <a:gd name="T13" fmla="*/ 0 h 41"/>
                <a:gd name="T14" fmla="*/ 0 w 38"/>
                <a:gd name="T15" fmla="*/ 1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1">
                  <a:moveTo>
                    <a:pt x="0" y="10"/>
                  </a:moveTo>
                  <a:lnTo>
                    <a:pt x="26" y="19"/>
                  </a:lnTo>
                  <a:lnTo>
                    <a:pt x="0" y="32"/>
                  </a:lnTo>
                  <a:lnTo>
                    <a:pt x="0" y="41"/>
                  </a:lnTo>
                  <a:lnTo>
                    <a:pt x="38" y="24"/>
                  </a:lnTo>
                  <a:lnTo>
                    <a:pt x="38" y="17"/>
                  </a:lnTo>
                  <a:lnTo>
                    <a:pt x="0" y="0"/>
                  </a:lnTo>
                  <a:lnTo>
                    <a:pt x="0" y="1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grpSp>
      <p:sp>
        <p:nvSpPr>
          <p:cNvPr id="73" name="Freeform 22"/>
          <p:cNvSpPr>
            <a:spLocks noEditPoints="1"/>
          </p:cNvSpPr>
          <p:nvPr/>
        </p:nvSpPr>
        <p:spPr bwMode="auto">
          <a:xfrm>
            <a:off x="844154" y="2579012"/>
            <a:ext cx="407921" cy="410530"/>
          </a:xfrm>
          <a:custGeom>
            <a:avLst/>
            <a:gdLst>
              <a:gd name="T0" fmla="*/ 326 w 326"/>
              <a:gd name="T1" fmla="*/ 108 h 328"/>
              <a:gd name="T2" fmla="*/ 219 w 326"/>
              <a:gd name="T3" fmla="*/ 0 h 328"/>
              <a:gd name="T4" fmla="*/ 31 w 326"/>
              <a:gd name="T5" fmla="*/ 188 h 328"/>
              <a:gd name="T6" fmla="*/ 0 w 326"/>
              <a:gd name="T7" fmla="*/ 328 h 328"/>
              <a:gd name="T8" fmla="*/ 139 w 326"/>
              <a:gd name="T9" fmla="*/ 295 h 328"/>
              <a:gd name="T10" fmla="*/ 326 w 326"/>
              <a:gd name="T11" fmla="*/ 108 h 328"/>
              <a:gd name="T12" fmla="*/ 129 w 326"/>
              <a:gd name="T13" fmla="*/ 275 h 328"/>
              <a:gd name="T14" fmla="*/ 112 w 326"/>
              <a:gd name="T15" fmla="*/ 258 h 328"/>
              <a:gd name="T16" fmla="*/ 280 w 326"/>
              <a:gd name="T17" fmla="*/ 91 h 328"/>
              <a:gd name="T18" fmla="*/ 297 w 326"/>
              <a:gd name="T19" fmla="*/ 108 h 328"/>
              <a:gd name="T20" fmla="*/ 129 w 326"/>
              <a:gd name="T21" fmla="*/ 275 h 328"/>
              <a:gd name="T22" fmla="*/ 67 w 326"/>
              <a:gd name="T23" fmla="*/ 290 h 328"/>
              <a:gd name="T24" fmla="*/ 37 w 326"/>
              <a:gd name="T25" fmla="*/ 260 h 328"/>
              <a:gd name="T26" fmla="*/ 48 w 326"/>
              <a:gd name="T27" fmla="*/ 208 h 328"/>
              <a:gd name="T28" fmla="*/ 66 w 326"/>
              <a:gd name="T29" fmla="*/ 226 h 328"/>
              <a:gd name="T30" fmla="*/ 66 w 326"/>
              <a:gd name="T31" fmla="*/ 226 h 328"/>
              <a:gd name="T32" fmla="*/ 105 w 326"/>
              <a:gd name="T33" fmla="*/ 265 h 328"/>
              <a:gd name="T34" fmla="*/ 105 w 326"/>
              <a:gd name="T35" fmla="*/ 265 h 328"/>
              <a:gd name="T36" fmla="*/ 119 w 326"/>
              <a:gd name="T37" fmla="*/ 278 h 328"/>
              <a:gd name="T38" fmla="*/ 67 w 326"/>
              <a:gd name="T39" fmla="*/ 290 h 328"/>
              <a:gd name="T40" fmla="*/ 272 w 326"/>
              <a:gd name="T41" fmla="*/ 83 h 328"/>
              <a:gd name="T42" fmla="*/ 105 w 326"/>
              <a:gd name="T43" fmla="*/ 250 h 328"/>
              <a:gd name="T44" fmla="*/ 80 w 326"/>
              <a:gd name="T45" fmla="*/ 226 h 328"/>
              <a:gd name="T46" fmla="*/ 248 w 326"/>
              <a:gd name="T47" fmla="*/ 59 h 328"/>
              <a:gd name="T48" fmla="*/ 272 w 326"/>
              <a:gd name="T49" fmla="*/ 83 h 328"/>
              <a:gd name="T50" fmla="*/ 219 w 326"/>
              <a:gd name="T51" fmla="*/ 30 h 328"/>
              <a:gd name="T52" fmla="*/ 240 w 326"/>
              <a:gd name="T53" fmla="*/ 51 h 328"/>
              <a:gd name="T54" fmla="*/ 73 w 326"/>
              <a:gd name="T55" fmla="*/ 218 h 328"/>
              <a:gd name="T56" fmla="*/ 52 w 326"/>
              <a:gd name="T57" fmla="*/ 197 h 328"/>
              <a:gd name="T58" fmla="*/ 219 w 326"/>
              <a:gd name="T59" fmla="*/ 3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6" h="328">
                <a:moveTo>
                  <a:pt x="326" y="108"/>
                </a:moveTo>
                <a:lnTo>
                  <a:pt x="219" y="0"/>
                </a:lnTo>
                <a:lnTo>
                  <a:pt x="31" y="188"/>
                </a:lnTo>
                <a:lnTo>
                  <a:pt x="0" y="328"/>
                </a:lnTo>
                <a:lnTo>
                  <a:pt x="139" y="295"/>
                </a:lnTo>
                <a:lnTo>
                  <a:pt x="326" y="108"/>
                </a:lnTo>
                <a:close/>
                <a:moveTo>
                  <a:pt x="129" y="275"/>
                </a:moveTo>
                <a:lnTo>
                  <a:pt x="112" y="258"/>
                </a:lnTo>
                <a:lnTo>
                  <a:pt x="280" y="91"/>
                </a:lnTo>
                <a:lnTo>
                  <a:pt x="297" y="108"/>
                </a:lnTo>
                <a:lnTo>
                  <a:pt x="129" y="275"/>
                </a:lnTo>
                <a:close/>
                <a:moveTo>
                  <a:pt x="67" y="290"/>
                </a:moveTo>
                <a:lnTo>
                  <a:pt x="37" y="260"/>
                </a:lnTo>
                <a:lnTo>
                  <a:pt x="48" y="208"/>
                </a:lnTo>
                <a:lnTo>
                  <a:pt x="66" y="226"/>
                </a:lnTo>
                <a:lnTo>
                  <a:pt x="66" y="226"/>
                </a:lnTo>
                <a:lnTo>
                  <a:pt x="105" y="265"/>
                </a:lnTo>
                <a:lnTo>
                  <a:pt x="105" y="265"/>
                </a:lnTo>
                <a:lnTo>
                  <a:pt x="119" y="278"/>
                </a:lnTo>
                <a:lnTo>
                  <a:pt x="67" y="290"/>
                </a:lnTo>
                <a:close/>
                <a:moveTo>
                  <a:pt x="272" y="83"/>
                </a:moveTo>
                <a:lnTo>
                  <a:pt x="105" y="250"/>
                </a:lnTo>
                <a:lnTo>
                  <a:pt x="80" y="226"/>
                </a:lnTo>
                <a:lnTo>
                  <a:pt x="248" y="59"/>
                </a:lnTo>
                <a:lnTo>
                  <a:pt x="272" y="83"/>
                </a:lnTo>
                <a:close/>
                <a:moveTo>
                  <a:pt x="219" y="30"/>
                </a:moveTo>
                <a:lnTo>
                  <a:pt x="240" y="51"/>
                </a:lnTo>
                <a:lnTo>
                  <a:pt x="73" y="218"/>
                </a:lnTo>
                <a:lnTo>
                  <a:pt x="52" y="197"/>
                </a:lnTo>
                <a:lnTo>
                  <a:pt x="219" y="30"/>
                </a:lnTo>
                <a:close/>
              </a:path>
            </a:pathLst>
          </a:custGeom>
          <a:solidFill>
            <a:srgbClr val="41B5E8"/>
          </a:solidFill>
          <a:ln>
            <a:noFill/>
          </a:ln>
        </p:spPr>
        <p:txBody>
          <a:bodyPr vert="horz" wrap="square" lIns="96289" tIns="48145" rIns="96289" bIns="48145" numCol="1" anchor="t" anchorCtr="0" compatLnSpc="1">
            <a:prstTxWarp prst="textNoShape">
              <a:avLst/>
            </a:prstTxWarp>
          </a:bodyPr>
          <a:lstStyle/>
          <a:p>
            <a:endParaRPr lang="id-ID" sz="948" dirty="0">
              <a:solidFill>
                <a:schemeClr val="bg1">
                  <a:lumMod val="95000"/>
                </a:schemeClr>
              </a:solidFill>
              <a:latin typeface="Calibri Light"/>
            </a:endParaRPr>
          </a:p>
        </p:txBody>
      </p:sp>
      <p:grpSp>
        <p:nvGrpSpPr>
          <p:cNvPr id="74" name="Group 73"/>
          <p:cNvGrpSpPr/>
          <p:nvPr>
            <p:custDataLst>
              <p:tags r:id="rId2"/>
            </p:custDataLst>
          </p:nvPr>
        </p:nvGrpSpPr>
        <p:grpSpPr>
          <a:xfrm rot="2700000">
            <a:off x="914214" y="5080804"/>
            <a:ext cx="267802" cy="466567"/>
            <a:chOff x="4732338" y="4783138"/>
            <a:chExt cx="703263" cy="1225550"/>
          </a:xfrm>
          <a:solidFill>
            <a:srgbClr val="41B5E8"/>
          </a:solidFill>
        </p:grpSpPr>
        <p:sp>
          <p:nvSpPr>
            <p:cNvPr id="75" name="Freeform 30"/>
            <p:cNvSpPr>
              <a:spLocks noEditPoints="1"/>
            </p:cNvSpPr>
            <p:nvPr/>
          </p:nvSpPr>
          <p:spPr bwMode="auto">
            <a:xfrm>
              <a:off x="4732338" y="4783138"/>
              <a:ext cx="703263" cy="1173163"/>
            </a:xfrm>
            <a:custGeom>
              <a:avLst/>
              <a:gdLst>
                <a:gd name="T0" fmla="*/ 50 w 184"/>
                <a:gd name="T1" fmla="*/ 310 h 310"/>
                <a:gd name="T2" fmla="*/ 32 w 184"/>
                <a:gd name="T3" fmla="*/ 282 h 310"/>
                <a:gd name="T4" fmla="*/ 10 w 184"/>
                <a:gd name="T5" fmla="*/ 199 h 310"/>
                <a:gd name="T6" fmla="*/ 39 w 184"/>
                <a:gd name="T7" fmla="*/ 171 h 310"/>
                <a:gd name="T8" fmla="*/ 30 w 184"/>
                <a:gd name="T9" fmla="*/ 116 h 310"/>
                <a:gd name="T10" fmla="*/ 36 w 184"/>
                <a:gd name="T11" fmla="*/ 73 h 310"/>
                <a:gd name="T12" fmla="*/ 36 w 184"/>
                <a:gd name="T13" fmla="*/ 72 h 310"/>
                <a:gd name="T14" fmla="*/ 92 w 184"/>
                <a:gd name="T15" fmla="*/ 0 h 310"/>
                <a:gd name="T16" fmla="*/ 148 w 184"/>
                <a:gd name="T17" fmla="*/ 72 h 310"/>
                <a:gd name="T18" fmla="*/ 148 w 184"/>
                <a:gd name="T19" fmla="*/ 73 h 310"/>
                <a:gd name="T20" fmla="*/ 155 w 184"/>
                <a:gd name="T21" fmla="*/ 116 h 310"/>
                <a:gd name="T22" fmla="*/ 145 w 184"/>
                <a:gd name="T23" fmla="*/ 171 h 310"/>
                <a:gd name="T24" fmla="*/ 174 w 184"/>
                <a:gd name="T25" fmla="*/ 199 h 310"/>
                <a:gd name="T26" fmla="*/ 153 w 184"/>
                <a:gd name="T27" fmla="*/ 282 h 310"/>
                <a:gd name="T28" fmla="*/ 134 w 184"/>
                <a:gd name="T29" fmla="*/ 310 h 310"/>
                <a:gd name="T30" fmla="*/ 134 w 184"/>
                <a:gd name="T31" fmla="*/ 276 h 310"/>
                <a:gd name="T32" fmla="*/ 118 w 184"/>
                <a:gd name="T33" fmla="*/ 239 h 310"/>
                <a:gd name="T34" fmla="*/ 118 w 184"/>
                <a:gd name="T35" fmla="*/ 240 h 310"/>
                <a:gd name="T36" fmla="*/ 115 w 184"/>
                <a:gd name="T37" fmla="*/ 246 h 310"/>
                <a:gd name="T38" fmla="*/ 108 w 184"/>
                <a:gd name="T39" fmla="*/ 245 h 310"/>
                <a:gd name="T40" fmla="*/ 76 w 184"/>
                <a:gd name="T41" fmla="*/ 245 h 310"/>
                <a:gd name="T42" fmla="*/ 69 w 184"/>
                <a:gd name="T43" fmla="*/ 246 h 310"/>
                <a:gd name="T44" fmla="*/ 66 w 184"/>
                <a:gd name="T45" fmla="*/ 240 h 310"/>
                <a:gd name="T46" fmla="*/ 66 w 184"/>
                <a:gd name="T47" fmla="*/ 239 h 310"/>
                <a:gd name="T48" fmla="*/ 50 w 184"/>
                <a:gd name="T49" fmla="*/ 276 h 310"/>
                <a:gd name="T50" fmla="*/ 50 w 184"/>
                <a:gd name="T51" fmla="*/ 310 h 310"/>
                <a:gd name="T52" fmla="*/ 55 w 184"/>
                <a:gd name="T53" fmla="*/ 79 h 310"/>
                <a:gd name="T54" fmla="*/ 50 w 184"/>
                <a:gd name="T55" fmla="*/ 116 h 310"/>
                <a:gd name="T56" fmla="*/ 61 w 184"/>
                <a:gd name="T57" fmla="*/ 174 h 310"/>
                <a:gd name="T58" fmla="*/ 64 w 184"/>
                <a:gd name="T59" fmla="*/ 184 h 310"/>
                <a:gd name="T60" fmla="*/ 54 w 184"/>
                <a:gd name="T61" fmla="*/ 187 h 310"/>
                <a:gd name="T62" fmla="*/ 29 w 184"/>
                <a:gd name="T63" fmla="*/ 205 h 310"/>
                <a:gd name="T64" fmla="*/ 36 w 184"/>
                <a:gd name="T65" fmla="*/ 247 h 310"/>
                <a:gd name="T66" fmla="*/ 65 w 184"/>
                <a:gd name="T67" fmla="*/ 215 h 310"/>
                <a:gd name="T68" fmla="*/ 74 w 184"/>
                <a:gd name="T69" fmla="*/ 209 h 310"/>
                <a:gd name="T70" fmla="*/ 79 w 184"/>
                <a:gd name="T71" fmla="*/ 219 h 310"/>
                <a:gd name="T72" fmla="*/ 82 w 184"/>
                <a:gd name="T73" fmla="*/ 225 h 310"/>
                <a:gd name="T74" fmla="*/ 103 w 184"/>
                <a:gd name="T75" fmla="*/ 225 h 310"/>
                <a:gd name="T76" fmla="*/ 105 w 184"/>
                <a:gd name="T77" fmla="*/ 219 h 310"/>
                <a:gd name="T78" fmla="*/ 110 w 184"/>
                <a:gd name="T79" fmla="*/ 209 h 310"/>
                <a:gd name="T80" fmla="*/ 120 w 184"/>
                <a:gd name="T81" fmla="*/ 215 h 310"/>
                <a:gd name="T82" fmla="*/ 148 w 184"/>
                <a:gd name="T83" fmla="*/ 247 h 310"/>
                <a:gd name="T84" fmla="*/ 155 w 184"/>
                <a:gd name="T85" fmla="*/ 205 h 310"/>
                <a:gd name="T86" fmla="*/ 130 w 184"/>
                <a:gd name="T87" fmla="*/ 187 h 310"/>
                <a:gd name="T88" fmla="*/ 120 w 184"/>
                <a:gd name="T89" fmla="*/ 184 h 310"/>
                <a:gd name="T90" fmla="*/ 123 w 184"/>
                <a:gd name="T91" fmla="*/ 174 h 310"/>
                <a:gd name="T92" fmla="*/ 135 w 184"/>
                <a:gd name="T93" fmla="*/ 116 h 310"/>
                <a:gd name="T94" fmla="*/ 129 w 184"/>
                <a:gd name="T95" fmla="*/ 79 h 310"/>
                <a:gd name="T96" fmla="*/ 92 w 184"/>
                <a:gd name="T97" fmla="*/ 21 h 310"/>
                <a:gd name="T98" fmla="*/ 55 w 184"/>
                <a:gd name="T99" fmla="*/ 79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 h="310">
                  <a:moveTo>
                    <a:pt x="50" y="310"/>
                  </a:moveTo>
                  <a:cubicBezTo>
                    <a:pt x="32" y="282"/>
                    <a:pt x="32" y="282"/>
                    <a:pt x="32" y="282"/>
                  </a:cubicBezTo>
                  <a:cubicBezTo>
                    <a:pt x="28" y="276"/>
                    <a:pt x="0" y="230"/>
                    <a:pt x="10" y="199"/>
                  </a:cubicBezTo>
                  <a:cubicBezTo>
                    <a:pt x="14" y="187"/>
                    <a:pt x="24" y="178"/>
                    <a:pt x="39" y="171"/>
                  </a:cubicBezTo>
                  <a:cubicBezTo>
                    <a:pt x="33" y="151"/>
                    <a:pt x="30" y="132"/>
                    <a:pt x="30" y="116"/>
                  </a:cubicBezTo>
                  <a:cubicBezTo>
                    <a:pt x="30" y="102"/>
                    <a:pt x="32" y="87"/>
                    <a:pt x="36" y="73"/>
                  </a:cubicBezTo>
                  <a:cubicBezTo>
                    <a:pt x="36" y="72"/>
                    <a:pt x="36" y="72"/>
                    <a:pt x="36" y="72"/>
                  </a:cubicBezTo>
                  <a:cubicBezTo>
                    <a:pt x="50" y="35"/>
                    <a:pt x="77" y="0"/>
                    <a:pt x="92" y="0"/>
                  </a:cubicBezTo>
                  <a:cubicBezTo>
                    <a:pt x="107" y="0"/>
                    <a:pt x="134" y="35"/>
                    <a:pt x="148" y="72"/>
                  </a:cubicBezTo>
                  <a:cubicBezTo>
                    <a:pt x="148" y="73"/>
                    <a:pt x="148" y="73"/>
                    <a:pt x="148" y="73"/>
                  </a:cubicBezTo>
                  <a:cubicBezTo>
                    <a:pt x="152" y="87"/>
                    <a:pt x="155" y="102"/>
                    <a:pt x="155" y="116"/>
                  </a:cubicBezTo>
                  <a:cubicBezTo>
                    <a:pt x="155" y="132"/>
                    <a:pt x="152" y="151"/>
                    <a:pt x="145" y="171"/>
                  </a:cubicBezTo>
                  <a:cubicBezTo>
                    <a:pt x="160" y="178"/>
                    <a:pt x="170" y="187"/>
                    <a:pt x="174" y="199"/>
                  </a:cubicBezTo>
                  <a:cubicBezTo>
                    <a:pt x="184" y="230"/>
                    <a:pt x="156" y="276"/>
                    <a:pt x="153" y="282"/>
                  </a:cubicBezTo>
                  <a:cubicBezTo>
                    <a:pt x="134" y="310"/>
                    <a:pt x="134" y="310"/>
                    <a:pt x="134" y="310"/>
                  </a:cubicBezTo>
                  <a:cubicBezTo>
                    <a:pt x="134" y="276"/>
                    <a:pt x="134" y="276"/>
                    <a:pt x="134" y="276"/>
                  </a:cubicBezTo>
                  <a:cubicBezTo>
                    <a:pt x="134" y="262"/>
                    <a:pt x="128" y="248"/>
                    <a:pt x="118" y="239"/>
                  </a:cubicBezTo>
                  <a:cubicBezTo>
                    <a:pt x="118" y="239"/>
                    <a:pt x="118" y="239"/>
                    <a:pt x="118" y="240"/>
                  </a:cubicBezTo>
                  <a:cubicBezTo>
                    <a:pt x="115" y="246"/>
                    <a:pt x="115" y="246"/>
                    <a:pt x="115" y="246"/>
                  </a:cubicBezTo>
                  <a:cubicBezTo>
                    <a:pt x="108" y="245"/>
                    <a:pt x="108" y="245"/>
                    <a:pt x="108" y="245"/>
                  </a:cubicBezTo>
                  <a:cubicBezTo>
                    <a:pt x="98" y="245"/>
                    <a:pt x="87" y="245"/>
                    <a:pt x="76" y="245"/>
                  </a:cubicBezTo>
                  <a:cubicBezTo>
                    <a:pt x="69" y="246"/>
                    <a:pt x="69" y="246"/>
                    <a:pt x="69" y="246"/>
                  </a:cubicBezTo>
                  <a:cubicBezTo>
                    <a:pt x="66" y="240"/>
                    <a:pt x="66" y="240"/>
                    <a:pt x="66" y="240"/>
                  </a:cubicBezTo>
                  <a:cubicBezTo>
                    <a:pt x="66" y="239"/>
                    <a:pt x="66" y="239"/>
                    <a:pt x="66" y="239"/>
                  </a:cubicBezTo>
                  <a:cubicBezTo>
                    <a:pt x="56" y="249"/>
                    <a:pt x="50" y="262"/>
                    <a:pt x="50" y="276"/>
                  </a:cubicBezTo>
                  <a:lnTo>
                    <a:pt x="50" y="310"/>
                  </a:lnTo>
                  <a:close/>
                  <a:moveTo>
                    <a:pt x="55" y="79"/>
                  </a:moveTo>
                  <a:cubicBezTo>
                    <a:pt x="52" y="91"/>
                    <a:pt x="50" y="104"/>
                    <a:pt x="50" y="116"/>
                  </a:cubicBezTo>
                  <a:cubicBezTo>
                    <a:pt x="50" y="132"/>
                    <a:pt x="53" y="152"/>
                    <a:pt x="61" y="174"/>
                  </a:cubicBezTo>
                  <a:cubicBezTo>
                    <a:pt x="64" y="184"/>
                    <a:pt x="64" y="184"/>
                    <a:pt x="64" y="184"/>
                  </a:cubicBezTo>
                  <a:cubicBezTo>
                    <a:pt x="54" y="187"/>
                    <a:pt x="54" y="187"/>
                    <a:pt x="54" y="187"/>
                  </a:cubicBezTo>
                  <a:cubicBezTo>
                    <a:pt x="45" y="190"/>
                    <a:pt x="33" y="196"/>
                    <a:pt x="29" y="205"/>
                  </a:cubicBezTo>
                  <a:cubicBezTo>
                    <a:pt x="26" y="216"/>
                    <a:pt x="30" y="233"/>
                    <a:pt x="36" y="247"/>
                  </a:cubicBezTo>
                  <a:cubicBezTo>
                    <a:pt x="42" y="234"/>
                    <a:pt x="52" y="223"/>
                    <a:pt x="65" y="215"/>
                  </a:cubicBezTo>
                  <a:cubicBezTo>
                    <a:pt x="74" y="209"/>
                    <a:pt x="74" y="209"/>
                    <a:pt x="74" y="209"/>
                  </a:cubicBezTo>
                  <a:cubicBezTo>
                    <a:pt x="79" y="219"/>
                    <a:pt x="79" y="219"/>
                    <a:pt x="79" y="219"/>
                  </a:cubicBezTo>
                  <a:cubicBezTo>
                    <a:pt x="80" y="221"/>
                    <a:pt x="81" y="223"/>
                    <a:pt x="82" y="225"/>
                  </a:cubicBezTo>
                  <a:cubicBezTo>
                    <a:pt x="89" y="225"/>
                    <a:pt x="96" y="225"/>
                    <a:pt x="103" y="225"/>
                  </a:cubicBezTo>
                  <a:cubicBezTo>
                    <a:pt x="104" y="223"/>
                    <a:pt x="105" y="221"/>
                    <a:pt x="105" y="219"/>
                  </a:cubicBezTo>
                  <a:cubicBezTo>
                    <a:pt x="110" y="209"/>
                    <a:pt x="110" y="209"/>
                    <a:pt x="110" y="209"/>
                  </a:cubicBezTo>
                  <a:cubicBezTo>
                    <a:pt x="120" y="215"/>
                    <a:pt x="120" y="215"/>
                    <a:pt x="120" y="215"/>
                  </a:cubicBezTo>
                  <a:cubicBezTo>
                    <a:pt x="133" y="223"/>
                    <a:pt x="142" y="234"/>
                    <a:pt x="148" y="247"/>
                  </a:cubicBezTo>
                  <a:cubicBezTo>
                    <a:pt x="154" y="233"/>
                    <a:pt x="159" y="216"/>
                    <a:pt x="155" y="205"/>
                  </a:cubicBezTo>
                  <a:cubicBezTo>
                    <a:pt x="152" y="196"/>
                    <a:pt x="140" y="190"/>
                    <a:pt x="130" y="187"/>
                  </a:cubicBezTo>
                  <a:cubicBezTo>
                    <a:pt x="120" y="184"/>
                    <a:pt x="120" y="184"/>
                    <a:pt x="120" y="184"/>
                  </a:cubicBezTo>
                  <a:cubicBezTo>
                    <a:pt x="123" y="174"/>
                    <a:pt x="123" y="174"/>
                    <a:pt x="123" y="174"/>
                  </a:cubicBezTo>
                  <a:cubicBezTo>
                    <a:pt x="131" y="152"/>
                    <a:pt x="135" y="132"/>
                    <a:pt x="135" y="116"/>
                  </a:cubicBezTo>
                  <a:cubicBezTo>
                    <a:pt x="135" y="104"/>
                    <a:pt x="133" y="91"/>
                    <a:pt x="129" y="79"/>
                  </a:cubicBezTo>
                  <a:cubicBezTo>
                    <a:pt x="117" y="47"/>
                    <a:pt x="99" y="26"/>
                    <a:pt x="92" y="21"/>
                  </a:cubicBezTo>
                  <a:cubicBezTo>
                    <a:pt x="85" y="26"/>
                    <a:pt x="67" y="47"/>
                    <a:pt x="55" y="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sp>
          <p:nvSpPr>
            <p:cNvPr id="76" name="Freeform 31"/>
            <p:cNvSpPr>
              <a:spLocks noEditPoints="1"/>
            </p:cNvSpPr>
            <p:nvPr/>
          </p:nvSpPr>
          <p:spPr bwMode="auto">
            <a:xfrm>
              <a:off x="4960938" y="5127626"/>
              <a:ext cx="244475" cy="241300"/>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12 h 64"/>
                <a:gd name="T12" fmla="*/ 12 w 64"/>
                <a:gd name="T13" fmla="*/ 32 h 64"/>
                <a:gd name="T14" fmla="*/ 32 w 64"/>
                <a:gd name="T15" fmla="*/ 52 h 64"/>
                <a:gd name="T16" fmla="*/ 52 w 64"/>
                <a:gd name="T17" fmla="*/ 32 h 64"/>
                <a:gd name="T18" fmla="*/ 32 w 64"/>
                <a:gd name="T19" fmla="*/ 1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12"/>
                  </a:moveTo>
                  <a:cubicBezTo>
                    <a:pt x="21" y="12"/>
                    <a:pt x="12" y="21"/>
                    <a:pt x="12" y="32"/>
                  </a:cubicBezTo>
                  <a:cubicBezTo>
                    <a:pt x="12" y="43"/>
                    <a:pt x="21" y="52"/>
                    <a:pt x="32" y="52"/>
                  </a:cubicBezTo>
                  <a:cubicBezTo>
                    <a:pt x="43" y="52"/>
                    <a:pt x="52" y="43"/>
                    <a:pt x="52" y="32"/>
                  </a:cubicBezTo>
                  <a:cubicBezTo>
                    <a:pt x="52" y="21"/>
                    <a:pt x="43" y="12"/>
                    <a:pt x="3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sp>
          <p:nvSpPr>
            <p:cNvPr id="77" name="Freeform 32"/>
            <p:cNvSpPr>
              <a:spLocks noEditPoints="1"/>
            </p:cNvSpPr>
            <p:nvPr/>
          </p:nvSpPr>
          <p:spPr bwMode="auto">
            <a:xfrm>
              <a:off x="4973638" y="5649913"/>
              <a:ext cx="225425" cy="358775"/>
            </a:xfrm>
            <a:custGeom>
              <a:avLst/>
              <a:gdLst>
                <a:gd name="T0" fmla="*/ 29 w 59"/>
                <a:gd name="T1" fmla="*/ 95 h 95"/>
                <a:gd name="T2" fmla="*/ 24 w 59"/>
                <a:gd name="T3" fmla="*/ 85 h 95"/>
                <a:gd name="T4" fmla="*/ 0 w 59"/>
                <a:gd name="T5" fmla="*/ 26 h 95"/>
                <a:gd name="T6" fmla="*/ 29 w 59"/>
                <a:gd name="T7" fmla="*/ 0 h 95"/>
                <a:gd name="T8" fmla="*/ 59 w 59"/>
                <a:gd name="T9" fmla="*/ 26 h 95"/>
                <a:gd name="T10" fmla="*/ 34 w 59"/>
                <a:gd name="T11" fmla="*/ 85 h 95"/>
                <a:gd name="T12" fmla="*/ 29 w 59"/>
                <a:gd name="T13" fmla="*/ 95 h 95"/>
                <a:gd name="T14" fmla="*/ 29 w 59"/>
                <a:gd name="T15" fmla="*/ 12 h 95"/>
                <a:gd name="T16" fmla="*/ 12 w 59"/>
                <a:gd name="T17" fmla="*/ 26 h 95"/>
                <a:gd name="T18" fmla="*/ 29 w 59"/>
                <a:gd name="T19" fmla="*/ 69 h 95"/>
                <a:gd name="T20" fmla="*/ 47 w 59"/>
                <a:gd name="T21" fmla="*/ 26 h 95"/>
                <a:gd name="T22" fmla="*/ 29 w 59"/>
                <a:gd name="T23"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95">
                  <a:moveTo>
                    <a:pt x="29" y="95"/>
                  </a:moveTo>
                  <a:cubicBezTo>
                    <a:pt x="24" y="85"/>
                    <a:pt x="24" y="85"/>
                    <a:pt x="24" y="85"/>
                  </a:cubicBezTo>
                  <a:cubicBezTo>
                    <a:pt x="20" y="77"/>
                    <a:pt x="0" y="38"/>
                    <a:pt x="0" y="26"/>
                  </a:cubicBezTo>
                  <a:cubicBezTo>
                    <a:pt x="0" y="12"/>
                    <a:pt x="13" y="0"/>
                    <a:pt x="29" y="0"/>
                  </a:cubicBezTo>
                  <a:cubicBezTo>
                    <a:pt x="45" y="0"/>
                    <a:pt x="59" y="12"/>
                    <a:pt x="59" y="26"/>
                  </a:cubicBezTo>
                  <a:cubicBezTo>
                    <a:pt x="59" y="38"/>
                    <a:pt x="39" y="77"/>
                    <a:pt x="34" y="85"/>
                  </a:cubicBezTo>
                  <a:lnTo>
                    <a:pt x="29" y="95"/>
                  </a:lnTo>
                  <a:close/>
                  <a:moveTo>
                    <a:pt x="29" y="12"/>
                  </a:moveTo>
                  <a:cubicBezTo>
                    <a:pt x="19" y="12"/>
                    <a:pt x="12" y="18"/>
                    <a:pt x="12" y="26"/>
                  </a:cubicBezTo>
                  <a:cubicBezTo>
                    <a:pt x="12" y="31"/>
                    <a:pt x="20" y="50"/>
                    <a:pt x="29" y="69"/>
                  </a:cubicBezTo>
                  <a:cubicBezTo>
                    <a:pt x="38" y="50"/>
                    <a:pt x="47" y="31"/>
                    <a:pt x="47" y="26"/>
                  </a:cubicBezTo>
                  <a:cubicBezTo>
                    <a:pt x="47" y="18"/>
                    <a:pt x="39" y="12"/>
                    <a:pt x="29"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grpSp>
      <p:grpSp>
        <p:nvGrpSpPr>
          <p:cNvPr id="84" name="Group 83"/>
          <p:cNvGrpSpPr/>
          <p:nvPr>
            <p:custDataLst>
              <p:tags r:id="rId3"/>
            </p:custDataLst>
          </p:nvPr>
        </p:nvGrpSpPr>
        <p:grpSpPr>
          <a:xfrm>
            <a:off x="855950" y="4277524"/>
            <a:ext cx="384330" cy="363797"/>
            <a:chOff x="8332788" y="4254500"/>
            <a:chExt cx="561975" cy="531813"/>
          </a:xfrm>
          <a:solidFill>
            <a:srgbClr val="41B5E8"/>
          </a:solidFill>
        </p:grpSpPr>
        <p:sp>
          <p:nvSpPr>
            <p:cNvPr id="85" name="Rectangle 16"/>
            <p:cNvSpPr>
              <a:spLocks noChangeArrowheads="1"/>
            </p:cNvSpPr>
            <p:nvPr/>
          </p:nvSpPr>
          <p:spPr bwMode="auto">
            <a:xfrm>
              <a:off x="8416926" y="4486275"/>
              <a:ext cx="188913" cy="158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sp>
          <p:nvSpPr>
            <p:cNvPr id="86" name="Rectangle 17"/>
            <p:cNvSpPr>
              <a:spLocks noChangeArrowheads="1"/>
            </p:cNvSpPr>
            <p:nvPr/>
          </p:nvSpPr>
          <p:spPr bwMode="auto">
            <a:xfrm>
              <a:off x="8416926" y="4416425"/>
              <a:ext cx="139700" cy="158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sp>
          <p:nvSpPr>
            <p:cNvPr id="87" name="Rectangle 18"/>
            <p:cNvSpPr>
              <a:spLocks noChangeArrowheads="1"/>
            </p:cNvSpPr>
            <p:nvPr/>
          </p:nvSpPr>
          <p:spPr bwMode="auto">
            <a:xfrm>
              <a:off x="8416926" y="4564063"/>
              <a:ext cx="139700" cy="1746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sp>
          <p:nvSpPr>
            <p:cNvPr id="91" name="Freeform 19"/>
            <p:cNvSpPr>
              <a:spLocks/>
            </p:cNvSpPr>
            <p:nvPr/>
          </p:nvSpPr>
          <p:spPr bwMode="auto">
            <a:xfrm>
              <a:off x="8629651" y="4513263"/>
              <a:ext cx="247650" cy="127000"/>
            </a:xfrm>
            <a:custGeom>
              <a:avLst/>
              <a:gdLst>
                <a:gd name="T0" fmla="*/ 295 w 561"/>
                <a:gd name="T1" fmla="*/ 289 h 289"/>
                <a:gd name="T2" fmla="*/ 61 w 561"/>
                <a:gd name="T3" fmla="*/ 157 h 289"/>
                <a:gd name="T4" fmla="*/ 34 w 561"/>
                <a:gd name="T5" fmla="*/ 172 h 289"/>
                <a:gd name="T6" fmla="*/ 23 w 561"/>
                <a:gd name="T7" fmla="*/ 175 h 289"/>
                <a:gd name="T8" fmla="*/ 7 w 561"/>
                <a:gd name="T9" fmla="*/ 168 h 289"/>
                <a:gd name="T10" fmla="*/ 0 w 561"/>
                <a:gd name="T11" fmla="*/ 152 h 289"/>
                <a:gd name="T12" fmla="*/ 1 w 561"/>
                <a:gd name="T13" fmla="*/ 23 h 289"/>
                <a:gd name="T14" fmla="*/ 23 w 561"/>
                <a:gd name="T15" fmla="*/ 0 h 289"/>
                <a:gd name="T16" fmla="*/ 35 w 561"/>
                <a:gd name="T17" fmla="*/ 3 h 289"/>
                <a:gd name="T18" fmla="*/ 148 w 561"/>
                <a:gd name="T19" fmla="*/ 68 h 289"/>
                <a:gd name="T20" fmla="*/ 160 w 561"/>
                <a:gd name="T21" fmla="*/ 88 h 289"/>
                <a:gd name="T22" fmla="*/ 148 w 561"/>
                <a:gd name="T23" fmla="*/ 108 h 289"/>
                <a:gd name="T24" fmla="*/ 116 w 561"/>
                <a:gd name="T25" fmla="*/ 126 h 289"/>
                <a:gd name="T26" fmla="*/ 295 w 561"/>
                <a:gd name="T27" fmla="*/ 225 h 289"/>
                <a:gd name="T28" fmla="*/ 495 w 561"/>
                <a:gd name="T29" fmla="*/ 97 h 289"/>
                <a:gd name="T30" fmla="*/ 525 w 561"/>
                <a:gd name="T31" fmla="*/ 77 h 289"/>
                <a:gd name="T32" fmla="*/ 537 w 561"/>
                <a:gd name="T33" fmla="*/ 80 h 289"/>
                <a:gd name="T34" fmla="*/ 554 w 561"/>
                <a:gd name="T35" fmla="*/ 121 h 289"/>
                <a:gd name="T36" fmla="*/ 295 w 561"/>
                <a:gd name="T37" fmla="*/ 28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1" h="289">
                  <a:moveTo>
                    <a:pt x="295" y="289"/>
                  </a:moveTo>
                  <a:cubicBezTo>
                    <a:pt x="200" y="289"/>
                    <a:pt x="111" y="239"/>
                    <a:pt x="61" y="157"/>
                  </a:cubicBezTo>
                  <a:cubicBezTo>
                    <a:pt x="47" y="165"/>
                    <a:pt x="36" y="171"/>
                    <a:pt x="34" y="172"/>
                  </a:cubicBezTo>
                  <a:cubicBezTo>
                    <a:pt x="31" y="174"/>
                    <a:pt x="27" y="175"/>
                    <a:pt x="23" y="175"/>
                  </a:cubicBezTo>
                  <a:cubicBezTo>
                    <a:pt x="17" y="175"/>
                    <a:pt x="11" y="172"/>
                    <a:pt x="7" y="168"/>
                  </a:cubicBezTo>
                  <a:cubicBezTo>
                    <a:pt x="2" y="164"/>
                    <a:pt x="0" y="158"/>
                    <a:pt x="0" y="152"/>
                  </a:cubicBezTo>
                  <a:cubicBezTo>
                    <a:pt x="0" y="140"/>
                    <a:pt x="0" y="29"/>
                    <a:pt x="1" y="23"/>
                  </a:cubicBezTo>
                  <a:cubicBezTo>
                    <a:pt x="1" y="10"/>
                    <a:pt x="11" y="0"/>
                    <a:pt x="23" y="0"/>
                  </a:cubicBezTo>
                  <a:cubicBezTo>
                    <a:pt x="27" y="0"/>
                    <a:pt x="32" y="1"/>
                    <a:pt x="35" y="3"/>
                  </a:cubicBezTo>
                  <a:cubicBezTo>
                    <a:pt x="37" y="4"/>
                    <a:pt x="145" y="66"/>
                    <a:pt x="148" y="68"/>
                  </a:cubicBezTo>
                  <a:cubicBezTo>
                    <a:pt x="155" y="73"/>
                    <a:pt x="160" y="80"/>
                    <a:pt x="160" y="88"/>
                  </a:cubicBezTo>
                  <a:cubicBezTo>
                    <a:pt x="160" y="96"/>
                    <a:pt x="155" y="104"/>
                    <a:pt x="148" y="108"/>
                  </a:cubicBezTo>
                  <a:cubicBezTo>
                    <a:pt x="145" y="110"/>
                    <a:pt x="129" y="119"/>
                    <a:pt x="116" y="126"/>
                  </a:cubicBezTo>
                  <a:cubicBezTo>
                    <a:pt x="156" y="188"/>
                    <a:pt x="223" y="225"/>
                    <a:pt x="295" y="225"/>
                  </a:cubicBezTo>
                  <a:cubicBezTo>
                    <a:pt x="385" y="225"/>
                    <a:pt x="463" y="175"/>
                    <a:pt x="495" y="97"/>
                  </a:cubicBezTo>
                  <a:cubicBezTo>
                    <a:pt x="500" y="85"/>
                    <a:pt x="512" y="77"/>
                    <a:pt x="525" y="77"/>
                  </a:cubicBezTo>
                  <a:cubicBezTo>
                    <a:pt x="529" y="77"/>
                    <a:pt x="533" y="78"/>
                    <a:pt x="537" y="80"/>
                  </a:cubicBezTo>
                  <a:cubicBezTo>
                    <a:pt x="553" y="86"/>
                    <a:pt x="561" y="105"/>
                    <a:pt x="554" y="121"/>
                  </a:cubicBezTo>
                  <a:cubicBezTo>
                    <a:pt x="512" y="223"/>
                    <a:pt x="411" y="289"/>
                    <a:pt x="295" y="2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sp>
          <p:nvSpPr>
            <p:cNvPr id="92" name="Freeform 20"/>
            <p:cNvSpPr>
              <a:spLocks/>
            </p:cNvSpPr>
            <p:nvPr/>
          </p:nvSpPr>
          <p:spPr bwMode="auto">
            <a:xfrm>
              <a:off x="8643938" y="4391025"/>
              <a:ext cx="250825" cy="128588"/>
            </a:xfrm>
            <a:custGeom>
              <a:avLst/>
              <a:gdLst>
                <a:gd name="T0" fmla="*/ 544 w 567"/>
                <a:gd name="T1" fmla="*/ 289 h 289"/>
                <a:gd name="T2" fmla="*/ 533 w 567"/>
                <a:gd name="T3" fmla="*/ 286 h 289"/>
                <a:gd name="T4" fmla="*/ 419 w 567"/>
                <a:gd name="T5" fmla="*/ 222 h 289"/>
                <a:gd name="T6" fmla="*/ 407 w 567"/>
                <a:gd name="T7" fmla="*/ 202 h 289"/>
                <a:gd name="T8" fmla="*/ 419 w 567"/>
                <a:gd name="T9" fmla="*/ 182 h 289"/>
                <a:gd name="T10" fmla="*/ 448 w 567"/>
                <a:gd name="T11" fmla="*/ 165 h 289"/>
                <a:gd name="T12" fmla="*/ 260 w 567"/>
                <a:gd name="T13" fmla="*/ 63 h 289"/>
                <a:gd name="T14" fmla="*/ 66 w 567"/>
                <a:gd name="T15" fmla="*/ 193 h 289"/>
                <a:gd name="T16" fmla="*/ 36 w 567"/>
                <a:gd name="T17" fmla="*/ 212 h 289"/>
                <a:gd name="T18" fmla="*/ 24 w 567"/>
                <a:gd name="T19" fmla="*/ 209 h 289"/>
                <a:gd name="T20" fmla="*/ 7 w 567"/>
                <a:gd name="T21" fmla="*/ 167 h 289"/>
                <a:gd name="T22" fmla="*/ 260 w 567"/>
                <a:gd name="T23" fmla="*/ 0 h 289"/>
                <a:gd name="T24" fmla="*/ 503 w 567"/>
                <a:gd name="T25" fmla="*/ 134 h 289"/>
                <a:gd name="T26" fmla="*/ 532 w 567"/>
                <a:gd name="T27" fmla="*/ 117 h 289"/>
                <a:gd name="T28" fmla="*/ 543 w 567"/>
                <a:gd name="T29" fmla="*/ 114 h 289"/>
                <a:gd name="T30" fmla="*/ 566 w 567"/>
                <a:gd name="T31" fmla="*/ 137 h 289"/>
                <a:gd name="T32" fmla="*/ 567 w 567"/>
                <a:gd name="T33" fmla="*/ 266 h 289"/>
                <a:gd name="T34" fmla="*/ 560 w 567"/>
                <a:gd name="T35" fmla="*/ 282 h 289"/>
                <a:gd name="T36" fmla="*/ 544 w 567"/>
                <a:gd name="T37" fmla="*/ 28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7" h="289">
                  <a:moveTo>
                    <a:pt x="544" y="289"/>
                  </a:moveTo>
                  <a:cubicBezTo>
                    <a:pt x="540" y="289"/>
                    <a:pt x="536" y="288"/>
                    <a:pt x="533" y="286"/>
                  </a:cubicBezTo>
                  <a:cubicBezTo>
                    <a:pt x="527" y="283"/>
                    <a:pt x="426" y="226"/>
                    <a:pt x="419" y="222"/>
                  </a:cubicBezTo>
                  <a:cubicBezTo>
                    <a:pt x="411" y="218"/>
                    <a:pt x="407" y="210"/>
                    <a:pt x="407" y="202"/>
                  </a:cubicBezTo>
                  <a:cubicBezTo>
                    <a:pt x="407" y="194"/>
                    <a:pt x="411" y="187"/>
                    <a:pt x="419" y="182"/>
                  </a:cubicBezTo>
                  <a:cubicBezTo>
                    <a:pt x="420" y="181"/>
                    <a:pt x="433" y="174"/>
                    <a:pt x="448" y="165"/>
                  </a:cubicBezTo>
                  <a:cubicBezTo>
                    <a:pt x="413" y="101"/>
                    <a:pt x="344" y="63"/>
                    <a:pt x="260" y="63"/>
                  </a:cubicBezTo>
                  <a:cubicBezTo>
                    <a:pt x="176" y="63"/>
                    <a:pt x="100" y="114"/>
                    <a:pt x="66" y="193"/>
                  </a:cubicBezTo>
                  <a:cubicBezTo>
                    <a:pt x="61" y="204"/>
                    <a:pt x="49" y="212"/>
                    <a:pt x="36" y="212"/>
                  </a:cubicBezTo>
                  <a:cubicBezTo>
                    <a:pt x="32" y="212"/>
                    <a:pt x="28" y="211"/>
                    <a:pt x="24" y="209"/>
                  </a:cubicBezTo>
                  <a:cubicBezTo>
                    <a:pt x="8" y="202"/>
                    <a:pt x="0" y="183"/>
                    <a:pt x="7" y="167"/>
                  </a:cubicBezTo>
                  <a:cubicBezTo>
                    <a:pt x="52" y="65"/>
                    <a:pt x="151" y="0"/>
                    <a:pt x="260" y="0"/>
                  </a:cubicBezTo>
                  <a:cubicBezTo>
                    <a:pt x="367" y="0"/>
                    <a:pt x="457" y="49"/>
                    <a:pt x="503" y="134"/>
                  </a:cubicBezTo>
                  <a:cubicBezTo>
                    <a:pt x="519" y="125"/>
                    <a:pt x="530" y="118"/>
                    <a:pt x="532" y="117"/>
                  </a:cubicBezTo>
                  <a:cubicBezTo>
                    <a:pt x="535" y="115"/>
                    <a:pt x="539" y="114"/>
                    <a:pt x="543" y="114"/>
                  </a:cubicBezTo>
                  <a:cubicBezTo>
                    <a:pt x="556" y="114"/>
                    <a:pt x="566" y="124"/>
                    <a:pt x="566" y="137"/>
                  </a:cubicBezTo>
                  <a:cubicBezTo>
                    <a:pt x="566" y="143"/>
                    <a:pt x="567" y="254"/>
                    <a:pt x="567" y="266"/>
                  </a:cubicBezTo>
                  <a:cubicBezTo>
                    <a:pt x="567" y="272"/>
                    <a:pt x="564" y="278"/>
                    <a:pt x="560" y="282"/>
                  </a:cubicBezTo>
                  <a:cubicBezTo>
                    <a:pt x="556" y="286"/>
                    <a:pt x="550" y="289"/>
                    <a:pt x="544" y="28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sp>
          <p:nvSpPr>
            <p:cNvPr id="93" name="Freeform 21"/>
            <p:cNvSpPr>
              <a:spLocks noEditPoints="1"/>
            </p:cNvSpPr>
            <p:nvPr/>
          </p:nvSpPr>
          <p:spPr bwMode="auto">
            <a:xfrm>
              <a:off x="8332788" y="4254500"/>
              <a:ext cx="430213" cy="531813"/>
            </a:xfrm>
            <a:custGeom>
              <a:avLst/>
              <a:gdLst>
                <a:gd name="T0" fmla="*/ 966 w 972"/>
                <a:gd name="T1" fmla="*/ 903 h 1202"/>
                <a:gd name="T2" fmla="*/ 900 w 972"/>
                <a:gd name="T3" fmla="*/ 896 h 1202"/>
                <a:gd name="T4" fmla="*/ 898 w 972"/>
                <a:gd name="T5" fmla="*/ 897 h 1202"/>
                <a:gd name="T6" fmla="*/ 898 w 972"/>
                <a:gd name="T7" fmla="*/ 1128 h 1202"/>
                <a:gd name="T8" fmla="*/ 74 w 972"/>
                <a:gd name="T9" fmla="*/ 1128 h 1202"/>
                <a:gd name="T10" fmla="*/ 74 w 972"/>
                <a:gd name="T11" fmla="*/ 290 h 1202"/>
                <a:gd name="T12" fmla="*/ 290 w 972"/>
                <a:gd name="T13" fmla="*/ 290 h 1202"/>
                <a:gd name="T14" fmla="*/ 290 w 972"/>
                <a:gd name="T15" fmla="*/ 73 h 1202"/>
                <a:gd name="T16" fmla="*/ 898 w 972"/>
                <a:gd name="T17" fmla="*/ 73 h 1202"/>
                <a:gd name="T18" fmla="*/ 898 w 972"/>
                <a:gd name="T19" fmla="*/ 284 h 1202"/>
                <a:gd name="T20" fmla="*/ 966 w 972"/>
                <a:gd name="T21" fmla="*/ 276 h 1202"/>
                <a:gd name="T22" fmla="*/ 972 w 972"/>
                <a:gd name="T23" fmla="*/ 276 h 1202"/>
                <a:gd name="T24" fmla="*/ 972 w 972"/>
                <a:gd name="T25" fmla="*/ 0 h 1202"/>
                <a:gd name="T26" fmla="*/ 257 w 972"/>
                <a:gd name="T27" fmla="*/ 0 h 1202"/>
                <a:gd name="T28" fmla="*/ 0 w 972"/>
                <a:gd name="T29" fmla="*/ 256 h 1202"/>
                <a:gd name="T30" fmla="*/ 0 w 972"/>
                <a:gd name="T31" fmla="*/ 1202 h 1202"/>
                <a:gd name="T32" fmla="*/ 972 w 972"/>
                <a:gd name="T33" fmla="*/ 1202 h 1202"/>
                <a:gd name="T34" fmla="*/ 972 w 972"/>
                <a:gd name="T35" fmla="*/ 903 h 1202"/>
                <a:gd name="T36" fmla="*/ 966 w 972"/>
                <a:gd name="T37" fmla="*/ 903 h 1202"/>
                <a:gd name="T38" fmla="*/ 253 w 972"/>
                <a:gd name="T39" fmla="*/ 107 h 1202"/>
                <a:gd name="T40" fmla="*/ 253 w 972"/>
                <a:gd name="T41" fmla="*/ 253 h 1202"/>
                <a:gd name="T42" fmla="*/ 107 w 972"/>
                <a:gd name="T43" fmla="*/ 253 h 1202"/>
                <a:gd name="T44" fmla="*/ 253 w 972"/>
                <a:gd name="T45" fmla="*/ 107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2" h="1202">
                  <a:moveTo>
                    <a:pt x="966" y="903"/>
                  </a:moveTo>
                  <a:cubicBezTo>
                    <a:pt x="944" y="903"/>
                    <a:pt x="921" y="901"/>
                    <a:pt x="900" y="896"/>
                  </a:cubicBezTo>
                  <a:cubicBezTo>
                    <a:pt x="898" y="897"/>
                    <a:pt x="898" y="897"/>
                    <a:pt x="898" y="897"/>
                  </a:cubicBezTo>
                  <a:cubicBezTo>
                    <a:pt x="898" y="1128"/>
                    <a:pt x="898" y="1128"/>
                    <a:pt x="898" y="1128"/>
                  </a:cubicBezTo>
                  <a:cubicBezTo>
                    <a:pt x="74" y="1128"/>
                    <a:pt x="74" y="1128"/>
                    <a:pt x="74" y="1128"/>
                  </a:cubicBezTo>
                  <a:cubicBezTo>
                    <a:pt x="74" y="290"/>
                    <a:pt x="74" y="290"/>
                    <a:pt x="74" y="290"/>
                  </a:cubicBezTo>
                  <a:cubicBezTo>
                    <a:pt x="290" y="290"/>
                    <a:pt x="290" y="290"/>
                    <a:pt x="290" y="290"/>
                  </a:cubicBezTo>
                  <a:cubicBezTo>
                    <a:pt x="290" y="73"/>
                    <a:pt x="290" y="73"/>
                    <a:pt x="290" y="73"/>
                  </a:cubicBezTo>
                  <a:cubicBezTo>
                    <a:pt x="898" y="73"/>
                    <a:pt x="898" y="73"/>
                    <a:pt x="898" y="73"/>
                  </a:cubicBezTo>
                  <a:cubicBezTo>
                    <a:pt x="898" y="284"/>
                    <a:pt x="898" y="284"/>
                    <a:pt x="898" y="284"/>
                  </a:cubicBezTo>
                  <a:cubicBezTo>
                    <a:pt x="920" y="279"/>
                    <a:pt x="943" y="276"/>
                    <a:pt x="966" y="276"/>
                  </a:cubicBezTo>
                  <a:cubicBezTo>
                    <a:pt x="968" y="276"/>
                    <a:pt x="970" y="276"/>
                    <a:pt x="972" y="276"/>
                  </a:cubicBezTo>
                  <a:cubicBezTo>
                    <a:pt x="972" y="0"/>
                    <a:pt x="972" y="0"/>
                    <a:pt x="972" y="0"/>
                  </a:cubicBezTo>
                  <a:cubicBezTo>
                    <a:pt x="257" y="0"/>
                    <a:pt x="257" y="0"/>
                    <a:pt x="257" y="0"/>
                  </a:cubicBezTo>
                  <a:cubicBezTo>
                    <a:pt x="0" y="256"/>
                    <a:pt x="0" y="256"/>
                    <a:pt x="0" y="256"/>
                  </a:cubicBezTo>
                  <a:cubicBezTo>
                    <a:pt x="0" y="1202"/>
                    <a:pt x="0" y="1202"/>
                    <a:pt x="0" y="1202"/>
                  </a:cubicBezTo>
                  <a:cubicBezTo>
                    <a:pt x="972" y="1202"/>
                    <a:pt x="972" y="1202"/>
                    <a:pt x="972" y="1202"/>
                  </a:cubicBezTo>
                  <a:cubicBezTo>
                    <a:pt x="972" y="903"/>
                    <a:pt x="972" y="903"/>
                    <a:pt x="972" y="903"/>
                  </a:cubicBezTo>
                  <a:cubicBezTo>
                    <a:pt x="970" y="903"/>
                    <a:pt x="968" y="903"/>
                    <a:pt x="966" y="903"/>
                  </a:cubicBezTo>
                  <a:close/>
                  <a:moveTo>
                    <a:pt x="253" y="107"/>
                  </a:moveTo>
                  <a:cubicBezTo>
                    <a:pt x="253" y="253"/>
                    <a:pt x="253" y="253"/>
                    <a:pt x="253" y="253"/>
                  </a:cubicBezTo>
                  <a:cubicBezTo>
                    <a:pt x="107" y="253"/>
                    <a:pt x="107" y="253"/>
                    <a:pt x="107" y="253"/>
                  </a:cubicBezTo>
                  <a:lnTo>
                    <a:pt x="253"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48154" tIns="24077" rIns="48154" bIns="24077" numCol="1" anchor="t" anchorCtr="0" compatLnSpc="1">
              <a:prstTxWarp prst="textNoShape">
                <a:avLst/>
              </a:prstTxWarp>
            </a:bodyPr>
            <a:lstStyle/>
            <a:p>
              <a:endParaRPr lang="id-ID" sz="948" dirty="0">
                <a:solidFill>
                  <a:schemeClr val="bg1">
                    <a:lumMod val="95000"/>
                  </a:schemeClr>
                </a:solidFill>
                <a:latin typeface="Calibri Light"/>
              </a:endParaRPr>
            </a:p>
          </p:txBody>
        </p:sp>
      </p:grpSp>
      <p:sp>
        <p:nvSpPr>
          <p:cNvPr id="101" name="TextBox 100"/>
          <p:cNvSpPr txBox="1"/>
          <p:nvPr/>
        </p:nvSpPr>
        <p:spPr>
          <a:xfrm>
            <a:off x="1623391" y="1550194"/>
            <a:ext cx="10399973" cy="726078"/>
          </a:xfrm>
          <a:prstGeom prst="rect">
            <a:avLst/>
          </a:prstGeom>
          <a:noFill/>
        </p:spPr>
        <p:txBody>
          <a:bodyPr wrap="square" lIns="115551" tIns="57776" rIns="115551" bIns="57776" rtlCol="0">
            <a:spAutoFit/>
          </a:bodyPr>
          <a:lstStyle/>
          <a:p>
            <a:pPr algn="just">
              <a:lnSpc>
                <a:spcPct val="110000"/>
              </a:lnSpc>
            </a:pPr>
            <a:r>
              <a:rPr lang="en-US" sz="1200" dirty="0">
                <a:ea typeface="Open Sans Light" panose="020B0306030504020204" pitchFamily="34" charset="0"/>
                <a:cs typeface="Calibri Light"/>
              </a:rPr>
              <a:t>Lorem Ipsum has two main statistical methodologies are used in data analysis which summarizes data from a sample using indexes Lorem Ipsum has two main data statistical this methodologies ne used in data analysis which </a:t>
            </a:r>
            <a:r>
              <a:rPr lang="en-US" sz="1200" dirty="0" err="1">
                <a:ea typeface="Open Sans Light" panose="020B0306030504020204" pitchFamily="34" charset="0"/>
                <a:cs typeface="Calibri Light"/>
              </a:rPr>
              <a:t>hase</a:t>
            </a:r>
            <a:r>
              <a:rPr lang="en-US" sz="1200" dirty="0">
                <a:ea typeface="Open Sans Light" panose="020B0306030504020204" pitchFamily="34" charset="0"/>
                <a:cs typeface="Calibri Light"/>
              </a:rPr>
              <a:t> summarizes data. </a:t>
            </a:r>
            <a:r>
              <a:rPr lang="pt-BR" sz="1200" dirty="0">
                <a:cs typeface="Calibri Light"/>
              </a:rPr>
              <a:t>sed an graecie prompta invenire </a:t>
            </a:r>
            <a:r>
              <a:rPr lang="en-US" sz="1200" dirty="0">
                <a:ea typeface="Open Sans Light" panose="020B0306030504020204" pitchFamily="34" charset="0"/>
                <a:cs typeface="Calibri Light"/>
              </a:rPr>
              <a:t>are used in data analysis which summarizes data from a sample using. </a:t>
            </a:r>
          </a:p>
        </p:txBody>
      </p:sp>
      <p:sp>
        <p:nvSpPr>
          <p:cNvPr id="113" name="Round Same Side Corner Rectangle 112"/>
          <p:cNvSpPr/>
          <p:nvPr/>
        </p:nvSpPr>
        <p:spPr>
          <a:xfrm rot="10800000" flipH="1">
            <a:off x="1412055" y="1673291"/>
            <a:ext cx="57769" cy="481116"/>
          </a:xfrm>
          <a:prstGeom prst="round2SameRect">
            <a:avLst>
              <a:gd name="adj1" fmla="val 50000"/>
              <a:gd name="adj2" fmla="val 50000"/>
            </a:avLst>
          </a:prstGeom>
          <a:solidFill>
            <a:srgbClr val="41B5E8"/>
          </a:solidFill>
          <a:ln>
            <a:noFill/>
          </a:ln>
        </p:spPr>
        <p:style>
          <a:lnRef idx="2">
            <a:schemeClr val="accent1">
              <a:shade val="50000"/>
            </a:schemeClr>
          </a:lnRef>
          <a:fillRef idx="1">
            <a:schemeClr val="accent1"/>
          </a:fillRef>
          <a:effectRef idx="0">
            <a:schemeClr val="accent1"/>
          </a:effectRef>
          <a:fontRef idx="minor">
            <a:schemeClr val="lt1"/>
          </a:fontRef>
        </p:style>
        <p:txBody>
          <a:bodyPr lIns="115551" tIns="57776" rIns="115551" bIns="57776" rtlCol="0" anchor="ctr"/>
          <a:lstStyle/>
          <a:p>
            <a:pPr algn="ctr"/>
            <a:endParaRPr lang="bg-BG" sz="948" dirty="0">
              <a:latin typeface="Calibri Light"/>
            </a:endParaRPr>
          </a:p>
        </p:txBody>
      </p:sp>
      <p:sp>
        <p:nvSpPr>
          <p:cNvPr id="114" name="Round Same Side Corner Rectangle 113"/>
          <p:cNvSpPr/>
          <p:nvPr/>
        </p:nvSpPr>
        <p:spPr>
          <a:xfrm rot="10800000" flipH="1">
            <a:off x="1412055" y="2546182"/>
            <a:ext cx="57769" cy="481116"/>
          </a:xfrm>
          <a:prstGeom prst="round2SameRect">
            <a:avLst>
              <a:gd name="adj1" fmla="val 50000"/>
              <a:gd name="adj2" fmla="val 50000"/>
            </a:avLst>
          </a:prstGeom>
          <a:solidFill>
            <a:srgbClr val="41B5E8"/>
          </a:solidFill>
          <a:ln>
            <a:noFill/>
          </a:ln>
        </p:spPr>
        <p:style>
          <a:lnRef idx="2">
            <a:schemeClr val="accent1">
              <a:shade val="50000"/>
            </a:schemeClr>
          </a:lnRef>
          <a:fillRef idx="1">
            <a:schemeClr val="accent1"/>
          </a:fillRef>
          <a:effectRef idx="0">
            <a:schemeClr val="accent1"/>
          </a:effectRef>
          <a:fontRef idx="minor">
            <a:schemeClr val="lt1"/>
          </a:fontRef>
        </p:style>
        <p:txBody>
          <a:bodyPr lIns="115551" tIns="57776" rIns="115551" bIns="57776" rtlCol="0" anchor="ctr"/>
          <a:lstStyle/>
          <a:p>
            <a:pPr algn="ctr"/>
            <a:endParaRPr lang="bg-BG" sz="948" dirty="0">
              <a:latin typeface="Calibri Light"/>
            </a:endParaRPr>
          </a:p>
        </p:txBody>
      </p:sp>
      <p:sp>
        <p:nvSpPr>
          <p:cNvPr id="115" name="Round Same Side Corner Rectangle 114"/>
          <p:cNvSpPr/>
          <p:nvPr/>
        </p:nvSpPr>
        <p:spPr>
          <a:xfrm rot="10800000" flipH="1">
            <a:off x="1412055" y="3396028"/>
            <a:ext cx="57769" cy="481116"/>
          </a:xfrm>
          <a:prstGeom prst="round2SameRect">
            <a:avLst>
              <a:gd name="adj1" fmla="val 50000"/>
              <a:gd name="adj2" fmla="val 50000"/>
            </a:avLst>
          </a:prstGeom>
          <a:solidFill>
            <a:srgbClr val="41B5E8"/>
          </a:solidFill>
          <a:ln>
            <a:noFill/>
          </a:ln>
        </p:spPr>
        <p:style>
          <a:lnRef idx="2">
            <a:schemeClr val="accent1">
              <a:shade val="50000"/>
            </a:schemeClr>
          </a:lnRef>
          <a:fillRef idx="1">
            <a:schemeClr val="accent1"/>
          </a:fillRef>
          <a:effectRef idx="0">
            <a:schemeClr val="accent1"/>
          </a:effectRef>
          <a:fontRef idx="minor">
            <a:schemeClr val="lt1"/>
          </a:fontRef>
        </p:style>
        <p:txBody>
          <a:bodyPr lIns="115551" tIns="57776" rIns="115551" bIns="57776" rtlCol="0" anchor="ctr"/>
          <a:lstStyle/>
          <a:p>
            <a:pPr algn="ctr"/>
            <a:endParaRPr lang="bg-BG" sz="948" dirty="0">
              <a:latin typeface="Calibri Light"/>
            </a:endParaRPr>
          </a:p>
        </p:txBody>
      </p:sp>
      <p:sp>
        <p:nvSpPr>
          <p:cNvPr id="116" name="Round Same Side Corner Rectangle 115"/>
          <p:cNvSpPr/>
          <p:nvPr/>
        </p:nvSpPr>
        <p:spPr>
          <a:xfrm rot="10800000" flipH="1">
            <a:off x="1412055" y="4245242"/>
            <a:ext cx="57769" cy="481116"/>
          </a:xfrm>
          <a:prstGeom prst="round2SameRect">
            <a:avLst>
              <a:gd name="adj1" fmla="val 50000"/>
              <a:gd name="adj2" fmla="val 50000"/>
            </a:avLst>
          </a:prstGeom>
          <a:solidFill>
            <a:srgbClr val="41B5E8"/>
          </a:solidFill>
          <a:ln>
            <a:noFill/>
          </a:ln>
        </p:spPr>
        <p:style>
          <a:lnRef idx="2">
            <a:schemeClr val="accent1">
              <a:shade val="50000"/>
            </a:schemeClr>
          </a:lnRef>
          <a:fillRef idx="1">
            <a:schemeClr val="accent1"/>
          </a:fillRef>
          <a:effectRef idx="0">
            <a:schemeClr val="accent1"/>
          </a:effectRef>
          <a:fontRef idx="minor">
            <a:schemeClr val="lt1"/>
          </a:fontRef>
        </p:style>
        <p:txBody>
          <a:bodyPr lIns="115551" tIns="57776" rIns="115551" bIns="57776" rtlCol="0" anchor="ctr"/>
          <a:lstStyle/>
          <a:p>
            <a:pPr algn="ctr"/>
            <a:endParaRPr lang="bg-BG" sz="948" dirty="0">
              <a:latin typeface="Calibri Light"/>
            </a:endParaRPr>
          </a:p>
        </p:txBody>
      </p:sp>
      <p:sp>
        <p:nvSpPr>
          <p:cNvPr id="120" name="Round Same Side Corner Rectangle 119"/>
          <p:cNvSpPr/>
          <p:nvPr/>
        </p:nvSpPr>
        <p:spPr>
          <a:xfrm rot="10800000" flipH="1">
            <a:off x="1412055" y="1678279"/>
            <a:ext cx="57769" cy="481116"/>
          </a:xfrm>
          <a:prstGeom prst="round2SameRect">
            <a:avLst>
              <a:gd name="adj1" fmla="val 50000"/>
              <a:gd name="adj2" fmla="val 50000"/>
            </a:avLst>
          </a:prstGeom>
          <a:solidFill>
            <a:srgbClr val="41B5E8"/>
          </a:solidFill>
          <a:ln>
            <a:noFill/>
          </a:ln>
        </p:spPr>
        <p:style>
          <a:lnRef idx="2">
            <a:schemeClr val="accent1">
              <a:shade val="50000"/>
            </a:schemeClr>
          </a:lnRef>
          <a:fillRef idx="1">
            <a:schemeClr val="accent1"/>
          </a:fillRef>
          <a:effectRef idx="0">
            <a:schemeClr val="accent1"/>
          </a:effectRef>
          <a:fontRef idx="minor">
            <a:schemeClr val="lt1"/>
          </a:fontRef>
        </p:style>
        <p:txBody>
          <a:bodyPr lIns="115551" tIns="57776" rIns="115551" bIns="57776" rtlCol="0" anchor="ctr"/>
          <a:lstStyle/>
          <a:p>
            <a:pPr algn="ctr"/>
            <a:endParaRPr lang="bg-BG" sz="948" dirty="0">
              <a:latin typeface="Calibri Light"/>
            </a:endParaRPr>
          </a:p>
        </p:txBody>
      </p:sp>
      <p:sp>
        <p:nvSpPr>
          <p:cNvPr id="127" name="Round Same Side Corner Rectangle 126"/>
          <p:cNvSpPr/>
          <p:nvPr/>
        </p:nvSpPr>
        <p:spPr>
          <a:xfrm rot="10800000" flipH="1">
            <a:off x="1423625" y="5074146"/>
            <a:ext cx="57769" cy="481116"/>
          </a:xfrm>
          <a:prstGeom prst="round2SameRect">
            <a:avLst>
              <a:gd name="adj1" fmla="val 50000"/>
              <a:gd name="adj2" fmla="val 50000"/>
            </a:avLst>
          </a:prstGeom>
          <a:solidFill>
            <a:srgbClr val="41B5E8"/>
          </a:solidFill>
          <a:ln>
            <a:noFill/>
          </a:ln>
        </p:spPr>
        <p:style>
          <a:lnRef idx="2">
            <a:schemeClr val="accent1">
              <a:shade val="50000"/>
            </a:schemeClr>
          </a:lnRef>
          <a:fillRef idx="1">
            <a:schemeClr val="accent1"/>
          </a:fillRef>
          <a:effectRef idx="0">
            <a:schemeClr val="accent1"/>
          </a:effectRef>
          <a:fontRef idx="minor">
            <a:schemeClr val="lt1"/>
          </a:fontRef>
        </p:style>
        <p:txBody>
          <a:bodyPr lIns="115551" tIns="57776" rIns="115551" bIns="57776" rtlCol="0" anchor="ctr"/>
          <a:lstStyle/>
          <a:p>
            <a:pPr algn="ctr"/>
            <a:endParaRPr lang="bg-BG" sz="948" dirty="0">
              <a:latin typeface="Calibri Light"/>
            </a:endParaRPr>
          </a:p>
        </p:txBody>
      </p:sp>
      <p:sp>
        <p:nvSpPr>
          <p:cNvPr id="89" name="TextBox 88"/>
          <p:cNvSpPr txBox="1"/>
          <p:nvPr/>
        </p:nvSpPr>
        <p:spPr>
          <a:xfrm>
            <a:off x="1623391" y="2414630"/>
            <a:ext cx="10399973" cy="726078"/>
          </a:xfrm>
          <a:prstGeom prst="rect">
            <a:avLst/>
          </a:prstGeom>
          <a:noFill/>
        </p:spPr>
        <p:txBody>
          <a:bodyPr wrap="square" lIns="115551" tIns="57776" rIns="115551" bIns="57776" rtlCol="0">
            <a:spAutoFit/>
          </a:bodyPr>
          <a:lstStyle/>
          <a:p>
            <a:pPr algn="just">
              <a:lnSpc>
                <a:spcPct val="110000"/>
              </a:lnSpc>
            </a:pPr>
            <a:r>
              <a:rPr lang="en-US" sz="1200" dirty="0">
                <a:ea typeface="Open Sans Light" panose="020B0306030504020204" pitchFamily="34" charset="0"/>
                <a:cs typeface="Calibri Light"/>
              </a:rPr>
              <a:t>Lorem Ipsum has two main statistical methodologies are used in data analysis which summarizes data from a sample using indexes Lorem Ipsum has two main data statistical this methodologies ne used in data analysis which </a:t>
            </a:r>
            <a:r>
              <a:rPr lang="en-US" sz="1200" dirty="0" err="1">
                <a:ea typeface="Open Sans Light" panose="020B0306030504020204" pitchFamily="34" charset="0"/>
                <a:cs typeface="Calibri Light"/>
              </a:rPr>
              <a:t>hase</a:t>
            </a:r>
            <a:r>
              <a:rPr lang="en-US" sz="1200" dirty="0">
                <a:ea typeface="Open Sans Light" panose="020B0306030504020204" pitchFamily="34" charset="0"/>
                <a:cs typeface="Calibri Light"/>
              </a:rPr>
              <a:t> summarizes data. </a:t>
            </a:r>
            <a:r>
              <a:rPr lang="pt-BR" sz="1200" dirty="0">
                <a:cs typeface="Calibri Light"/>
              </a:rPr>
              <a:t>sed an graecie prompta invenire </a:t>
            </a:r>
            <a:r>
              <a:rPr lang="en-US" sz="1200" dirty="0">
                <a:ea typeface="Open Sans Light" panose="020B0306030504020204" pitchFamily="34" charset="0"/>
                <a:cs typeface="Calibri Light"/>
              </a:rPr>
              <a:t>are used in data analysis which summarizes data from a sample using.</a:t>
            </a:r>
          </a:p>
        </p:txBody>
      </p:sp>
      <p:sp>
        <p:nvSpPr>
          <p:cNvPr id="90" name="TextBox 89"/>
          <p:cNvSpPr txBox="1"/>
          <p:nvPr/>
        </p:nvSpPr>
        <p:spPr>
          <a:xfrm>
            <a:off x="1623391" y="3268503"/>
            <a:ext cx="10399973" cy="726078"/>
          </a:xfrm>
          <a:prstGeom prst="rect">
            <a:avLst/>
          </a:prstGeom>
          <a:noFill/>
        </p:spPr>
        <p:txBody>
          <a:bodyPr wrap="square" lIns="115551" tIns="57776" rIns="115551" bIns="57776" rtlCol="0">
            <a:spAutoFit/>
          </a:bodyPr>
          <a:lstStyle/>
          <a:p>
            <a:pPr algn="just">
              <a:lnSpc>
                <a:spcPct val="110000"/>
              </a:lnSpc>
            </a:pPr>
            <a:r>
              <a:rPr lang="en-US" sz="1200" dirty="0">
                <a:ea typeface="Open Sans Light" panose="020B0306030504020204" pitchFamily="34" charset="0"/>
                <a:cs typeface="Calibri Light"/>
              </a:rPr>
              <a:t>Lorem Ipsum has two main statistical methodologies are used in data analysis which summarizes data from a sample using indexes Lorem Ipsum has two main data statistical this methodologies ne used in data analysis which </a:t>
            </a:r>
            <a:r>
              <a:rPr lang="en-US" sz="1200" dirty="0" err="1">
                <a:ea typeface="Open Sans Light" panose="020B0306030504020204" pitchFamily="34" charset="0"/>
                <a:cs typeface="Calibri Light"/>
              </a:rPr>
              <a:t>hase</a:t>
            </a:r>
            <a:r>
              <a:rPr lang="en-US" sz="1200" dirty="0">
                <a:ea typeface="Open Sans Light" panose="020B0306030504020204" pitchFamily="34" charset="0"/>
                <a:cs typeface="Calibri Light"/>
              </a:rPr>
              <a:t> summarizes data. </a:t>
            </a:r>
            <a:r>
              <a:rPr lang="pt-BR" sz="1200" dirty="0">
                <a:cs typeface="Calibri Light"/>
              </a:rPr>
              <a:t>sed an graecie prompta invenire </a:t>
            </a:r>
            <a:r>
              <a:rPr lang="en-US" sz="1200" dirty="0">
                <a:ea typeface="Open Sans Light" panose="020B0306030504020204" pitchFamily="34" charset="0"/>
                <a:cs typeface="Calibri Light"/>
              </a:rPr>
              <a:t>are used in data analysis which summarizes data from a sample using.</a:t>
            </a:r>
          </a:p>
        </p:txBody>
      </p:sp>
      <p:sp>
        <p:nvSpPr>
          <p:cNvPr id="94" name="TextBox 93"/>
          <p:cNvSpPr txBox="1"/>
          <p:nvPr/>
        </p:nvSpPr>
        <p:spPr>
          <a:xfrm>
            <a:off x="1623391" y="4109051"/>
            <a:ext cx="10399973" cy="726078"/>
          </a:xfrm>
          <a:prstGeom prst="rect">
            <a:avLst/>
          </a:prstGeom>
          <a:noFill/>
        </p:spPr>
        <p:txBody>
          <a:bodyPr wrap="square" lIns="115551" tIns="57776" rIns="115551" bIns="57776" rtlCol="0">
            <a:spAutoFit/>
          </a:bodyPr>
          <a:lstStyle/>
          <a:p>
            <a:pPr algn="just">
              <a:lnSpc>
                <a:spcPct val="110000"/>
              </a:lnSpc>
            </a:pPr>
            <a:r>
              <a:rPr lang="en-US" sz="1200" dirty="0">
                <a:ea typeface="Open Sans Light" panose="020B0306030504020204" pitchFamily="34" charset="0"/>
                <a:cs typeface="Calibri Light"/>
              </a:rPr>
              <a:t>Lorem Ipsum has two main statistical methodologies are used in data analysis which summarizes data from a sample using indexes Lorem Ipsum has two main data statistical this methodologies ne used in data analysis which </a:t>
            </a:r>
            <a:r>
              <a:rPr lang="en-US" sz="1200" dirty="0" err="1">
                <a:ea typeface="Open Sans Light" panose="020B0306030504020204" pitchFamily="34" charset="0"/>
                <a:cs typeface="Calibri Light"/>
              </a:rPr>
              <a:t>hase</a:t>
            </a:r>
            <a:r>
              <a:rPr lang="en-US" sz="1200" dirty="0">
                <a:ea typeface="Open Sans Light" panose="020B0306030504020204" pitchFamily="34" charset="0"/>
                <a:cs typeface="Calibri Light"/>
              </a:rPr>
              <a:t> summarizes data. </a:t>
            </a:r>
            <a:r>
              <a:rPr lang="pt-BR" sz="1200" dirty="0">
                <a:cs typeface="Calibri Light"/>
              </a:rPr>
              <a:t>sed an graecie prompta invenire </a:t>
            </a:r>
            <a:r>
              <a:rPr lang="en-US" sz="1200" dirty="0">
                <a:ea typeface="Open Sans Light" panose="020B0306030504020204" pitchFamily="34" charset="0"/>
                <a:cs typeface="Calibri Light"/>
              </a:rPr>
              <a:t>are used in data analysis which summarizes data from a sample using.</a:t>
            </a:r>
          </a:p>
        </p:txBody>
      </p:sp>
      <p:sp>
        <p:nvSpPr>
          <p:cNvPr id="95" name="TextBox 94"/>
          <p:cNvSpPr txBox="1"/>
          <p:nvPr/>
        </p:nvSpPr>
        <p:spPr>
          <a:xfrm>
            <a:off x="1635124" y="4946854"/>
            <a:ext cx="10399973" cy="726078"/>
          </a:xfrm>
          <a:prstGeom prst="rect">
            <a:avLst/>
          </a:prstGeom>
          <a:noFill/>
        </p:spPr>
        <p:txBody>
          <a:bodyPr wrap="square" lIns="115551" tIns="57776" rIns="115551" bIns="57776" rtlCol="0">
            <a:spAutoFit/>
          </a:bodyPr>
          <a:lstStyle/>
          <a:p>
            <a:pPr algn="just">
              <a:lnSpc>
                <a:spcPct val="110000"/>
              </a:lnSpc>
            </a:pPr>
            <a:r>
              <a:rPr lang="en-US" sz="1200" dirty="0">
                <a:ea typeface="Open Sans Light" panose="020B0306030504020204" pitchFamily="34" charset="0"/>
                <a:cs typeface="Calibri Light"/>
              </a:rPr>
              <a:t>Lorem Ipsum has two main statistical methodologies are used in data analysis which summarizes data from a sample using indexes Lorem Ipsum has two main data statistical this methodologies ne used in data analysis which </a:t>
            </a:r>
            <a:r>
              <a:rPr lang="en-US" sz="1200" dirty="0" err="1">
                <a:ea typeface="Open Sans Light" panose="020B0306030504020204" pitchFamily="34" charset="0"/>
                <a:cs typeface="Calibri Light"/>
              </a:rPr>
              <a:t>hase</a:t>
            </a:r>
            <a:r>
              <a:rPr lang="en-US" sz="1200" dirty="0">
                <a:ea typeface="Open Sans Light" panose="020B0306030504020204" pitchFamily="34" charset="0"/>
                <a:cs typeface="Calibri Light"/>
              </a:rPr>
              <a:t> summarizes data. </a:t>
            </a:r>
            <a:r>
              <a:rPr lang="pt-BR" sz="1200" dirty="0">
                <a:cs typeface="Calibri Light"/>
              </a:rPr>
              <a:t>sed an graecie prompta invenire </a:t>
            </a:r>
            <a:r>
              <a:rPr lang="en-US" sz="1200" dirty="0">
                <a:ea typeface="Open Sans Light" panose="020B0306030504020204" pitchFamily="34" charset="0"/>
                <a:cs typeface="Calibri Light"/>
              </a:rPr>
              <a:t>are used in data analysis which summarizes data from a sample using.</a:t>
            </a:r>
          </a:p>
        </p:txBody>
      </p:sp>
      <p:sp>
        <p:nvSpPr>
          <p:cNvPr id="4" name="Title 3"/>
          <p:cNvSpPr>
            <a:spLocks noGrp="1"/>
          </p:cNvSpPr>
          <p:nvPr>
            <p:ph type="title"/>
          </p:nvPr>
        </p:nvSpPr>
        <p:spPr/>
        <p:txBody>
          <a:bodyPr/>
          <a:lstStyle/>
          <a:p>
            <a:r>
              <a:rPr lang="en-US" dirty="0"/>
              <a:t>ABOUT </a:t>
            </a:r>
          </a:p>
        </p:txBody>
      </p:sp>
      <p:sp>
        <p:nvSpPr>
          <p:cNvPr id="7"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r>
              <a:rPr lang="en-US" sz="100" smtClean="0">
                <a:solidFill>
                  <a:srgbClr val="FFFFFF"/>
                </a:solidFill>
              </a:rPr>
              <a:t>66_84 74_84 84_84</a:t>
            </a:r>
            <a:endParaRPr lang="en-US" sz="100" dirty="0" err="1" smtClean="0">
              <a:solidFill>
                <a:srgbClr val="FFFFFF"/>
              </a:solidFill>
            </a:endParaRPr>
          </a:p>
        </p:txBody>
      </p:sp>
    </p:spTree>
    <p:extLst>
      <p:ext uri="{BB962C8B-B14F-4D97-AF65-F5344CB8AC3E}">
        <p14:creationId xmlns:p14="http://schemas.microsoft.com/office/powerpoint/2010/main" val="919940966"/>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advClick="0" advTm="300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0"/>
  <p:tag name="NP_IDX" val="22"/>
  <p:tag name="MEKKOFORMATS" val="&lt;?xml version=&quot;1.0&quot; encoding=&quot;utf-8&quot;?&gt;&lt;MekkoFormats&gt;&lt;NumberFormat DecimalSeparator=&quot;.&quot; ThousandSeparator=&quot;,&quot; NegativeNumberFormat=&quot;1&quot; /&gt;&lt;/MekkoFormats&gt;"/>
</p:tagLst>
</file>

<file path=ppt/tags/tag1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0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0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0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0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04.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78664857"/>
</p:tagLst>
</file>

<file path=ppt/tags/tag105.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78664857"/>
</p:tagLst>
</file>

<file path=ppt/tags/tag10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0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0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0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1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1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1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1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1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1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1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1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1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1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2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0"/>
  <p:tag name="BAINBULLETSLEVELSFINGERPRINT" val="1869028386"/>
</p:tagLst>
</file>

<file path=ppt/tags/tag130.xml><?xml version="1.0" encoding="utf-8"?>
<p:tagLst xmlns:a="http://schemas.openxmlformats.org/drawingml/2006/main" xmlns:r="http://schemas.openxmlformats.org/officeDocument/2006/relationships" xmlns:p="http://schemas.openxmlformats.org/presentationml/2006/main">
  <p:tag name="BAINHEADERBOX" val="True"/>
</p:tagLst>
</file>

<file path=ppt/tags/tag131.xml><?xml version="1.0" encoding="utf-8"?>
<p:tagLst xmlns:a="http://schemas.openxmlformats.org/drawingml/2006/main" xmlns:r="http://schemas.openxmlformats.org/officeDocument/2006/relationships" xmlns:p="http://schemas.openxmlformats.org/presentationml/2006/main">
  <p:tag name="BAINHEADERBOX" val="True"/>
</p:tagLst>
</file>

<file path=ppt/tags/tag13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3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4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4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4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4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4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4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4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4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4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4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5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6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7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8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8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8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8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8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8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8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8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8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8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9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9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9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9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9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9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9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9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9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19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0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0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0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0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0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0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0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0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0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0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1.xml><?xml version="1.0" encoding="utf-8"?>
<p:tagLst xmlns:a="http://schemas.openxmlformats.org/drawingml/2006/main" xmlns:r="http://schemas.openxmlformats.org/officeDocument/2006/relationships" xmlns:p="http://schemas.openxmlformats.org/presentationml/2006/main">
  <p:tag name="BAINHEADERBOX" val="True"/>
</p:tagLst>
</file>

<file path=ppt/tags/tag21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1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1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1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1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1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1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1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1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1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2.xml><?xml version="1.0" encoding="utf-8"?>
<p:tagLst xmlns:a="http://schemas.openxmlformats.org/drawingml/2006/main" xmlns:r="http://schemas.openxmlformats.org/officeDocument/2006/relationships" xmlns:p="http://schemas.openxmlformats.org/presentationml/2006/main">
  <p:tag name="BAINHEADERBOX" val="True"/>
</p:tagLst>
</file>

<file path=ppt/tags/tag22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2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2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2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2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2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2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2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2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2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3.xml><?xml version="1.0" encoding="utf-8"?>
<p:tagLst xmlns:a="http://schemas.openxmlformats.org/drawingml/2006/main" xmlns:r="http://schemas.openxmlformats.org/officeDocument/2006/relationships" xmlns:p="http://schemas.openxmlformats.org/presentationml/2006/main">
  <p:tag name="BAINHEADERBOX" val="True"/>
</p:tagLst>
</file>

<file path=ppt/tags/tag23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3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3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3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3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3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3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3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3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3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4.xml><?xml version="1.0" encoding="utf-8"?>
<p:tagLst xmlns:a="http://schemas.openxmlformats.org/drawingml/2006/main" xmlns:r="http://schemas.openxmlformats.org/officeDocument/2006/relationships" xmlns:p="http://schemas.openxmlformats.org/presentationml/2006/main">
  <p:tag name="BAINHEADERBOX" val="True"/>
</p:tagLst>
</file>

<file path=ppt/tags/tag24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4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4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4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4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4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4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4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4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4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5.xml><?xml version="1.0" encoding="utf-8"?>
<p:tagLst xmlns:a="http://schemas.openxmlformats.org/drawingml/2006/main" xmlns:r="http://schemas.openxmlformats.org/officeDocument/2006/relationships" xmlns:p="http://schemas.openxmlformats.org/presentationml/2006/main">
  <p:tag name="BAINHEADERBOX" val="True"/>
</p:tagLst>
</file>

<file path=ppt/tags/tag25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5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5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5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5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5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5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5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5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5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6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6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6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6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6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6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6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6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6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6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7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7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7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7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7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7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7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7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7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7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8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8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8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8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3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3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32.xml><?xml version="1.0" encoding="utf-8"?>
<p:tagLst xmlns:a="http://schemas.openxmlformats.org/drawingml/2006/main" xmlns:r="http://schemas.openxmlformats.org/officeDocument/2006/relationships" xmlns:p="http://schemas.openxmlformats.org/presentationml/2006/main">
  <p:tag name="BAINHEADERBOX" val="True"/>
</p:tagLst>
</file>

<file path=ppt/tags/tag33.xml><?xml version="1.0" encoding="utf-8"?>
<p:tagLst xmlns:a="http://schemas.openxmlformats.org/drawingml/2006/main" xmlns:r="http://schemas.openxmlformats.org/officeDocument/2006/relationships" xmlns:p="http://schemas.openxmlformats.org/presentationml/2006/main">
  <p:tag name="BAINHEADERBOX" val="True"/>
</p:tagLst>
</file>

<file path=ppt/tags/tag34.xml><?xml version="1.0" encoding="utf-8"?>
<p:tagLst xmlns:a="http://schemas.openxmlformats.org/drawingml/2006/main" xmlns:r="http://schemas.openxmlformats.org/officeDocument/2006/relationships" xmlns:p="http://schemas.openxmlformats.org/presentationml/2006/main">
  <p:tag name="BAINHEADERBOX" val="True"/>
</p:tagLst>
</file>

<file path=ppt/tags/tag35.xml><?xml version="1.0" encoding="utf-8"?>
<p:tagLst xmlns:a="http://schemas.openxmlformats.org/drawingml/2006/main" xmlns:r="http://schemas.openxmlformats.org/officeDocument/2006/relationships" xmlns:p="http://schemas.openxmlformats.org/presentationml/2006/main">
  <p:tag name="BAINHEADERBOX" val="True"/>
</p:tagLst>
</file>

<file path=ppt/tags/tag3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3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3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3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4.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001890324"/>
</p:tagLst>
</file>

<file path=ppt/tags/tag4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4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4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4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4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4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4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4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4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49.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xml><?xml version="1.0" encoding="utf-8"?>
<p:tagLst xmlns:a="http://schemas.openxmlformats.org/drawingml/2006/main" xmlns:r="http://schemas.openxmlformats.org/officeDocument/2006/relationships" xmlns:p="http://schemas.openxmlformats.org/presentationml/2006/main">
  <p:tag name="BAINHEADERBOX" val="True"/>
</p:tagLst>
</file>

<file path=ppt/tags/tag5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8.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BAINHEADERBOX" val="True"/>
</p:tagLst>
</file>

<file path=ppt/tags/tag60.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61.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62.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63.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BAINHEADERBOX" val="True"/>
</p:tagLst>
</file>

<file path=ppt/tags/tag66.xml><?xml version="1.0" encoding="utf-8"?>
<p:tagLst xmlns:a="http://schemas.openxmlformats.org/drawingml/2006/main" xmlns:r="http://schemas.openxmlformats.org/officeDocument/2006/relationships" xmlns:p="http://schemas.openxmlformats.org/presentationml/2006/main">
  <p:tag name="BAINHEADERBOX" val="True"/>
</p:tagLst>
</file>

<file path=ppt/tags/tag67.xml><?xml version="1.0" encoding="utf-8"?>
<p:tagLst xmlns:a="http://schemas.openxmlformats.org/drawingml/2006/main" xmlns:r="http://schemas.openxmlformats.org/officeDocument/2006/relationships" xmlns:p="http://schemas.openxmlformats.org/presentationml/2006/main">
  <p:tag name="BAINHEADERBOX" val="True"/>
</p:tagLst>
</file>

<file path=ppt/tags/tag68.xml><?xml version="1.0" encoding="utf-8"?>
<p:tagLst xmlns:a="http://schemas.openxmlformats.org/drawingml/2006/main" xmlns:r="http://schemas.openxmlformats.org/officeDocument/2006/relationships" xmlns:p="http://schemas.openxmlformats.org/presentationml/2006/main">
  <p:tag name="BAINHEADERBOX" val="True"/>
</p:tagLst>
</file>

<file path=ppt/tags/tag69.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38169230"/>
</p:tagLst>
</file>

<file path=ppt/tags/tag7.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70.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38169230"/>
</p:tagLst>
</file>

<file path=ppt/tags/tag71.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38169230"/>
</p:tagLst>
</file>

<file path=ppt/tags/tag72.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38169230"/>
</p:tagLst>
</file>

<file path=ppt/tags/tag73.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38169230"/>
</p:tagLst>
</file>

<file path=ppt/tags/tag74.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196379960"/>
</p:tagLst>
</file>

<file path=ppt/tags/tag75.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196379960"/>
</p:tagLst>
</file>

<file path=ppt/tags/tag76.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196379960"/>
</p:tagLst>
</file>

<file path=ppt/tags/tag77.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196379960"/>
</p:tagLst>
</file>

<file path=ppt/tags/tag78.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196379960"/>
</p:tagLst>
</file>

<file path=ppt/tags/tag79.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23668923"/>
</p:tagLst>
</file>

<file path=ppt/tags/tag8.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630541304"/>
</p:tagLst>
</file>

<file path=ppt/tags/tag80.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23668923"/>
</p:tagLst>
</file>

<file path=ppt/tags/tag81.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23668923"/>
</p:tagLst>
</file>

<file path=ppt/tags/tag82.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23668923"/>
</p:tagLst>
</file>

<file path=ppt/tags/tag83.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23668923"/>
</p:tagLst>
</file>

<file path=ppt/tags/tag84.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23668923"/>
</p:tagLst>
</file>

<file path=ppt/tags/tag85.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23668923"/>
</p:tagLst>
</file>

<file path=ppt/tags/tag86.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23668923"/>
</p:tagLst>
</file>

<file path=ppt/tags/tag87.xml><?xml version="1.0" encoding="utf-8"?>
<p:tagLst xmlns:a="http://schemas.openxmlformats.org/drawingml/2006/main" xmlns:r="http://schemas.openxmlformats.org/officeDocument/2006/relationships" xmlns:p="http://schemas.openxmlformats.org/presentationml/2006/main">
  <p:tag name="CREATEDBY" val="KMASlideWizard"/>
</p:tagLst>
</file>

<file path=ppt/tags/tag88.xml><?xml version="1.0" encoding="utf-8"?>
<p:tagLst xmlns:a="http://schemas.openxmlformats.org/drawingml/2006/main" xmlns:r="http://schemas.openxmlformats.org/officeDocument/2006/relationships" xmlns:p="http://schemas.openxmlformats.org/presentationml/2006/main">
  <p:tag name="ORDER" val="1"/>
  <p:tag name="MULTI-LINE" val="false"/>
  <p:tag name="TEXT" val="Action Title:"/>
  <p:tag name="FILL" val="true"/>
  <p:tag name="OPTIONAL" val="false"/>
  <p:tag name="NAME" val="Title1"/>
  <p:tag name="HEIGHT" val="1"/>
  <p:tag name="INDENTED" val="false"/>
  <p:tag name="CAPTION HEIGHT" val="2"/>
</p:tagLst>
</file>

<file path=ppt/tags/tag89.xml><?xml version="1.0" encoding="utf-8"?>
<p:tagLst xmlns:a="http://schemas.openxmlformats.org/drawingml/2006/main" xmlns:r="http://schemas.openxmlformats.org/officeDocument/2006/relationships" xmlns:p="http://schemas.openxmlformats.org/presentationml/2006/main">
  <p:tag name="TABLEINFO" val="RW:R001;LK=False|RW:R001;ST=1|RW:R001;RH=1|CL:C001;LK=False|CL:C001;ST=1|CL:C001;CW=1"/>
  <p:tag name="TABLEVERSION" val="3.00"/>
  <p:tag name="NUMBEROFCOLUMNS" val=" 1"/>
  <p:tag name="NUMBEROFROWS" val=" 1"/>
  <p:tag name="AUTHOR" val="KMA"/>
  <p:tag name="PRIORNAME" val="KMA1D1FEAF"/>
  <p:tag name="LEFT" val="41"/>
  <p:tag name="BACKUPNAME" val="KMA1D1FEAF:R001:C001"/>
</p:tagLst>
</file>

<file path=ppt/tags/tag9.xml><?xml version="1.0" encoding="utf-8"?>
<p:tagLst xmlns:a="http://schemas.openxmlformats.org/drawingml/2006/main" xmlns:r="http://schemas.openxmlformats.org/officeDocument/2006/relationships" xmlns:p="http://schemas.openxmlformats.org/presentationml/2006/main">
  <p:tag name="BAINBULLETSACTIVATED" val="True"/>
  <p:tag name="BAINBULLETSLINESPACING" val="2"/>
  <p:tag name="BAINBULLETSLEVELSFINGERPRINT" val="836607317"/>
</p:tagLst>
</file>

<file path=ppt/tags/tag90.xml><?xml version="1.0" encoding="utf-8"?>
<p:tagLst xmlns:a="http://schemas.openxmlformats.org/drawingml/2006/main" xmlns:r="http://schemas.openxmlformats.org/officeDocument/2006/relationships" xmlns:p="http://schemas.openxmlformats.org/presentationml/2006/main">
  <p:tag name="BAINARROW" val="True"/>
</p:tagLst>
</file>

<file path=ppt/tags/tag91.xml><?xml version="1.0" encoding="utf-8"?>
<p:tagLst xmlns:a="http://schemas.openxmlformats.org/drawingml/2006/main" xmlns:r="http://schemas.openxmlformats.org/officeDocument/2006/relationships" xmlns:p="http://schemas.openxmlformats.org/presentationml/2006/main">
  <p:tag name="BAINARROW" val="True"/>
</p:tagLst>
</file>

<file path=ppt/tags/tag92.xml><?xml version="1.0" encoding="utf-8"?>
<p:tagLst xmlns:a="http://schemas.openxmlformats.org/drawingml/2006/main" xmlns:r="http://schemas.openxmlformats.org/officeDocument/2006/relationships" xmlns:p="http://schemas.openxmlformats.org/presentationml/2006/main">
  <p:tag name="BAINARROW" val="True"/>
</p:tagLst>
</file>

<file path=ppt/tags/tag93.xml><?xml version="1.0" encoding="utf-8"?>
<p:tagLst xmlns:a="http://schemas.openxmlformats.org/drawingml/2006/main" xmlns:r="http://schemas.openxmlformats.org/officeDocument/2006/relationships" xmlns:p="http://schemas.openxmlformats.org/presentationml/2006/main">
  <p:tag name="BAINARROW" val="True"/>
</p:tagLst>
</file>

<file path=ppt/tags/tag94.xml><?xml version="1.0" encoding="utf-8"?>
<p:tagLst xmlns:a="http://schemas.openxmlformats.org/drawingml/2006/main" xmlns:r="http://schemas.openxmlformats.org/officeDocument/2006/relationships" xmlns:p="http://schemas.openxmlformats.org/presentationml/2006/main">
  <p:tag name="BAINARROW" val="True"/>
</p:tagLst>
</file>

<file path=ppt/tags/tag95.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38100398"/>
</p:tagLst>
</file>

<file path=ppt/tags/tag96.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293936412"/>
</p:tagLst>
</file>

<file path=ppt/tags/tag97.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38100398"/>
</p:tagLst>
</file>

<file path=ppt/tags/tag98.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38100398"/>
</p:tagLst>
</file>

<file path=ppt/tags/tag99.xml><?xml version="1.0" encoding="utf-8"?>
<p:tagLst xmlns:a="http://schemas.openxmlformats.org/drawingml/2006/main" xmlns:r="http://schemas.openxmlformats.org/officeDocument/2006/relationships" xmlns:p="http://schemas.openxmlformats.org/presentationml/2006/main">
  <p:tag name="BAINBULLETSACTIVATED" val="True"/>
  <p:tag name="BAINBULLETSLEVELSFINGERPRINT" val="-1838100398"/>
</p:tagLst>
</file>

<file path=ppt/theme/theme1.xml><?xml version="1.0" encoding="utf-8"?>
<a:theme xmlns:a="http://schemas.openxmlformats.org/drawingml/2006/main" name="TAMID">
  <a:themeElements>
    <a:clrScheme name="TAMID 16_9">
      <a:dk1>
        <a:srgbClr val="58595B"/>
      </a:dk1>
      <a:lt1>
        <a:srgbClr val="DDDDDD"/>
      </a:lt1>
      <a:dk2>
        <a:srgbClr val="FFFFFF"/>
      </a:dk2>
      <a:lt2>
        <a:srgbClr val="FFFFFF"/>
      </a:lt2>
      <a:accent1>
        <a:srgbClr val="DDDDDD"/>
      </a:accent1>
      <a:accent2>
        <a:srgbClr val="FFFFFF"/>
      </a:accent2>
      <a:accent3>
        <a:srgbClr val="41B5E8"/>
      </a:accent3>
      <a:accent4>
        <a:srgbClr val="B2B2B2"/>
      </a:accent4>
      <a:accent5>
        <a:srgbClr val="58595B"/>
      </a:accent5>
      <a:accent6>
        <a:srgbClr val="58595B"/>
      </a:accent6>
      <a:hlink>
        <a:srgbClr val="000000"/>
      </a:hlink>
      <a:folHlink>
        <a:srgbClr val="41B5E8"/>
      </a:folHlink>
    </a:clrScheme>
    <a:fontScheme name="TAMID 16_9">
      <a:majorFont>
        <a:latin typeface="Roboto Black"/>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19050">
          <a:noFill/>
        </a:ln>
      </a:spPr>
      <a:bodyPr lIns="36000" tIns="36000" rIns="36000" bIns="36000" rtlCol="0" anchor="ctr"/>
      <a:lstStyle>
        <a:defPPr algn="ctr">
          <a:defRPr sz="2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rgbClr val="08080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TAMID 16_9.potx" id="{CF6EACE2-292F-4D90-9B4F-2D326F977E3A}" vid="{992719B7-27EB-4A59-AC7B-928EFCD14C3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70B77F594B62149B20A394593FEB274" ma:contentTypeVersion="" ma:contentTypeDescription="Create a new document." ma:contentTypeScope="" ma:versionID="2033df883a4d6f665d4dd3c9dcd1d2b8">
  <xsd:schema xmlns:xsd="http://www.w3.org/2001/XMLSchema" xmlns:xs="http://www.w3.org/2001/XMLSchema" xmlns:p="http://schemas.microsoft.com/office/2006/metadata/properties" xmlns:ns1="http://schemas.microsoft.com/sharepoint/v3" targetNamespace="http://schemas.microsoft.com/office/2006/metadata/properties" ma:root="true" ma:fieldsID="71c3cda2c8b39f88eabd54cbf92a8468"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B599B900-5920-4C62-A265-5D6764270A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629400C-64B4-4BCE-8F41-812546257681}">
  <ds:schemaRefs>
    <ds:schemaRef ds:uri="http://schemas.microsoft.com/sharepoint/v3/contenttype/forms"/>
  </ds:schemaRefs>
</ds:datastoreItem>
</file>

<file path=customXml/itemProps3.xml><?xml version="1.0" encoding="utf-8"?>
<ds:datastoreItem xmlns:ds="http://schemas.openxmlformats.org/officeDocument/2006/customXml" ds:itemID="{2F7DBB33-10CE-4915-9973-F3E587B02EFC}">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AMID 16_9</Template>
  <TotalTime>2539</TotalTime>
  <Words>6285</Words>
  <Application>Microsoft Office PowerPoint</Application>
  <PresentationFormat>Custom</PresentationFormat>
  <Paragraphs>935</Paragraphs>
  <Slides>77</Slides>
  <Notes>5</Notes>
  <HiddenSlides>0</HiddenSlides>
  <MMClips>0</MMClips>
  <ScaleCrop>false</ScaleCrop>
  <HeadingPairs>
    <vt:vector size="8" baseType="variant">
      <vt:variant>
        <vt:lpstr>Fonts Used</vt:lpstr>
      </vt:variant>
      <vt:variant>
        <vt:i4>25</vt:i4>
      </vt:variant>
      <vt:variant>
        <vt:lpstr>Theme</vt:lpstr>
      </vt:variant>
      <vt:variant>
        <vt:i4>1</vt:i4>
      </vt:variant>
      <vt:variant>
        <vt:lpstr>Embedded OLE Servers</vt:lpstr>
      </vt:variant>
      <vt:variant>
        <vt:i4>1</vt:i4>
      </vt:variant>
      <vt:variant>
        <vt:lpstr>Slide Titles</vt:lpstr>
      </vt:variant>
      <vt:variant>
        <vt:i4>77</vt:i4>
      </vt:variant>
    </vt:vector>
  </HeadingPairs>
  <TitlesOfParts>
    <vt:vector size="104" baseType="lpstr">
      <vt:lpstr>ＭＳ Ｐゴシック</vt:lpstr>
      <vt:lpstr>SimSun</vt:lpstr>
      <vt:lpstr>Arial</vt:lpstr>
      <vt:lpstr>Bebas Neue</vt:lpstr>
      <vt:lpstr>Calibri</vt:lpstr>
      <vt:lpstr>Calibri Light</vt:lpstr>
      <vt:lpstr>Gill Sans</vt:lpstr>
      <vt:lpstr>Helvetica Neue</vt:lpstr>
      <vt:lpstr>Lato</vt:lpstr>
      <vt:lpstr>Lato Black</vt:lpstr>
      <vt:lpstr>Lato Light</vt:lpstr>
      <vt:lpstr>Lato Regular</vt:lpstr>
      <vt:lpstr>Marlett</vt:lpstr>
      <vt:lpstr>Open Sans</vt:lpstr>
      <vt:lpstr>Open Sans Light</vt:lpstr>
      <vt:lpstr>Roboto</vt:lpstr>
      <vt:lpstr>Roboto Black</vt:lpstr>
      <vt:lpstr>Roboto condensed</vt:lpstr>
      <vt:lpstr>Roboto Condensed Regular</vt:lpstr>
      <vt:lpstr>Roboto Light</vt:lpstr>
      <vt:lpstr>Roboto Regular</vt:lpstr>
      <vt:lpstr>Sosa Regular</vt:lpstr>
      <vt:lpstr>Source Sans Pro</vt:lpstr>
      <vt:lpstr>Source Sans Pro ExtraLight</vt:lpstr>
      <vt:lpstr>Verdana</vt:lpstr>
      <vt:lpstr>TAMID</vt:lpstr>
      <vt:lpstr>think-cell Slide</vt:lpstr>
      <vt:lpstr>Presentation Title: Roboto 25pt</vt:lpstr>
      <vt:lpstr>Tag line: Roboto BLACK 20pt on oneor two lines</vt:lpstr>
      <vt:lpstr>Installing the theme WILL BE VERY SIMPLE AND EASY</vt:lpstr>
      <vt:lpstr>Section Heading</vt:lpstr>
      <vt:lpstr>SECTION HEADER</vt:lpstr>
      <vt:lpstr>TEXT &amp; IMAGE</vt:lpstr>
      <vt:lpstr>Image &amp; BULLETS</vt:lpstr>
      <vt:lpstr>Full width bullet points</vt:lpstr>
      <vt:lpstr>ABOUT </vt:lpstr>
      <vt:lpstr>Text and quote</vt:lpstr>
      <vt:lpstr>2 column bullets</vt:lpstr>
      <vt:lpstr>goals</vt:lpstr>
      <vt:lpstr>Quote &amp; IMAGE </vt:lpstr>
      <vt:lpstr>Quote &amp; ICON</vt:lpstr>
      <vt:lpstr>2 columns</vt:lpstr>
      <vt:lpstr>2 columns &amp; images</vt:lpstr>
      <vt:lpstr>3 COLUMNS TEXT</vt:lpstr>
      <vt:lpstr>3 column bullets</vt:lpstr>
      <vt:lpstr>About –  3 key points</vt:lpstr>
      <vt:lpstr>4 HEADING COLUMNS</vt:lpstr>
      <vt:lpstr>Value Chain</vt:lpstr>
      <vt:lpstr>FEATURES SLIDE</vt:lpstr>
      <vt:lpstr>OUR AGENDA</vt:lpstr>
      <vt:lpstr>3 KEY POINTS &amp; TEXT</vt:lpstr>
      <vt:lpstr>WORLD MAP</vt:lpstr>
      <vt:lpstr>Map analysis</vt:lpstr>
      <vt:lpstr>Flags of the world (1/2)</vt:lpstr>
      <vt:lpstr>Flags of the world (2/2)</vt:lpstr>
      <vt:lpstr>4 TABLE CHART</vt:lpstr>
      <vt:lpstr>Text arrows – 5 items</vt:lpstr>
      <vt:lpstr>Timeline </vt:lpstr>
      <vt:lpstr>Circular arrows - six </vt:lpstr>
      <vt:lpstr>Radial diagrams – 7 segments</vt:lpstr>
      <vt:lpstr>Center sphere</vt:lpstr>
      <vt:lpstr>Org chart (5 boxes)</vt:lpstr>
      <vt:lpstr>Newspaper cut-out, torn edges</vt:lpstr>
      <vt:lpstr>TEAM</vt:lpstr>
      <vt:lpstr>Dumbbell</vt:lpstr>
      <vt:lpstr>Pyramid – 7 segments </vt:lpstr>
      <vt:lpstr>4 square grid &amp; icons</vt:lpstr>
      <vt:lpstr>Text &amp; chart</vt:lpstr>
      <vt:lpstr>Services page</vt:lpstr>
      <vt:lpstr>Pie chart</vt:lpstr>
      <vt:lpstr>Ideas page</vt:lpstr>
      <vt:lpstr>Timeline – arrows</vt:lpstr>
      <vt:lpstr>Value chain loop</vt:lpstr>
      <vt:lpstr>Competitive matrix (AXES)</vt:lpstr>
      <vt:lpstr>Competitive matrix  (Use Transparent logos)</vt:lpstr>
      <vt:lpstr>Seesaw</vt:lpstr>
      <vt:lpstr>Six prong spider chart 1</vt:lpstr>
      <vt:lpstr>Six prong spider chart 2</vt:lpstr>
      <vt:lpstr>Target strategies</vt:lpstr>
      <vt:lpstr>analysis</vt:lpstr>
      <vt:lpstr>Layers diagram</vt:lpstr>
      <vt:lpstr>Process flow chart</vt:lpstr>
      <vt:lpstr>infographic</vt:lpstr>
      <vt:lpstr>table</vt:lpstr>
      <vt:lpstr>Resources </vt:lpstr>
      <vt:lpstr>Circle diagram</vt:lpstr>
      <vt:lpstr>Road map</vt:lpstr>
      <vt:lpstr>SWOT</vt:lpstr>
      <vt:lpstr>analysis</vt:lpstr>
      <vt:lpstr>Project schedule</vt:lpstr>
      <vt:lpstr>Research map</vt:lpstr>
      <vt:lpstr>Monthly report</vt:lpstr>
      <vt:lpstr>BAR CHART</vt:lpstr>
      <vt:lpstr>3 STEPS</vt:lpstr>
      <vt:lpstr>CONTACT US</vt:lpstr>
      <vt:lpstr>AGENDA</vt:lpstr>
      <vt:lpstr>THREE EXAMPLES</vt:lpstr>
      <vt:lpstr>Depicting an image</vt:lpstr>
      <vt:lpstr>4 key points</vt:lpstr>
      <vt:lpstr>Employee qualities</vt:lpstr>
      <vt:lpstr>Start to end process</vt:lpstr>
      <vt:lpstr>Social media analysis</vt:lpstr>
      <vt:lpstr>tools</vt:lpstr>
      <vt:lpstr>Triangle diagram</vt:lpstr>
    </vt:vector>
  </TitlesOfParts>
  <Company>Bain &amp;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presentation</dc:title>
  <dc:creator>Studiodbc.com</dc:creator>
  <cp:lastModifiedBy>DBC2</cp:lastModifiedBy>
  <cp:revision>73</cp:revision>
  <dcterms:created xsi:type="dcterms:W3CDTF">2016-08-16T19:55:18Z</dcterms:created>
  <dcterms:modified xsi:type="dcterms:W3CDTF">2016-09-02T21:01:42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0B77F594B62149B20A394593FEB274</vt:lpwstr>
  </property>
  <property fmtid="{D5CDD505-2E9C-101B-9397-08002B2CF9AE}" pid="3" name="ArticulateGUID">
    <vt:lpwstr>7F93E98D-B25E-4833-8F02-0AD8619E20E9</vt:lpwstr>
  </property>
  <property fmtid="{D5CDD505-2E9C-101B-9397-08002B2CF9AE}" pid="4" name="ArticulatePath">
    <vt:lpwstr>http://casecloud.americas.bain.com/Cases/03/OEA2/Documents/1.%20Case%20Filing/05.%20Graphics%20Solutions/02-Mekko/Mekko%206.X%20for%20PPT%202013/Templates/Revised/Bain%20On%20Screen%20Show%20(16_9)</vt:lpwstr>
  </property>
  <property fmtid="{D5CDD505-2E9C-101B-9397-08002B2CF9AE}" pid="5" name="_MarkAsFinal">
    <vt:bool>true</vt:bool>
  </property>
</Properties>
</file>